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presentation.xml" ContentType="application/vnd.openxmlformats-officedocument.presentationml.presentation.main+xml"/>
  <Override PartName="/ppt/slides/slide20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8.xml" ContentType="application/vnd.openxmlformats-officedocument.presentationml.slid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5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7.xml" ContentType="application/vnd.openxmlformats-officedocument.presentationml.notesSlide+xml"/>
  <Override PartName="/ppt/slideLayouts/slideLayout2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webextensions/taskpanes.xml" ContentType="application/vnd.ms-office.webextensiontaskpanes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2.xml" ContentType="application/vnd.openxmlformats-officedocument.them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53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364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93.xml" ContentType="application/vnd.openxmlformats-officedocument.presentationml.tags+xml"/>
  <Override PartName="/ppt/tags/tag647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revisionInfo.xml" ContentType="application/vnd.ms-powerpoint.revisioninfo+xml"/>
  <Override PartName="/ppt/tags/tag9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64" r:id="rId1"/>
  </p:sldMasterIdLst>
  <p:notesMasterIdLst>
    <p:notesMasterId r:id="rId22"/>
  </p:notesMasterIdLst>
  <p:sldIdLst>
    <p:sldId id="2147483560" r:id="rId2"/>
    <p:sldId id="2147483586" r:id="rId3"/>
    <p:sldId id="2147483588" r:id="rId4"/>
    <p:sldId id="256" r:id="rId5"/>
    <p:sldId id="2147483587" r:id="rId6"/>
    <p:sldId id="2147483589" r:id="rId7"/>
    <p:sldId id="2147483596" r:id="rId8"/>
    <p:sldId id="2147483603" r:id="rId9"/>
    <p:sldId id="2147471544" r:id="rId10"/>
    <p:sldId id="359" r:id="rId11"/>
    <p:sldId id="260" r:id="rId12"/>
    <p:sldId id="2147483600" r:id="rId13"/>
    <p:sldId id="2147483335" r:id="rId14"/>
    <p:sldId id="2147483584" r:id="rId15"/>
    <p:sldId id="257" r:id="rId16"/>
    <p:sldId id="2147483592" r:id="rId17"/>
    <p:sldId id="2147483604" r:id="rId18"/>
    <p:sldId id="2147483561" r:id="rId19"/>
    <p:sldId id="2147483585" r:id="rId20"/>
    <p:sldId id="2147483605" r:id="rId21"/>
  </p:sldIdLst>
  <p:sldSz cx="12192000" cy="6858000"/>
  <p:notesSz cx="7102475" cy="9388475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EEE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0AB588-7E05-417C-9F48-E837B083E385}" v="222" dt="2026-06-17T20:31:14.404"/>
    <p1510:client id="{E31D3ADC-A9D6-B544-80F8-8632CDAEAB04}" v="1940" dt="2026-06-17T16:41:28.20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910" autoAdjust="0"/>
    <p:restoredTop sz="94885" autoAdjust="0"/>
  </p:normalViewPr>
  <p:slideViewPr>
    <p:cSldViewPr snapToGrid="0">
      <p:cViewPr varScale="1">
        <p:scale>
          <a:sx n="59" d="100"/>
          <a:sy n="59" d="100"/>
        </p:scale>
        <p:origin x="1268" y="52"/>
      </p:cViewPr>
      <p:guideLst/>
    </p:cSldViewPr>
  </p:slideViewPr>
  <p:notesTextViewPr>
    <p:cViewPr>
      <p:scale>
        <a:sx n="110" d="100"/>
        <a:sy n="110" d="100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ustomXml" Target="../customXml/item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Relationship Id="rId30" Type="http://schemas.openxmlformats.org/officeDocument/2006/relationships/customXml" Target="../customXml/item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552786156532779E-3"/>
          <c:y val="0.11034877072612921"/>
          <c:w val="0.98348944276869343"/>
          <c:h val="0.73184676958261863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639-EC4B-8BB9-4CAA862DD44A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639-EC4B-8BB9-4CAA862DD44A}"/>
              </c:ext>
            </c:extLst>
          </c:dPt>
          <c:dLbls>
            <c:dLbl>
              <c:idx val="0"/>
              <c:layout>
                <c:manualLayout>
                  <c:x val="0"/>
                  <c:y val="-0.12978845054316751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639-EC4B-8BB9-4CAA862DD44A}"/>
                </c:ext>
              </c:extLst>
            </c:dLbl>
            <c:dLbl>
              <c:idx val="11"/>
              <c:layout>
                <c:manualLayout>
                  <c:x val="0"/>
                  <c:y val="-0.346483704974271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639-EC4B-8BB9-4CAA862DD44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-3.7680140480657625</c:v>
                </c:pt>
                <c:pt idx="1">
                  <c:v>-2.9179202091328644</c:v>
                </c:pt>
                <c:pt idx="2">
                  <c:v>-2.0462454321420163</c:v>
                </c:pt>
                <c:pt idx="3">
                  <c:v>-2.0462454321420189</c:v>
                </c:pt>
                <c:pt idx="4">
                  <c:v>-2.3528724232774252</c:v>
                </c:pt>
                <c:pt idx="5">
                  <c:v>-6.5846899911444945</c:v>
                </c:pt>
                <c:pt idx="6">
                  <c:v>-6.5846899911444936</c:v>
                </c:pt>
                <c:pt idx="7">
                  <c:v>-6.8535970570322213</c:v>
                </c:pt>
                <c:pt idx="8">
                  <c:v>-6.8918554431848182</c:v>
                </c:pt>
                <c:pt idx="9">
                  <c:v>-13.954807220039683</c:v>
                </c:pt>
                <c:pt idx="10">
                  <c:v>-13.668089275657012</c:v>
                </c:pt>
                <c:pt idx="11">
                  <c:v>-13.668089275657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639-EC4B-8BB9-4CAA862DD44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639-EC4B-8BB9-4CAA862DD44A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639-EC4B-8BB9-4CAA862DD44A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639-EC4B-8BB9-4CAA862DD44A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A639-EC4B-8BB9-4CAA862DD44A}"/>
              </c:ext>
            </c:extLst>
          </c:dPt>
          <c:dLbls>
            <c:dLbl>
              <c:idx val="3"/>
              <c:layout>
                <c:manualLayout>
                  <c:x val="0"/>
                  <c:y val="-5.431675242995998E-2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639-EC4B-8BB9-4CAA862DD44A}"/>
                </c:ext>
              </c:extLst>
            </c:dLbl>
            <c:dLbl>
              <c:idx val="4"/>
              <c:layout>
                <c:manualLayout>
                  <c:x val="0"/>
                  <c:y val="-0.14351057747284163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639-EC4B-8BB9-4CAA862DD44A}"/>
                </c:ext>
              </c:extLst>
            </c:dLbl>
            <c:dLbl>
              <c:idx val="6"/>
              <c:layout>
                <c:manualLayout>
                  <c:x val="0"/>
                  <c:y val="-5.3744997141223556E-2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639-EC4B-8BB9-4CAA862DD44A}"/>
                </c:ext>
              </c:extLst>
            </c:dLbl>
            <c:dLbl>
              <c:idx val="8"/>
              <c:layout>
                <c:manualLayout>
                  <c:x val="0"/>
                  <c:y val="-0.26243567753001718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639-EC4B-8BB9-4CAA862DD44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1">
                  <c:v>-0.85009383893289803</c:v>
                </c:pt>
                <c:pt idx="2">
                  <c:v>-0.87167477699084994</c:v>
                </c:pt>
                <c:pt idx="3">
                  <c:v>-0.30662699113540715</c:v>
                </c:pt>
                <c:pt idx="4">
                  <c:v>-4.4077292631063703</c:v>
                </c:pt>
                <c:pt idx="5">
                  <c:v>-0.17591169523930272</c:v>
                </c:pt>
                <c:pt idx="6">
                  <c:v>-0.26890706588772684</c:v>
                </c:pt>
                <c:pt idx="7">
                  <c:v>-3.8258386152596913E-2</c:v>
                </c:pt>
                <c:pt idx="8">
                  <c:v>-9.8306009534763117</c:v>
                </c:pt>
                <c:pt idx="9">
                  <c:v>-2.7676491766214433</c:v>
                </c:pt>
                <c:pt idx="10">
                  <c:v>-0.28671794438267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639-EC4B-8BB9-4CAA862DD4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057321855"/>
        <c:axId val="1"/>
      </c:barChart>
      <c:catAx>
        <c:axId val="1057321855"/>
        <c:scaling>
          <c:orientation val="minMax"/>
        </c:scaling>
        <c:delete val="0"/>
        <c:axPos val="t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ax"/>
        <c:auto val="0"/>
        <c:lblAlgn val="ctr"/>
        <c:lblOffset val="100"/>
        <c:noMultiLvlLbl val="0"/>
      </c:catAx>
      <c:valAx>
        <c:axId val="1"/>
        <c:scaling>
          <c:orientation val="minMax"/>
          <c:max val="0"/>
          <c:min val="-16.72245639666113"/>
        </c:scaling>
        <c:delete val="1"/>
        <c:axPos val="l"/>
        <c:numFmt formatCode="General" sourceLinked="1"/>
        <c:majorTickMark val="out"/>
        <c:minorTickMark val="none"/>
        <c:tickLblPos val="nextTo"/>
        <c:crossAx val="105732185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673653424323665E-2"/>
          <c:y val="0.12736502076603601"/>
          <c:w val="0.97465269315135272"/>
          <c:h val="0.7835717581910475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30687586525149979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94D-BF46-8562-21DDFD0103F5}"/>
                </c:ext>
              </c:extLst>
            </c:dLbl>
            <c:dLbl>
              <c:idx val="1"/>
              <c:layout>
                <c:manualLayout>
                  <c:x val="0"/>
                  <c:y val="-0.31379787724965391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94D-BF46-8562-21DDFD0103F5}"/>
                </c:ext>
              </c:extLst>
            </c:dLbl>
            <c:dLbl>
              <c:idx val="2"/>
              <c:layout>
                <c:manualLayout>
                  <c:x val="0"/>
                  <c:y val="-0.32948777111213662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94D-BF46-8562-21DDFD0103F5}"/>
                </c:ext>
              </c:extLst>
            </c:dLbl>
            <c:dLbl>
              <c:idx val="3"/>
              <c:layout>
                <c:manualLayout>
                  <c:x val="0"/>
                  <c:y val="-0.3456391324411629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94D-BF46-8562-21DDFD0103F5}"/>
                </c:ext>
              </c:extLst>
            </c:dLbl>
            <c:dLbl>
              <c:idx val="4"/>
              <c:layout>
                <c:manualLayout>
                  <c:x val="0"/>
                  <c:y val="-0.43008767881864329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94D-BF46-8562-21DDFD0103F5}"/>
                </c:ext>
              </c:extLst>
            </c:dLbl>
            <c:dLbl>
              <c:idx val="5"/>
              <c:layout>
                <c:manualLayout>
                  <c:x val="0"/>
                  <c:y val="-0.38994000922934935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94D-BF46-8562-21DDFD0103F5}"/>
                </c:ext>
              </c:extLst>
            </c:dLbl>
            <c:dLbl>
              <c:idx val="6"/>
              <c:layout>
                <c:manualLayout>
                  <c:x val="0"/>
                  <c:y val="-0.33733271804337794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94D-BF46-8562-21DDFD0103F5}"/>
                </c:ext>
              </c:extLst>
            </c:dLbl>
            <c:dLbl>
              <c:idx val="7"/>
              <c:layout>
                <c:manualLayout>
                  <c:x val="0"/>
                  <c:y val="-0.30826026765113057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94D-BF46-8562-21DDFD0103F5}"/>
                </c:ext>
              </c:extLst>
            </c:dLbl>
            <c:dLbl>
              <c:idx val="8"/>
              <c:layout>
                <c:manualLayout>
                  <c:x val="0"/>
                  <c:y val="-0.29349330872173512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A94D-BF46-8562-21DDFD0103F5}"/>
                </c:ext>
              </c:extLst>
            </c:dLbl>
            <c:dLbl>
              <c:idx val="9"/>
              <c:layout>
                <c:manualLayout>
                  <c:x val="0"/>
                  <c:y val="-0.29026303645592988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94D-BF46-8562-21DDFD0103F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16.493385325486326</c:v>
                </c:pt>
                <c:pt idx="1">
                  <c:v>16.950279064897455</c:v>
                </c:pt>
                <c:pt idx="2">
                  <c:v>17.882980839215104</c:v>
                </c:pt>
                <c:pt idx="3">
                  <c:v>18.872412289695028</c:v>
                </c:pt>
                <c:pt idx="4">
                  <c:v>24.082011071447479</c:v>
                </c:pt>
                <c:pt idx="5">
                  <c:v>21.597976364824117</c:v>
                </c:pt>
                <c:pt idx="6">
                  <c:v>18.380106354229053</c:v>
                </c:pt>
                <c:pt idx="7">
                  <c:v>16.588320986034439</c:v>
                </c:pt>
                <c:pt idx="8">
                  <c:v>15.680053503291893</c:v>
                </c:pt>
                <c:pt idx="9">
                  <c:v>15.4670202624179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94D-BF46-8562-21DDFD0103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554157951"/>
        <c:axId val="1"/>
      </c:barChart>
      <c:catAx>
        <c:axId val="15541579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4.08201107144747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5541579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8235294117647062E-2"/>
          <c:y val="1.9145802650957292E-2"/>
          <c:w val="0.92352941176470593"/>
          <c:h val="0.96170839469808544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accent2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510C-E14B-9DF8-0A165E67B23F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 w="9525" cmpd="sng" algn="ctr">
                <a:solidFill>
                  <a:srgbClr val="B19C7D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510C-E14B-9DF8-0A165E67B23F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5</c:v>
                </c:pt>
                <c:pt idx="1">
                  <c:v>10</c:v>
                </c:pt>
                <c:pt idx="2">
                  <c:v>20</c:v>
                </c:pt>
                <c:pt idx="3">
                  <c:v>26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0C-E14B-9DF8-0A165E67B23F}"/>
            </c:ext>
          </c:extLst>
        </c:ser>
        <c:ser>
          <c:idx val="1"/>
          <c:order val="1"/>
          <c:spPr>
            <a:solidFill>
              <a:schemeClr val="accent2"/>
            </a:solidFill>
            <a:ln w="9525" cmpd="sng" algn="ctr">
              <a:solidFill>
                <a:schemeClr val="accent2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noFill/>
              <a:ln w="9525" cmpd="sng" algn="ctr">
                <a:solidFill>
                  <a:schemeClr val="accent2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510C-E14B-9DF8-0A165E67B23F}"/>
              </c:ext>
            </c:extLst>
          </c:dPt>
          <c:dPt>
            <c:idx val="4"/>
            <c:invertIfNegative val="0"/>
            <c:bubble3D val="0"/>
            <c:spPr>
              <a:noFill/>
              <a:ln w="9525" cmpd="sng" algn="ctr">
                <a:solidFill>
                  <a:schemeClr val="accent2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510C-E14B-9DF8-0A165E67B23F}"/>
              </c:ext>
            </c:extLst>
          </c:dPt>
          <c:val>
            <c:numRef>
              <c:f>Sheet1!$A$2:$E$2</c:f>
              <c:numCache>
                <c:formatCode>General</c:formatCode>
                <c:ptCount val="5"/>
                <c:pt idx="0">
                  <c:v>5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10C-E14B-9DF8-0A165E67B23F}"/>
            </c:ext>
          </c:extLst>
        </c:ser>
        <c:ser>
          <c:idx val="2"/>
          <c:order val="2"/>
          <c:spPr>
            <a:noFill/>
            <a:ln w="9525" cmpd="sng" algn="ctr">
              <a:solidFill>
                <a:schemeClr val="accent2"/>
              </a:solidFill>
              <a:prstDash val="solid"/>
            </a:ln>
          </c:spPr>
          <c:invertIfNegative val="0"/>
          <c:val>
            <c:numRef>
              <c:f>Sheet1!$A$3:$E$3</c:f>
              <c:numCache>
                <c:formatCode>General</c:formatCode>
                <c:ptCount val="5"/>
                <c:pt idx="1">
                  <c:v>5</c:v>
                </c:pt>
                <c:pt idx="2">
                  <c:v>3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10C-E14B-9DF8-0A165E67B2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443058048"/>
        <c:axId val="1"/>
      </c:barChart>
      <c:catAx>
        <c:axId val="144305804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4430580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85714285714286E-2"/>
          <c:y val="9.0750436300174514E-2"/>
          <c:w val="0.81428571428571428"/>
          <c:h val="0.8184991273996509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accent2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6A62-8547-ABCD-7CAD516FADE4}"/>
              </c:ext>
            </c:extLst>
          </c:dPt>
          <c:dPt>
            <c:idx val="1"/>
            <c:bubble3D val="0"/>
            <c:spPr>
              <a:solidFill>
                <a:srgbClr val="FDFDFD"/>
              </a:solidFill>
              <a:ln w="9525" cmpd="sng" algn="ctr">
                <a:solidFill>
                  <a:schemeClr val="accent3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6A62-8547-ABCD-7CAD516FADE4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25</c:v>
                </c:pt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A62-8547-ABCD-7CAD516FAD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85714285714286E-2"/>
          <c:y val="7.8078078078078081E-2"/>
          <c:w val="0.81428571428571428"/>
          <c:h val="0.84384384384384381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accent2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18CC-0949-AEAA-7C86E7F5F51C}"/>
              </c:ext>
            </c:extLst>
          </c:dPt>
          <c:dPt>
            <c:idx val="1"/>
            <c:bubble3D val="0"/>
            <c:spPr>
              <a:solidFill>
                <a:srgbClr val="FDFDFD"/>
              </a:solidFill>
              <a:ln w="9525" cmpd="sng" algn="ctr">
                <a:solidFill>
                  <a:schemeClr val="accent3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18CC-0949-AEAA-7C86E7F5F51C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42</c:v>
                </c:pt>
                <c:pt idx="1">
                  <c:v>57.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CC-0949-AEAA-7C86E7F5F5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85714285714286E-2"/>
          <c:y val="7.8078078078078081E-2"/>
          <c:w val="0.81428571428571428"/>
          <c:h val="0.84384384384384381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accent2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71C0-F441-9D53-9E11DCD9A051}"/>
              </c:ext>
            </c:extLst>
          </c:dPt>
          <c:dPt>
            <c:idx val="1"/>
            <c:bubble3D val="0"/>
            <c:spPr>
              <a:solidFill>
                <a:srgbClr val="FDFDFD"/>
              </a:solidFill>
              <a:ln w="9525" cmpd="sng" algn="ctr">
                <a:solidFill>
                  <a:schemeClr val="accent3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71C0-F441-9D53-9E11DCD9A051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8</c:v>
                </c:pt>
                <c:pt idx="1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1C0-F441-9D53-9E11DCD9A0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85714285714286E-2"/>
          <c:y val="7.8078078078078081E-2"/>
          <c:w val="0.81428571428571428"/>
          <c:h val="0.84384384384384381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accent2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357E-6F41-8B82-3D3E9A55255E}"/>
              </c:ext>
            </c:extLst>
          </c:dPt>
          <c:dPt>
            <c:idx val="1"/>
            <c:bubble3D val="0"/>
            <c:spPr>
              <a:solidFill>
                <a:srgbClr val="FDFDFD"/>
              </a:solidFill>
              <a:ln w="9525" cmpd="sng" algn="ctr">
                <a:solidFill>
                  <a:schemeClr val="accent3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357E-6F41-8B82-3D3E9A55255E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25</c:v>
                </c:pt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57E-6F41-8B82-3D3E9A5525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257515764774891E-3"/>
          <c:y val="1.9630049075122689E-2"/>
          <c:w val="0.98474849684704502"/>
          <c:h val="0.96073990184975466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dash"/>
            </a:ln>
          </c:spPr>
          <c:marker>
            <c:symbol val="none"/>
          </c:marker>
          <c:xVal>
            <c:numRef>
              <c:f>Sheet1!$A$1:$AD$1</c:f>
              <c:numCache>
                <c:formatCode>General</c:formatCode>
                <c:ptCount val="30"/>
                <c:pt idx="0">
                  <c:v>9496</c:v>
                </c:pt>
                <c:pt idx="1">
                  <c:v>9862</c:v>
                </c:pt>
                <c:pt idx="2">
                  <c:v>10227</c:v>
                </c:pt>
                <c:pt idx="3">
                  <c:v>10592</c:v>
                </c:pt>
                <c:pt idx="4">
                  <c:v>10957</c:v>
                </c:pt>
                <c:pt idx="5">
                  <c:v>11323</c:v>
                </c:pt>
                <c:pt idx="6">
                  <c:v>11688</c:v>
                </c:pt>
                <c:pt idx="7">
                  <c:v>12053</c:v>
                </c:pt>
                <c:pt idx="8">
                  <c:v>12418</c:v>
                </c:pt>
                <c:pt idx="9">
                  <c:v>12784</c:v>
                </c:pt>
                <c:pt idx="10">
                  <c:v>13149</c:v>
                </c:pt>
                <c:pt idx="11">
                  <c:v>13514</c:v>
                </c:pt>
                <c:pt idx="12">
                  <c:v>13879</c:v>
                </c:pt>
                <c:pt idx="13">
                  <c:v>14245</c:v>
                </c:pt>
                <c:pt idx="14">
                  <c:v>14610</c:v>
                </c:pt>
                <c:pt idx="15">
                  <c:v>14975</c:v>
                </c:pt>
                <c:pt idx="16">
                  <c:v>15340</c:v>
                </c:pt>
                <c:pt idx="17">
                  <c:v>15706</c:v>
                </c:pt>
                <c:pt idx="18">
                  <c:v>16071</c:v>
                </c:pt>
                <c:pt idx="19">
                  <c:v>16436</c:v>
                </c:pt>
                <c:pt idx="20">
                  <c:v>16801</c:v>
                </c:pt>
                <c:pt idx="21">
                  <c:v>17167</c:v>
                </c:pt>
                <c:pt idx="22">
                  <c:v>17532</c:v>
                </c:pt>
                <c:pt idx="23">
                  <c:v>17897</c:v>
                </c:pt>
                <c:pt idx="24">
                  <c:v>18262</c:v>
                </c:pt>
                <c:pt idx="25">
                  <c:v>18628</c:v>
                </c:pt>
                <c:pt idx="26">
                  <c:v>18993</c:v>
                </c:pt>
                <c:pt idx="27">
                  <c:v>19358</c:v>
                </c:pt>
                <c:pt idx="28">
                  <c:v>19723</c:v>
                </c:pt>
                <c:pt idx="29">
                  <c:v>20089</c:v>
                </c:pt>
              </c:numCache>
            </c:numRef>
          </c:xVal>
          <c:yVal>
            <c:numRef>
              <c:f>Sheet1!$A$2:$AD$2</c:f>
              <c:numCache>
                <c:formatCode>General</c:formatCode>
                <c:ptCount val="30"/>
                <c:pt idx="0">
                  <c:v>8.6107166203652774</c:v>
                </c:pt>
                <c:pt idx="1">
                  <c:v>8.1247793036043294</c:v>
                </c:pt>
                <c:pt idx="2">
                  <c:v>7.5090222931206263</c:v>
                </c:pt>
                <c:pt idx="3">
                  <c:v>8.8650798533095312</c:v>
                </c:pt>
                <c:pt idx="4">
                  <c:v>8.1801866366475373</c:v>
                </c:pt>
                <c:pt idx="5">
                  <c:v>8.2923758642647414</c:v>
                </c:pt>
                <c:pt idx="6">
                  <c:v>8.1454917999415599</c:v>
                </c:pt>
                <c:pt idx="7">
                  <c:v>8.3408825083996625</c:v>
                </c:pt>
                <c:pt idx="8">
                  <c:v>8.7092987835279132</c:v>
                </c:pt>
                <c:pt idx="9">
                  <c:v>8.504473748670252</c:v>
                </c:pt>
                <c:pt idx="10">
                  <c:v>8.1179085683788141</c:v>
                </c:pt>
                <c:pt idx="11">
                  <c:v>8.7163329149879125</c:v>
                </c:pt>
                <c:pt idx="12">
                  <c:v>7.6072177142632897</c:v>
                </c:pt>
                <c:pt idx="13">
                  <c:v>7.8683379096728068</c:v>
                </c:pt>
                <c:pt idx="14">
                  <c:v>8.8162011880581392</c:v>
                </c:pt>
                <c:pt idx="15">
                  <c:v>8.1685963392932859</c:v>
                </c:pt>
                <c:pt idx="16">
                  <c:v>7.8113371513987051</c:v>
                </c:pt>
                <c:pt idx="17">
                  <c:v>7.9629008425084038</c:v>
                </c:pt>
                <c:pt idx="18">
                  <c:v>7.7749467256759113</c:v>
                </c:pt>
                <c:pt idx="19">
                  <c:v>8.1273888040745579</c:v>
                </c:pt>
                <c:pt idx="20">
                  <c:v>8.1858394268657602</c:v>
                </c:pt>
                <c:pt idx="21">
                  <c:v>7.9295530621292754</c:v>
                </c:pt>
                <c:pt idx="22">
                  <c:v>8.0837500656058587</c:v>
                </c:pt>
                <c:pt idx="23">
                  <c:v>8.0153919933805433</c:v>
                </c:pt>
                <c:pt idx="24">
                  <c:v>8.1143739073139205</c:v>
                </c:pt>
                <c:pt idx="25">
                  <c:v>7.9572724627712503</c:v>
                </c:pt>
                <c:pt idx="26">
                  <c:v>8.3896532709932732</c:v>
                </c:pt>
                <c:pt idx="27">
                  <c:v>8.2251286627201861</c:v>
                </c:pt>
                <c:pt idx="28">
                  <c:v>8.0972251357644556</c:v>
                </c:pt>
                <c:pt idx="29">
                  <c:v>7.855449641638576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388-6448-8131-024BE01DB97A}"/>
            </c:ext>
          </c:extLst>
        </c:ser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AD$1</c:f>
              <c:numCache>
                <c:formatCode>General</c:formatCode>
                <c:ptCount val="30"/>
                <c:pt idx="0">
                  <c:v>9496</c:v>
                </c:pt>
                <c:pt idx="1">
                  <c:v>9862</c:v>
                </c:pt>
                <c:pt idx="2">
                  <c:v>10227</c:v>
                </c:pt>
                <c:pt idx="3">
                  <c:v>10592</c:v>
                </c:pt>
                <c:pt idx="4">
                  <c:v>10957</c:v>
                </c:pt>
                <c:pt idx="5">
                  <c:v>11323</c:v>
                </c:pt>
                <c:pt idx="6">
                  <c:v>11688</c:v>
                </c:pt>
                <c:pt idx="7">
                  <c:v>12053</c:v>
                </c:pt>
                <c:pt idx="8">
                  <c:v>12418</c:v>
                </c:pt>
                <c:pt idx="9">
                  <c:v>12784</c:v>
                </c:pt>
                <c:pt idx="10">
                  <c:v>13149</c:v>
                </c:pt>
                <c:pt idx="11">
                  <c:v>13514</c:v>
                </c:pt>
                <c:pt idx="12">
                  <c:v>13879</c:v>
                </c:pt>
                <c:pt idx="13">
                  <c:v>14245</c:v>
                </c:pt>
                <c:pt idx="14">
                  <c:v>14610</c:v>
                </c:pt>
                <c:pt idx="15">
                  <c:v>14975</c:v>
                </c:pt>
                <c:pt idx="16">
                  <c:v>15340</c:v>
                </c:pt>
                <c:pt idx="17">
                  <c:v>15706</c:v>
                </c:pt>
                <c:pt idx="18">
                  <c:v>16071</c:v>
                </c:pt>
                <c:pt idx="19">
                  <c:v>16436</c:v>
                </c:pt>
                <c:pt idx="20">
                  <c:v>16801</c:v>
                </c:pt>
                <c:pt idx="21">
                  <c:v>17167</c:v>
                </c:pt>
                <c:pt idx="22">
                  <c:v>17532</c:v>
                </c:pt>
                <c:pt idx="23">
                  <c:v>17897</c:v>
                </c:pt>
                <c:pt idx="24">
                  <c:v>18262</c:v>
                </c:pt>
                <c:pt idx="25">
                  <c:v>18628</c:v>
                </c:pt>
                <c:pt idx="26">
                  <c:v>18993</c:v>
                </c:pt>
                <c:pt idx="27">
                  <c:v>19358</c:v>
                </c:pt>
                <c:pt idx="28">
                  <c:v>19723</c:v>
                </c:pt>
                <c:pt idx="29">
                  <c:v>20089</c:v>
                </c:pt>
              </c:numCache>
            </c:numRef>
          </c:xVal>
          <c:yVal>
            <c:numRef>
              <c:f>Sheet1!$A$3:$AD$3</c:f>
              <c:numCache>
                <c:formatCode>General</c:formatCode>
                <c:ptCount val="30"/>
                <c:pt idx="0">
                  <c:v>5.9824937113706982</c:v>
                </c:pt>
                <c:pt idx="1">
                  <c:v>6.5616837302821152</c:v>
                </c:pt>
                <c:pt idx="2">
                  <c:v>5.7688953553479054</c:v>
                </c:pt>
                <c:pt idx="3">
                  <c:v>5.0604161908326439</c:v>
                </c:pt>
                <c:pt idx="4">
                  <c:v>4.8855582740066854</c:v>
                </c:pt>
                <c:pt idx="5">
                  <c:v>0.25523065551079405</c:v>
                </c:pt>
                <c:pt idx="6">
                  <c:v>1.4174571773210984</c:v>
                </c:pt>
                <c:pt idx="7">
                  <c:v>2.0107139304017165</c:v>
                </c:pt>
                <c:pt idx="8">
                  <c:v>2.9567345036247317</c:v>
                </c:pt>
                <c:pt idx="9">
                  <c:v>3.0909823963489917</c:v>
                </c:pt>
                <c:pt idx="10">
                  <c:v>4.6862739222271896</c:v>
                </c:pt>
                <c:pt idx="11">
                  <c:v>4.9468298852584587</c:v>
                </c:pt>
                <c:pt idx="12">
                  <c:v>1.4258254429785118</c:v>
                </c:pt>
                <c:pt idx="13">
                  <c:v>1.4515926291785819</c:v>
                </c:pt>
                <c:pt idx="14">
                  <c:v>5.0940363481976831</c:v>
                </c:pt>
                <c:pt idx="15">
                  <c:v>3.8294296056333965</c:v>
                </c:pt>
                <c:pt idx="16">
                  <c:v>3.6468881025992341</c:v>
                </c:pt>
                <c:pt idx="17">
                  <c:v>4.0565082426051484</c:v>
                </c:pt>
                <c:pt idx="18">
                  <c:v>4.5133009772451782</c:v>
                </c:pt>
                <c:pt idx="19">
                  <c:v>7.5189620604658352</c:v>
                </c:pt>
                <c:pt idx="20">
                  <c:v>6.7422727646398233</c:v>
                </c:pt>
                <c:pt idx="21">
                  <c:v>6.2582733738811775</c:v>
                </c:pt>
                <c:pt idx="22">
                  <c:v>5.3452465373802847</c:v>
                </c:pt>
                <c:pt idx="23">
                  <c:v>4.7350109080123577</c:v>
                </c:pt>
                <c:pt idx="24">
                  <c:v>-12.143229348788076</c:v>
                </c:pt>
                <c:pt idx="25">
                  <c:v>-5.7407006422710429</c:v>
                </c:pt>
                <c:pt idx="26">
                  <c:v>1.5052493127007305</c:v>
                </c:pt>
                <c:pt idx="27">
                  <c:v>7.3029333054165768</c:v>
                </c:pt>
                <c:pt idx="28">
                  <c:v>6.8235688029419945</c:v>
                </c:pt>
                <c:pt idx="29">
                  <c:v>6.6830507111240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388-6448-8131-024BE01D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454"/>
          <c:min val="9496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At val="0"/>
        <c:crossBetween val="midCat"/>
      </c:valAx>
      <c:valAx>
        <c:axId val="5"/>
        <c:scaling>
          <c:orientation val="minMax"/>
          <c:max val="10"/>
          <c:min val="-14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552786156532779E-3"/>
          <c:y val="2.8184281842818428E-2"/>
          <c:w val="0.98348944276869343"/>
          <c:h val="0.9436314363143631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46B-EF47-AA13-9D3661C18B75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46B-EF47-AA13-9D3661C18B75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846B-EF47-AA13-9D3661C18B75}"/>
              </c:ext>
            </c:extLst>
          </c:dPt>
          <c:val>
            <c:numRef>
              <c:f>Sheet1!$A$1:$L$1</c:f>
              <c:numCache>
                <c:formatCode>General</c:formatCode>
                <c:ptCount val="12"/>
                <c:pt idx="0">
                  <c:v>1634.9377371646788</c:v>
                </c:pt>
                <c:pt idx="1">
                  <c:v>1634.9377371646788</c:v>
                </c:pt>
                <c:pt idx="2">
                  <c:v>1725.1225310654008</c:v>
                </c:pt>
                <c:pt idx="3">
                  <c:v>3319.9964632899573</c:v>
                </c:pt>
                <c:pt idx="4">
                  <c:v>4995.1503739458003</c:v>
                </c:pt>
                <c:pt idx="5">
                  <c:v>7186.3248637552588</c:v>
                </c:pt>
                <c:pt idx="6">
                  <c:v>7664.638439606797</c:v>
                </c:pt>
                <c:pt idx="7">
                  <c:v>8646.5080286399061</c:v>
                </c:pt>
                <c:pt idx="8">
                  <c:v>8843.4362155458439</c:v>
                </c:pt>
                <c:pt idx="9">
                  <c:v>-10534.728622892368</c:v>
                </c:pt>
                <c:pt idx="10">
                  <c:v>-10417.197888800332</c:v>
                </c:pt>
                <c:pt idx="11">
                  <c:v>-10417.197888800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46B-EF47-AA13-9D3661C18B75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846B-EF47-AA13-9D3661C18B75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1">
                  <c:v>90.184793900722525</c:v>
                </c:pt>
                <c:pt idx="2">
                  <c:v>1594.8739322245483</c:v>
                </c:pt>
                <c:pt idx="3">
                  <c:v>1675.1539106558412</c:v>
                </c:pt>
                <c:pt idx="4">
                  <c:v>2191.1744898094639</c:v>
                </c:pt>
                <c:pt idx="5">
                  <c:v>478.31357585154001</c:v>
                </c:pt>
                <c:pt idx="6">
                  <c:v>981.86958903310551</c:v>
                </c:pt>
                <c:pt idx="7">
                  <c:v>196.92818690593776</c:v>
                </c:pt>
                <c:pt idx="8">
                  <c:v>-12034.171139516391</c:v>
                </c:pt>
                <c:pt idx="9">
                  <c:v>-1499.4425166240235</c:v>
                </c:pt>
                <c:pt idx="10">
                  <c:v>-117.530734092031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46B-EF47-AA13-9D3661C18B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823495343"/>
        <c:axId val="1"/>
      </c:barChart>
      <c:catAx>
        <c:axId val="8234953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8843.4362155458439"/>
          <c:min val="-12034.171139516391"/>
        </c:scaling>
        <c:delete val="1"/>
        <c:axPos val="l"/>
        <c:numFmt formatCode="General" sourceLinked="1"/>
        <c:majorTickMark val="out"/>
        <c:minorTickMark val="none"/>
        <c:tickLblPos val="nextTo"/>
        <c:crossAx val="8234953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254494131629775E-3"/>
          <c:y val="1.7962003454231434E-2"/>
          <c:w val="0.984549101173674"/>
          <c:h val="0.96407599309153713"/>
        </c:manualLayout>
      </c:layout>
      <c:scatterChart>
        <c:scatterStyle val="lineMarker"/>
        <c:varyColors val="0"/>
        <c:ser>
          <c:idx val="0"/>
          <c:order val="0"/>
          <c:spPr>
            <a:ln w="254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M$1</c:f>
              <c:numCache>
                <c:formatCode>General</c:formatCode>
                <c:ptCount val="13"/>
                <c:pt idx="0">
                  <c:v>15340</c:v>
                </c:pt>
                <c:pt idx="1">
                  <c:v>15706</c:v>
                </c:pt>
                <c:pt idx="2">
                  <c:v>16071</c:v>
                </c:pt>
                <c:pt idx="3">
                  <c:v>16436</c:v>
                </c:pt>
                <c:pt idx="4">
                  <c:v>16801</c:v>
                </c:pt>
                <c:pt idx="5">
                  <c:v>17167</c:v>
                </c:pt>
                <c:pt idx="6">
                  <c:v>17532</c:v>
                </c:pt>
                <c:pt idx="7">
                  <c:v>17897</c:v>
                </c:pt>
                <c:pt idx="8">
                  <c:v>18262</c:v>
                </c:pt>
                <c:pt idx="9">
                  <c:v>18628</c:v>
                </c:pt>
                <c:pt idx="10">
                  <c:v>18993</c:v>
                </c:pt>
                <c:pt idx="11">
                  <c:v>19358</c:v>
                </c:pt>
                <c:pt idx="12">
                  <c:v>19723</c:v>
                </c:pt>
              </c:numCache>
            </c:numRef>
          </c:xVal>
          <c:yVal>
            <c:numRef>
              <c:f>Sheet1!$A$2:$M$2</c:f>
              <c:numCache>
                <c:formatCode>General</c:formatCode>
                <c:ptCount val="13"/>
                <c:pt idx="0">
                  <c:v>-2.2999999999999998</c:v>
                </c:pt>
                <c:pt idx="1">
                  <c:v>-1.9</c:v>
                </c:pt>
                <c:pt idx="2">
                  <c:v>-1.7</c:v>
                </c:pt>
                <c:pt idx="3">
                  <c:v>-2.2999999999999998</c:v>
                </c:pt>
                <c:pt idx="4">
                  <c:v>-1.9</c:v>
                </c:pt>
                <c:pt idx="5">
                  <c:v>-1.6</c:v>
                </c:pt>
                <c:pt idx="6">
                  <c:v>-1</c:v>
                </c:pt>
                <c:pt idx="7">
                  <c:v>-1.4</c:v>
                </c:pt>
                <c:pt idx="8">
                  <c:v>-8.8000000000000007</c:v>
                </c:pt>
                <c:pt idx="9">
                  <c:v>-6.6</c:v>
                </c:pt>
                <c:pt idx="10">
                  <c:v>-5.3</c:v>
                </c:pt>
                <c:pt idx="11">
                  <c:v>-2.4</c:v>
                </c:pt>
                <c:pt idx="12">
                  <c:v>-3.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53F3-214D-86DF-891A4B7A9208}"/>
            </c:ext>
          </c:extLst>
        </c:ser>
        <c:ser>
          <c:idx val="1"/>
          <c:order val="1"/>
          <c:spPr>
            <a:ln w="25400" cmpd="sng" algn="ctr">
              <a:solidFill>
                <a:schemeClr val="accent2"/>
              </a:solidFill>
              <a:prstDash val="lgDash"/>
            </a:ln>
          </c:spPr>
          <c:marker>
            <c:symbol val="none"/>
          </c:marker>
          <c:xVal>
            <c:numRef>
              <c:f>Sheet1!$A$1:$M$1</c:f>
              <c:numCache>
                <c:formatCode>General</c:formatCode>
                <c:ptCount val="13"/>
                <c:pt idx="0">
                  <c:v>15340</c:v>
                </c:pt>
                <c:pt idx="1">
                  <c:v>15706</c:v>
                </c:pt>
                <c:pt idx="2">
                  <c:v>16071</c:v>
                </c:pt>
                <c:pt idx="3">
                  <c:v>16436</c:v>
                </c:pt>
                <c:pt idx="4">
                  <c:v>16801</c:v>
                </c:pt>
                <c:pt idx="5">
                  <c:v>17167</c:v>
                </c:pt>
                <c:pt idx="6">
                  <c:v>17532</c:v>
                </c:pt>
                <c:pt idx="7">
                  <c:v>17897</c:v>
                </c:pt>
                <c:pt idx="8">
                  <c:v>18262</c:v>
                </c:pt>
                <c:pt idx="9">
                  <c:v>18628</c:v>
                </c:pt>
                <c:pt idx="10">
                  <c:v>18993</c:v>
                </c:pt>
                <c:pt idx="11">
                  <c:v>19358</c:v>
                </c:pt>
                <c:pt idx="12">
                  <c:v>19723</c:v>
                </c:pt>
              </c:numCache>
            </c:numRef>
          </c:xVal>
          <c:yVal>
            <c:numRef>
              <c:f>Sheet1!$A$3:$M$3</c:f>
              <c:numCache>
                <c:formatCode>General</c:formatCode>
                <c:ptCount val="13"/>
                <c:pt idx="0">
                  <c:v>-1.1000000000000001</c:v>
                </c:pt>
                <c:pt idx="1">
                  <c:v>-0.1</c:v>
                </c:pt>
                <c:pt idx="2">
                  <c:v>1</c:v>
                </c:pt>
                <c:pt idx="3">
                  <c:v>0.5</c:v>
                </c:pt>
                <c:pt idx="4">
                  <c:v>1.3</c:v>
                </c:pt>
                <c:pt idx="5">
                  <c:v>2.2999999999999998</c:v>
                </c:pt>
                <c:pt idx="6">
                  <c:v>2.4</c:v>
                </c:pt>
                <c:pt idx="7">
                  <c:v>2.2999999999999998</c:v>
                </c:pt>
                <c:pt idx="8">
                  <c:v>-16.100000000000001</c:v>
                </c:pt>
                <c:pt idx="9">
                  <c:v>-12.7</c:v>
                </c:pt>
                <c:pt idx="10">
                  <c:v>-3.1</c:v>
                </c:pt>
                <c:pt idx="11">
                  <c:v>0.4</c:v>
                </c:pt>
                <c:pt idx="12">
                  <c:v>1.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53F3-214D-86DF-891A4B7A9208}"/>
            </c:ext>
          </c:extLst>
        </c:ser>
        <c:ser>
          <c:idx val="2"/>
          <c:order val="2"/>
          <c:spPr>
            <a:ln w="2540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M$1</c:f>
              <c:numCache>
                <c:formatCode>General</c:formatCode>
                <c:ptCount val="13"/>
                <c:pt idx="0">
                  <c:v>15340</c:v>
                </c:pt>
                <c:pt idx="1">
                  <c:v>15706</c:v>
                </c:pt>
                <c:pt idx="2">
                  <c:v>16071</c:v>
                </c:pt>
                <c:pt idx="3">
                  <c:v>16436</c:v>
                </c:pt>
                <c:pt idx="4">
                  <c:v>16801</c:v>
                </c:pt>
                <c:pt idx="5">
                  <c:v>17167</c:v>
                </c:pt>
                <c:pt idx="6">
                  <c:v>17532</c:v>
                </c:pt>
                <c:pt idx="7">
                  <c:v>17897</c:v>
                </c:pt>
                <c:pt idx="8">
                  <c:v>18262</c:v>
                </c:pt>
                <c:pt idx="9">
                  <c:v>18628</c:v>
                </c:pt>
                <c:pt idx="10">
                  <c:v>18993</c:v>
                </c:pt>
                <c:pt idx="11">
                  <c:v>19358</c:v>
                </c:pt>
                <c:pt idx="12">
                  <c:v>19723</c:v>
                </c:pt>
              </c:numCache>
            </c:numRef>
          </c:xVal>
          <c:yVal>
            <c:numRef>
              <c:f>Sheet1!$A$4:$M$4</c:f>
              <c:numCache>
                <c:formatCode>General</c:formatCode>
                <c:ptCount val="13"/>
                <c:pt idx="0">
                  <c:v>1.5</c:v>
                </c:pt>
                <c:pt idx="1">
                  <c:v>1.8</c:v>
                </c:pt>
                <c:pt idx="2">
                  <c:v>2.2999999999999998</c:v>
                </c:pt>
                <c:pt idx="3">
                  <c:v>3.5</c:v>
                </c:pt>
                <c:pt idx="4">
                  <c:v>4.3</c:v>
                </c:pt>
                <c:pt idx="5">
                  <c:v>4.3</c:v>
                </c:pt>
                <c:pt idx="6">
                  <c:v>3.7</c:v>
                </c:pt>
                <c:pt idx="7">
                  <c:v>2.5</c:v>
                </c:pt>
                <c:pt idx="8">
                  <c:v>-12.7</c:v>
                </c:pt>
                <c:pt idx="9">
                  <c:v>-14.8</c:v>
                </c:pt>
                <c:pt idx="10">
                  <c:v>-13.9</c:v>
                </c:pt>
                <c:pt idx="11">
                  <c:v>-7</c:v>
                </c:pt>
                <c:pt idx="12">
                  <c:v>-4.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53F3-214D-86DF-891A4B7A9208}"/>
            </c:ext>
          </c:extLst>
        </c:ser>
        <c:ser>
          <c:idx val="3"/>
          <c:order val="3"/>
          <c:spPr>
            <a:ln w="25400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xVal>
            <c:numRef>
              <c:f>Sheet1!$A$1:$M$1</c:f>
              <c:numCache>
                <c:formatCode>General</c:formatCode>
                <c:ptCount val="13"/>
                <c:pt idx="0">
                  <c:v>15340</c:v>
                </c:pt>
                <c:pt idx="1">
                  <c:v>15706</c:v>
                </c:pt>
                <c:pt idx="2">
                  <c:v>16071</c:v>
                </c:pt>
                <c:pt idx="3">
                  <c:v>16436</c:v>
                </c:pt>
                <c:pt idx="4">
                  <c:v>16801</c:v>
                </c:pt>
                <c:pt idx="5">
                  <c:v>17167</c:v>
                </c:pt>
                <c:pt idx="6">
                  <c:v>17532</c:v>
                </c:pt>
                <c:pt idx="7">
                  <c:v>17897</c:v>
                </c:pt>
                <c:pt idx="8">
                  <c:v>18262</c:v>
                </c:pt>
                <c:pt idx="9">
                  <c:v>18628</c:v>
                </c:pt>
                <c:pt idx="10">
                  <c:v>18993</c:v>
                </c:pt>
                <c:pt idx="11">
                  <c:v>19358</c:v>
                </c:pt>
                <c:pt idx="12">
                  <c:v>19723</c:v>
                </c:pt>
              </c:numCache>
            </c:numRef>
          </c:xVal>
          <c:yVal>
            <c:numRef>
              <c:f>Sheet1!$A$5:$M$5</c:f>
              <c:numCache>
                <c:formatCode>General</c:formatCode>
                <c:ptCount val="13"/>
                <c:pt idx="0">
                  <c:v>-0.4</c:v>
                </c:pt>
                <c:pt idx="1">
                  <c:v>-0.2</c:v>
                </c:pt>
                <c:pt idx="2">
                  <c:v>-0.5</c:v>
                </c:pt>
                <c:pt idx="3">
                  <c:v>-0.2</c:v>
                </c:pt>
                <c:pt idx="4">
                  <c:v>-0.3</c:v>
                </c:pt>
                <c:pt idx="5">
                  <c:v>-0.1</c:v>
                </c:pt>
                <c:pt idx="6">
                  <c:v>0.2</c:v>
                </c:pt>
                <c:pt idx="7">
                  <c:v>0.4</c:v>
                </c:pt>
                <c:pt idx="8">
                  <c:v>-1</c:v>
                </c:pt>
                <c:pt idx="9">
                  <c:v>-0.1</c:v>
                </c:pt>
                <c:pt idx="10">
                  <c:v>1</c:v>
                </c:pt>
                <c:pt idx="11">
                  <c:v>2</c:v>
                </c:pt>
                <c:pt idx="12">
                  <c:v>1.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53F3-214D-86DF-891A4B7A92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9723"/>
          <c:min val="1534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At val="0"/>
        <c:crossBetween val="midCat"/>
      </c:valAx>
      <c:valAx>
        <c:axId val="5"/>
        <c:scaling>
          <c:orientation val="minMax"/>
          <c:max val="6"/>
          <c:min val="-18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50730688935281E-3"/>
          <c:y val="0.10393107162089392"/>
          <c:w val="0.98329853862212946"/>
          <c:h val="0.7921378567582121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5.3850296176628971E-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4FA-C54D-8923-B58471DF6642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4FA-C54D-8923-B58471DF6642}"/>
                </c:ext>
              </c:extLst>
            </c:dLbl>
            <c:dLbl>
              <c:idx val="2"/>
              <c:layout>
                <c:manualLayout>
                  <c:x val="0"/>
                  <c:y val="-5.3850296176628971E-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4FA-C54D-8923-B58471DF6642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4FA-C54D-8923-B58471DF6642}"/>
                </c:ext>
              </c:extLst>
            </c:dLbl>
            <c:dLbl>
              <c:idx val="4"/>
              <c:layout>
                <c:manualLayout>
                  <c:x val="0"/>
                  <c:y val="-5.3850296176628971E-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4FA-C54D-8923-B58471DF6642}"/>
                </c:ext>
              </c:extLst>
            </c:dLbl>
            <c:dLbl>
              <c:idx val="5"/>
              <c:layout>
                <c:manualLayout>
                  <c:x val="0"/>
                  <c:y val="-5.3850296176628971E-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4FA-C54D-8923-B58471DF6642}"/>
                </c:ext>
              </c:extLst>
            </c:dLbl>
            <c:dLbl>
              <c:idx val="6"/>
              <c:layout>
                <c:manualLayout>
                  <c:x val="0"/>
                  <c:y val="-5.3850296176628971E-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4FA-C54D-8923-B58471DF6642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4FA-C54D-8923-B58471DF6642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4FA-C54D-8923-B58471DF6642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84FA-C54D-8923-B58471DF6642}"/>
                </c:ext>
              </c:extLst>
            </c:dLbl>
            <c:dLbl>
              <c:idx val="10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84FA-C54D-8923-B58471DF6642}"/>
                </c:ext>
              </c:extLst>
            </c:dLbl>
            <c:dLbl>
              <c:idx val="11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84FA-C54D-8923-B58471DF6642}"/>
                </c:ext>
              </c:extLst>
            </c:dLbl>
            <c:dLbl>
              <c:idx val="12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84FA-C54D-8923-B58471DF6642}"/>
                </c:ext>
              </c:extLst>
            </c:dLbl>
            <c:dLbl>
              <c:idx val="13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84FA-C54D-8923-B58471DF6642}"/>
                </c:ext>
              </c:extLst>
            </c:dLbl>
            <c:dLbl>
              <c:idx val="14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84FA-C54D-8923-B58471DF6642}"/>
                </c:ext>
              </c:extLst>
            </c:dLbl>
            <c:dLbl>
              <c:idx val="15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84FA-C54D-8923-B58471DF6642}"/>
                </c:ext>
              </c:extLst>
            </c:dLbl>
            <c:dLbl>
              <c:idx val="16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84FA-C54D-8923-B58471DF6642}"/>
                </c:ext>
              </c:extLst>
            </c:dLbl>
            <c:dLbl>
              <c:idx val="17"/>
              <c:layout>
                <c:manualLayout>
                  <c:x val="0"/>
                  <c:y val="-5.3850296176628971E-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84FA-C54D-8923-B58471DF664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R$1</c:f>
              <c:numCache>
                <c:formatCode>General</c:formatCode>
                <c:ptCount val="18"/>
                <c:pt idx="0">
                  <c:v>30</c:v>
                </c:pt>
                <c:pt idx="1">
                  <c:v>46</c:v>
                </c:pt>
                <c:pt idx="2">
                  <c:v>51</c:v>
                </c:pt>
                <c:pt idx="3">
                  <c:v>48</c:v>
                </c:pt>
                <c:pt idx="4">
                  <c:v>47</c:v>
                </c:pt>
                <c:pt idx="5">
                  <c:v>47</c:v>
                </c:pt>
                <c:pt idx="6">
                  <c:v>43.300000000000004</c:v>
                </c:pt>
                <c:pt idx="7">
                  <c:v>45</c:v>
                </c:pt>
                <c:pt idx="8">
                  <c:v>44.499999999999993</c:v>
                </c:pt>
                <c:pt idx="9">
                  <c:v>43.8</c:v>
                </c:pt>
                <c:pt idx="10">
                  <c:v>44.7</c:v>
                </c:pt>
                <c:pt idx="11">
                  <c:v>44.499999999999993</c:v>
                </c:pt>
                <c:pt idx="12">
                  <c:v>44.499999999999993</c:v>
                </c:pt>
                <c:pt idx="13">
                  <c:v>52</c:v>
                </c:pt>
                <c:pt idx="14">
                  <c:v>50</c:v>
                </c:pt>
                <c:pt idx="15">
                  <c:v>46.24373956594323</c:v>
                </c:pt>
                <c:pt idx="16">
                  <c:v>45.890410958904106</c:v>
                </c:pt>
                <c:pt idx="17">
                  <c:v>45.9209851205746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84FA-C54D-8923-B58471DF6642}"/>
            </c:ext>
          </c:extLst>
        </c:ser>
        <c:ser>
          <c:idx val="1"/>
          <c:order val="1"/>
          <c:spPr>
            <a:solidFill>
              <a:schemeClr val="accent2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84FA-C54D-8923-B58471DF6642}"/>
                </c:ext>
              </c:extLst>
            </c:dLbl>
            <c:dLbl>
              <c:idx val="1"/>
              <c:layout>
                <c:manualLayout>
                  <c:x val="0"/>
                  <c:y val="-5.3850296176628971E-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84FA-C54D-8923-B58471DF6642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84FA-C54D-8923-B58471DF6642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84FA-C54D-8923-B58471DF6642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84FA-C54D-8923-B58471DF6642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84FA-C54D-8923-B58471DF6642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84FA-C54D-8923-B58471DF6642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84FA-C54D-8923-B58471DF6642}"/>
                </c:ext>
              </c:extLst>
            </c:dLbl>
            <c:dLbl>
              <c:idx val="8"/>
              <c:layout>
                <c:manualLayout>
                  <c:x val="0"/>
                  <c:y val="-5.3850296176628971E-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84FA-C54D-8923-B58471DF6642}"/>
                </c:ext>
              </c:extLst>
            </c:dLbl>
            <c:dLbl>
              <c:idx val="9"/>
              <c:layout>
                <c:manualLayout>
                  <c:x val="0"/>
                  <c:y val="-5.3850296176628971E-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84FA-C54D-8923-B58471DF6642}"/>
                </c:ext>
              </c:extLst>
            </c:dLbl>
            <c:dLbl>
              <c:idx val="10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84FA-C54D-8923-B58471DF6642}"/>
                </c:ext>
              </c:extLst>
            </c:dLbl>
            <c:dLbl>
              <c:idx val="11"/>
              <c:layout>
                <c:manualLayout>
                  <c:x val="0"/>
                  <c:y val="-5.3850296176628971E-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84FA-C54D-8923-B58471DF6642}"/>
                </c:ext>
              </c:extLst>
            </c:dLbl>
            <c:dLbl>
              <c:idx val="12"/>
              <c:layout>
                <c:manualLayout>
                  <c:x val="0"/>
                  <c:y val="-5.3850296176628971E-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84FA-C54D-8923-B58471DF6642}"/>
                </c:ext>
              </c:extLst>
            </c:dLbl>
            <c:dLbl>
              <c:idx val="13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84FA-C54D-8923-B58471DF6642}"/>
                </c:ext>
              </c:extLst>
            </c:dLbl>
            <c:dLbl>
              <c:idx val="14"/>
              <c:layout>
                <c:manualLayout>
                  <c:x val="0"/>
                  <c:y val="-5.3850296176628971E-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84FA-C54D-8923-B58471DF6642}"/>
                </c:ext>
              </c:extLst>
            </c:dLbl>
            <c:dLbl>
              <c:idx val="15"/>
              <c:layout>
                <c:manualLayout>
                  <c:x val="0"/>
                  <c:y val="-5.3850296176628971E-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84FA-C54D-8923-B58471DF6642}"/>
                </c:ext>
              </c:extLst>
            </c:dLbl>
            <c:dLbl>
              <c:idx val="16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84FA-C54D-8923-B58471DF6642}"/>
                </c:ext>
              </c:extLst>
            </c:dLbl>
            <c:dLbl>
              <c:idx val="17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84FA-C54D-8923-B58471DF664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R$2</c:f>
              <c:numCache>
                <c:formatCode>General</c:formatCode>
                <c:ptCount val="18"/>
                <c:pt idx="0">
                  <c:v>70</c:v>
                </c:pt>
                <c:pt idx="1">
                  <c:v>54</c:v>
                </c:pt>
                <c:pt idx="2">
                  <c:v>49</c:v>
                </c:pt>
                <c:pt idx="3">
                  <c:v>52</c:v>
                </c:pt>
                <c:pt idx="4">
                  <c:v>53</c:v>
                </c:pt>
                <c:pt idx="5">
                  <c:v>54</c:v>
                </c:pt>
                <c:pt idx="6">
                  <c:v>56.699999999999996</c:v>
                </c:pt>
                <c:pt idx="7">
                  <c:v>55.000000000000007</c:v>
                </c:pt>
                <c:pt idx="8">
                  <c:v>55.500000000000007</c:v>
                </c:pt>
                <c:pt idx="9">
                  <c:v>56.2</c:v>
                </c:pt>
                <c:pt idx="10">
                  <c:v>55.3</c:v>
                </c:pt>
                <c:pt idx="11">
                  <c:v>55.500000000000007</c:v>
                </c:pt>
                <c:pt idx="12">
                  <c:v>55.500000000000007</c:v>
                </c:pt>
                <c:pt idx="13">
                  <c:v>48</c:v>
                </c:pt>
                <c:pt idx="14">
                  <c:v>50</c:v>
                </c:pt>
                <c:pt idx="15">
                  <c:v>53.75626043405677</c:v>
                </c:pt>
                <c:pt idx="16">
                  <c:v>54.109589041095894</c:v>
                </c:pt>
                <c:pt idx="17">
                  <c:v>54.0790148794253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84FA-C54D-8923-B58471DF66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778825216"/>
        <c:axId val="1"/>
      </c:barChart>
      <c:catAx>
        <c:axId val="17788252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7788252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358522639468397E-3"/>
          <c:y val="2.0233463035019456E-2"/>
          <c:w val="0.98392829547210636"/>
          <c:h val="0.95953307392996112"/>
        </c:manualLayout>
      </c:layout>
      <c:lineChart>
        <c:grouping val="standard"/>
        <c:varyColors val="0"/>
        <c:ser>
          <c:idx val="0"/>
          <c:order val="0"/>
          <c:spPr>
            <a:ln w="254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PD$1</c:f>
              <c:numCache>
                <c:formatCode>General</c:formatCode>
                <c:ptCount val="420"/>
                <c:pt idx="0">
                  <c:v>26.456</c:v>
                </c:pt>
                <c:pt idx="1">
                  <c:v>26.994</c:v>
                </c:pt>
                <c:pt idx="2">
                  <c:v>27.808</c:v>
                </c:pt>
                <c:pt idx="3">
                  <c:v>29.7</c:v>
                </c:pt>
                <c:pt idx="4">
                  <c:v>28.646000000000001</c:v>
                </c:pt>
                <c:pt idx="5">
                  <c:v>24.085999999999999</c:v>
                </c:pt>
                <c:pt idx="6">
                  <c:v>24.411999999999999</c:v>
                </c:pt>
                <c:pt idx="7">
                  <c:v>23.271000000000001</c:v>
                </c:pt>
                <c:pt idx="8">
                  <c:v>22.023</c:v>
                </c:pt>
                <c:pt idx="9">
                  <c:v>23.577999999999999</c:v>
                </c:pt>
                <c:pt idx="10">
                  <c:v>24.524000000000001</c:v>
                </c:pt>
                <c:pt idx="11">
                  <c:v>26.327999999999999</c:v>
                </c:pt>
                <c:pt idx="12">
                  <c:v>26.259</c:v>
                </c:pt>
                <c:pt idx="13">
                  <c:v>25.141999999999999</c:v>
                </c:pt>
                <c:pt idx="14">
                  <c:v>26.286999999999999</c:v>
                </c:pt>
                <c:pt idx="15">
                  <c:v>27.727</c:v>
                </c:pt>
                <c:pt idx="16">
                  <c:v>25.91</c:v>
                </c:pt>
                <c:pt idx="17">
                  <c:v>24.901</c:v>
                </c:pt>
                <c:pt idx="18">
                  <c:v>24.231999999999999</c:v>
                </c:pt>
                <c:pt idx="19">
                  <c:v>24.6</c:v>
                </c:pt>
                <c:pt idx="20">
                  <c:v>25.006</c:v>
                </c:pt>
                <c:pt idx="21">
                  <c:v>24.47</c:v>
                </c:pt>
                <c:pt idx="22">
                  <c:v>23.911000000000001</c:v>
                </c:pt>
                <c:pt idx="23">
                  <c:v>23.131</c:v>
                </c:pt>
                <c:pt idx="24">
                  <c:v>22.100999999999999</c:v>
                </c:pt>
                <c:pt idx="25">
                  <c:v>22.204999999999998</c:v>
                </c:pt>
                <c:pt idx="26">
                  <c:v>22.776</c:v>
                </c:pt>
                <c:pt idx="27">
                  <c:v>24.292999999999999</c:v>
                </c:pt>
                <c:pt idx="28">
                  <c:v>23.693999999999999</c:v>
                </c:pt>
                <c:pt idx="29">
                  <c:v>21.591999999999999</c:v>
                </c:pt>
                <c:pt idx="30">
                  <c:v>21.167000000000002</c:v>
                </c:pt>
                <c:pt idx="31">
                  <c:v>20.367000000000001</c:v>
                </c:pt>
                <c:pt idx="32">
                  <c:v>20.13</c:v>
                </c:pt>
                <c:pt idx="33">
                  <c:v>20.751000000000001</c:v>
                </c:pt>
                <c:pt idx="34">
                  <c:v>20.802</c:v>
                </c:pt>
                <c:pt idx="35">
                  <c:v>20.826000000000001</c:v>
                </c:pt>
                <c:pt idx="36">
                  <c:v>21.167999999999999</c:v>
                </c:pt>
                <c:pt idx="37">
                  <c:v>21.518000000000001</c:v>
                </c:pt>
                <c:pt idx="38">
                  <c:v>21.696999999999999</c:v>
                </c:pt>
                <c:pt idx="39">
                  <c:v>22.576000000000001</c:v>
                </c:pt>
                <c:pt idx="40">
                  <c:v>22.378</c:v>
                </c:pt>
                <c:pt idx="41">
                  <c:v>20.515999999999998</c:v>
                </c:pt>
                <c:pt idx="42">
                  <c:v>20.693999999999999</c:v>
                </c:pt>
                <c:pt idx="43">
                  <c:v>21.065000000000001</c:v>
                </c:pt>
                <c:pt idx="44">
                  <c:v>21.617999999999999</c:v>
                </c:pt>
                <c:pt idx="45">
                  <c:v>22.202999999999999</c:v>
                </c:pt>
                <c:pt idx="46">
                  <c:v>21.945</c:v>
                </c:pt>
                <c:pt idx="47">
                  <c:v>21.366</c:v>
                </c:pt>
                <c:pt idx="48">
                  <c:v>21.875</c:v>
                </c:pt>
                <c:pt idx="49">
                  <c:v>21.754999999999999</c:v>
                </c:pt>
                <c:pt idx="50">
                  <c:v>22.9</c:v>
                </c:pt>
                <c:pt idx="51">
                  <c:v>22.225000000000001</c:v>
                </c:pt>
                <c:pt idx="52">
                  <c:v>22.805</c:v>
                </c:pt>
                <c:pt idx="53">
                  <c:v>25.11</c:v>
                </c:pt>
                <c:pt idx="54">
                  <c:v>24.425999999999998</c:v>
                </c:pt>
                <c:pt idx="55">
                  <c:v>25.318000000000001</c:v>
                </c:pt>
                <c:pt idx="56">
                  <c:v>27.334</c:v>
                </c:pt>
                <c:pt idx="57">
                  <c:v>25.827999999999999</c:v>
                </c:pt>
                <c:pt idx="58">
                  <c:v>24.16</c:v>
                </c:pt>
                <c:pt idx="59">
                  <c:v>23.984999999999999</c:v>
                </c:pt>
                <c:pt idx="60">
                  <c:v>25.771000000000001</c:v>
                </c:pt>
                <c:pt idx="61">
                  <c:v>27.100999999999999</c:v>
                </c:pt>
                <c:pt idx="62">
                  <c:v>32.051000000000002</c:v>
                </c:pt>
                <c:pt idx="63">
                  <c:v>33.450000000000003</c:v>
                </c:pt>
                <c:pt idx="64">
                  <c:v>31.280999999999999</c:v>
                </c:pt>
                <c:pt idx="65">
                  <c:v>31.577999999999999</c:v>
                </c:pt>
                <c:pt idx="66">
                  <c:v>31.390999999999998</c:v>
                </c:pt>
                <c:pt idx="67">
                  <c:v>26.117000000000001</c:v>
                </c:pt>
                <c:pt idx="68">
                  <c:v>24.402000000000001</c:v>
                </c:pt>
                <c:pt idx="69">
                  <c:v>23.713999999999999</c:v>
                </c:pt>
                <c:pt idx="70">
                  <c:v>24.334</c:v>
                </c:pt>
                <c:pt idx="71">
                  <c:v>22.923999999999999</c:v>
                </c:pt>
                <c:pt idx="72">
                  <c:v>22.972999999999999</c:v>
                </c:pt>
                <c:pt idx="73">
                  <c:v>23.780999999999999</c:v>
                </c:pt>
                <c:pt idx="74">
                  <c:v>23.477</c:v>
                </c:pt>
                <c:pt idx="75">
                  <c:v>25.437000000000001</c:v>
                </c:pt>
                <c:pt idx="76">
                  <c:v>25.559000000000001</c:v>
                </c:pt>
                <c:pt idx="77">
                  <c:v>23.332000000000001</c:v>
                </c:pt>
                <c:pt idx="78">
                  <c:v>20.742000000000001</c:v>
                </c:pt>
                <c:pt idx="79">
                  <c:v>19.414999999999999</c:v>
                </c:pt>
                <c:pt idx="80">
                  <c:v>17.762</c:v>
                </c:pt>
                <c:pt idx="81">
                  <c:v>18.297999999999998</c:v>
                </c:pt>
                <c:pt idx="82">
                  <c:v>18.242000000000001</c:v>
                </c:pt>
                <c:pt idx="83">
                  <c:v>16.317</c:v>
                </c:pt>
                <c:pt idx="84">
                  <c:v>15.925000000000001</c:v>
                </c:pt>
                <c:pt idx="85">
                  <c:v>15.137</c:v>
                </c:pt>
                <c:pt idx="86">
                  <c:v>17.866</c:v>
                </c:pt>
                <c:pt idx="87">
                  <c:v>17.956</c:v>
                </c:pt>
                <c:pt idx="88">
                  <c:v>15.589</c:v>
                </c:pt>
                <c:pt idx="89">
                  <c:v>13.96</c:v>
                </c:pt>
                <c:pt idx="90">
                  <c:v>14.88</c:v>
                </c:pt>
                <c:pt idx="91">
                  <c:v>14.509</c:v>
                </c:pt>
                <c:pt idx="92">
                  <c:v>16.556999999999999</c:v>
                </c:pt>
                <c:pt idx="93">
                  <c:v>20.23</c:v>
                </c:pt>
                <c:pt idx="94">
                  <c:v>18.652999999999999</c:v>
                </c:pt>
                <c:pt idx="95">
                  <c:v>19.440999999999999</c:v>
                </c:pt>
                <c:pt idx="96">
                  <c:v>22.922999999999998</c:v>
                </c:pt>
                <c:pt idx="97">
                  <c:v>24.824999999999999</c:v>
                </c:pt>
                <c:pt idx="98">
                  <c:v>27.048999999999999</c:v>
                </c:pt>
                <c:pt idx="99">
                  <c:v>26.288</c:v>
                </c:pt>
                <c:pt idx="100">
                  <c:v>29.559000000000001</c:v>
                </c:pt>
                <c:pt idx="101">
                  <c:v>34.103999999999999</c:v>
                </c:pt>
                <c:pt idx="102">
                  <c:v>33.441000000000003</c:v>
                </c:pt>
                <c:pt idx="103">
                  <c:v>33.502000000000002</c:v>
                </c:pt>
                <c:pt idx="104">
                  <c:v>34.906999999999996</c:v>
                </c:pt>
                <c:pt idx="105">
                  <c:v>33.331000000000003</c:v>
                </c:pt>
                <c:pt idx="106">
                  <c:v>32.353999999999999</c:v>
                </c:pt>
                <c:pt idx="107">
                  <c:v>34.801000000000002</c:v>
                </c:pt>
                <c:pt idx="108">
                  <c:v>37.040999999999997</c:v>
                </c:pt>
                <c:pt idx="109">
                  <c:v>39.542999999999999</c:v>
                </c:pt>
                <c:pt idx="110">
                  <c:v>44.697000000000003</c:v>
                </c:pt>
                <c:pt idx="111">
                  <c:v>44.503</c:v>
                </c:pt>
                <c:pt idx="112">
                  <c:v>44.204999999999998</c:v>
                </c:pt>
                <c:pt idx="113">
                  <c:v>37.316000000000003</c:v>
                </c:pt>
                <c:pt idx="114">
                  <c:v>32.853000000000002</c:v>
                </c:pt>
                <c:pt idx="115">
                  <c:v>33.957999999999998</c:v>
                </c:pt>
                <c:pt idx="116">
                  <c:v>32.325000000000003</c:v>
                </c:pt>
                <c:pt idx="117">
                  <c:v>32.633000000000003</c:v>
                </c:pt>
                <c:pt idx="118">
                  <c:v>34.520000000000003</c:v>
                </c:pt>
                <c:pt idx="119">
                  <c:v>33.783000000000001</c:v>
                </c:pt>
                <c:pt idx="120">
                  <c:v>31.526</c:v>
                </c:pt>
                <c:pt idx="121">
                  <c:v>31.67</c:v>
                </c:pt>
                <c:pt idx="122">
                  <c:v>32.667000000000002</c:v>
                </c:pt>
                <c:pt idx="123">
                  <c:v>27.992000000000001</c:v>
                </c:pt>
                <c:pt idx="124">
                  <c:v>24.02</c:v>
                </c:pt>
                <c:pt idx="125">
                  <c:v>23.713999999999999</c:v>
                </c:pt>
                <c:pt idx="126">
                  <c:v>23.933</c:v>
                </c:pt>
                <c:pt idx="127">
                  <c:v>24.064</c:v>
                </c:pt>
                <c:pt idx="128">
                  <c:v>27.332000000000001</c:v>
                </c:pt>
                <c:pt idx="129">
                  <c:v>28.672000000000001</c:v>
                </c:pt>
                <c:pt idx="130">
                  <c:v>29.146000000000001</c:v>
                </c:pt>
                <c:pt idx="131">
                  <c:v>28.201000000000001</c:v>
                </c:pt>
                <c:pt idx="132">
                  <c:v>29.259</c:v>
                </c:pt>
                <c:pt idx="133">
                  <c:v>30.815000000000001</c:v>
                </c:pt>
                <c:pt idx="134">
                  <c:v>34.601999999999997</c:v>
                </c:pt>
                <c:pt idx="135">
                  <c:v>33.549999999999997</c:v>
                </c:pt>
                <c:pt idx="136">
                  <c:v>30.483000000000001</c:v>
                </c:pt>
                <c:pt idx="137">
                  <c:v>33.716000000000001</c:v>
                </c:pt>
                <c:pt idx="138">
                  <c:v>36.69</c:v>
                </c:pt>
                <c:pt idx="139">
                  <c:v>44.148000000000003</c:v>
                </c:pt>
                <c:pt idx="140">
                  <c:v>41.985999999999997</c:v>
                </c:pt>
                <c:pt idx="141">
                  <c:v>30.914000000000001</c:v>
                </c:pt>
                <c:pt idx="142">
                  <c:v>30.623000000000001</c:v>
                </c:pt>
                <c:pt idx="143">
                  <c:v>31.399000000000001</c:v>
                </c:pt>
                <c:pt idx="144">
                  <c:v>33.191000000000003</c:v>
                </c:pt>
                <c:pt idx="145">
                  <c:v>34.927999999999997</c:v>
                </c:pt>
                <c:pt idx="146">
                  <c:v>32.387</c:v>
                </c:pt>
                <c:pt idx="147">
                  <c:v>35.825000000000003</c:v>
                </c:pt>
                <c:pt idx="148">
                  <c:v>37.908999999999999</c:v>
                </c:pt>
                <c:pt idx="149">
                  <c:v>39.917000000000002</c:v>
                </c:pt>
                <c:pt idx="150">
                  <c:v>41.435000000000002</c:v>
                </c:pt>
                <c:pt idx="151">
                  <c:v>40.258000000000003</c:v>
                </c:pt>
                <c:pt idx="152">
                  <c:v>40.523000000000003</c:v>
                </c:pt>
                <c:pt idx="153">
                  <c:v>44.271999999999998</c:v>
                </c:pt>
                <c:pt idx="154">
                  <c:v>48.582999999999998</c:v>
                </c:pt>
                <c:pt idx="155">
                  <c:v>45.906999999999996</c:v>
                </c:pt>
                <c:pt idx="156">
                  <c:v>50.466000000000001</c:v>
                </c:pt>
                <c:pt idx="157">
                  <c:v>55.429000000000002</c:v>
                </c:pt>
                <c:pt idx="158">
                  <c:v>58.47</c:v>
                </c:pt>
                <c:pt idx="159">
                  <c:v>66.256</c:v>
                </c:pt>
                <c:pt idx="160">
                  <c:v>61.17</c:v>
                </c:pt>
                <c:pt idx="161">
                  <c:v>54.680999999999997</c:v>
                </c:pt>
                <c:pt idx="162">
                  <c:v>55.978999999999999</c:v>
                </c:pt>
                <c:pt idx="163">
                  <c:v>58.932000000000002</c:v>
                </c:pt>
                <c:pt idx="164">
                  <c:v>69.555000000000007</c:v>
                </c:pt>
                <c:pt idx="165">
                  <c:v>72.893000000000001</c:v>
                </c:pt>
                <c:pt idx="166">
                  <c:v>65.665000000000006</c:v>
                </c:pt>
                <c:pt idx="167">
                  <c:v>72.78</c:v>
                </c:pt>
                <c:pt idx="168">
                  <c:v>74.668000000000006</c:v>
                </c:pt>
                <c:pt idx="169">
                  <c:v>80.468999999999994</c:v>
                </c:pt>
                <c:pt idx="170">
                  <c:v>85.001999999999995</c:v>
                </c:pt>
                <c:pt idx="171">
                  <c:v>83.137</c:v>
                </c:pt>
                <c:pt idx="172">
                  <c:v>71.436000000000007</c:v>
                </c:pt>
                <c:pt idx="173">
                  <c:v>70.834999999999994</c:v>
                </c:pt>
                <c:pt idx="174">
                  <c:v>77.572999999999993</c:v>
                </c:pt>
                <c:pt idx="175">
                  <c:v>76.174000000000007</c:v>
                </c:pt>
                <c:pt idx="176">
                  <c:v>78.376000000000005</c:v>
                </c:pt>
                <c:pt idx="177">
                  <c:v>86.11</c:v>
                </c:pt>
                <c:pt idx="178">
                  <c:v>88.465000000000003</c:v>
                </c:pt>
                <c:pt idx="179">
                  <c:v>88.298000000000002</c:v>
                </c:pt>
                <c:pt idx="180">
                  <c:v>90.753</c:v>
                </c:pt>
                <c:pt idx="181">
                  <c:v>92.921000000000006</c:v>
                </c:pt>
                <c:pt idx="182">
                  <c:v>81.135000000000005</c:v>
                </c:pt>
                <c:pt idx="183">
                  <c:v>75.39</c:v>
                </c:pt>
                <c:pt idx="184">
                  <c:v>74.805999999999997</c:v>
                </c:pt>
                <c:pt idx="185">
                  <c:v>79.266000000000005</c:v>
                </c:pt>
                <c:pt idx="186">
                  <c:v>71.754999999999995</c:v>
                </c:pt>
                <c:pt idx="187">
                  <c:v>74.921000000000006</c:v>
                </c:pt>
                <c:pt idx="188">
                  <c:v>78.566999999999993</c:v>
                </c:pt>
                <c:pt idx="189">
                  <c:v>82.909000000000006</c:v>
                </c:pt>
                <c:pt idx="190">
                  <c:v>84.956000000000003</c:v>
                </c:pt>
                <c:pt idx="191">
                  <c:v>87.757999999999996</c:v>
                </c:pt>
                <c:pt idx="192">
                  <c:v>90.98</c:v>
                </c:pt>
                <c:pt idx="193">
                  <c:v>88.013000000000005</c:v>
                </c:pt>
                <c:pt idx="194">
                  <c:v>94.432000000000002</c:v>
                </c:pt>
                <c:pt idx="195">
                  <c:v>101.328</c:v>
                </c:pt>
                <c:pt idx="196">
                  <c:v>116.7</c:v>
                </c:pt>
                <c:pt idx="197">
                  <c:v>112.179</c:v>
                </c:pt>
                <c:pt idx="198">
                  <c:v>110.63800000000001</c:v>
                </c:pt>
                <c:pt idx="199">
                  <c:v>117.16</c:v>
                </c:pt>
                <c:pt idx="200">
                  <c:v>134.75200000000001</c:v>
                </c:pt>
                <c:pt idx="201">
                  <c:v>147.30199999999999</c:v>
                </c:pt>
                <c:pt idx="202">
                  <c:v>165.03100000000001</c:v>
                </c:pt>
                <c:pt idx="203">
                  <c:v>168.06700000000001</c:v>
                </c:pt>
                <c:pt idx="204">
                  <c:v>172.68899999999999</c:v>
                </c:pt>
                <c:pt idx="205">
                  <c:v>145.24100000000001</c:v>
                </c:pt>
                <c:pt idx="206">
                  <c:v>131.761</c:v>
                </c:pt>
                <c:pt idx="207">
                  <c:v>100.34399999999999</c:v>
                </c:pt>
                <c:pt idx="208">
                  <c:v>81.215000000000003</c:v>
                </c:pt>
                <c:pt idx="209">
                  <c:v>62.917999999999999</c:v>
                </c:pt>
                <c:pt idx="210">
                  <c:v>62.728999999999999</c:v>
                </c:pt>
                <c:pt idx="211">
                  <c:v>54.933</c:v>
                </c:pt>
                <c:pt idx="212">
                  <c:v>55.835999999999999</c:v>
                </c:pt>
                <c:pt idx="213">
                  <c:v>60.335999999999999</c:v>
                </c:pt>
                <c:pt idx="214">
                  <c:v>65.596999999999994</c:v>
                </c:pt>
                <c:pt idx="215">
                  <c:v>78.441000000000003</c:v>
                </c:pt>
                <c:pt idx="216">
                  <c:v>73.402000000000001</c:v>
                </c:pt>
                <c:pt idx="217">
                  <c:v>80.650000000000006</c:v>
                </c:pt>
                <c:pt idx="218">
                  <c:v>76.793000000000006</c:v>
                </c:pt>
                <c:pt idx="219">
                  <c:v>83.055999999999997</c:v>
                </c:pt>
                <c:pt idx="220">
                  <c:v>85.647999999999996</c:v>
                </c:pt>
                <c:pt idx="221">
                  <c:v>84.587999999999994</c:v>
                </c:pt>
                <c:pt idx="222">
                  <c:v>86.88</c:v>
                </c:pt>
                <c:pt idx="223">
                  <c:v>84.084000000000003</c:v>
                </c:pt>
                <c:pt idx="224">
                  <c:v>90.02</c:v>
                </c:pt>
                <c:pt idx="225">
                  <c:v>96.37</c:v>
                </c:pt>
                <c:pt idx="226">
                  <c:v>89.06</c:v>
                </c:pt>
                <c:pt idx="227">
                  <c:v>89.326999999999998</c:v>
                </c:pt>
                <c:pt idx="228">
                  <c:v>87.27</c:v>
                </c:pt>
                <c:pt idx="229">
                  <c:v>89.116</c:v>
                </c:pt>
                <c:pt idx="230">
                  <c:v>90.034999999999997</c:v>
                </c:pt>
                <c:pt idx="231">
                  <c:v>96.29</c:v>
                </c:pt>
                <c:pt idx="232">
                  <c:v>98.819000000000003</c:v>
                </c:pt>
                <c:pt idx="233">
                  <c:v>105.15300000000001</c:v>
                </c:pt>
                <c:pt idx="234">
                  <c:v>112.294</c:v>
                </c:pt>
                <c:pt idx="235">
                  <c:v>122.08199999999999</c:v>
                </c:pt>
                <c:pt idx="236">
                  <c:v>134.64400000000001</c:v>
                </c:pt>
                <c:pt idx="237">
                  <c:v>141.518</c:v>
                </c:pt>
                <c:pt idx="238">
                  <c:v>131.01</c:v>
                </c:pt>
                <c:pt idx="239">
                  <c:v>130.99299999999999</c:v>
                </c:pt>
                <c:pt idx="240">
                  <c:v>133.517</c:v>
                </c:pt>
                <c:pt idx="241">
                  <c:v>127.94799999999999</c:v>
                </c:pt>
                <c:pt idx="242">
                  <c:v>127.051</c:v>
                </c:pt>
                <c:pt idx="243">
                  <c:v>127.453</c:v>
                </c:pt>
                <c:pt idx="244">
                  <c:v>131.94800000000001</c:v>
                </c:pt>
                <c:pt idx="245">
                  <c:v>125.19199999999999</c:v>
                </c:pt>
                <c:pt idx="246">
                  <c:v>129.61000000000001</c:v>
                </c:pt>
                <c:pt idx="247">
                  <c:v>135.179</c:v>
                </c:pt>
                <c:pt idx="248">
                  <c:v>139.126</c:v>
                </c:pt>
                <c:pt idx="249">
                  <c:v>136.792</c:v>
                </c:pt>
                <c:pt idx="250">
                  <c:v>128.04900000000001</c:v>
                </c:pt>
                <c:pt idx="251">
                  <c:v>113.96299999999999</c:v>
                </c:pt>
                <c:pt idx="252">
                  <c:v>121.36799999999999</c:v>
                </c:pt>
                <c:pt idx="253">
                  <c:v>133.297</c:v>
                </c:pt>
                <c:pt idx="254">
                  <c:v>136.62899999999999</c:v>
                </c:pt>
                <c:pt idx="255">
                  <c:v>134.18899999999999</c:v>
                </c:pt>
                <c:pt idx="256">
                  <c:v>128.72900000000001</c:v>
                </c:pt>
                <c:pt idx="257">
                  <c:v>128.06100000000001</c:v>
                </c:pt>
                <c:pt idx="258">
                  <c:v>132.232</c:v>
                </c:pt>
                <c:pt idx="259">
                  <c:v>137.238</c:v>
                </c:pt>
                <c:pt idx="260">
                  <c:v>126.10899999999999</c:v>
                </c:pt>
                <c:pt idx="261">
                  <c:v>117.94</c:v>
                </c:pt>
                <c:pt idx="262">
                  <c:v>117.07599999999999</c:v>
                </c:pt>
                <c:pt idx="263">
                  <c:v>119.67</c:v>
                </c:pt>
                <c:pt idx="264">
                  <c:v>123.953</c:v>
                </c:pt>
                <c:pt idx="265">
                  <c:v>127.336</c:v>
                </c:pt>
                <c:pt idx="266">
                  <c:v>127.286</c:v>
                </c:pt>
                <c:pt idx="267">
                  <c:v>126.396</c:v>
                </c:pt>
                <c:pt idx="268">
                  <c:v>124.85</c:v>
                </c:pt>
                <c:pt idx="269">
                  <c:v>127.97199999999999</c:v>
                </c:pt>
                <c:pt idx="270">
                  <c:v>124.883</c:v>
                </c:pt>
                <c:pt idx="271">
                  <c:v>125.048</c:v>
                </c:pt>
                <c:pt idx="272">
                  <c:v>121.79300000000001</c:v>
                </c:pt>
                <c:pt idx="273">
                  <c:v>122.377</c:v>
                </c:pt>
                <c:pt idx="274">
                  <c:v>122.994</c:v>
                </c:pt>
                <c:pt idx="275">
                  <c:v>124.04600000000001</c:v>
                </c:pt>
                <c:pt idx="276">
                  <c:v>122.65300000000001</c:v>
                </c:pt>
                <c:pt idx="277">
                  <c:v>119.85299999999999</c:v>
                </c:pt>
                <c:pt idx="278">
                  <c:v>114.6</c:v>
                </c:pt>
                <c:pt idx="279">
                  <c:v>105.405</c:v>
                </c:pt>
                <c:pt idx="280">
                  <c:v>99.134</c:v>
                </c:pt>
                <c:pt idx="281">
                  <c:v>81.703000000000003</c:v>
                </c:pt>
                <c:pt idx="282">
                  <c:v>67.194000000000003</c:v>
                </c:pt>
                <c:pt idx="283">
                  <c:v>76.444000000000003</c:v>
                </c:pt>
                <c:pt idx="284">
                  <c:v>72.013999999999996</c:v>
                </c:pt>
                <c:pt idx="285">
                  <c:v>74.364999999999995</c:v>
                </c:pt>
                <c:pt idx="286">
                  <c:v>78.813999999999993</c:v>
                </c:pt>
                <c:pt idx="287">
                  <c:v>76.814999999999998</c:v>
                </c:pt>
                <c:pt idx="288">
                  <c:v>68.546999999999997</c:v>
                </c:pt>
                <c:pt idx="289">
                  <c:v>60.448</c:v>
                </c:pt>
                <c:pt idx="290">
                  <c:v>61.814999999999998</c:v>
                </c:pt>
                <c:pt idx="291">
                  <c:v>60.093000000000004</c:v>
                </c:pt>
                <c:pt idx="292">
                  <c:v>57.704000000000001</c:v>
                </c:pt>
                <c:pt idx="293">
                  <c:v>48.640999999999998</c:v>
                </c:pt>
                <c:pt idx="294">
                  <c:v>39.771000000000001</c:v>
                </c:pt>
                <c:pt idx="295">
                  <c:v>41.939</c:v>
                </c:pt>
                <c:pt idx="296">
                  <c:v>47.749000000000002</c:v>
                </c:pt>
                <c:pt idx="297">
                  <c:v>50.393999999999998</c:v>
                </c:pt>
                <c:pt idx="298">
                  <c:v>56.298000000000002</c:v>
                </c:pt>
                <c:pt idx="299">
                  <c:v>59.238999999999997</c:v>
                </c:pt>
                <c:pt idx="300">
                  <c:v>54.933999999999997</c:v>
                </c:pt>
                <c:pt idx="301">
                  <c:v>54.956000000000003</c:v>
                </c:pt>
                <c:pt idx="302">
                  <c:v>56.182000000000002</c:v>
                </c:pt>
                <c:pt idx="303">
                  <c:v>61.588000000000001</c:v>
                </c:pt>
                <c:pt idx="304">
                  <c:v>57.704999999999998</c:v>
                </c:pt>
                <c:pt idx="305">
                  <c:v>65.001000000000005</c:v>
                </c:pt>
                <c:pt idx="306">
                  <c:v>65.903999999999996</c:v>
                </c:pt>
                <c:pt idx="307">
                  <c:v>66.778000000000006</c:v>
                </c:pt>
                <c:pt idx="308">
                  <c:v>62.603000000000002</c:v>
                </c:pt>
                <c:pt idx="309">
                  <c:v>64.688000000000002</c:v>
                </c:pt>
                <c:pt idx="310">
                  <c:v>61.585000000000001</c:v>
                </c:pt>
                <c:pt idx="311">
                  <c:v>58.110999999999997</c:v>
                </c:pt>
                <c:pt idx="312">
                  <c:v>61.805999999999997</c:v>
                </c:pt>
                <c:pt idx="313">
                  <c:v>65.710999999999999</c:v>
                </c:pt>
                <c:pt idx="314">
                  <c:v>70.626000000000005</c:v>
                </c:pt>
                <c:pt idx="315">
                  <c:v>70.730999999999995</c:v>
                </c:pt>
                <c:pt idx="316">
                  <c:v>76.921999999999997</c:v>
                </c:pt>
                <c:pt idx="317">
                  <c:v>77.650999999999996</c:v>
                </c:pt>
                <c:pt idx="318">
                  <c:v>83.385000000000005</c:v>
                </c:pt>
                <c:pt idx="319">
                  <c:v>81.385000000000005</c:v>
                </c:pt>
                <c:pt idx="320">
                  <c:v>81.555000000000007</c:v>
                </c:pt>
                <c:pt idx="321">
                  <c:v>87.927999999999997</c:v>
                </c:pt>
                <c:pt idx="322">
                  <c:v>92.638999999999996</c:v>
                </c:pt>
                <c:pt idx="323">
                  <c:v>89.224000000000004</c:v>
                </c:pt>
                <c:pt idx="324">
                  <c:v>89.18</c:v>
                </c:pt>
                <c:pt idx="325">
                  <c:v>88.375</c:v>
                </c:pt>
                <c:pt idx="326">
                  <c:v>92.605999999999995</c:v>
                </c:pt>
                <c:pt idx="327">
                  <c:v>97.634</c:v>
                </c:pt>
                <c:pt idx="328">
                  <c:v>85.296999999999997</c:v>
                </c:pt>
                <c:pt idx="329">
                  <c:v>75.472999999999999</c:v>
                </c:pt>
                <c:pt idx="330">
                  <c:v>76.453999999999994</c:v>
                </c:pt>
                <c:pt idx="331">
                  <c:v>80.155000000000001</c:v>
                </c:pt>
                <c:pt idx="332">
                  <c:v>81.819000000000003</c:v>
                </c:pt>
                <c:pt idx="333">
                  <c:v>84.087000000000003</c:v>
                </c:pt>
                <c:pt idx="334">
                  <c:v>84.293000000000006</c:v>
                </c:pt>
                <c:pt idx="335">
                  <c:v>77.728999999999999</c:v>
                </c:pt>
                <c:pt idx="336">
                  <c:v>81.271000000000001</c:v>
                </c:pt>
                <c:pt idx="337">
                  <c:v>76.974000000000004</c:v>
                </c:pt>
                <c:pt idx="338">
                  <c:v>81.03</c:v>
                </c:pt>
                <c:pt idx="339">
                  <c:v>79.808999999999997</c:v>
                </c:pt>
                <c:pt idx="340">
                  <c:v>78.774000000000001</c:v>
                </c:pt>
                <c:pt idx="341">
                  <c:v>80.546000000000006</c:v>
                </c:pt>
                <c:pt idx="342">
                  <c:v>77.186999999999998</c:v>
                </c:pt>
                <c:pt idx="343">
                  <c:v>66.326999999999998</c:v>
                </c:pt>
                <c:pt idx="344">
                  <c:v>40.911000000000001</c:v>
                </c:pt>
                <c:pt idx="345">
                  <c:v>23.033999999999999</c:v>
                </c:pt>
                <c:pt idx="346">
                  <c:v>27.922999999999998</c:v>
                </c:pt>
                <c:pt idx="347">
                  <c:v>40.555999999999997</c:v>
                </c:pt>
                <c:pt idx="348">
                  <c:v>44.094000000000001</c:v>
                </c:pt>
                <c:pt idx="349">
                  <c:v>43.996000000000002</c:v>
                </c:pt>
                <c:pt idx="350">
                  <c:v>39.618000000000002</c:v>
                </c:pt>
                <c:pt idx="351">
                  <c:v>42.048999999999999</c:v>
                </c:pt>
                <c:pt idx="352">
                  <c:v>45.912999999999997</c:v>
                </c:pt>
                <c:pt idx="353">
                  <c:v>54.347000000000001</c:v>
                </c:pt>
                <c:pt idx="354">
                  <c:v>59.53</c:v>
                </c:pt>
                <c:pt idx="355">
                  <c:v>66.191999999999993</c:v>
                </c:pt>
                <c:pt idx="356">
                  <c:v>68.260000000000005</c:v>
                </c:pt>
                <c:pt idx="357">
                  <c:v>68.555000000000007</c:v>
                </c:pt>
                <c:pt idx="358">
                  <c:v>73.17</c:v>
                </c:pt>
                <c:pt idx="359">
                  <c:v>77.608000000000004</c:v>
                </c:pt>
                <c:pt idx="360">
                  <c:v>79.227999999999994</c:v>
                </c:pt>
                <c:pt idx="361">
                  <c:v>76.730999999999995</c:v>
                </c:pt>
                <c:pt idx="362">
                  <c:v>82.843000000000004</c:v>
                </c:pt>
                <c:pt idx="363">
                  <c:v>95.650999999999996</c:v>
                </c:pt>
                <c:pt idx="364">
                  <c:v>91.397000000000006</c:v>
                </c:pt>
                <c:pt idx="365">
                  <c:v>86.430999999999997</c:v>
                </c:pt>
                <c:pt idx="366">
                  <c:v>101.76300000000001</c:v>
                </c:pt>
                <c:pt idx="367">
                  <c:v>111.164</c:v>
                </c:pt>
                <c:pt idx="368">
                  <c:v>151.691</c:v>
                </c:pt>
                <c:pt idx="369">
                  <c:v>154.613</c:v>
                </c:pt>
                <c:pt idx="370">
                  <c:v>162.173</c:v>
                </c:pt>
                <c:pt idx="371">
                  <c:v>178.416</c:v>
                </c:pt>
                <c:pt idx="372">
                  <c:v>147.821</c:v>
                </c:pt>
                <c:pt idx="373">
                  <c:v>142.88900000000001</c:v>
                </c:pt>
                <c:pt idx="374">
                  <c:v>134.81</c:v>
                </c:pt>
                <c:pt idx="375">
                  <c:v>139.029</c:v>
                </c:pt>
                <c:pt idx="376">
                  <c:v>132.10400000000001</c:v>
                </c:pt>
                <c:pt idx="377">
                  <c:v>121.136</c:v>
                </c:pt>
                <c:pt idx="378">
                  <c:v>128.43299999999999</c:v>
                </c:pt>
                <c:pt idx="379">
                  <c:v>112.321</c:v>
                </c:pt>
                <c:pt idx="380">
                  <c:v>104.126</c:v>
                </c:pt>
                <c:pt idx="381">
                  <c:v>100.523</c:v>
                </c:pt>
                <c:pt idx="382">
                  <c:v>91.754000000000005</c:v>
                </c:pt>
                <c:pt idx="383">
                  <c:v>94.664000000000001</c:v>
                </c:pt>
                <c:pt idx="384">
                  <c:v>106.152</c:v>
                </c:pt>
                <c:pt idx="385">
                  <c:v>124.306</c:v>
                </c:pt>
                <c:pt idx="386">
                  <c:v>131.46899999999999</c:v>
                </c:pt>
                <c:pt idx="387">
                  <c:v>123.55500000000001</c:v>
                </c:pt>
                <c:pt idx="388">
                  <c:v>117.19199999999999</c:v>
                </c:pt>
                <c:pt idx="389">
                  <c:v>107.593</c:v>
                </c:pt>
                <c:pt idx="390">
                  <c:v>111.536</c:v>
                </c:pt>
                <c:pt idx="391">
                  <c:v>114.349</c:v>
                </c:pt>
                <c:pt idx="392">
                  <c:v>109.08499999999999</c:v>
                </c:pt>
                <c:pt idx="393">
                  <c:v>108.20099999999999</c:v>
                </c:pt>
                <c:pt idx="394">
                  <c:v>102.85</c:v>
                </c:pt>
                <c:pt idx="395">
                  <c:v>103.042</c:v>
                </c:pt>
                <c:pt idx="396">
                  <c:v>104.203</c:v>
                </c:pt>
                <c:pt idx="397">
                  <c:v>96.234999999999999</c:v>
                </c:pt>
                <c:pt idx="398">
                  <c:v>88.381</c:v>
                </c:pt>
                <c:pt idx="399">
                  <c:v>91.221000000000004</c:v>
                </c:pt>
                <c:pt idx="400">
                  <c:v>91.58</c:v>
                </c:pt>
                <c:pt idx="401">
                  <c:v>89.352000000000004</c:v>
                </c:pt>
                <c:pt idx="402">
                  <c:v>96.335999999999999</c:v>
                </c:pt>
                <c:pt idx="403">
                  <c:v>94.75</c:v>
                </c:pt>
                <c:pt idx="404">
                  <c:v>90.323999999999998</c:v>
                </c:pt>
                <c:pt idx="405">
                  <c:v>85.834000000000003</c:v>
                </c:pt>
                <c:pt idx="406">
                  <c:v>83.727999999999994</c:v>
                </c:pt>
                <c:pt idx="407">
                  <c:v>91.524000000000001</c:v>
                </c:pt>
                <c:pt idx="408">
                  <c:v>94.119</c:v>
                </c:pt>
                <c:pt idx="409">
                  <c:v>89.65</c:v>
                </c:pt>
                <c:pt idx="410">
                  <c:v>92.587999999999994</c:v>
                </c:pt>
                <c:pt idx="411">
                  <c:v>91.876999999999995</c:v>
                </c:pt>
                <c:pt idx="412">
                  <c:v>97.92</c:v>
                </c:pt>
                <c:pt idx="413">
                  <c:v>90.155000000000001</c:v>
                </c:pt>
                <c:pt idx="414">
                  <c:v>92.671999999999997</c:v>
                </c:pt>
                <c:pt idx="415">
                  <c:v>99.119</c:v>
                </c:pt>
                <c:pt idx="416">
                  <c:v>196.99100000000001</c:v>
                </c:pt>
                <c:pt idx="417">
                  <c:v>197.80600000000001</c:v>
                </c:pt>
                <c:pt idx="418">
                  <c:v>162.88499999999999</c:v>
                </c:pt>
                <c:pt idx="419">
                  <c:v>151.2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F73-4169-8372-8A3F3D7FF7A4}"/>
            </c:ext>
          </c:extLst>
        </c:ser>
        <c:ser>
          <c:idx val="1"/>
          <c:order val="1"/>
          <c:spPr>
            <a:ln w="2540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PD$2</c:f>
              <c:numCache>
                <c:formatCode>General</c:formatCode>
                <c:ptCount val="420"/>
                <c:pt idx="0">
                  <c:v>63.607061380323053</c:v>
                </c:pt>
                <c:pt idx="1">
                  <c:v>64.710506881405564</c:v>
                </c:pt>
                <c:pt idx="2">
                  <c:v>66.46720934306569</c:v>
                </c:pt>
                <c:pt idx="3">
                  <c:v>70.886020408163276</c:v>
                </c:pt>
                <c:pt idx="4">
                  <c:v>68.072707982583452</c:v>
                </c:pt>
                <c:pt idx="5">
                  <c:v>57.070923010130244</c:v>
                </c:pt>
                <c:pt idx="6">
                  <c:v>57.801543890093988</c:v>
                </c:pt>
                <c:pt idx="7">
                  <c:v>54.98067575757576</c:v>
                </c:pt>
                <c:pt idx="8">
                  <c:v>51.845086843997123</c:v>
                </c:pt>
                <c:pt idx="9">
                  <c:v>55.386311908177902</c:v>
                </c:pt>
                <c:pt idx="10">
                  <c:v>57.484817752326421</c:v>
                </c:pt>
                <c:pt idx="11">
                  <c:v>61.537236830835113</c:v>
                </c:pt>
                <c:pt idx="12">
                  <c:v>61.201225195729535</c:v>
                </c:pt>
                <c:pt idx="13">
                  <c:v>58.473006534090899</c:v>
                </c:pt>
                <c:pt idx="14">
                  <c:v>61.005960453579014</c:v>
                </c:pt>
                <c:pt idx="15">
                  <c:v>64.075394636556112</c:v>
                </c:pt>
                <c:pt idx="16">
                  <c:v>59.707871921182267</c:v>
                </c:pt>
                <c:pt idx="17">
                  <c:v>57.302048208011236</c:v>
                </c:pt>
                <c:pt idx="18">
                  <c:v>55.567301960784306</c:v>
                </c:pt>
                <c:pt idx="19">
                  <c:v>56.292914046121595</c:v>
                </c:pt>
                <c:pt idx="20">
                  <c:v>57.142112770411714</c:v>
                </c:pt>
                <c:pt idx="21">
                  <c:v>55.722852573018073</c:v>
                </c:pt>
                <c:pt idx="22">
                  <c:v>54.298863106796119</c:v>
                </c:pt>
                <c:pt idx="23">
                  <c:v>52.491179902979901</c:v>
                </c:pt>
                <c:pt idx="24">
                  <c:v>50.084383806228374</c:v>
                </c:pt>
                <c:pt idx="25">
                  <c:v>50.215810082872913</c:v>
                </c:pt>
                <c:pt idx="26">
                  <c:v>51.436061793103441</c:v>
                </c:pt>
                <c:pt idx="27">
                  <c:v>54.635891346153841</c:v>
                </c:pt>
                <c:pt idx="28">
                  <c:v>53.142720821917806</c:v>
                </c:pt>
                <c:pt idx="29">
                  <c:v>48.328888038277498</c:v>
                </c:pt>
                <c:pt idx="30">
                  <c:v>47.377620095693771</c:v>
                </c:pt>
                <c:pt idx="31">
                  <c:v>45.462698159509202</c:v>
                </c:pt>
                <c:pt idx="32">
                  <c:v>44.811487423521406</c:v>
                </c:pt>
                <c:pt idx="33">
                  <c:v>46.162516711956528</c:v>
                </c:pt>
                <c:pt idx="34">
                  <c:v>46.181850305084744</c:v>
                </c:pt>
                <c:pt idx="35">
                  <c:v>46.110087626774849</c:v>
                </c:pt>
                <c:pt idx="36">
                  <c:v>46.709388679245272</c:v>
                </c:pt>
                <c:pt idx="37">
                  <c:v>47.290498523489937</c:v>
                </c:pt>
                <c:pt idx="38">
                  <c:v>47.588075150703268</c:v>
                </c:pt>
                <c:pt idx="39">
                  <c:v>49.482844444444446</c:v>
                </c:pt>
                <c:pt idx="40">
                  <c:v>48.91788971962616</c:v>
                </c:pt>
                <c:pt idx="41">
                  <c:v>44.757957095269816</c:v>
                </c:pt>
                <c:pt idx="42">
                  <c:v>45.026293953488363</c:v>
                </c:pt>
                <c:pt idx="43">
                  <c:v>45.712027170311465</c:v>
                </c:pt>
                <c:pt idx="44">
                  <c:v>46.818983333333328</c:v>
                </c:pt>
                <c:pt idx="45">
                  <c:v>47.895878656126477</c:v>
                </c:pt>
                <c:pt idx="46">
                  <c:v>47.245954635108482</c:v>
                </c:pt>
                <c:pt idx="47">
                  <c:v>45.908860629921257</c:v>
                </c:pt>
                <c:pt idx="48">
                  <c:v>46.940940366972477</c:v>
                </c:pt>
                <c:pt idx="49">
                  <c:v>46.591839764551985</c:v>
                </c:pt>
                <c:pt idx="50">
                  <c:v>48.979973873285431</c:v>
                </c:pt>
                <c:pt idx="51">
                  <c:v>47.412368078175895</c:v>
                </c:pt>
                <c:pt idx="52">
                  <c:v>48.586371502927783</c:v>
                </c:pt>
                <c:pt idx="53">
                  <c:v>53.427684210526309</c:v>
                </c:pt>
                <c:pt idx="54">
                  <c:v>51.703542081447964</c:v>
                </c:pt>
                <c:pt idx="55">
                  <c:v>53.487950193548386</c:v>
                </c:pt>
                <c:pt idx="56">
                  <c:v>57.561361028938904</c:v>
                </c:pt>
                <c:pt idx="57">
                  <c:v>54.180889686098652</c:v>
                </c:pt>
                <c:pt idx="58">
                  <c:v>50.584613810741686</c:v>
                </c:pt>
                <c:pt idx="59">
                  <c:v>50.122068283343964</c:v>
                </c:pt>
                <c:pt idx="60">
                  <c:v>53.751411847133753</c:v>
                </c:pt>
                <c:pt idx="61">
                  <c:v>56.453520737913486</c:v>
                </c:pt>
                <c:pt idx="62">
                  <c:v>66.553078376664558</c:v>
                </c:pt>
                <c:pt idx="63">
                  <c:v>69.23853982300885</c:v>
                </c:pt>
                <c:pt idx="64">
                  <c:v>64.544903969754259</c:v>
                </c:pt>
                <c:pt idx="65">
                  <c:v>64.993915021998745</c:v>
                </c:pt>
                <c:pt idx="66">
                  <c:v>64.487433249686319</c:v>
                </c:pt>
                <c:pt idx="67">
                  <c:v>53.552115341264873</c:v>
                </c:pt>
                <c:pt idx="68">
                  <c:v>50.004248560700873</c:v>
                </c:pt>
                <c:pt idx="69">
                  <c:v>48.564017761100686</c:v>
                </c:pt>
                <c:pt idx="70">
                  <c:v>49.833718824265162</c:v>
                </c:pt>
                <c:pt idx="71">
                  <c:v>46.858258676654181</c:v>
                </c:pt>
                <c:pt idx="72">
                  <c:v>46.899866458852863</c:v>
                </c:pt>
                <c:pt idx="73">
                  <c:v>48.428645895522379</c:v>
                </c:pt>
                <c:pt idx="74">
                  <c:v>47.690933126550867</c:v>
                </c:pt>
                <c:pt idx="75">
                  <c:v>51.576470712074304</c:v>
                </c:pt>
                <c:pt idx="76">
                  <c:v>51.759741125541126</c:v>
                </c:pt>
                <c:pt idx="77">
                  <c:v>47.220622496909762</c:v>
                </c:pt>
                <c:pt idx="78">
                  <c:v>41.927008148148147</c:v>
                </c:pt>
                <c:pt idx="79">
                  <c:v>39.244666049382715</c:v>
                </c:pt>
                <c:pt idx="80">
                  <c:v>35.903361234567903</c:v>
                </c:pt>
                <c:pt idx="81">
                  <c:v>36.941202712700367</c:v>
                </c:pt>
                <c:pt idx="82">
                  <c:v>36.737548093480939</c:v>
                </c:pt>
                <c:pt idx="83">
                  <c:v>32.820422727272721</c:v>
                </c:pt>
                <c:pt idx="84">
                  <c:v>31.953434436274513</c:v>
                </c:pt>
                <c:pt idx="85">
                  <c:v>30.335140881272949</c:v>
                </c:pt>
                <c:pt idx="86">
                  <c:v>35.782265198776756</c:v>
                </c:pt>
                <c:pt idx="87">
                  <c:v>35.874751433801087</c:v>
                </c:pt>
                <c:pt idx="88">
                  <c:v>31.107702254722732</c:v>
                </c:pt>
                <c:pt idx="89">
                  <c:v>27.806214111922138</c:v>
                </c:pt>
                <c:pt idx="90">
                  <c:v>29.584728597449907</c:v>
                </c:pt>
                <c:pt idx="91">
                  <c:v>28.847098603521552</c:v>
                </c:pt>
                <c:pt idx="92">
                  <c:v>32.899000121359215</c:v>
                </c:pt>
                <c:pt idx="93">
                  <c:v>39.930776371308013</c:v>
                </c:pt>
                <c:pt idx="94">
                  <c:v>36.795851686746978</c:v>
                </c:pt>
                <c:pt idx="95">
                  <c:v>38.350300361445775</c:v>
                </c:pt>
                <c:pt idx="96">
                  <c:v>45.029187642471506</c:v>
                </c:pt>
                <c:pt idx="97">
                  <c:v>48.648680430879715</c:v>
                </c:pt>
                <c:pt idx="98">
                  <c:v>52.785849463647189</c:v>
                </c:pt>
                <c:pt idx="99">
                  <c:v>51.209211659726357</c:v>
                </c:pt>
                <c:pt idx="100">
                  <c:v>57.47856377672209</c:v>
                </c:pt>
                <c:pt idx="101">
                  <c:v>66.15933554502368</c:v>
                </c:pt>
                <c:pt idx="102">
                  <c:v>64.681570348493793</c:v>
                </c:pt>
                <c:pt idx="103">
                  <c:v>64.53273482352941</c:v>
                </c:pt>
                <c:pt idx="104">
                  <c:v>66.845884327485379</c:v>
                </c:pt>
                <c:pt idx="105">
                  <c:v>63.86523850204798</c:v>
                </c:pt>
                <c:pt idx="106">
                  <c:v>61.884584345794387</c:v>
                </c:pt>
                <c:pt idx="107">
                  <c:v>66.178486991869931</c:v>
                </c:pt>
                <c:pt idx="108">
                  <c:v>70.23419722061378</c:v>
                </c:pt>
                <c:pt idx="109">
                  <c:v>74.978290561667635</c:v>
                </c:pt>
                <c:pt idx="110">
                  <c:v>84.311518548387099</c:v>
                </c:pt>
                <c:pt idx="111">
                  <c:v>83.800761242093145</c:v>
                </c:pt>
                <c:pt idx="112">
                  <c:v>83.096264638346724</c:v>
                </c:pt>
                <c:pt idx="113">
                  <c:v>69.985666437571595</c:v>
                </c:pt>
                <c:pt idx="114">
                  <c:v>61.26448394077449</c:v>
                </c:pt>
                <c:pt idx="115">
                  <c:v>63.18117431818181</c:v>
                </c:pt>
                <c:pt idx="116">
                  <c:v>60.10871379897786</c:v>
                </c:pt>
                <c:pt idx="117">
                  <c:v>60.578243650793645</c:v>
                </c:pt>
                <c:pt idx="118">
                  <c:v>63.755889452904675</c:v>
                </c:pt>
                <c:pt idx="119">
                  <c:v>62.254255374226226</c:v>
                </c:pt>
                <c:pt idx="120">
                  <c:v>58.193370687711386</c:v>
                </c:pt>
                <c:pt idx="121">
                  <c:v>58.459178128523114</c:v>
                </c:pt>
                <c:pt idx="122">
                  <c:v>60.062525659741716</c:v>
                </c:pt>
                <c:pt idx="123">
                  <c:v>51.611826126126125</c:v>
                </c:pt>
                <c:pt idx="124">
                  <c:v>44.313178591549296</c:v>
                </c:pt>
                <c:pt idx="125">
                  <c:v>43.773317023675304</c:v>
                </c:pt>
                <c:pt idx="126">
                  <c:v>44.102983567810917</c:v>
                </c:pt>
                <c:pt idx="127">
                  <c:v>44.269648539325836</c:v>
                </c:pt>
                <c:pt idx="128">
                  <c:v>50.140821960784308</c:v>
                </c:pt>
                <c:pt idx="129">
                  <c:v>52.364378806469595</c:v>
                </c:pt>
                <c:pt idx="130">
                  <c:v>53.170747409470749</c:v>
                </c:pt>
                <c:pt idx="131">
                  <c:v>51.418148440979962</c:v>
                </c:pt>
                <c:pt idx="132">
                  <c:v>53.228622999999999</c:v>
                </c:pt>
                <c:pt idx="133">
                  <c:v>55.904043767313027</c:v>
                </c:pt>
                <c:pt idx="134">
                  <c:v>62.670193141592911</c:v>
                </c:pt>
                <c:pt idx="135">
                  <c:v>60.630700883002206</c:v>
                </c:pt>
                <c:pt idx="136">
                  <c:v>54.99704231404958</c:v>
                </c:pt>
                <c:pt idx="137">
                  <c:v>60.729600440044003</c:v>
                </c:pt>
                <c:pt idx="138">
                  <c:v>65.796864184008768</c:v>
                </c:pt>
                <c:pt idx="139">
                  <c:v>78.740218300653595</c:v>
                </c:pt>
                <c:pt idx="140">
                  <c:v>74.762020445894507</c:v>
                </c:pt>
                <c:pt idx="141">
                  <c:v>55.257087554585155</c:v>
                </c:pt>
                <c:pt idx="142">
                  <c:v>54.826722689994533</c:v>
                </c:pt>
                <c:pt idx="143">
                  <c:v>56.154650682687048</c:v>
                </c:pt>
                <c:pt idx="144">
                  <c:v>59.165622536744699</c:v>
                </c:pt>
                <c:pt idx="145">
                  <c:v>61.991993929539284</c:v>
                </c:pt>
                <c:pt idx="146">
                  <c:v>57.295769962182604</c:v>
                </c:pt>
                <c:pt idx="147">
                  <c:v>63.446481882098425</c:v>
                </c:pt>
                <c:pt idx="148">
                  <c:v>67.100979135135134</c:v>
                </c:pt>
                <c:pt idx="149">
                  <c:v>70.464802264150947</c:v>
                </c:pt>
                <c:pt idx="150">
                  <c:v>72.830408480944712</c:v>
                </c:pt>
                <c:pt idx="151">
                  <c:v>70.609987573647572</c:v>
                </c:pt>
                <c:pt idx="152">
                  <c:v>70.922830464991989</c:v>
                </c:pt>
                <c:pt idx="153">
                  <c:v>77.360240768409795</c:v>
                </c:pt>
                <c:pt idx="154">
                  <c:v>84.532354835281609</c:v>
                </c:pt>
                <c:pt idx="155">
                  <c:v>79.580234092112221</c:v>
                </c:pt>
                <c:pt idx="156">
                  <c:v>87.390779270227384</c:v>
                </c:pt>
                <c:pt idx="157">
                  <c:v>95.934356976744183</c:v>
                </c:pt>
                <c:pt idx="158">
                  <c:v>100.87769336143307</c:v>
                </c:pt>
                <c:pt idx="159">
                  <c:v>113.71168637316562</c:v>
                </c:pt>
                <c:pt idx="160">
                  <c:v>104.48997496087637</c:v>
                </c:pt>
                <c:pt idx="161">
                  <c:v>93.405530829420968</c:v>
                </c:pt>
                <c:pt idx="162">
                  <c:v>95.672668789144055</c:v>
                </c:pt>
                <c:pt idx="163">
                  <c:v>100.30079376299376</c:v>
                </c:pt>
                <c:pt idx="164">
                  <c:v>117.95173640600726</c:v>
                </c:pt>
                <c:pt idx="165">
                  <c:v>123.2294361383583</c:v>
                </c:pt>
                <c:pt idx="166">
                  <c:v>111.06746332644629</c:v>
                </c:pt>
                <c:pt idx="167">
                  <c:v>123.03840371708829</c:v>
                </c:pt>
                <c:pt idx="168">
                  <c:v>125.45296706003079</c:v>
                </c:pt>
                <c:pt idx="169">
                  <c:v>134.37215063742988</c:v>
                </c:pt>
                <c:pt idx="170">
                  <c:v>140.01385774647886</c:v>
                </c:pt>
                <c:pt idx="171">
                  <c:v>136.73551993972879</c:v>
                </c:pt>
                <c:pt idx="172">
                  <c:v>118.08396042402828</c:v>
                </c:pt>
                <c:pt idx="173">
                  <c:v>117.09050530035334</c:v>
                </c:pt>
                <c:pt idx="174">
                  <c:v>127.45637019568488</c:v>
                </c:pt>
                <c:pt idx="175">
                  <c:v>125.09497512537612</c:v>
                </c:pt>
                <c:pt idx="176">
                  <c:v>128.51780150225341</c:v>
                </c:pt>
                <c:pt idx="177">
                  <c:v>140.4961664175386</c:v>
                </c:pt>
                <c:pt idx="178">
                  <c:v>143.90834028812716</c:v>
                </c:pt>
                <c:pt idx="179">
                  <c:v>143.28078830525271</c:v>
                </c:pt>
                <c:pt idx="180">
                  <c:v>146.4661280433711</c:v>
                </c:pt>
                <c:pt idx="181">
                  <c:v>149.30280009813541</c:v>
                </c:pt>
                <c:pt idx="182">
                  <c:v>131.00822041420116</c:v>
                </c:pt>
                <c:pt idx="183">
                  <c:v>122.27443982169389</c:v>
                </c:pt>
                <c:pt idx="184">
                  <c:v>121.2671918811881</c:v>
                </c:pt>
                <c:pt idx="185">
                  <c:v>127.80130162481538</c:v>
                </c:pt>
                <c:pt idx="186">
                  <c:v>115.49960085923404</c:v>
                </c:pt>
                <c:pt idx="187">
                  <c:v>120.12981040611872</c:v>
                </c:pt>
                <c:pt idx="188">
                  <c:v>125.3241778379642</c:v>
                </c:pt>
                <c:pt idx="189">
                  <c:v>131.85455911492733</c:v>
                </c:pt>
                <c:pt idx="190">
                  <c:v>134.55390080046431</c:v>
                </c:pt>
                <c:pt idx="191">
                  <c:v>138.670462761902</c:v>
                </c:pt>
                <c:pt idx="192">
                  <c:v>143.50616705924287</c:v>
                </c:pt>
                <c:pt idx="193">
                  <c:v>138.78342240221122</c:v>
                </c:pt>
                <c:pt idx="194">
                  <c:v>148.27690026708606</c:v>
                </c:pt>
                <c:pt idx="195">
                  <c:v>158.61593231033987</c:v>
                </c:pt>
                <c:pt idx="196">
                  <c:v>181.25436125103161</c:v>
                </c:pt>
                <c:pt idx="197">
                  <c:v>173.72903279812718</c:v>
                </c:pt>
                <c:pt idx="198">
                  <c:v>170.75381281401116</c:v>
                </c:pt>
                <c:pt idx="199">
                  <c:v>180.3834442161486</c:v>
                </c:pt>
                <c:pt idx="200">
                  <c:v>206.72899216671038</c:v>
                </c:pt>
                <c:pt idx="201">
                  <c:v>225.46069925493822</c:v>
                </c:pt>
                <c:pt idx="202">
                  <c:v>251.11079169919333</c:v>
                </c:pt>
                <c:pt idx="203">
                  <c:v>253.07854586757287</c:v>
                </c:pt>
                <c:pt idx="204">
                  <c:v>258.19456085400151</c:v>
                </c:pt>
                <c:pt idx="205">
                  <c:v>217.47961891261605</c:v>
                </c:pt>
                <c:pt idx="206">
                  <c:v>197.1265005459687</c:v>
                </c:pt>
                <c:pt idx="207">
                  <c:v>151.42582197746492</c:v>
                </c:pt>
                <c:pt idx="208">
                  <c:v>124.76795494316289</c:v>
                </c:pt>
                <c:pt idx="209">
                  <c:v>97.461320731511179</c:v>
                </c:pt>
                <c:pt idx="210">
                  <c:v>96.923265088494958</c:v>
                </c:pt>
                <c:pt idx="211">
                  <c:v>84.569522014057014</c:v>
                </c:pt>
                <c:pt idx="212">
                  <c:v>86.044643685733774</c:v>
                </c:pt>
                <c:pt idx="213">
                  <c:v>92.885710336657112</c:v>
                </c:pt>
                <c:pt idx="214">
                  <c:v>100.83650336584952</c:v>
                </c:pt>
                <c:pt idx="215">
                  <c:v>119.5879224358676</c:v>
                </c:pt>
                <c:pt idx="216">
                  <c:v>111.93902424485157</c:v>
                </c:pt>
                <c:pt idx="217">
                  <c:v>122.58186079974008</c:v>
                </c:pt>
                <c:pt idx="218">
                  <c:v>116.49457650988367</c:v>
                </c:pt>
                <c:pt idx="219">
                  <c:v>125.61841660161933</c:v>
                </c:pt>
                <c:pt idx="220">
                  <c:v>129.10637414032792</c:v>
                </c:pt>
                <c:pt idx="221">
                  <c:v>127.44223053458293</c:v>
                </c:pt>
                <c:pt idx="222">
                  <c:v>130.81054954756124</c:v>
                </c:pt>
                <c:pt idx="223">
                  <c:v>126.72137296864427</c:v>
                </c:pt>
                <c:pt idx="224">
                  <c:v>135.62246299798022</c:v>
                </c:pt>
                <c:pt idx="225">
                  <c:v>145.15586353454182</c:v>
                </c:pt>
                <c:pt idx="226">
                  <c:v>134.21504717198215</c:v>
                </c:pt>
                <c:pt idx="227">
                  <c:v>134.67382179475965</c:v>
                </c:pt>
                <c:pt idx="228">
                  <c:v>131.32710277796926</c:v>
                </c:pt>
                <c:pt idx="229">
                  <c:v>133.90934118931915</c:v>
                </c:pt>
                <c:pt idx="230">
                  <c:v>135.07209300194705</c:v>
                </c:pt>
                <c:pt idx="231">
                  <c:v>143.95472595703882</c:v>
                </c:pt>
                <c:pt idx="232">
                  <c:v>147.36221931781958</c:v>
                </c:pt>
                <c:pt idx="233">
                  <c:v>156.18038290576581</c:v>
                </c:pt>
                <c:pt idx="234">
                  <c:v>166.24753371581511</c:v>
                </c:pt>
                <c:pt idx="235">
                  <c:v>180.15922504934696</c:v>
                </c:pt>
                <c:pt idx="236">
                  <c:v>197.67457941411189</c:v>
                </c:pt>
                <c:pt idx="237">
                  <c:v>206.79576907801672</c:v>
                </c:pt>
                <c:pt idx="238">
                  <c:v>190.83358362321289</c:v>
                </c:pt>
                <c:pt idx="239">
                  <c:v>190.80882084997731</c:v>
                </c:pt>
                <c:pt idx="240">
                  <c:v>193.9771371148428</c:v>
                </c:pt>
                <c:pt idx="241">
                  <c:v>185.30181454715927</c:v>
                </c:pt>
                <c:pt idx="242">
                  <c:v>183.60402150072593</c:v>
                </c:pt>
                <c:pt idx="243">
                  <c:v>184.06068083792724</c:v>
                </c:pt>
                <c:pt idx="244">
                  <c:v>190.20065272990593</c:v>
                </c:pt>
                <c:pt idx="245">
                  <c:v>180.41911391012351</c:v>
                </c:pt>
                <c:pt idx="246">
                  <c:v>186.27860798272485</c:v>
                </c:pt>
                <c:pt idx="247">
                  <c:v>193.86812599363199</c:v>
                </c:pt>
                <c:pt idx="248">
                  <c:v>199.11191510749234</c:v>
                </c:pt>
                <c:pt idx="249">
                  <c:v>195.44698573653827</c:v>
                </c:pt>
                <c:pt idx="250">
                  <c:v>183.33424658851925</c:v>
                </c:pt>
                <c:pt idx="251">
                  <c:v>163.30155248464055</c:v>
                </c:pt>
                <c:pt idx="252">
                  <c:v>173.86222179447918</c:v>
                </c:pt>
                <c:pt idx="253">
                  <c:v>189.84783975156358</c:v>
                </c:pt>
                <c:pt idx="254">
                  <c:v>193.66938224790596</c:v>
                </c:pt>
                <c:pt idx="255">
                  <c:v>189.69914236869596</c:v>
                </c:pt>
                <c:pt idx="256">
                  <c:v>182.2866189259197</c:v>
                </c:pt>
                <c:pt idx="257">
                  <c:v>181.36265763057852</c:v>
                </c:pt>
                <c:pt idx="258">
                  <c:v>186.89950629966461</c:v>
                </c:pt>
                <c:pt idx="259">
                  <c:v>192.92751035687758</c:v>
                </c:pt>
                <c:pt idx="260">
                  <c:v>177.78240733246653</c:v>
                </c:pt>
                <c:pt idx="261">
                  <c:v>166.61403038003078</c:v>
                </c:pt>
                <c:pt idx="262">
                  <c:v>165.32498592023043</c:v>
                </c:pt>
                <c:pt idx="263">
                  <c:v>168.58671169523973</c:v>
                </c:pt>
                <c:pt idx="264">
                  <c:v>174.27930176041218</c:v>
                </c:pt>
                <c:pt idx="265">
                  <c:v>178.60944486327188</c:v>
                </c:pt>
                <c:pt idx="266">
                  <c:v>178.47203764601102</c:v>
                </c:pt>
                <c:pt idx="267">
                  <c:v>177.12933320209353</c:v>
                </c:pt>
                <c:pt idx="268">
                  <c:v>174.64067065356684</c:v>
                </c:pt>
                <c:pt idx="269">
                  <c:v>178.53565804216956</c:v>
                </c:pt>
                <c:pt idx="270">
                  <c:v>173.80481444017542</c:v>
                </c:pt>
                <c:pt idx="271">
                  <c:v>173.84308898011861</c:v>
                </c:pt>
                <c:pt idx="272">
                  <c:v>168.97290058806584</c:v>
                </c:pt>
                <c:pt idx="273">
                  <c:v>169.4672108699697</c:v>
                </c:pt>
                <c:pt idx="274">
                  <c:v>169.99812272600647</c:v>
                </c:pt>
                <c:pt idx="275">
                  <c:v>171.2259492224878</c:v>
                </c:pt>
                <c:pt idx="276">
                  <c:v>169.11279833935444</c:v>
                </c:pt>
                <c:pt idx="277">
                  <c:v>165.27862957971868</c:v>
                </c:pt>
                <c:pt idx="278">
                  <c:v>158.02337068431888</c:v>
                </c:pt>
                <c:pt idx="279">
                  <c:v>145.3730417386177</c:v>
                </c:pt>
                <c:pt idx="280">
                  <c:v>136.98206048535124</c:v>
                </c:pt>
                <c:pt idx="281">
                  <c:v>113.24545138242216</c:v>
                </c:pt>
                <c:pt idx="282">
                  <c:v>93.732176513437864</c:v>
                </c:pt>
                <c:pt idx="283">
                  <c:v>106.36585156920566</c:v>
                </c:pt>
                <c:pt idx="284">
                  <c:v>99.932639081940522</c:v>
                </c:pt>
                <c:pt idx="285">
                  <c:v>103.08761631008119</c:v>
                </c:pt>
                <c:pt idx="286">
                  <c:v>108.89587993299604</c:v>
                </c:pt>
                <c:pt idx="287">
                  <c:v>105.8409384112397</c:v>
                </c:pt>
                <c:pt idx="288">
                  <c:v>94.299136341867126</c:v>
                </c:pt>
                <c:pt idx="289">
                  <c:v>83.157806186537158</c:v>
                </c:pt>
                <c:pt idx="290">
                  <c:v>85.229938357375644</c:v>
                </c:pt>
                <c:pt idx="291">
                  <c:v>82.773757871225271</c:v>
                </c:pt>
                <c:pt idx="292">
                  <c:v>79.388244705210127</c:v>
                </c:pt>
                <c:pt idx="293">
                  <c:v>66.991566573155382</c:v>
                </c:pt>
                <c:pt idx="294">
                  <c:v>54.800345294800799</c:v>
                </c:pt>
                <c:pt idx="295">
                  <c:v>57.864567280142914</c:v>
                </c:pt>
                <c:pt idx="296">
                  <c:v>65.67493086357527</c:v>
                </c:pt>
                <c:pt idx="297">
                  <c:v>69.048416850773251</c:v>
                </c:pt>
                <c:pt idx="298">
                  <c:v>76.955977408299489</c:v>
                </c:pt>
                <c:pt idx="299">
                  <c:v>80.751983332084478</c:v>
                </c:pt>
                <c:pt idx="300">
                  <c:v>74.921335771196283</c:v>
                </c:pt>
                <c:pt idx="301">
                  <c:v>74.812994491675155</c:v>
                </c:pt>
                <c:pt idx="302">
                  <c:v>76.28187597439215</c:v>
                </c:pt>
                <c:pt idx="303">
                  <c:v>83.426503902937441</c:v>
                </c:pt>
                <c:pt idx="304">
                  <c:v>78.074584135588722</c:v>
                </c:pt>
                <c:pt idx="305">
                  <c:v>87.72457399324918</c:v>
                </c:pt>
                <c:pt idx="306">
                  <c:v>88.58509568258502</c:v>
                </c:pt>
                <c:pt idx="307">
                  <c:v>89.61715646336566</c:v>
                </c:pt>
                <c:pt idx="308">
                  <c:v>84.053508848178694</c:v>
                </c:pt>
                <c:pt idx="309">
                  <c:v>86.745862821620605</c:v>
                </c:pt>
                <c:pt idx="310">
                  <c:v>82.648743873051259</c:v>
                </c:pt>
                <c:pt idx="311">
                  <c:v>77.935756277568672</c:v>
                </c:pt>
                <c:pt idx="312">
                  <c:v>82.864167079506871</c:v>
                </c:pt>
                <c:pt idx="313">
                  <c:v>87.761892382424548</c:v>
                </c:pt>
                <c:pt idx="314">
                  <c:v>93.847018321261189</c:v>
                </c:pt>
                <c:pt idx="315">
                  <c:v>93.913753051178702</c:v>
                </c:pt>
                <c:pt idx="316">
                  <c:v>101.86214279937236</c:v>
                </c:pt>
                <c:pt idx="317">
                  <c:v>102.61131316962934</c:v>
                </c:pt>
                <c:pt idx="318">
                  <c:v>109.72177859751908</c:v>
                </c:pt>
                <c:pt idx="319">
                  <c:v>106.80254439363762</c:v>
                </c:pt>
                <c:pt idx="320">
                  <c:v>107.0050537509466</c:v>
                </c:pt>
                <c:pt idx="321">
                  <c:v>115.06713056544656</c:v>
                </c:pt>
                <c:pt idx="322">
                  <c:v>120.95906942805192</c:v>
                </c:pt>
                <c:pt idx="323">
                  <c:v>116.39520289381637</c:v>
                </c:pt>
                <c:pt idx="324">
                  <c:v>116.24703559514997</c:v>
                </c:pt>
                <c:pt idx="325">
                  <c:v>114.99218200530073</c:v>
                </c:pt>
                <c:pt idx="326">
                  <c:v>120.24950535724199</c:v>
                </c:pt>
                <c:pt idx="327">
                  <c:v>126.48248081274824</c:v>
                </c:pt>
                <c:pt idx="328">
                  <c:v>110.57806448292516</c:v>
                </c:pt>
                <c:pt idx="329">
                  <c:v>97.775376453413614</c:v>
                </c:pt>
                <c:pt idx="330">
                  <c:v>99.127049861221636</c:v>
                </c:pt>
                <c:pt idx="331">
                  <c:v>103.61463727553006</c:v>
                </c:pt>
                <c:pt idx="332">
                  <c:v>105.36717729090716</c:v>
                </c:pt>
                <c:pt idx="333">
                  <c:v>107.8823232889164</c:v>
                </c:pt>
                <c:pt idx="334">
                  <c:v>108.11993051203309</c:v>
                </c:pt>
                <c:pt idx="335">
                  <c:v>99.732922460846424</c:v>
                </c:pt>
                <c:pt idx="336">
                  <c:v>104.03750424156182</c:v>
                </c:pt>
                <c:pt idx="337">
                  <c:v>98.446726397850298</c:v>
                </c:pt>
                <c:pt idx="338">
                  <c:v>103.47495924813788</c:v>
                </c:pt>
                <c:pt idx="339">
                  <c:v>101.62841531372131</c:v>
                </c:pt>
                <c:pt idx="340">
                  <c:v>100.0288276284614</c:v>
                </c:pt>
                <c:pt idx="341">
                  <c:v>101.98195553493409</c:v>
                </c:pt>
                <c:pt idx="342">
                  <c:v>97.541572356412104</c:v>
                </c:pt>
                <c:pt idx="343">
                  <c:v>83.777972690453225</c:v>
                </c:pt>
                <c:pt idx="344">
                  <c:v>51.909964739069103</c:v>
                </c:pt>
                <c:pt idx="345">
                  <c:v>29.460042650918634</c:v>
                </c:pt>
                <c:pt idx="346">
                  <c:v>35.745090265126926</c:v>
                </c:pt>
                <c:pt idx="347">
                  <c:v>51.666528271644324</c:v>
                </c:pt>
                <c:pt idx="348">
                  <c:v>55.888947018021931</c:v>
                </c:pt>
                <c:pt idx="349">
                  <c:v>55.557428619907768</c:v>
                </c:pt>
                <c:pt idx="350">
                  <c:v>49.897922976034337</c:v>
                </c:pt>
                <c:pt idx="351">
                  <c:v>52.894201114786085</c:v>
                </c:pt>
                <c:pt idx="352">
                  <c:v>57.623752850588893</c:v>
                </c:pt>
                <c:pt idx="353">
                  <c:v>67.91378816615466</c:v>
                </c:pt>
                <c:pt idx="354">
                  <c:v>74.208825712730359</c:v>
                </c:pt>
                <c:pt idx="355">
                  <c:v>82.234291502737307</c:v>
                </c:pt>
                <c:pt idx="356">
                  <c:v>84.361168624816486</c:v>
                </c:pt>
                <c:pt idx="357">
                  <c:v>84.200455715003727</c:v>
                </c:pt>
                <c:pt idx="358">
                  <c:v>89.276325996803081</c:v>
                </c:pt>
                <c:pt idx="359">
                  <c:v>93.896693490582066</c:v>
                </c:pt>
                <c:pt idx="360">
                  <c:v>95.416383342589072</c:v>
                </c:pt>
                <c:pt idx="361">
                  <c:v>92.147212295911629</c:v>
                </c:pt>
                <c:pt idx="362">
                  <c:v>99.038986455405052</c:v>
                </c:pt>
                <c:pt idx="363">
                  <c:v>113.25936163442414</c:v>
                </c:pt>
                <c:pt idx="364">
                  <c:v>107.30305794872346</c:v>
                </c:pt>
                <c:pt idx="365">
                  <c:v>100.77692413964996</c:v>
                </c:pt>
                <c:pt idx="366">
                  <c:v>117.94067444601352</c:v>
                </c:pt>
                <c:pt idx="367">
                  <c:v>127.94995936731107</c:v>
                </c:pt>
                <c:pt idx="368">
                  <c:v>172.67022692353152</c:v>
                </c:pt>
                <c:pt idx="369">
                  <c:v>175.45535599058778</c:v>
                </c:pt>
                <c:pt idx="370">
                  <c:v>182.30530446484354</c:v>
                </c:pt>
                <c:pt idx="371">
                  <c:v>198.07668019406216</c:v>
                </c:pt>
                <c:pt idx="372">
                  <c:v>164.13472671601454</c:v>
                </c:pt>
                <c:pt idx="373">
                  <c:v>158.55949718228246</c:v>
                </c:pt>
                <c:pt idx="374">
                  <c:v>148.96248207350118</c:v>
                </c:pt>
                <c:pt idx="375">
                  <c:v>152.76968775901236</c:v>
                </c:pt>
                <c:pt idx="376">
                  <c:v>144.78180316346817</c:v>
                </c:pt>
                <c:pt idx="377">
                  <c:v>132.74078599346788</c:v>
                </c:pt>
                <c:pt idx="378">
                  <c:v>139.99291052526459</c:v>
                </c:pt>
                <c:pt idx="379">
                  <c:v>122.01238898656493</c:v>
                </c:pt>
                <c:pt idx="380">
                  <c:v>112.97126429241172</c:v>
                </c:pt>
                <c:pt idx="381">
                  <c:v>108.69342924598389</c:v>
                </c:pt>
                <c:pt idx="382">
                  <c:v>99.051754303836702</c:v>
                </c:pt>
                <c:pt idx="383">
                  <c:v>101.96462478701638</c:v>
                </c:pt>
                <c:pt idx="384">
                  <c:v>114.11525568843993</c:v>
                </c:pt>
                <c:pt idx="385">
                  <c:v>132.9880318346064</c:v>
                </c:pt>
                <c:pt idx="386">
                  <c:v>140.10478768273472</c:v>
                </c:pt>
                <c:pt idx="387">
                  <c:v>131.49121308044303</c:v>
                </c:pt>
                <c:pt idx="388">
                  <c:v>124.53656139257757</c:v>
                </c:pt>
                <c:pt idx="389">
                  <c:v>114.11637514939707</c:v>
                </c:pt>
                <c:pt idx="390">
                  <c:v>117.93288481036365</c:v>
                </c:pt>
                <c:pt idx="391">
                  <c:v>120.41381735039408</c:v>
                </c:pt>
                <c:pt idx="392">
                  <c:v>114.36384158542634</c:v>
                </c:pt>
                <c:pt idx="393">
                  <c:v>113.19136120987912</c:v>
                </c:pt>
                <c:pt idx="394">
                  <c:v>107.54134589287138</c:v>
                </c:pt>
                <c:pt idx="395">
                  <c:v>107.78719068245998</c:v>
                </c:pt>
                <c:pt idx="396">
                  <c:v>108.81915744222164</c:v>
                </c:pt>
                <c:pt idx="397">
                  <c:v>100.34042036285828</c:v>
                </c:pt>
                <c:pt idx="398">
                  <c:v>91.955194451152082</c:v>
                </c:pt>
                <c:pt idx="399">
                  <c:v>94.639717454876106</c:v>
                </c:pt>
                <c:pt idx="400">
                  <c:v>94.742919425769585</c:v>
                </c:pt>
                <c:pt idx="401">
                  <c:v>92.124802962179317</c:v>
                </c:pt>
                <c:pt idx="402">
                  <c:v>98.902958543520981</c:v>
                </c:pt>
                <c:pt idx="403">
                  <c:v>97.05621889457862</c:v>
                </c:pt>
                <c:pt idx="404">
                  <c:v>92.491821192363602</c:v>
                </c:pt>
                <c:pt idx="405">
                  <c:v>87.752188996634416</c:v>
                </c:pt>
                <c:pt idx="406">
                  <c:v>85.514225188696884</c:v>
                </c:pt>
                <c:pt idx="407">
                  <c:v>93.239532222688879</c:v>
                </c:pt>
                <c:pt idx="408">
                  <c:v>95.664721745419328</c:v>
                </c:pt>
                <c:pt idx="409">
                  <c:v>90.806081827208303</c:v>
                </c:pt>
                <c:pt idx="410">
                  <c:v>93.506041666024132</c:v>
                </c:pt>
                <c:pt idx="411">
                  <c:v>92.787991858008596</c:v>
                </c:pt>
                <c:pt idx="412">
                  <c:v>98.642057693431738</c:v>
                </c:pt>
                <c:pt idx="413">
                  <c:v>90.550151059255086</c:v>
                </c:pt>
                <c:pt idx="414">
                  <c:v>92.919437088931602</c:v>
                </c:pt>
                <c:pt idx="415">
                  <c:v>99.119</c:v>
                </c:pt>
                <c:pt idx="416">
                  <c:v>196.99100000000001</c:v>
                </c:pt>
                <c:pt idx="417">
                  <c:v>197.80600000000001</c:v>
                </c:pt>
                <c:pt idx="418">
                  <c:v>162.88499999999999</c:v>
                </c:pt>
                <c:pt idx="419">
                  <c:v>151.2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73-4169-8372-8A3F3D7FF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9808111"/>
        <c:axId val="1"/>
      </c:lineChart>
      <c:catAx>
        <c:axId val="398081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7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9808111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495356037151699E-3"/>
          <c:y val="1.9992310649750097E-2"/>
          <c:w val="0.98390092879256963"/>
          <c:h val="0.95540176855055747"/>
        </c:manualLayout>
      </c:layout>
      <c:bubbleChart>
        <c:varyColors val="0"/>
        <c:ser>
          <c:idx val="2"/>
          <c:order val="0"/>
          <c:spPr>
            <a:solidFill>
              <a:schemeClr val="accent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xVal>
            <c:numRef>
              <c:f>Sheet1!$A$1:$A$15</c:f>
              <c:numCache>
                <c:formatCode>General</c:formatCode>
                <c:ptCount val="15"/>
                <c:pt idx="0">
                  <c:v>6</c:v>
                </c:pt>
              </c:numCache>
            </c:numRef>
          </c:xVal>
          <c:yVal>
            <c:numRef>
              <c:f>Sheet1!$F$1:$F$15</c:f>
              <c:numCache>
                <c:formatCode>General</c:formatCode>
                <c:ptCount val="15"/>
                <c:pt idx="0">
                  <c:v>0.89999999999999991</c:v>
                </c:pt>
              </c:numCache>
            </c:numRef>
          </c:yVal>
          <c:bubbleSize>
            <c:numRef>
              <c:f>Sheet1!$G$1:$G$15</c:f>
              <c:numCache>
                <c:formatCode>General</c:formatCode>
                <c:ptCount val="15"/>
                <c:pt idx="0">
                  <c:v>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096B-EE4D-B5E8-D4D1BB3E5AC2}"/>
            </c:ext>
          </c:extLst>
        </c:ser>
        <c:ser>
          <c:idx val="3"/>
          <c:order val="1"/>
          <c:spPr>
            <a:solidFill>
              <a:schemeClr val="accent2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6"/>
            <c:invertIfNegative val="0"/>
            <c:bubble3D val="0"/>
            <c:spPr>
              <a:solidFill>
                <a:schemeClr val="accent3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096B-EE4D-B5E8-D4D1BB3E5AC2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3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096B-EE4D-B5E8-D4D1BB3E5AC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3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096B-EE4D-B5E8-D4D1BB3E5AC2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096B-EE4D-B5E8-D4D1BB3E5AC2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096B-EE4D-B5E8-D4D1BB3E5AC2}"/>
              </c:ext>
            </c:extLst>
          </c:dPt>
          <c:dPt>
            <c:idx val="13"/>
            <c:invertIfNegative val="0"/>
            <c:bubble3D val="0"/>
            <c:spPr>
              <a:solidFill>
                <a:srgbClr val="E33B3B"/>
              </a:solidFill>
              <a:ln w="19050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096B-EE4D-B5E8-D4D1BB3E5AC2}"/>
              </c:ext>
            </c:extLst>
          </c:dPt>
          <c:xVal>
            <c:numRef>
              <c:f>Sheet1!$A$1:$A$15</c:f>
              <c:numCache>
                <c:formatCode>General</c:formatCode>
                <c:ptCount val="15"/>
                <c:pt idx="1">
                  <c:v>21</c:v>
                </c:pt>
                <c:pt idx="2">
                  <c:v>52</c:v>
                </c:pt>
                <c:pt idx="3">
                  <c:v>53.483204134366929</c:v>
                </c:pt>
                <c:pt idx="4">
                  <c:v>30</c:v>
                </c:pt>
                <c:pt idx="5">
                  <c:v>52.741602067183464</c:v>
                </c:pt>
                <c:pt idx="6">
                  <c:v>54.483204134366929</c:v>
                </c:pt>
                <c:pt idx="7">
                  <c:v>15</c:v>
                </c:pt>
                <c:pt idx="8">
                  <c:v>1</c:v>
                </c:pt>
                <c:pt idx="9">
                  <c:v>2</c:v>
                </c:pt>
                <c:pt idx="10">
                  <c:v>30</c:v>
                </c:pt>
                <c:pt idx="11">
                  <c:v>8</c:v>
                </c:pt>
                <c:pt idx="12">
                  <c:v>3</c:v>
                </c:pt>
                <c:pt idx="13">
                  <c:v>15</c:v>
                </c:pt>
              </c:numCache>
            </c:numRef>
          </c:xVal>
          <c:yVal>
            <c:numRef>
              <c:f>Sheet1!$H$1:$H$15</c:f>
              <c:numCache>
                <c:formatCode>General</c:formatCode>
                <c:ptCount val="15"/>
                <c:pt idx="1">
                  <c:v>7.0000000000000009</c:v>
                </c:pt>
                <c:pt idx="2">
                  <c:v>7.3</c:v>
                </c:pt>
                <c:pt idx="3">
                  <c:v>6</c:v>
                </c:pt>
                <c:pt idx="4">
                  <c:v>6</c:v>
                </c:pt>
                <c:pt idx="5">
                  <c:v>2.5</c:v>
                </c:pt>
                <c:pt idx="6">
                  <c:v>8.9</c:v>
                </c:pt>
                <c:pt idx="7">
                  <c:v>4.9000000000000004</c:v>
                </c:pt>
                <c:pt idx="8">
                  <c:v>1</c:v>
                </c:pt>
                <c:pt idx="9">
                  <c:v>4.8</c:v>
                </c:pt>
                <c:pt idx="10">
                  <c:v>1.5</c:v>
                </c:pt>
                <c:pt idx="11">
                  <c:v>1.6</c:v>
                </c:pt>
                <c:pt idx="12">
                  <c:v>0.3</c:v>
                </c:pt>
                <c:pt idx="13">
                  <c:v>16</c:v>
                </c:pt>
              </c:numCache>
            </c:numRef>
          </c:yVal>
          <c:bubbleSize>
            <c:numRef>
              <c:f>Sheet1!$I$1:$I$15</c:f>
              <c:numCache>
                <c:formatCode>General</c:formatCode>
                <c:ptCount val="15"/>
                <c:pt idx="1">
                  <c:v>4.05</c:v>
                </c:pt>
                <c:pt idx="2">
                  <c:v>4.62</c:v>
                </c:pt>
                <c:pt idx="3">
                  <c:v>3.94</c:v>
                </c:pt>
                <c:pt idx="4">
                  <c:v>4.17</c:v>
                </c:pt>
                <c:pt idx="5">
                  <c:v>2.88</c:v>
                </c:pt>
                <c:pt idx="6">
                  <c:v>3.95</c:v>
                </c:pt>
                <c:pt idx="7">
                  <c:v>1.4</c:v>
                </c:pt>
                <c:pt idx="8">
                  <c:v>1.2</c:v>
                </c:pt>
                <c:pt idx="9">
                  <c:v>5.5</c:v>
                </c:pt>
                <c:pt idx="10">
                  <c:v>1.53</c:v>
                </c:pt>
                <c:pt idx="11">
                  <c:v>1.5</c:v>
                </c:pt>
                <c:pt idx="12">
                  <c:v>0.33</c:v>
                </c:pt>
                <c:pt idx="13">
                  <c:v>19.10000000000000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7-096B-EE4D-B5E8-D4D1BB3E5AC2}"/>
            </c:ext>
          </c:extLst>
        </c:ser>
        <c:ser>
          <c:idx val="4"/>
          <c:order val="2"/>
          <c:spPr>
            <a:solidFill>
              <a:schemeClr val="accent3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xVal>
            <c:numRef>
              <c:f>Sheet1!$A$1:$A$15</c:f>
              <c:numCache>
                <c:formatCode>General</c:formatCode>
                <c:ptCount val="15"/>
                <c:pt idx="14">
                  <c:v>3</c:v>
                </c:pt>
              </c:numCache>
            </c:numRef>
          </c:xVal>
          <c:yVal>
            <c:numRef>
              <c:f>Sheet1!$J$1:$J$15</c:f>
              <c:numCache>
                <c:formatCode>General</c:formatCode>
                <c:ptCount val="15"/>
                <c:pt idx="14">
                  <c:v>0.2</c:v>
                </c:pt>
              </c:numCache>
            </c:numRef>
          </c:yVal>
          <c:bubbleSize>
            <c:numRef>
              <c:f>Sheet1!$K$1:$K$15</c:f>
              <c:numCache>
                <c:formatCode>General</c:formatCode>
                <c:ptCount val="15"/>
                <c:pt idx="14">
                  <c:v>0.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8-096B-EE4D-B5E8-D4D1BB3E5A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9"/>
        <c:showNegBubbles val="0"/>
        <c:axId val="300413631"/>
        <c:axId val="1"/>
      </c:bubbleChart>
      <c:valAx>
        <c:axId val="300413631"/>
        <c:scaling>
          <c:orientation val="minMax"/>
          <c:max val="57.483204134366929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2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00413631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635712687402103E-2"/>
          <c:y val="1.947565543071161E-2"/>
          <c:w val="0.9767285746251958"/>
          <c:h val="0.9610486891385767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B3B3B3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8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ED02-6942-85D2-BACBC543869B}"/>
              </c:ext>
            </c:extLst>
          </c:dPt>
          <c:val>
            <c:numRef>
              <c:f>Sheet1!$A$1:$J$1</c:f>
              <c:numCache>
                <c:formatCode>General</c:formatCode>
                <c:ptCount val="10"/>
                <c:pt idx="0">
                  <c:v>-223.4</c:v>
                </c:pt>
                <c:pt idx="1">
                  <c:v>-380</c:v>
                </c:pt>
                <c:pt idx="2">
                  <c:v>-20</c:v>
                </c:pt>
                <c:pt idx="3">
                  <c:v>-38</c:v>
                </c:pt>
                <c:pt idx="4">
                  <c:v>-128</c:v>
                </c:pt>
                <c:pt idx="5">
                  <c:v>-40.6</c:v>
                </c:pt>
                <c:pt idx="6">
                  <c:v>-2</c:v>
                </c:pt>
                <c:pt idx="7">
                  <c:v>-3.8</c:v>
                </c:pt>
                <c:pt idx="8">
                  <c:v>37</c:v>
                </c:pt>
                <c:pt idx="9">
                  <c:v>-248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D02-6942-85D2-BACBC543869B}"/>
            </c:ext>
          </c:extLst>
        </c:ser>
        <c:ser>
          <c:idx val="1"/>
          <c:order val="1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9C217D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ED02-6942-85D2-BACBC543869B}"/>
              </c:ext>
            </c:extLst>
          </c:dPt>
          <c:dPt>
            <c:idx val="6"/>
            <c:invertIfNegative val="0"/>
            <c:bubble3D val="0"/>
            <c:spPr>
              <a:solidFill>
                <a:srgbClr val="9C217D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ED02-6942-85D2-BACBC543869B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ED02-6942-85D2-BACBC543869B}"/>
              </c:ext>
            </c:extLst>
          </c:dPt>
          <c:val>
            <c:numRef>
              <c:f>Sheet1!$A$2:$J$2</c:f>
              <c:numCache>
                <c:formatCode>General</c:formatCode>
                <c:ptCount val="10"/>
                <c:pt idx="0">
                  <c:v>1863.7</c:v>
                </c:pt>
                <c:pt idx="1">
                  <c:v>1274.778</c:v>
                </c:pt>
                <c:pt idx="2">
                  <c:v>363</c:v>
                </c:pt>
                <c:pt idx="3">
                  <c:v>110.2</c:v>
                </c:pt>
                <c:pt idx="4">
                  <c:v>0</c:v>
                </c:pt>
                <c:pt idx="5">
                  <c:v>89.3</c:v>
                </c:pt>
                <c:pt idx="6">
                  <c:v>0</c:v>
                </c:pt>
                <c:pt idx="7">
                  <c:v>63.8</c:v>
                </c:pt>
                <c:pt idx="8">
                  <c:v>0</c:v>
                </c:pt>
                <c:pt idx="9">
                  <c:v>16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D02-6942-85D2-BACBC543869B}"/>
            </c:ext>
          </c:extLst>
        </c:ser>
        <c:ser>
          <c:idx val="2"/>
          <c:order val="2"/>
          <c:spPr>
            <a:solidFill>
              <a:schemeClr val="accent2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ED02-6942-85D2-BACBC543869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ED02-6942-85D2-BACBC543869B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3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ED02-6942-85D2-BACBC543869B}"/>
              </c:ext>
            </c:extLst>
          </c:dPt>
          <c:val>
            <c:numRef>
              <c:f>Sheet1!$A$3:$J$3</c:f>
              <c:numCache>
                <c:formatCode>General</c:formatCode>
                <c:ptCount val="10"/>
                <c:pt idx="0">
                  <c:v>0.16166666666663332</c:v>
                </c:pt>
                <c:pt idx="1">
                  <c:v>0</c:v>
                </c:pt>
                <c:pt idx="2">
                  <c:v>0</c:v>
                </c:pt>
                <c:pt idx="3">
                  <c:v>56.026666666666657</c:v>
                </c:pt>
                <c:pt idx="4">
                  <c:v>0</c:v>
                </c:pt>
                <c:pt idx="5">
                  <c:v>5.778333333333336</c:v>
                </c:pt>
                <c:pt idx="6">
                  <c:v>0</c:v>
                </c:pt>
                <c:pt idx="7">
                  <c:v>13.635000000000005</c:v>
                </c:pt>
                <c:pt idx="8">
                  <c:v>0</c:v>
                </c:pt>
                <c:pt idx="9">
                  <c:v>2.88333333333332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D02-6942-85D2-BACBC543869B}"/>
            </c:ext>
          </c:extLst>
        </c:ser>
        <c:ser>
          <c:idx val="3"/>
          <c:order val="3"/>
          <c:spPr>
            <a:solidFill>
              <a:schemeClr val="accent3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ED02-6942-85D2-BACBC543869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ED02-6942-85D2-BACBC543869B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4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ED02-6942-85D2-BACBC543869B}"/>
              </c:ext>
            </c:extLst>
          </c:dPt>
          <c:val>
            <c:numRef>
              <c:f>Sheet1!$A$4:$J$4</c:f>
              <c:numCache>
                <c:formatCode>General</c:formatCode>
                <c:ptCount val="10"/>
                <c:pt idx="0">
                  <c:v>2.3733333333332212</c:v>
                </c:pt>
                <c:pt idx="1">
                  <c:v>1.2908333333332394</c:v>
                </c:pt>
                <c:pt idx="2">
                  <c:v>0.38666666666665606</c:v>
                </c:pt>
                <c:pt idx="3">
                  <c:v>119.67416666666665</c:v>
                </c:pt>
                <c:pt idx="4">
                  <c:v>0</c:v>
                </c:pt>
                <c:pt idx="5">
                  <c:v>69.247499999999988</c:v>
                </c:pt>
                <c:pt idx="6">
                  <c:v>0</c:v>
                </c:pt>
                <c:pt idx="7">
                  <c:v>8.5649999999999977</c:v>
                </c:pt>
                <c:pt idx="8">
                  <c:v>3.3358333333333334</c:v>
                </c:pt>
                <c:pt idx="9">
                  <c:v>50.4858333333333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ED02-6942-85D2-BACBC543869B}"/>
            </c:ext>
          </c:extLst>
        </c:ser>
        <c:ser>
          <c:idx val="4"/>
          <c:order val="4"/>
          <c:spPr>
            <a:solidFill>
              <a:schemeClr val="accent4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ED02-6942-85D2-BACBC543869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ED02-6942-85D2-BACBC543869B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ED02-6942-85D2-BACBC543869B}"/>
              </c:ext>
            </c:extLst>
          </c:dPt>
          <c:val>
            <c:numRef>
              <c:f>Sheet1!$A$5:$J$5</c:f>
              <c:numCache>
                <c:formatCode>General</c:formatCode>
                <c:ptCount val="10"/>
                <c:pt idx="0">
                  <c:v>138.34833333333336</c:v>
                </c:pt>
                <c:pt idx="1">
                  <c:v>5.3375000000000909</c:v>
                </c:pt>
                <c:pt idx="2">
                  <c:v>59.626666666666665</c:v>
                </c:pt>
                <c:pt idx="3">
                  <c:v>41.020833333333314</c:v>
                </c:pt>
                <c:pt idx="4">
                  <c:v>223</c:v>
                </c:pt>
                <c:pt idx="5">
                  <c:v>25.377499999999998</c:v>
                </c:pt>
                <c:pt idx="6">
                  <c:v>24</c:v>
                </c:pt>
                <c:pt idx="7">
                  <c:v>24.459166666666675</c:v>
                </c:pt>
                <c:pt idx="8">
                  <c:v>0</c:v>
                </c:pt>
                <c:pt idx="9">
                  <c:v>23.7125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ED02-6942-85D2-BACBC543869B}"/>
            </c:ext>
          </c:extLst>
        </c:ser>
        <c:ser>
          <c:idx val="5"/>
          <c:order val="5"/>
          <c:spPr>
            <a:solidFill>
              <a:schemeClr val="accent5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2-ED02-6942-85D2-BACBC543869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ED02-6942-85D2-BACBC543869B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ED02-6942-85D2-BACBC543869B}"/>
              </c:ext>
            </c:extLst>
          </c:dPt>
          <c:val>
            <c:numRef>
              <c:f>Sheet1!$A$6:$J$6</c:f>
              <c:numCache>
                <c:formatCode>General</c:formatCode>
                <c:ptCount val="10"/>
                <c:pt idx="0">
                  <c:v>9.5125000000000455</c:v>
                </c:pt>
                <c:pt idx="1">
                  <c:v>0</c:v>
                </c:pt>
                <c:pt idx="2">
                  <c:v>0</c:v>
                </c:pt>
                <c:pt idx="3">
                  <c:v>9.1349999999999909</c:v>
                </c:pt>
                <c:pt idx="4">
                  <c:v>0</c:v>
                </c:pt>
                <c:pt idx="5">
                  <c:v>3.2333333333333201</c:v>
                </c:pt>
                <c:pt idx="6">
                  <c:v>0</c:v>
                </c:pt>
                <c:pt idx="7">
                  <c:v>20.397500000000008</c:v>
                </c:pt>
                <c:pt idx="8">
                  <c:v>56.280833333333341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ED02-6942-85D2-BACBC543869B}"/>
            </c:ext>
          </c:extLst>
        </c:ser>
        <c:ser>
          <c:idx val="6"/>
          <c:order val="6"/>
          <c:spPr>
            <a:solidFill>
              <a:schemeClr val="accent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3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6-ED02-6942-85D2-BACBC543869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ED02-6942-85D2-BACBC543869B}"/>
              </c:ext>
            </c:extLst>
          </c:dPt>
          <c:dPt>
            <c:idx val="8"/>
            <c:invertIfNegative val="0"/>
            <c:bubble3D val="0"/>
            <c:spPr>
              <a:solidFill>
                <a:srgbClr val="9C217D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ED02-6942-85D2-BACBC543869B}"/>
              </c:ext>
            </c:extLst>
          </c:dPt>
          <c:val>
            <c:numRef>
              <c:f>Sheet1!$A$7:$J$7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1.0008333333333326</c:v>
                </c:pt>
                <c:pt idx="3">
                  <c:v>25.173333333333346</c:v>
                </c:pt>
                <c:pt idx="4">
                  <c:v>121.93583333333333</c:v>
                </c:pt>
                <c:pt idx="5">
                  <c:v>0.88999999999998636</c:v>
                </c:pt>
                <c:pt idx="6">
                  <c:v>2.8091666666666661</c:v>
                </c:pt>
                <c:pt idx="7">
                  <c:v>0</c:v>
                </c:pt>
                <c:pt idx="8">
                  <c:v>0.67000000000000171</c:v>
                </c:pt>
                <c:pt idx="9">
                  <c:v>3.28166666666666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ED02-6942-85D2-BACBC543869B}"/>
            </c:ext>
          </c:extLst>
        </c:ser>
        <c:ser>
          <c:idx val="7"/>
          <c:order val="7"/>
          <c:spPr>
            <a:solidFill>
              <a:srgbClr val="9C217D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4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A-ED02-6942-85D2-BACBC543869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B-ED02-6942-85D2-BACBC543869B}"/>
              </c:ext>
            </c:extLst>
          </c:dPt>
          <c:dPt>
            <c:idx val="8"/>
            <c:invertIfNegative val="0"/>
            <c:bubble3D val="0"/>
            <c:spPr>
              <a:solidFill>
                <a:srgbClr val="B3B3B3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C-ED02-6942-85D2-BACBC543869B}"/>
              </c:ext>
            </c:extLst>
          </c:dPt>
          <c:val>
            <c:numRef>
              <c:f>Sheet1!$A$8:$J$8</c:f>
              <c:numCache>
                <c:formatCode>General</c:formatCode>
                <c:ptCount val="10"/>
                <c:pt idx="0">
                  <c:v>20.148333333333312</c:v>
                </c:pt>
                <c:pt idx="1">
                  <c:v>1.4200000000000728</c:v>
                </c:pt>
                <c:pt idx="2">
                  <c:v>1.0083333333333258</c:v>
                </c:pt>
                <c:pt idx="3">
                  <c:v>3.915833333333353</c:v>
                </c:pt>
                <c:pt idx="4">
                  <c:v>22.346666666666692</c:v>
                </c:pt>
                <c:pt idx="5">
                  <c:v>0.37666666666666515</c:v>
                </c:pt>
                <c:pt idx="6">
                  <c:v>105.22</c:v>
                </c:pt>
                <c:pt idx="7">
                  <c:v>0.34749999999999659</c:v>
                </c:pt>
                <c:pt idx="8">
                  <c:v>0</c:v>
                </c:pt>
                <c:pt idx="9">
                  <c:v>0.854999999999989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ED02-6942-85D2-BACBC54386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722135232"/>
        <c:axId val="1"/>
      </c:barChart>
      <c:catAx>
        <c:axId val="172213523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034.2441666666666"/>
          <c:min val="-38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7221352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954022988505748E-2"/>
          <c:y val="3.098927294398093E-2"/>
          <c:w val="0.97609195402298854"/>
          <c:h val="0.9380214541120381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134707659</c:v>
                </c:pt>
                <c:pt idx="1">
                  <c:v>136110786</c:v>
                </c:pt>
                <c:pt idx="2">
                  <c:v>152602235</c:v>
                </c:pt>
                <c:pt idx="3">
                  <c:v>157512111</c:v>
                </c:pt>
                <c:pt idx="5">
                  <c:v>1647578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D41-CC4F-B3D1-CB58DFD13A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534310399"/>
        <c:axId val="1"/>
      </c:barChart>
      <c:catAx>
        <c:axId val="15343103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475788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5343103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B142A2-4561-6C40-B7B5-0DC9CFE63E4D}" type="datetimeFigureOut">
              <a:rPr lang="en-US" smtClean="0"/>
              <a:t>6/22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D30A1B-EBEC-0147-B943-31155F6B8B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07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D30A1B-EBEC-0147-B943-31155F6B8B3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0587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7C0632-F2B6-93DF-F424-74B4EC397B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05356F6-2FB5-EBF2-C37E-B0B625CCC4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654289-F759-35A4-4E16-92CFE90B4B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C6F6AD-E284-CB29-7B16-0C675289502E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 June 2026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ABADFB-5083-97C3-3820-534C29E5BB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5874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B3D599-0357-6782-0D9C-9809CD4939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8F68856-B60E-2F47-2B70-EF2D6D7DB0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101CC48-6027-8A71-DB65-0428D2F2AA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51C618-27B7-2DAA-6C6A-021470262A9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A5CA31-4CB4-E447-A490-49A274C4D4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04800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6DAE0F-EE72-F4E0-10BA-9EF129215D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E20EED-436D-23A3-1CAC-DD827EDC70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B19B81-F378-44A4-999E-36EE32D168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18B45F-F12E-E07A-09CF-4E833CE47B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D30A1B-EBEC-0147-B943-31155F6B8B3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6301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4638" y="266700"/>
            <a:ext cx="6553200" cy="36861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75047" y="4073525"/>
            <a:ext cx="6552380" cy="215444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6686363" y="8917422"/>
            <a:ext cx="141064" cy="153888"/>
          </a:xfrm>
        </p:spPr>
        <p:txBody>
          <a:bodyPr/>
          <a:lstStyle/>
          <a:p>
            <a:pPr algn="r">
              <a:spcBef>
                <a:spcPts val="300"/>
              </a:spcBef>
              <a:spcAft>
                <a:spcPts val="300"/>
              </a:spcAft>
            </a:pPr>
            <a:fld id="{CF5EBCF4-26FC-4F76-8DA1-52FDDC328D44}" type="slidenum">
              <a:rPr lang="en-US" smtClean="0"/>
              <a:pPr algn="r">
                <a:spcBef>
                  <a:spcPts val="300"/>
                </a:spcBef>
                <a:spcAft>
                  <a:spcPts val="300"/>
                </a:spcAft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3886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8E3A97-FE09-B57D-7130-A78C98779E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36800A-1F62-2CDF-190D-3F12691EFDD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BA0C1CB-5A99-573C-5CED-40EA844B7B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ABE430-0DB2-9240-BB5B-891D6C3820E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 June 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FD470D-D356-4815-E7BF-4215F39899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9561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9997" marR="0" lvl="1" indent="-17999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While ~80% of organizations experimenting with or scaling Agentic AI also scaled GenAI,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it is possible to “leapfrog” GenAI capabilities and move directly into Agentic AI efforts </a:t>
            </a:r>
          </a:p>
          <a:p>
            <a:pPr marL="179997" marR="0" lvl="1" indent="-17999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Agentic allows to mimic human team behaviors,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peeding up self-learning, predictive power and improved autonomous decision-making</a:t>
            </a:r>
          </a:p>
          <a:p>
            <a:pPr marL="179997" marR="0" lvl="1" indent="-17999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In airport context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eparate agents can check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compliance, safety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and other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boundary conditions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whilst increasing response spee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D30A1B-EBEC-0147-B943-31155F6B8B31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9216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D30A1B-EBEC-0147-B943-31155F6B8B31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4983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2 June 2026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2056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oleObject" Target="../embeddings/oleObject2.bin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3.sv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2.jpeg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12" Type="http://schemas.openxmlformats.org/officeDocument/2006/relationships/image" Target="../media/image4.emf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oleObject" Target="../embeddings/oleObject9.bin"/><Relationship Id="rId5" Type="http://schemas.openxmlformats.org/officeDocument/2006/relationships/tags" Target="../tags/tag9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0.xml"/><Relationship Id="rId9" Type="http://schemas.openxmlformats.org/officeDocument/2006/relationships/tags" Target="../tags/tag95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image" Target="../media/image6.emf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10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9.xml"/><Relationship Id="rId9" Type="http://schemas.openxmlformats.org/officeDocument/2006/relationships/tags" Target="../tags/tag10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12" Type="http://schemas.openxmlformats.org/officeDocument/2006/relationships/image" Target="../media/image6.emf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10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8.xml"/><Relationship Id="rId9" Type="http://schemas.openxmlformats.org/officeDocument/2006/relationships/tags" Target="../tags/tag11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image" Target="../media/image4.emf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11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17.xml"/><Relationship Id="rId9" Type="http://schemas.openxmlformats.org/officeDocument/2006/relationships/tags" Target="../tags/tag12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12" Type="http://schemas.openxmlformats.org/officeDocument/2006/relationships/image" Target="../media/image4.emf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1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6.xml"/><Relationship Id="rId9" Type="http://schemas.openxmlformats.org/officeDocument/2006/relationships/tags" Target="../tags/tag13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36.xml"/><Relationship Id="rId4" Type="http://schemas.openxmlformats.org/officeDocument/2006/relationships/tags" Target="../tags/tag13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0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143.xml"/><Relationship Id="rId7" Type="http://schemas.openxmlformats.org/officeDocument/2006/relationships/image" Target="../media/image7.svg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image" Target="../media/image2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4.xml"/><Relationship Id="rId9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8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51.xml"/><Relationship Id="rId7" Type="http://schemas.openxmlformats.org/officeDocument/2006/relationships/tags" Target="../tags/tag155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tags" Target="../tags/tag154.xml"/><Relationship Id="rId5" Type="http://schemas.openxmlformats.org/officeDocument/2006/relationships/tags" Target="../tags/tag153.xml"/><Relationship Id="rId10" Type="http://schemas.openxmlformats.org/officeDocument/2006/relationships/image" Target="../media/image4.emf"/><Relationship Id="rId4" Type="http://schemas.openxmlformats.org/officeDocument/2006/relationships/tags" Target="../tags/tag152.xml"/><Relationship Id="rId9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10" Type="http://schemas.openxmlformats.org/officeDocument/2006/relationships/image" Target="../media/image4.emf"/><Relationship Id="rId4" Type="http://schemas.openxmlformats.org/officeDocument/2006/relationships/tags" Target="../tags/tag35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0.xml"/><Relationship Id="rId4" Type="http://schemas.openxmlformats.org/officeDocument/2006/relationships/tags" Target="../tags/tag159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63.xml"/><Relationship Id="rId7" Type="http://schemas.openxmlformats.org/officeDocument/2006/relationships/tags" Target="../tags/tag167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tags" Target="../tags/tag166.xml"/><Relationship Id="rId5" Type="http://schemas.openxmlformats.org/officeDocument/2006/relationships/tags" Target="../tags/tag165.xml"/><Relationship Id="rId10" Type="http://schemas.openxmlformats.org/officeDocument/2006/relationships/image" Target="../media/image4.emf"/><Relationship Id="rId4" Type="http://schemas.openxmlformats.org/officeDocument/2006/relationships/tags" Target="../tags/tag164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6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9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10" Type="http://schemas.openxmlformats.org/officeDocument/2006/relationships/image" Target="../media/image5.emf"/><Relationship Id="rId4" Type="http://schemas.openxmlformats.org/officeDocument/2006/relationships/tags" Target="../tags/tag56.xml"/><Relationship Id="rId9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image" Target="../media/image4.emf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oleObject" Target="../embeddings/oleObject6.bin"/><Relationship Id="rId5" Type="http://schemas.openxmlformats.org/officeDocument/2006/relationships/tags" Target="../tags/tag6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3.xml"/><Relationship Id="rId9" Type="http://schemas.openxmlformats.org/officeDocument/2006/relationships/tags" Target="../tags/tag68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image" Target="../media/image4.emf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oleObject" Target="../embeddings/oleObject7.bin"/><Relationship Id="rId5" Type="http://schemas.openxmlformats.org/officeDocument/2006/relationships/tags" Target="../tags/tag7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2.xml"/><Relationship Id="rId9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image" Target="../media/image6.emf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oleObject" Target="../embeddings/oleObject8.bin"/><Relationship Id="rId5" Type="http://schemas.openxmlformats.org/officeDocument/2006/relationships/tags" Target="../tags/tag8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1.xml"/><Relationship Id="rId9" Type="http://schemas.openxmlformats.org/officeDocument/2006/relationships/tags" Target="../tags/tag8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ackground">
            <a:extLst>
              <a:ext uri="{FF2B5EF4-FFF2-40B4-BE49-F238E27FC236}">
                <a16:creationId xmlns:a16="http://schemas.microsoft.com/office/drawing/2014/main" id="{0E1AA1CA-B589-A148-3F5A-385105B9B6B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artnership">
            <a:extLst>
              <a:ext uri="{FF2B5EF4-FFF2-40B4-BE49-F238E27FC236}">
                <a16:creationId xmlns:a16="http://schemas.microsoft.com/office/drawing/2014/main" id="{A820C1EA-1C46-FBE2-06AE-01690E3DC46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0021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551942" y="6190488"/>
            <a:ext cx="3995928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750">
                <a:solidFill>
                  <a:schemeClr val="tx1"/>
                </a:solidFill>
                <a:latin typeface="+mn-lt"/>
              </a:rPr>
              <a:t>CONFIDENTIAL AND PROPRIETARY | © [#] McKinsey &amp; Company. </a:t>
            </a:r>
          </a:p>
          <a:p>
            <a:pPr defTabSz="804863" eaLnBrk="0" hangingPunct="0"/>
            <a:r>
              <a:rPr lang="en-US" sz="750">
                <a:solidFill>
                  <a:schemeClr val="tx1"/>
                </a:solidFill>
                <a:latin typeface="+mn-lt"/>
              </a:rPr>
              <a:t>This material is intended solely for your internal use and any use of this material without specific permission of McKinsey &amp; Company is strictly prohibited. All rights reserved.</a:t>
            </a:r>
          </a:p>
        </p:txBody>
      </p:sp>
      <p:grpSp>
        <p:nvGrpSpPr>
          <p:cNvPr id="11" name="logoimage">
            <a:extLst>
              <a:ext uri="{FF2B5EF4-FFF2-40B4-BE49-F238E27FC236}">
                <a16:creationId xmlns:a16="http://schemas.microsoft.com/office/drawing/2014/main" id="{1CF91F61-1A9C-80E4-FFA2-69DB20BBACC3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551942" y="481160"/>
            <a:ext cx="1893201" cy="585216"/>
            <a:chOff x="551942" y="481160"/>
            <a:chExt cx="1893201" cy="585216"/>
          </a:xfrm>
        </p:grpSpPr>
        <p:sp>
          <p:nvSpPr>
            <p:cNvPr id="18" name="AutoShape 3">
              <a:extLst>
                <a:ext uri="{FF2B5EF4-FFF2-40B4-BE49-F238E27FC236}">
                  <a16:creationId xmlns:a16="http://schemas.microsoft.com/office/drawing/2014/main" id="{E8A472B5-EC20-41F1-91D8-281D2B5D8D1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51942" y="481160"/>
              <a:ext cx="1893201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5153A5B-4B89-4D4A-96F0-F9AFF4E7D0F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51942" y="481407"/>
              <a:ext cx="1893201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140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385532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06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687019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180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837923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750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3200"/>
            <a:ext cx="3465576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79495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1350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554736" y="2743200"/>
            <a:ext cx="2514600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798855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En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ckground">
            <a:extLst>
              <a:ext uri="{FF2B5EF4-FFF2-40B4-BE49-F238E27FC236}">
                <a16:creationId xmlns:a16="http://schemas.microsoft.com/office/drawing/2014/main" id="{CA123D5B-74B8-F064-78F4-0D9EDB033343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artnership">
            <a:extLst>
              <a:ext uri="{FF2B5EF4-FFF2-40B4-BE49-F238E27FC236}">
                <a16:creationId xmlns:a16="http://schemas.microsoft.com/office/drawing/2014/main" id="{62BD8777-62CB-D677-D858-25EAEF1734E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2263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logoimage">
            <a:extLst>
              <a:ext uri="{FF2B5EF4-FFF2-40B4-BE49-F238E27FC236}">
                <a16:creationId xmlns:a16="http://schemas.microsoft.com/office/drawing/2014/main" id="{AD0997EF-FD61-992F-A8FF-31AE0FC310F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549271" y="481161"/>
            <a:ext cx="1893202" cy="585216"/>
            <a:chOff x="549271" y="481161"/>
            <a:chExt cx="1893202" cy="585216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49271" y="481161"/>
              <a:ext cx="1893202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49271" y="481408"/>
              <a:ext cx="1893202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897050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465716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6704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46221"/>
          </a:xfrm>
        </p:spPr>
        <p:txBody>
          <a:bodyPr anchor="t" anchorCtr="0">
            <a:spAutoFit/>
          </a:bodyPr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307595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866182F4-FEFB-4A95-995C-CFCF18EB59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900"/>
              <a:t>Source: ...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372444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46221"/>
          </a:xfrm>
        </p:spPr>
        <p:txBody>
          <a:bodyPr anchor="t" anchorCtr="0">
            <a:spAutoFit/>
          </a:bodyPr>
          <a:lstStyle/>
          <a:p>
            <a:r>
              <a:rPr lang="en-US" sz="160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491775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948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896470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378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172942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0535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185615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5.xml"/><Relationship Id="rId39" Type="http://schemas.openxmlformats.org/officeDocument/2006/relationships/tags" Target="../tags/tag18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3.xml"/><Relationship Id="rId42" Type="http://schemas.openxmlformats.org/officeDocument/2006/relationships/tags" Target="../tags/tag2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32" Type="http://schemas.openxmlformats.org/officeDocument/2006/relationships/tags" Target="../tags/tag11.xml"/><Relationship Id="rId37" Type="http://schemas.openxmlformats.org/officeDocument/2006/relationships/tags" Target="../tags/tag16.xml"/><Relationship Id="rId40" Type="http://schemas.openxmlformats.org/officeDocument/2006/relationships/tags" Target="../tags/tag19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28" Type="http://schemas.openxmlformats.org/officeDocument/2006/relationships/tags" Target="../tags/tag7.xml"/><Relationship Id="rId36" Type="http://schemas.openxmlformats.org/officeDocument/2006/relationships/tags" Target="../tags/tag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0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tags" Target="../tags/tag6.xml"/><Relationship Id="rId30" Type="http://schemas.openxmlformats.org/officeDocument/2006/relationships/tags" Target="../tags/tag9.xml"/><Relationship Id="rId35" Type="http://schemas.openxmlformats.org/officeDocument/2006/relationships/tags" Target="../tags/tag14.xml"/><Relationship Id="rId43" Type="http://schemas.openxmlformats.org/officeDocument/2006/relationships/tags" Target="../tags/tag2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4.xml"/><Relationship Id="rId33" Type="http://schemas.openxmlformats.org/officeDocument/2006/relationships/tags" Target="../tags/tag12.xml"/><Relationship Id="rId38" Type="http://schemas.openxmlformats.org/officeDocument/2006/relationships/tags" Target="../tags/tag17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364437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344" imgH="344" progId="TCLayout.ActiveDocument.1">
                  <p:embed/>
                </p:oleObj>
              </mc:Choice>
              <mc:Fallback>
                <p:oleObj name="think-cell Slide" r:id="rId44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>
            <p:custDataLst>
              <p:tags r:id="rId2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>
            <p:custDataLst>
              <p:tags r:id="rId27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78CA310D-6D76-F64D-43BD-A9F8058D0B83}"/>
              </a:ext>
            </a:extLst>
          </p:cNvPr>
          <p:cNvGrpSpPr/>
          <p:nvPr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5EB4C1BD-D02B-BD12-5727-6F58C39BD4C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760D5CA7-F2EA-45CF-81C8-C3EDA5FA3954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EB43A491-1FC0-C08D-DC0F-9312F78D3BB5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41DC0170-C64F-96F4-DD57-F6BBE781B8CA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7E1C2B9C-8B0A-AC6B-B386-E28E8F253128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C1E862B0-BA6B-93BC-31CC-9EDF1CA824BB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34A84F48-2944-98CC-156D-EC5FA62990B9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Arc 23" hidden="1">
                <a:extLst>
                  <a:ext uri="{FF2B5EF4-FFF2-40B4-BE49-F238E27FC236}">
                    <a16:creationId xmlns:a16="http://schemas.microsoft.com/office/drawing/2014/main" id="{49AE9D7C-3BC5-C5DD-0AFA-71D915D9D8D1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3623EFE0-7A55-35A0-763D-A7CCEABC5767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FA3B4311-025C-426B-9E06-BDDA476EF4AE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Arc 21">
                <a:extLst>
                  <a:ext uri="{FF2B5EF4-FFF2-40B4-BE49-F238E27FC236}">
                    <a16:creationId xmlns:a16="http://schemas.microsoft.com/office/drawing/2014/main" id="{9ABB8959-417A-20E2-3BFB-820D653F8B1E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7A7E4CBF-9B94-C8D7-EF8F-9662FD33055A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25A66490-5468-AC46-5ED5-E8212992AFCC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Arc 19">
                <a:extLst>
                  <a:ext uri="{FF2B5EF4-FFF2-40B4-BE49-F238E27FC236}">
                    <a16:creationId xmlns:a16="http://schemas.microsoft.com/office/drawing/2014/main" id="{2164DC02-AF00-DEB2-344B-46D05BDC286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37ACCC41-9C6B-7C20-5C62-B34B467FA718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14731651-049D-FD74-10A9-3B77CDA9C266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Arc 17">
                <a:extLst>
                  <a:ext uri="{FF2B5EF4-FFF2-40B4-BE49-F238E27FC236}">
                    <a16:creationId xmlns:a16="http://schemas.microsoft.com/office/drawing/2014/main" id="{5AADA01A-6C4E-7E32-6930-9C7BE1CCCDFC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E9C1FE7B-027B-2A18-4D77-A6B6DC1EDC9F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25520F20-D7D9-7F64-BF4E-B26721F00ED8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Arc 15">
                <a:extLst>
                  <a:ext uri="{FF2B5EF4-FFF2-40B4-BE49-F238E27FC236}">
                    <a16:creationId xmlns:a16="http://schemas.microsoft.com/office/drawing/2014/main" id="{1AC3D5E5-FFBA-7695-4382-807739B76632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  <p:sldLayoutId id="2147483897" r:id="rId13"/>
    <p:sldLayoutId id="2147483898" r:id="rId14"/>
    <p:sldLayoutId id="2147483880" r:id="rId15"/>
    <p:sldLayoutId id="2147483877" r:id="rId16"/>
    <p:sldLayoutId id="2147483899" r:id="rId17"/>
    <p:sldLayoutId id="2147483918" r:id="rId18"/>
    <p:sldLayoutId id="2147483923" r:id="rId19"/>
    <p:sldLayoutId id="2147483924" r:id="rId20"/>
    <p:sldLayoutId id="2147483925" r:id="rId21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70.xml"/><Relationship Id="rId7" Type="http://schemas.openxmlformats.org/officeDocument/2006/relationships/image" Target="../media/image8.emf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oleObject" Target="../embeddings/oleObject16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71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466.xml"/><Relationship Id="rId18" Type="http://schemas.openxmlformats.org/officeDocument/2006/relationships/tags" Target="../tags/tag471.xml"/><Relationship Id="rId26" Type="http://schemas.openxmlformats.org/officeDocument/2006/relationships/tags" Target="../tags/tag479.xml"/><Relationship Id="rId39" Type="http://schemas.openxmlformats.org/officeDocument/2006/relationships/tags" Target="../tags/tag492.xml"/><Relationship Id="rId21" Type="http://schemas.openxmlformats.org/officeDocument/2006/relationships/tags" Target="../tags/tag474.xml"/><Relationship Id="rId34" Type="http://schemas.openxmlformats.org/officeDocument/2006/relationships/tags" Target="../tags/tag487.xml"/><Relationship Id="rId42" Type="http://schemas.openxmlformats.org/officeDocument/2006/relationships/tags" Target="../tags/tag495.xml"/><Relationship Id="rId47" Type="http://schemas.openxmlformats.org/officeDocument/2006/relationships/tags" Target="../tags/tag500.xml"/><Relationship Id="rId50" Type="http://schemas.openxmlformats.org/officeDocument/2006/relationships/tags" Target="../tags/tag503.xml"/><Relationship Id="rId55" Type="http://schemas.openxmlformats.org/officeDocument/2006/relationships/tags" Target="../tags/tag508.xml"/><Relationship Id="rId7" Type="http://schemas.openxmlformats.org/officeDocument/2006/relationships/tags" Target="../tags/tag460.xml"/><Relationship Id="rId2" Type="http://schemas.openxmlformats.org/officeDocument/2006/relationships/tags" Target="../tags/tag455.xml"/><Relationship Id="rId16" Type="http://schemas.openxmlformats.org/officeDocument/2006/relationships/tags" Target="../tags/tag469.xml"/><Relationship Id="rId29" Type="http://schemas.openxmlformats.org/officeDocument/2006/relationships/tags" Target="../tags/tag482.xml"/><Relationship Id="rId11" Type="http://schemas.openxmlformats.org/officeDocument/2006/relationships/tags" Target="../tags/tag464.xml"/><Relationship Id="rId24" Type="http://schemas.openxmlformats.org/officeDocument/2006/relationships/tags" Target="../tags/tag477.xml"/><Relationship Id="rId32" Type="http://schemas.openxmlformats.org/officeDocument/2006/relationships/tags" Target="../tags/tag485.xml"/><Relationship Id="rId37" Type="http://schemas.openxmlformats.org/officeDocument/2006/relationships/tags" Target="../tags/tag490.xml"/><Relationship Id="rId40" Type="http://schemas.openxmlformats.org/officeDocument/2006/relationships/tags" Target="../tags/tag493.xml"/><Relationship Id="rId45" Type="http://schemas.openxmlformats.org/officeDocument/2006/relationships/tags" Target="../tags/tag498.xml"/><Relationship Id="rId53" Type="http://schemas.openxmlformats.org/officeDocument/2006/relationships/tags" Target="../tags/tag506.xml"/><Relationship Id="rId58" Type="http://schemas.openxmlformats.org/officeDocument/2006/relationships/oleObject" Target="../embeddings/oleObject25.bin"/><Relationship Id="rId5" Type="http://schemas.openxmlformats.org/officeDocument/2006/relationships/tags" Target="../tags/tag458.xml"/><Relationship Id="rId19" Type="http://schemas.openxmlformats.org/officeDocument/2006/relationships/tags" Target="../tags/tag472.xml"/><Relationship Id="rId4" Type="http://schemas.openxmlformats.org/officeDocument/2006/relationships/tags" Target="../tags/tag457.xml"/><Relationship Id="rId9" Type="http://schemas.openxmlformats.org/officeDocument/2006/relationships/tags" Target="../tags/tag462.xml"/><Relationship Id="rId14" Type="http://schemas.openxmlformats.org/officeDocument/2006/relationships/tags" Target="../tags/tag467.xml"/><Relationship Id="rId22" Type="http://schemas.openxmlformats.org/officeDocument/2006/relationships/tags" Target="../tags/tag475.xml"/><Relationship Id="rId27" Type="http://schemas.openxmlformats.org/officeDocument/2006/relationships/tags" Target="../tags/tag480.xml"/><Relationship Id="rId30" Type="http://schemas.openxmlformats.org/officeDocument/2006/relationships/tags" Target="../tags/tag483.xml"/><Relationship Id="rId35" Type="http://schemas.openxmlformats.org/officeDocument/2006/relationships/tags" Target="../tags/tag488.xml"/><Relationship Id="rId43" Type="http://schemas.openxmlformats.org/officeDocument/2006/relationships/tags" Target="../tags/tag496.xml"/><Relationship Id="rId48" Type="http://schemas.openxmlformats.org/officeDocument/2006/relationships/tags" Target="../tags/tag501.xml"/><Relationship Id="rId56" Type="http://schemas.openxmlformats.org/officeDocument/2006/relationships/slideLayout" Target="../slideLayouts/slideLayout2.xml"/><Relationship Id="rId8" Type="http://schemas.openxmlformats.org/officeDocument/2006/relationships/tags" Target="../tags/tag461.xml"/><Relationship Id="rId51" Type="http://schemas.openxmlformats.org/officeDocument/2006/relationships/tags" Target="../tags/tag504.xml"/><Relationship Id="rId3" Type="http://schemas.openxmlformats.org/officeDocument/2006/relationships/tags" Target="../tags/tag456.xml"/><Relationship Id="rId12" Type="http://schemas.openxmlformats.org/officeDocument/2006/relationships/tags" Target="../tags/tag465.xml"/><Relationship Id="rId17" Type="http://schemas.openxmlformats.org/officeDocument/2006/relationships/tags" Target="../tags/tag470.xml"/><Relationship Id="rId25" Type="http://schemas.openxmlformats.org/officeDocument/2006/relationships/tags" Target="../tags/tag478.xml"/><Relationship Id="rId33" Type="http://schemas.openxmlformats.org/officeDocument/2006/relationships/tags" Target="../tags/tag486.xml"/><Relationship Id="rId38" Type="http://schemas.openxmlformats.org/officeDocument/2006/relationships/tags" Target="../tags/tag491.xml"/><Relationship Id="rId46" Type="http://schemas.openxmlformats.org/officeDocument/2006/relationships/tags" Target="../tags/tag499.xml"/><Relationship Id="rId59" Type="http://schemas.openxmlformats.org/officeDocument/2006/relationships/image" Target="../media/image16.emf"/><Relationship Id="rId20" Type="http://schemas.openxmlformats.org/officeDocument/2006/relationships/tags" Target="../tags/tag473.xml"/><Relationship Id="rId41" Type="http://schemas.openxmlformats.org/officeDocument/2006/relationships/tags" Target="../tags/tag494.xml"/><Relationship Id="rId54" Type="http://schemas.openxmlformats.org/officeDocument/2006/relationships/tags" Target="../tags/tag507.xml"/><Relationship Id="rId1" Type="http://schemas.openxmlformats.org/officeDocument/2006/relationships/tags" Target="../tags/tag454.xml"/><Relationship Id="rId6" Type="http://schemas.openxmlformats.org/officeDocument/2006/relationships/tags" Target="../tags/tag459.xml"/><Relationship Id="rId15" Type="http://schemas.openxmlformats.org/officeDocument/2006/relationships/tags" Target="../tags/tag468.xml"/><Relationship Id="rId23" Type="http://schemas.openxmlformats.org/officeDocument/2006/relationships/tags" Target="../tags/tag476.xml"/><Relationship Id="rId28" Type="http://schemas.openxmlformats.org/officeDocument/2006/relationships/tags" Target="../tags/tag481.xml"/><Relationship Id="rId36" Type="http://schemas.openxmlformats.org/officeDocument/2006/relationships/tags" Target="../tags/tag489.xml"/><Relationship Id="rId49" Type="http://schemas.openxmlformats.org/officeDocument/2006/relationships/tags" Target="../tags/tag502.xml"/><Relationship Id="rId57" Type="http://schemas.openxmlformats.org/officeDocument/2006/relationships/notesSlide" Target="../notesSlides/notesSlide3.xml"/><Relationship Id="rId10" Type="http://schemas.openxmlformats.org/officeDocument/2006/relationships/tags" Target="../tags/tag463.xml"/><Relationship Id="rId31" Type="http://schemas.openxmlformats.org/officeDocument/2006/relationships/tags" Target="../tags/tag484.xml"/><Relationship Id="rId44" Type="http://schemas.openxmlformats.org/officeDocument/2006/relationships/tags" Target="../tags/tag497.xml"/><Relationship Id="rId52" Type="http://schemas.openxmlformats.org/officeDocument/2006/relationships/tags" Target="../tags/tag505.xml"/><Relationship Id="rId60" Type="http://schemas.openxmlformats.org/officeDocument/2006/relationships/chart" Target="../charts/chart7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521.xml"/><Relationship Id="rId18" Type="http://schemas.openxmlformats.org/officeDocument/2006/relationships/tags" Target="../tags/tag526.xml"/><Relationship Id="rId26" Type="http://schemas.openxmlformats.org/officeDocument/2006/relationships/tags" Target="../tags/tag534.xml"/><Relationship Id="rId39" Type="http://schemas.openxmlformats.org/officeDocument/2006/relationships/tags" Target="../tags/tag547.xml"/><Relationship Id="rId21" Type="http://schemas.openxmlformats.org/officeDocument/2006/relationships/tags" Target="../tags/tag529.xml"/><Relationship Id="rId34" Type="http://schemas.openxmlformats.org/officeDocument/2006/relationships/tags" Target="../tags/tag542.xml"/><Relationship Id="rId42" Type="http://schemas.openxmlformats.org/officeDocument/2006/relationships/image" Target="../media/image17.emf"/><Relationship Id="rId7" Type="http://schemas.openxmlformats.org/officeDocument/2006/relationships/tags" Target="../tags/tag515.xml"/><Relationship Id="rId2" Type="http://schemas.openxmlformats.org/officeDocument/2006/relationships/tags" Target="../tags/tag510.xml"/><Relationship Id="rId16" Type="http://schemas.openxmlformats.org/officeDocument/2006/relationships/tags" Target="../tags/tag524.xml"/><Relationship Id="rId20" Type="http://schemas.openxmlformats.org/officeDocument/2006/relationships/tags" Target="../tags/tag528.xml"/><Relationship Id="rId29" Type="http://schemas.openxmlformats.org/officeDocument/2006/relationships/tags" Target="../tags/tag537.xml"/><Relationship Id="rId41" Type="http://schemas.openxmlformats.org/officeDocument/2006/relationships/oleObject" Target="../embeddings/oleObject26.bin"/><Relationship Id="rId1" Type="http://schemas.openxmlformats.org/officeDocument/2006/relationships/tags" Target="../tags/tag509.xml"/><Relationship Id="rId6" Type="http://schemas.openxmlformats.org/officeDocument/2006/relationships/tags" Target="../tags/tag514.xml"/><Relationship Id="rId11" Type="http://schemas.openxmlformats.org/officeDocument/2006/relationships/tags" Target="../tags/tag519.xml"/><Relationship Id="rId24" Type="http://schemas.openxmlformats.org/officeDocument/2006/relationships/tags" Target="../tags/tag532.xml"/><Relationship Id="rId32" Type="http://schemas.openxmlformats.org/officeDocument/2006/relationships/tags" Target="../tags/tag540.xml"/><Relationship Id="rId37" Type="http://schemas.openxmlformats.org/officeDocument/2006/relationships/tags" Target="../tags/tag545.xml"/><Relationship Id="rId40" Type="http://schemas.openxmlformats.org/officeDocument/2006/relationships/slideLayout" Target="../slideLayouts/slideLayout19.xml"/><Relationship Id="rId5" Type="http://schemas.openxmlformats.org/officeDocument/2006/relationships/tags" Target="../tags/tag513.xml"/><Relationship Id="rId15" Type="http://schemas.openxmlformats.org/officeDocument/2006/relationships/tags" Target="../tags/tag523.xml"/><Relationship Id="rId23" Type="http://schemas.openxmlformats.org/officeDocument/2006/relationships/tags" Target="../tags/tag531.xml"/><Relationship Id="rId28" Type="http://schemas.openxmlformats.org/officeDocument/2006/relationships/tags" Target="../tags/tag536.xml"/><Relationship Id="rId36" Type="http://schemas.openxmlformats.org/officeDocument/2006/relationships/tags" Target="../tags/tag544.xml"/><Relationship Id="rId10" Type="http://schemas.openxmlformats.org/officeDocument/2006/relationships/tags" Target="../tags/tag518.xml"/><Relationship Id="rId19" Type="http://schemas.openxmlformats.org/officeDocument/2006/relationships/tags" Target="../tags/tag527.xml"/><Relationship Id="rId31" Type="http://schemas.openxmlformats.org/officeDocument/2006/relationships/tags" Target="../tags/tag539.xml"/><Relationship Id="rId4" Type="http://schemas.openxmlformats.org/officeDocument/2006/relationships/tags" Target="../tags/tag512.xml"/><Relationship Id="rId9" Type="http://schemas.openxmlformats.org/officeDocument/2006/relationships/tags" Target="../tags/tag517.xml"/><Relationship Id="rId14" Type="http://schemas.openxmlformats.org/officeDocument/2006/relationships/tags" Target="../tags/tag522.xml"/><Relationship Id="rId22" Type="http://schemas.openxmlformats.org/officeDocument/2006/relationships/tags" Target="../tags/tag530.xml"/><Relationship Id="rId27" Type="http://schemas.openxmlformats.org/officeDocument/2006/relationships/tags" Target="../tags/tag535.xml"/><Relationship Id="rId30" Type="http://schemas.openxmlformats.org/officeDocument/2006/relationships/tags" Target="../tags/tag538.xml"/><Relationship Id="rId35" Type="http://schemas.openxmlformats.org/officeDocument/2006/relationships/tags" Target="../tags/tag543.xml"/><Relationship Id="rId43" Type="http://schemas.openxmlformats.org/officeDocument/2006/relationships/chart" Target="../charts/chart8.xml"/><Relationship Id="rId8" Type="http://schemas.openxmlformats.org/officeDocument/2006/relationships/tags" Target="../tags/tag516.xml"/><Relationship Id="rId3" Type="http://schemas.openxmlformats.org/officeDocument/2006/relationships/tags" Target="../tags/tag511.xml"/><Relationship Id="rId12" Type="http://schemas.openxmlformats.org/officeDocument/2006/relationships/tags" Target="../tags/tag520.xml"/><Relationship Id="rId17" Type="http://schemas.openxmlformats.org/officeDocument/2006/relationships/tags" Target="../tags/tag525.xml"/><Relationship Id="rId25" Type="http://schemas.openxmlformats.org/officeDocument/2006/relationships/tags" Target="../tags/tag533.xml"/><Relationship Id="rId33" Type="http://schemas.openxmlformats.org/officeDocument/2006/relationships/tags" Target="../tags/tag541.xml"/><Relationship Id="rId38" Type="http://schemas.openxmlformats.org/officeDocument/2006/relationships/tags" Target="../tags/tag54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555.xml"/><Relationship Id="rId13" Type="http://schemas.openxmlformats.org/officeDocument/2006/relationships/tags" Target="../tags/tag560.xml"/><Relationship Id="rId18" Type="http://schemas.openxmlformats.org/officeDocument/2006/relationships/tags" Target="../tags/tag565.xml"/><Relationship Id="rId26" Type="http://schemas.openxmlformats.org/officeDocument/2006/relationships/chart" Target="../charts/chart9.xml"/><Relationship Id="rId3" Type="http://schemas.openxmlformats.org/officeDocument/2006/relationships/tags" Target="../tags/tag550.xml"/><Relationship Id="rId21" Type="http://schemas.openxmlformats.org/officeDocument/2006/relationships/tags" Target="../tags/tag568.xml"/><Relationship Id="rId7" Type="http://schemas.openxmlformats.org/officeDocument/2006/relationships/tags" Target="../tags/tag554.xml"/><Relationship Id="rId12" Type="http://schemas.openxmlformats.org/officeDocument/2006/relationships/tags" Target="../tags/tag559.xml"/><Relationship Id="rId17" Type="http://schemas.openxmlformats.org/officeDocument/2006/relationships/tags" Target="../tags/tag564.xml"/><Relationship Id="rId25" Type="http://schemas.openxmlformats.org/officeDocument/2006/relationships/image" Target="../media/image18.emf"/><Relationship Id="rId2" Type="http://schemas.openxmlformats.org/officeDocument/2006/relationships/tags" Target="../tags/tag549.xml"/><Relationship Id="rId16" Type="http://schemas.openxmlformats.org/officeDocument/2006/relationships/tags" Target="../tags/tag563.xml"/><Relationship Id="rId20" Type="http://schemas.openxmlformats.org/officeDocument/2006/relationships/tags" Target="../tags/tag567.xml"/><Relationship Id="rId29" Type="http://schemas.openxmlformats.org/officeDocument/2006/relationships/image" Target="../media/image21.png"/><Relationship Id="rId1" Type="http://schemas.openxmlformats.org/officeDocument/2006/relationships/tags" Target="../tags/tag548.xml"/><Relationship Id="rId6" Type="http://schemas.openxmlformats.org/officeDocument/2006/relationships/tags" Target="../tags/tag553.xml"/><Relationship Id="rId11" Type="http://schemas.openxmlformats.org/officeDocument/2006/relationships/tags" Target="../tags/tag558.xml"/><Relationship Id="rId24" Type="http://schemas.openxmlformats.org/officeDocument/2006/relationships/oleObject" Target="../embeddings/oleObject27.bin"/><Relationship Id="rId5" Type="http://schemas.openxmlformats.org/officeDocument/2006/relationships/tags" Target="../tags/tag552.xml"/><Relationship Id="rId15" Type="http://schemas.openxmlformats.org/officeDocument/2006/relationships/tags" Target="../tags/tag562.xml"/><Relationship Id="rId23" Type="http://schemas.openxmlformats.org/officeDocument/2006/relationships/notesSlide" Target="../notesSlides/notesSlide4.xml"/><Relationship Id="rId28" Type="http://schemas.openxmlformats.org/officeDocument/2006/relationships/image" Target="../media/image20.png"/><Relationship Id="rId10" Type="http://schemas.openxmlformats.org/officeDocument/2006/relationships/tags" Target="../tags/tag557.xml"/><Relationship Id="rId19" Type="http://schemas.openxmlformats.org/officeDocument/2006/relationships/tags" Target="../tags/tag566.xml"/><Relationship Id="rId4" Type="http://schemas.openxmlformats.org/officeDocument/2006/relationships/tags" Target="../tags/tag551.xml"/><Relationship Id="rId9" Type="http://schemas.openxmlformats.org/officeDocument/2006/relationships/tags" Target="../tags/tag556.xml"/><Relationship Id="rId14" Type="http://schemas.openxmlformats.org/officeDocument/2006/relationships/tags" Target="../tags/tag561.xml"/><Relationship Id="rId22" Type="http://schemas.openxmlformats.org/officeDocument/2006/relationships/slideLayout" Target="../slideLayouts/slideLayout2.xml"/><Relationship Id="rId27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576.xml"/><Relationship Id="rId13" Type="http://schemas.openxmlformats.org/officeDocument/2006/relationships/tags" Target="../tags/tag581.xml"/><Relationship Id="rId18" Type="http://schemas.openxmlformats.org/officeDocument/2006/relationships/tags" Target="../tags/tag586.xml"/><Relationship Id="rId26" Type="http://schemas.openxmlformats.org/officeDocument/2006/relationships/image" Target="../media/image15.emf"/><Relationship Id="rId3" Type="http://schemas.openxmlformats.org/officeDocument/2006/relationships/tags" Target="../tags/tag571.xml"/><Relationship Id="rId21" Type="http://schemas.openxmlformats.org/officeDocument/2006/relationships/tags" Target="../tags/tag589.xml"/><Relationship Id="rId7" Type="http://schemas.openxmlformats.org/officeDocument/2006/relationships/tags" Target="../tags/tag575.xml"/><Relationship Id="rId12" Type="http://schemas.openxmlformats.org/officeDocument/2006/relationships/tags" Target="../tags/tag580.xml"/><Relationship Id="rId17" Type="http://schemas.openxmlformats.org/officeDocument/2006/relationships/tags" Target="../tags/tag585.xml"/><Relationship Id="rId25" Type="http://schemas.openxmlformats.org/officeDocument/2006/relationships/oleObject" Target="../embeddings/oleObject28.bin"/><Relationship Id="rId2" Type="http://schemas.openxmlformats.org/officeDocument/2006/relationships/tags" Target="../tags/tag570.xml"/><Relationship Id="rId16" Type="http://schemas.openxmlformats.org/officeDocument/2006/relationships/tags" Target="../tags/tag584.xml"/><Relationship Id="rId20" Type="http://schemas.openxmlformats.org/officeDocument/2006/relationships/tags" Target="../tags/tag588.xml"/><Relationship Id="rId1" Type="http://schemas.openxmlformats.org/officeDocument/2006/relationships/tags" Target="../tags/tag569.xml"/><Relationship Id="rId6" Type="http://schemas.openxmlformats.org/officeDocument/2006/relationships/tags" Target="../tags/tag574.xml"/><Relationship Id="rId11" Type="http://schemas.openxmlformats.org/officeDocument/2006/relationships/tags" Target="../tags/tag579.xml"/><Relationship Id="rId24" Type="http://schemas.openxmlformats.org/officeDocument/2006/relationships/notesSlide" Target="../notesSlides/notesSlide5.xml"/><Relationship Id="rId5" Type="http://schemas.openxmlformats.org/officeDocument/2006/relationships/tags" Target="../tags/tag573.xml"/><Relationship Id="rId15" Type="http://schemas.openxmlformats.org/officeDocument/2006/relationships/tags" Target="../tags/tag583.xml"/><Relationship Id="rId23" Type="http://schemas.openxmlformats.org/officeDocument/2006/relationships/slideLayout" Target="../slideLayouts/slideLayout2.xml"/><Relationship Id="rId10" Type="http://schemas.openxmlformats.org/officeDocument/2006/relationships/tags" Target="../tags/tag578.xml"/><Relationship Id="rId19" Type="http://schemas.openxmlformats.org/officeDocument/2006/relationships/tags" Target="../tags/tag587.xml"/><Relationship Id="rId4" Type="http://schemas.openxmlformats.org/officeDocument/2006/relationships/tags" Target="../tags/tag572.xml"/><Relationship Id="rId9" Type="http://schemas.openxmlformats.org/officeDocument/2006/relationships/tags" Target="../tags/tag577.xml"/><Relationship Id="rId14" Type="http://schemas.openxmlformats.org/officeDocument/2006/relationships/tags" Target="../tags/tag582.xml"/><Relationship Id="rId22" Type="http://schemas.openxmlformats.org/officeDocument/2006/relationships/tags" Target="../tags/tag590.xml"/><Relationship Id="rId27" Type="http://schemas.openxmlformats.org/officeDocument/2006/relationships/chart" Target="../charts/chart1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598.xml"/><Relationship Id="rId13" Type="http://schemas.openxmlformats.org/officeDocument/2006/relationships/image" Target="../media/image23.png"/><Relationship Id="rId18" Type="http://schemas.openxmlformats.org/officeDocument/2006/relationships/image" Target="../media/image26.png"/><Relationship Id="rId26" Type="http://schemas.openxmlformats.org/officeDocument/2006/relationships/image" Target="../media/image30.png"/><Relationship Id="rId3" Type="http://schemas.openxmlformats.org/officeDocument/2006/relationships/tags" Target="../tags/tag593.xml"/><Relationship Id="rId21" Type="http://schemas.microsoft.com/office/2007/relationships/hdphoto" Target="../media/hdphoto4.wdp"/><Relationship Id="rId7" Type="http://schemas.openxmlformats.org/officeDocument/2006/relationships/tags" Target="../tags/tag597.xml"/><Relationship Id="rId12" Type="http://schemas.openxmlformats.org/officeDocument/2006/relationships/image" Target="../media/image22.emf"/><Relationship Id="rId17" Type="http://schemas.microsoft.com/office/2007/relationships/hdphoto" Target="../media/hdphoto2.wdp"/><Relationship Id="rId25" Type="http://schemas.microsoft.com/office/2007/relationships/hdphoto" Target="../media/hdphoto6.wdp"/><Relationship Id="rId2" Type="http://schemas.openxmlformats.org/officeDocument/2006/relationships/tags" Target="../tags/tag592.xml"/><Relationship Id="rId16" Type="http://schemas.openxmlformats.org/officeDocument/2006/relationships/image" Target="../media/image25.png"/><Relationship Id="rId20" Type="http://schemas.openxmlformats.org/officeDocument/2006/relationships/image" Target="../media/image27.png"/><Relationship Id="rId29" Type="http://schemas.microsoft.com/office/2007/relationships/hdphoto" Target="../media/hdphoto7.wdp"/><Relationship Id="rId1" Type="http://schemas.openxmlformats.org/officeDocument/2006/relationships/tags" Target="../tags/tag591.xml"/><Relationship Id="rId6" Type="http://schemas.openxmlformats.org/officeDocument/2006/relationships/tags" Target="../tags/tag596.xml"/><Relationship Id="rId11" Type="http://schemas.openxmlformats.org/officeDocument/2006/relationships/oleObject" Target="../embeddings/oleObject29.bin"/><Relationship Id="rId24" Type="http://schemas.openxmlformats.org/officeDocument/2006/relationships/image" Target="../media/image29.png"/><Relationship Id="rId5" Type="http://schemas.openxmlformats.org/officeDocument/2006/relationships/tags" Target="../tags/tag595.xml"/><Relationship Id="rId15" Type="http://schemas.microsoft.com/office/2007/relationships/hdphoto" Target="../media/hdphoto1.wdp"/><Relationship Id="rId23" Type="http://schemas.microsoft.com/office/2007/relationships/hdphoto" Target="../media/hdphoto5.wdp"/><Relationship Id="rId28" Type="http://schemas.openxmlformats.org/officeDocument/2006/relationships/image" Target="../media/image32.png"/><Relationship Id="rId10" Type="http://schemas.openxmlformats.org/officeDocument/2006/relationships/notesSlide" Target="../notesSlides/notesSlide6.xml"/><Relationship Id="rId19" Type="http://schemas.microsoft.com/office/2007/relationships/hdphoto" Target="../media/hdphoto3.wdp"/><Relationship Id="rId31" Type="http://schemas.microsoft.com/office/2007/relationships/hdphoto" Target="../media/hdphoto8.wdp"/><Relationship Id="rId4" Type="http://schemas.openxmlformats.org/officeDocument/2006/relationships/tags" Target="../tags/tag594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24.png"/><Relationship Id="rId22" Type="http://schemas.openxmlformats.org/officeDocument/2006/relationships/image" Target="../media/image28.png"/><Relationship Id="rId27" Type="http://schemas.openxmlformats.org/officeDocument/2006/relationships/image" Target="../media/image31.svg"/><Relationship Id="rId30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611.xml"/><Relationship Id="rId18" Type="http://schemas.openxmlformats.org/officeDocument/2006/relationships/tags" Target="../tags/tag616.xml"/><Relationship Id="rId26" Type="http://schemas.openxmlformats.org/officeDocument/2006/relationships/oleObject" Target="../embeddings/oleObject30.bin"/><Relationship Id="rId3" Type="http://schemas.openxmlformats.org/officeDocument/2006/relationships/tags" Target="../tags/tag601.xml"/><Relationship Id="rId21" Type="http://schemas.openxmlformats.org/officeDocument/2006/relationships/tags" Target="../tags/tag619.xml"/><Relationship Id="rId34" Type="http://schemas.openxmlformats.org/officeDocument/2006/relationships/chart" Target="../charts/chart13.xml"/><Relationship Id="rId7" Type="http://schemas.openxmlformats.org/officeDocument/2006/relationships/tags" Target="../tags/tag605.xml"/><Relationship Id="rId12" Type="http://schemas.openxmlformats.org/officeDocument/2006/relationships/tags" Target="../tags/tag610.xml"/><Relationship Id="rId17" Type="http://schemas.openxmlformats.org/officeDocument/2006/relationships/tags" Target="../tags/tag615.xml"/><Relationship Id="rId25" Type="http://schemas.openxmlformats.org/officeDocument/2006/relationships/slideLayout" Target="../slideLayouts/slideLayout21.xml"/><Relationship Id="rId33" Type="http://schemas.openxmlformats.org/officeDocument/2006/relationships/chart" Target="../charts/chart12.xml"/><Relationship Id="rId2" Type="http://schemas.openxmlformats.org/officeDocument/2006/relationships/tags" Target="../tags/tag600.xml"/><Relationship Id="rId16" Type="http://schemas.openxmlformats.org/officeDocument/2006/relationships/tags" Target="../tags/tag614.xml"/><Relationship Id="rId20" Type="http://schemas.openxmlformats.org/officeDocument/2006/relationships/tags" Target="../tags/tag618.xml"/><Relationship Id="rId29" Type="http://schemas.openxmlformats.org/officeDocument/2006/relationships/image" Target="../media/image34.svg"/><Relationship Id="rId1" Type="http://schemas.openxmlformats.org/officeDocument/2006/relationships/tags" Target="../tags/tag599.xml"/><Relationship Id="rId6" Type="http://schemas.openxmlformats.org/officeDocument/2006/relationships/tags" Target="../tags/tag604.xml"/><Relationship Id="rId11" Type="http://schemas.openxmlformats.org/officeDocument/2006/relationships/tags" Target="../tags/tag609.xml"/><Relationship Id="rId24" Type="http://schemas.openxmlformats.org/officeDocument/2006/relationships/tags" Target="../tags/tag622.xml"/><Relationship Id="rId32" Type="http://schemas.openxmlformats.org/officeDocument/2006/relationships/image" Target="../media/image37.svg"/><Relationship Id="rId5" Type="http://schemas.openxmlformats.org/officeDocument/2006/relationships/tags" Target="../tags/tag603.xml"/><Relationship Id="rId15" Type="http://schemas.openxmlformats.org/officeDocument/2006/relationships/tags" Target="../tags/tag613.xml"/><Relationship Id="rId23" Type="http://schemas.openxmlformats.org/officeDocument/2006/relationships/tags" Target="../tags/tag621.xml"/><Relationship Id="rId28" Type="http://schemas.openxmlformats.org/officeDocument/2006/relationships/chart" Target="../charts/chart11.xml"/><Relationship Id="rId36" Type="http://schemas.openxmlformats.org/officeDocument/2006/relationships/chart" Target="../charts/chart15.xml"/><Relationship Id="rId10" Type="http://schemas.openxmlformats.org/officeDocument/2006/relationships/tags" Target="../tags/tag608.xml"/><Relationship Id="rId19" Type="http://schemas.openxmlformats.org/officeDocument/2006/relationships/tags" Target="../tags/tag617.xml"/><Relationship Id="rId31" Type="http://schemas.openxmlformats.org/officeDocument/2006/relationships/image" Target="../media/image36.svg"/><Relationship Id="rId4" Type="http://schemas.openxmlformats.org/officeDocument/2006/relationships/tags" Target="../tags/tag602.xml"/><Relationship Id="rId9" Type="http://schemas.openxmlformats.org/officeDocument/2006/relationships/tags" Target="../tags/tag607.xml"/><Relationship Id="rId14" Type="http://schemas.openxmlformats.org/officeDocument/2006/relationships/tags" Target="../tags/tag612.xml"/><Relationship Id="rId22" Type="http://schemas.openxmlformats.org/officeDocument/2006/relationships/tags" Target="../tags/tag620.xml"/><Relationship Id="rId27" Type="http://schemas.openxmlformats.org/officeDocument/2006/relationships/image" Target="../media/image15.emf"/><Relationship Id="rId30" Type="http://schemas.openxmlformats.org/officeDocument/2006/relationships/image" Target="../media/image35.svg"/><Relationship Id="rId35" Type="http://schemas.openxmlformats.org/officeDocument/2006/relationships/chart" Target="../charts/chart14.xml"/><Relationship Id="rId8" Type="http://schemas.openxmlformats.org/officeDocument/2006/relationships/tags" Target="../tags/tag60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630.xml"/><Relationship Id="rId13" Type="http://schemas.openxmlformats.org/officeDocument/2006/relationships/image" Target="../media/image39.jpeg"/><Relationship Id="rId18" Type="http://schemas.openxmlformats.org/officeDocument/2006/relationships/image" Target="../media/image44.png"/><Relationship Id="rId3" Type="http://schemas.openxmlformats.org/officeDocument/2006/relationships/tags" Target="../tags/tag625.xml"/><Relationship Id="rId7" Type="http://schemas.openxmlformats.org/officeDocument/2006/relationships/tags" Target="../tags/tag629.xml"/><Relationship Id="rId12" Type="http://schemas.openxmlformats.org/officeDocument/2006/relationships/image" Target="../media/image38.emf"/><Relationship Id="rId17" Type="http://schemas.openxmlformats.org/officeDocument/2006/relationships/image" Target="../media/image43.png"/><Relationship Id="rId2" Type="http://schemas.openxmlformats.org/officeDocument/2006/relationships/tags" Target="../tags/tag624.xml"/><Relationship Id="rId16" Type="http://schemas.openxmlformats.org/officeDocument/2006/relationships/image" Target="../media/image42.png"/><Relationship Id="rId1" Type="http://schemas.openxmlformats.org/officeDocument/2006/relationships/tags" Target="../tags/tag623.xml"/><Relationship Id="rId6" Type="http://schemas.openxmlformats.org/officeDocument/2006/relationships/tags" Target="../tags/tag628.xml"/><Relationship Id="rId11" Type="http://schemas.openxmlformats.org/officeDocument/2006/relationships/oleObject" Target="../embeddings/oleObject31.bin"/><Relationship Id="rId5" Type="http://schemas.openxmlformats.org/officeDocument/2006/relationships/tags" Target="../tags/tag627.xml"/><Relationship Id="rId15" Type="http://schemas.openxmlformats.org/officeDocument/2006/relationships/image" Target="../media/image41.png"/><Relationship Id="rId10" Type="http://schemas.openxmlformats.org/officeDocument/2006/relationships/notesSlide" Target="../notesSlides/notesSlide7.xml"/><Relationship Id="rId19" Type="http://schemas.openxmlformats.org/officeDocument/2006/relationships/image" Target="../media/image45.png"/><Relationship Id="rId4" Type="http://schemas.openxmlformats.org/officeDocument/2006/relationships/tags" Target="../tags/tag626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633.xml"/><Relationship Id="rId7" Type="http://schemas.openxmlformats.org/officeDocument/2006/relationships/image" Target="../media/image46.emf"/><Relationship Id="rId2" Type="http://schemas.openxmlformats.org/officeDocument/2006/relationships/tags" Target="../tags/tag632.xml"/><Relationship Id="rId1" Type="http://schemas.openxmlformats.org/officeDocument/2006/relationships/tags" Target="../tags/tag631.xml"/><Relationship Id="rId6" Type="http://schemas.openxmlformats.org/officeDocument/2006/relationships/oleObject" Target="../embeddings/oleObject32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641.xml"/><Relationship Id="rId13" Type="http://schemas.openxmlformats.org/officeDocument/2006/relationships/image" Target="../media/image47.emf"/><Relationship Id="rId3" Type="http://schemas.openxmlformats.org/officeDocument/2006/relationships/tags" Target="../tags/tag636.xml"/><Relationship Id="rId7" Type="http://schemas.openxmlformats.org/officeDocument/2006/relationships/tags" Target="../tags/tag640.xml"/><Relationship Id="rId12" Type="http://schemas.openxmlformats.org/officeDocument/2006/relationships/oleObject" Target="../embeddings/oleObject33.bin"/><Relationship Id="rId17" Type="http://schemas.openxmlformats.org/officeDocument/2006/relationships/image" Target="../media/image51.svg"/><Relationship Id="rId2" Type="http://schemas.openxmlformats.org/officeDocument/2006/relationships/tags" Target="../tags/tag635.xml"/><Relationship Id="rId16" Type="http://schemas.openxmlformats.org/officeDocument/2006/relationships/image" Target="../media/image50.svg"/><Relationship Id="rId1" Type="http://schemas.openxmlformats.org/officeDocument/2006/relationships/tags" Target="../tags/tag634.xml"/><Relationship Id="rId6" Type="http://schemas.openxmlformats.org/officeDocument/2006/relationships/tags" Target="../tags/tag639.xml"/><Relationship Id="rId11" Type="http://schemas.openxmlformats.org/officeDocument/2006/relationships/notesSlide" Target="../notesSlides/notesSlide9.xml"/><Relationship Id="rId5" Type="http://schemas.openxmlformats.org/officeDocument/2006/relationships/tags" Target="../tags/tag638.xml"/><Relationship Id="rId15" Type="http://schemas.openxmlformats.org/officeDocument/2006/relationships/image" Target="../media/image49.svg"/><Relationship Id="rId10" Type="http://schemas.openxmlformats.org/officeDocument/2006/relationships/slideLayout" Target="../slideLayouts/slideLayout19.xml"/><Relationship Id="rId4" Type="http://schemas.openxmlformats.org/officeDocument/2006/relationships/tags" Target="../tags/tag637.xml"/><Relationship Id="rId9" Type="http://schemas.openxmlformats.org/officeDocument/2006/relationships/tags" Target="../tags/tag642.xml"/><Relationship Id="rId14" Type="http://schemas.openxmlformats.org/officeDocument/2006/relationships/image" Target="../media/image48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645.xml"/><Relationship Id="rId7" Type="http://schemas.openxmlformats.org/officeDocument/2006/relationships/image" Target="../media/image6.emf"/><Relationship Id="rId2" Type="http://schemas.openxmlformats.org/officeDocument/2006/relationships/tags" Target="../tags/tag644.xml"/><Relationship Id="rId1" Type="http://schemas.openxmlformats.org/officeDocument/2006/relationships/tags" Target="../tags/tag643.xml"/><Relationship Id="rId6" Type="http://schemas.openxmlformats.org/officeDocument/2006/relationships/oleObject" Target="../embeddings/oleObject34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4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74.xml"/><Relationship Id="rId7" Type="http://schemas.openxmlformats.org/officeDocument/2006/relationships/image" Target="../media/image6.emf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647.xml"/><Relationship Id="rId4" Type="http://schemas.openxmlformats.org/officeDocument/2006/relationships/image" Target="../media/image52.emf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87.xml"/><Relationship Id="rId18" Type="http://schemas.openxmlformats.org/officeDocument/2006/relationships/tags" Target="../tags/tag192.xml"/><Relationship Id="rId26" Type="http://schemas.openxmlformats.org/officeDocument/2006/relationships/tags" Target="../tags/tag200.xml"/><Relationship Id="rId39" Type="http://schemas.openxmlformats.org/officeDocument/2006/relationships/oleObject" Target="../embeddings/oleObject18.bin"/><Relationship Id="rId21" Type="http://schemas.openxmlformats.org/officeDocument/2006/relationships/tags" Target="../tags/tag195.xml"/><Relationship Id="rId34" Type="http://schemas.openxmlformats.org/officeDocument/2006/relationships/tags" Target="../tags/tag208.xml"/><Relationship Id="rId7" Type="http://schemas.openxmlformats.org/officeDocument/2006/relationships/tags" Target="../tags/tag181.xml"/><Relationship Id="rId2" Type="http://schemas.openxmlformats.org/officeDocument/2006/relationships/tags" Target="../tags/tag176.xml"/><Relationship Id="rId16" Type="http://schemas.openxmlformats.org/officeDocument/2006/relationships/tags" Target="../tags/tag190.xml"/><Relationship Id="rId20" Type="http://schemas.openxmlformats.org/officeDocument/2006/relationships/tags" Target="../tags/tag194.xml"/><Relationship Id="rId29" Type="http://schemas.openxmlformats.org/officeDocument/2006/relationships/tags" Target="../tags/tag203.xml"/><Relationship Id="rId41" Type="http://schemas.openxmlformats.org/officeDocument/2006/relationships/chart" Target="../charts/chart1.xml"/><Relationship Id="rId1" Type="http://schemas.openxmlformats.org/officeDocument/2006/relationships/tags" Target="../tags/tag175.xml"/><Relationship Id="rId6" Type="http://schemas.openxmlformats.org/officeDocument/2006/relationships/tags" Target="../tags/tag180.xml"/><Relationship Id="rId11" Type="http://schemas.openxmlformats.org/officeDocument/2006/relationships/tags" Target="../tags/tag185.xml"/><Relationship Id="rId24" Type="http://schemas.openxmlformats.org/officeDocument/2006/relationships/tags" Target="../tags/tag198.xml"/><Relationship Id="rId32" Type="http://schemas.openxmlformats.org/officeDocument/2006/relationships/tags" Target="../tags/tag206.xml"/><Relationship Id="rId37" Type="http://schemas.openxmlformats.org/officeDocument/2006/relationships/tags" Target="../tags/tag211.xml"/><Relationship Id="rId40" Type="http://schemas.openxmlformats.org/officeDocument/2006/relationships/image" Target="../media/image12.emf"/><Relationship Id="rId5" Type="http://schemas.openxmlformats.org/officeDocument/2006/relationships/tags" Target="../tags/tag179.xml"/><Relationship Id="rId15" Type="http://schemas.openxmlformats.org/officeDocument/2006/relationships/tags" Target="../tags/tag189.xml"/><Relationship Id="rId23" Type="http://schemas.openxmlformats.org/officeDocument/2006/relationships/tags" Target="../tags/tag197.xml"/><Relationship Id="rId28" Type="http://schemas.openxmlformats.org/officeDocument/2006/relationships/tags" Target="../tags/tag202.xml"/><Relationship Id="rId36" Type="http://schemas.openxmlformats.org/officeDocument/2006/relationships/tags" Target="../tags/tag210.xml"/><Relationship Id="rId10" Type="http://schemas.openxmlformats.org/officeDocument/2006/relationships/tags" Target="../tags/tag184.xml"/><Relationship Id="rId19" Type="http://schemas.openxmlformats.org/officeDocument/2006/relationships/tags" Target="../tags/tag193.xml"/><Relationship Id="rId31" Type="http://schemas.openxmlformats.org/officeDocument/2006/relationships/tags" Target="../tags/tag205.xml"/><Relationship Id="rId4" Type="http://schemas.openxmlformats.org/officeDocument/2006/relationships/tags" Target="../tags/tag178.xml"/><Relationship Id="rId9" Type="http://schemas.openxmlformats.org/officeDocument/2006/relationships/tags" Target="../tags/tag183.xml"/><Relationship Id="rId14" Type="http://schemas.openxmlformats.org/officeDocument/2006/relationships/tags" Target="../tags/tag188.xml"/><Relationship Id="rId22" Type="http://schemas.openxmlformats.org/officeDocument/2006/relationships/tags" Target="../tags/tag196.xml"/><Relationship Id="rId27" Type="http://schemas.openxmlformats.org/officeDocument/2006/relationships/tags" Target="../tags/tag201.xml"/><Relationship Id="rId30" Type="http://schemas.openxmlformats.org/officeDocument/2006/relationships/tags" Target="../tags/tag204.xml"/><Relationship Id="rId35" Type="http://schemas.openxmlformats.org/officeDocument/2006/relationships/tags" Target="../tags/tag209.xml"/><Relationship Id="rId8" Type="http://schemas.openxmlformats.org/officeDocument/2006/relationships/tags" Target="../tags/tag182.xml"/><Relationship Id="rId3" Type="http://schemas.openxmlformats.org/officeDocument/2006/relationships/tags" Target="../tags/tag177.xml"/><Relationship Id="rId12" Type="http://schemas.openxmlformats.org/officeDocument/2006/relationships/tags" Target="../tags/tag186.xml"/><Relationship Id="rId17" Type="http://schemas.openxmlformats.org/officeDocument/2006/relationships/tags" Target="../tags/tag191.xml"/><Relationship Id="rId25" Type="http://schemas.openxmlformats.org/officeDocument/2006/relationships/tags" Target="../tags/tag199.xml"/><Relationship Id="rId33" Type="http://schemas.openxmlformats.org/officeDocument/2006/relationships/tags" Target="../tags/tag207.xml"/><Relationship Id="rId38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237.xml"/><Relationship Id="rId21" Type="http://schemas.openxmlformats.org/officeDocument/2006/relationships/tags" Target="../tags/tag232.xml"/><Relationship Id="rId42" Type="http://schemas.openxmlformats.org/officeDocument/2006/relationships/tags" Target="../tags/tag253.xml"/><Relationship Id="rId47" Type="http://schemas.openxmlformats.org/officeDocument/2006/relationships/tags" Target="../tags/tag258.xml"/><Relationship Id="rId63" Type="http://schemas.openxmlformats.org/officeDocument/2006/relationships/tags" Target="../tags/tag274.xml"/><Relationship Id="rId68" Type="http://schemas.openxmlformats.org/officeDocument/2006/relationships/tags" Target="../tags/tag279.xml"/><Relationship Id="rId2" Type="http://schemas.openxmlformats.org/officeDocument/2006/relationships/tags" Target="../tags/tag213.xml"/><Relationship Id="rId16" Type="http://schemas.openxmlformats.org/officeDocument/2006/relationships/tags" Target="../tags/tag227.xml"/><Relationship Id="rId29" Type="http://schemas.openxmlformats.org/officeDocument/2006/relationships/tags" Target="../tags/tag240.xml"/><Relationship Id="rId11" Type="http://schemas.openxmlformats.org/officeDocument/2006/relationships/tags" Target="../tags/tag222.xml"/><Relationship Id="rId24" Type="http://schemas.openxmlformats.org/officeDocument/2006/relationships/tags" Target="../tags/tag235.xml"/><Relationship Id="rId32" Type="http://schemas.openxmlformats.org/officeDocument/2006/relationships/tags" Target="../tags/tag243.xml"/><Relationship Id="rId37" Type="http://schemas.openxmlformats.org/officeDocument/2006/relationships/tags" Target="../tags/tag248.xml"/><Relationship Id="rId40" Type="http://schemas.openxmlformats.org/officeDocument/2006/relationships/tags" Target="../tags/tag251.xml"/><Relationship Id="rId45" Type="http://schemas.openxmlformats.org/officeDocument/2006/relationships/tags" Target="../tags/tag256.xml"/><Relationship Id="rId53" Type="http://schemas.openxmlformats.org/officeDocument/2006/relationships/tags" Target="../tags/tag264.xml"/><Relationship Id="rId58" Type="http://schemas.openxmlformats.org/officeDocument/2006/relationships/tags" Target="../tags/tag269.xml"/><Relationship Id="rId66" Type="http://schemas.openxmlformats.org/officeDocument/2006/relationships/tags" Target="../tags/tag277.xml"/><Relationship Id="rId74" Type="http://schemas.openxmlformats.org/officeDocument/2006/relationships/image" Target="../media/image12.emf"/><Relationship Id="rId5" Type="http://schemas.openxmlformats.org/officeDocument/2006/relationships/tags" Target="../tags/tag216.xml"/><Relationship Id="rId61" Type="http://schemas.openxmlformats.org/officeDocument/2006/relationships/tags" Target="../tags/tag272.xml"/><Relationship Id="rId19" Type="http://schemas.openxmlformats.org/officeDocument/2006/relationships/tags" Target="../tags/tag230.xml"/><Relationship Id="rId14" Type="http://schemas.openxmlformats.org/officeDocument/2006/relationships/tags" Target="../tags/tag225.xml"/><Relationship Id="rId22" Type="http://schemas.openxmlformats.org/officeDocument/2006/relationships/tags" Target="../tags/tag233.xml"/><Relationship Id="rId27" Type="http://schemas.openxmlformats.org/officeDocument/2006/relationships/tags" Target="../tags/tag238.xml"/><Relationship Id="rId30" Type="http://schemas.openxmlformats.org/officeDocument/2006/relationships/tags" Target="../tags/tag241.xml"/><Relationship Id="rId35" Type="http://schemas.openxmlformats.org/officeDocument/2006/relationships/tags" Target="../tags/tag246.xml"/><Relationship Id="rId43" Type="http://schemas.openxmlformats.org/officeDocument/2006/relationships/tags" Target="../tags/tag254.xml"/><Relationship Id="rId48" Type="http://schemas.openxmlformats.org/officeDocument/2006/relationships/tags" Target="../tags/tag259.xml"/><Relationship Id="rId56" Type="http://schemas.openxmlformats.org/officeDocument/2006/relationships/tags" Target="../tags/tag267.xml"/><Relationship Id="rId64" Type="http://schemas.openxmlformats.org/officeDocument/2006/relationships/tags" Target="../tags/tag275.xml"/><Relationship Id="rId69" Type="http://schemas.openxmlformats.org/officeDocument/2006/relationships/tags" Target="../tags/tag280.xml"/><Relationship Id="rId8" Type="http://schemas.openxmlformats.org/officeDocument/2006/relationships/tags" Target="../tags/tag219.xml"/><Relationship Id="rId51" Type="http://schemas.openxmlformats.org/officeDocument/2006/relationships/tags" Target="../tags/tag262.xml"/><Relationship Id="rId72" Type="http://schemas.openxmlformats.org/officeDocument/2006/relationships/slideLayout" Target="../slideLayouts/slideLayout2.xml"/><Relationship Id="rId3" Type="http://schemas.openxmlformats.org/officeDocument/2006/relationships/tags" Target="../tags/tag214.xml"/><Relationship Id="rId12" Type="http://schemas.openxmlformats.org/officeDocument/2006/relationships/tags" Target="../tags/tag223.xml"/><Relationship Id="rId17" Type="http://schemas.openxmlformats.org/officeDocument/2006/relationships/tags" Target="../tags/tag228.xml"/><Relationship Id="rId25" Type="http://schemas.openxmlformats.org/officeDocument/2006/relationships/tags" Target="../tags/tag236.xml"/><Relationship Id="rId33" Type="http://schemas.openxmlformats.org/officeDocument/2006/relationships/tags" Target="../tags/tag244.xml"/><Relationship Id="rId38" Type="http://schemas.openxmlformats.org/officeDocument/2006/relationships/tags" Target="../tags/tag249.xml"/><Relationship Id="rId46" Type="http://schemas.openxmlformats.org/officeDocument/2006/relationships/tags" Target="../tags/tag257.xml"/><Relationship Id="rId59" Type="http://schemas.openxmlformats.org/officeDocument/2006/relationships/tags" Target="../tags/tag270.xml"/><Relationship Id="rId67" Type="http://schemas.openxmlformats.org/officeDocument/2006/relationships/tags" Target="../tags/tag278.xml"/><Relationship Id="rId20" Type="http://schemas.openxmlformats.org/officeDocument/2006/relationships/tags" Target="../tags/tag231.xml"/><Relationship Id="rId41" Type="http://schemas.openxmlformats.org/officeDocument/2006/relationships/tags" Target="../tags/tag252.xml"/><Relationship Id="rId54" Type="http://schemas.openxmlformats.org/officeDocument/2006/relationships/tags" Target="../tags/tag265.xml"/><Relationship Id="rId62" Type="http://schemas.openxmlformats.org/officeDocument/2006/relationships/tags" Target="../tags/tag273.xml"/><Relationship Id="rId70" Type="http://schemas.openxmlformats.org/officeDocument/2006/relationships/tags" Target="../tags/tag281.xml"/><Relationship Id="rId75" Type="http://schemas.openxmlformats.org/officeDocument/2006/relationships/chart" Target="../charts/chart2.xml"/><Relationship Id="rId1" Type="http://schemas.openxmlformats.org/officeDocument/2006/relationships/tags" Target="../tags/tag212.xml"/><Relationship Id="rId6" Type="http://schemas.openxmlformats.org/officeDocument/2006/relationships/tags" Target="../tags/tag217.xml"/><Relationship Id="rId15" Type="http://schemas.openxmlformats.org/officeDocument/2006/relationships/tags" Target="../tags/tag226.xml"/><Relationship Id="rId23" Type="http://schemas.openxmlformats.org/officeDocument/2006/relationships/tags" Target="../tags/tag234.xml"/><Relationship Id="rId28" Type="http://schemas.openxmlformats.org/officeDocument/2006/relationships/tags" Target="../tags/tag239.xml"/><Relationship Id="rId36" Type="http://schemas.openxmlformats.org/officeDocument/2006/relationships/tags" Target="../tags/tag247.xml"/><Relationship Id="rId49" Type="http://schemas.openxmlformats.org/officeDocument/2006/relationships/tags" Target="../tags/tag260.xml"/><Relationship Id="rId57" Type="http://schemas.openxmlformats.org/officeDocument/2006/relationships/tags" Target="../tags/tag268.xml"/><Relationship Id="rId10" Type="http://schemas.openxmlformats.org/officeDocument/2006/relationships/tags" Target="../tags/tag221.xml"/><Relationship Id="rId31" Type="http://schemas.openxmlformats.org/officeDocument/2006/relationships/tags" Target="../tags/tag242.xml"/><Relationship Id="rId44" Type="http://schemas.openxmlformats.org/officeDocument/2006/relationships/tags" Target="../tags/tag255.xml"/><Relationship Id="rId52" Type="http://schemas.openxmlformats.org/officeDocument/2006/relationships/tags" Target="../tags/tag263.xml"/><Relationship Id="rId60" Type="http://schemas.openxmlformats.org/officeDocument/2006/relationships/tags" Target="../tags/tag271.xml"/><Relationship Id="rId65" Type="http://schemas.openxmlformats.org/officeDocument/2006/relationships/tags" Target="../tags/tag276.xml"/><Relationship Id="rId73" Type="http://schemas.openxmlformats.org/officeDocument/2006/relationships/oleObject" Target="../embeddings/oleObject19.bin"/><Relationship Id="rId4" Type="http://schemas.openxmlformats.org/officeDocument/2006/relationships/tags" Target="../tags/tag215.xml"/><Relationship Id="rId9" Type="http://schemas.openxmlformats.org/officeDocument/2006/relationships/tags" Target="../tags/tag220.xml"/><Relationship Id="rId13" Type="http://schemas.openxmlformats.org/officeDocument/2006/relationships/tags" Target="../tags/tag224.xml"/><Relationship Id="rId18" Type="http://schemas.openxmlformats.org/officeDocument/2006/relationships/tags" Target="../tags/tag229.xml"/><Relationship Id="rId39" Type="http://schemas.openxmlformats.org/officeDocument/2006/relationships/tags" Target="../tags/tag250.xml"/><Relationship Id="rId34" Type="http://schemas.openxmlformats.org/officeDocument/2006/relationships/tags" Target="../tags/tag245.xml"/><Relationship Id="rId50" Type="http://schemas.openxmlformats.org/officeDocument/2006/relationships/tags" Target="../tags/tag261.xml"/><Relationship Id="rId55" Type="http://schemas.openxmlformats.org/officeDocument/2006/relationships/tags" Target="../tags/tag266.xml"/><Relationship Id="rId7" Type="http://schemas.openxmlformats.org/officeDocument/2006/relationships/tags" Target="../tags/tag218.xml"/><Relationship Id="rId71" Type="http://schemas.openxmlformats.org/officeDocument/2006/relationships/tags" Target="../tags/tag282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295.xml"/><Relationship Id="rId18" Type="http://schemas.openxmlformats.org/officeDocument/2006/relationships/tags" Target="../tags/tag300.xml"/><Relationship Id="rId26" Type="http://schemas.openxmlformats.org/officeDocument/2006/relationships/tags" Target="../tags/tag308.xml"/><Relationship Id="rId39" Type="http://schemas.openxmlformats.org/officeDocument/2006/relationships/tags" Target="../tags/tag321.xml"/><Relationship Id="rId21" Type="http://schemas.openxmlformats.org/officeDocument/2006/relationships/tags" Target="../tags/tag303.xml"/><Relationship Id="rId34" Type="http://schemas.openxmlformats.org/officeDocument/2006/relationships/tags" Target="../tags/tag316.xml"/><Relationship Id="rId42" Type="http://schemas.openxmlformats.org/officeDocument/2006/relationships/tags" Target="../tags/tag324.xml"/><Relationship Id="rId47" Type="http://schemas.openxmlformats.org/officeDocument/2006/relationships/image" Target="../media/image12.emf"/><Relationship Id="rId7" Type="http://schemas.openxmlformats.org/officeDocument/2006/relationships/tags" Target="../tags/tag289.xml"/><Relationship Id="rId2" Type="http://schemas.openxmlformats.org/officeDocument/2006/relationships/tags" Target="../tags/tag284.xml"/><Relationship Id="rId16" Type="http://schemas.openxmlformats.org/officeDocument/2006/relationships/tags" Target="../tags/tag298.xml"/><Relationship Id="rId29" Type="http://schemas.openxmlformats.org/officeDocument/2006/relationships/tags" Target="../tags/tag311.xml"/><Relationship Id="rId1" Type="http://schemas.openxmlformats.org/officeDocument/2006/relationships/tags" Target="../tags/tag283.xml"/><Relationship Id="rId6" Type="http://schemas.openxmlformats.org/officeDocument/2006/relationships/tags" Target="../tags/tag288.xml"/><Relationship Id="rId11" Type="http://schemas.openxmlformats.org/officeDocument/2006/relationships/tags" Target="../tags/tag293.xml"/><Relationship Id="rId24" Type="http://schemas.openxmlformats.org/officeDocument/2006/relationships/tags" Target="../tags/tag306.xml"/><Relationship Id="rId32" Type="http://schemas.openxmlformats.org/officeDocument/2006/relationships/tags" Target="../tags/tag314.xml"/><Relationship Id="rId37" Type="http://schemas.openxmlformats.org/officeDocument/2006/relationships/tags" Target="../tags/tag319.xml"/><Relationship Id="rId40" Type="http://schemas.openxmlformats.org/officeDocument/2006/relationships/tags" Target="../tags/tag322.xml"/><Relationship Id="rId45" Type="http://schemas.openxmlformats.org/officeDocument/2006/relationships/slideLayout" Target="../slideLayouts/slideLayout2.xml"/><Relationship Id="rId5" Type="http://schemas.openxmlformats.org/officeDocument/2006/relationships/tags" Target="../tags/tag287.xml"/><Relationship Id="rId15" Type="http://schemas.openxmlformats.org/officeDocument/2006/relationships/tags" Target="../tags/tag297.xml"/><Relationship Id="rId23" Type="http://schemas.openxmlformats.org/officeDocument/2006/relationships/tags" Target="../tags/tag305.xml"/><Relationship Id="rId28" Type="http://schemas.openxmlformats.org/officeDocument/2006/relationships/tags" Target="../tags/tag310.xml"/><Relationship Id="rId36" Type="http://schemas.openxmlformats.org/officeDocument/2006/relationships/tags" Target="../tags/tag318.xml"/><Relationship Id="rId10" Type="http://schemas.openxmlformats.org/officeDocument/2006/relationships/tags" Target="../tags/tag292.xml"/><Relationship Id="rId19" Type="http://schemas.openxmlformats.org/officeDocument/2006/relationships/tags" Target="../tags/tag301.xml"/><Relationship Id="rId31" Type="http://schemas.openxmlformats.org/officeDocument/2006/relationships/tags" Target="../tags/tag313.xml"/><Relationship Id="rId44" Type="http://schemas.openxmlformats.org/officeDocument/2006/relationships/tags" Target="../tags/tag326.xml"/><Relationship Id="rId4" Type="http://schemas.openxmlformats.org/officeDocument/2006/relationships/tags" Target="../tags/tag286.xml"/><Relationship Id="rId9" Type="http://schemas.openxmlformats.org/officeDocument/2006/relationships/tags" Target="../tags/tag291.xml"/><Relationship Id="rId14" Type="http://schemas.openxmlformats.org/officeDocument/2006/relationships/tags" Target="../tags/tag296.xml"/><Relationship Id="rId22" Type="http://schemas.openxmlformats.org/officeDocument/2006/relationships/tags" Target="../tags/tag304.xml"/><Relationship Id="rId27" Type="http://schemas.openxmlformats.org/officeDocument/2006/relationships/tags" Target="../tags/tag309.xml"/><Relationship Id="rId30" Type="http://schemas.openxmlformats.org/officeDocument/2006/relationships/tags" Target="../tags/tag312.xml"/><Relationship Id="rId35" Type="http://schemas.openxmlformats.org/officeDocument/2006/relationships/tags" Target="../tags/tag317.xml"/><Relationship Id="rId43" Type="http://schemas.openxmlformats.org/officeDocument/2006/relationships/tags" Target="../tags/tag325.xml"/><Relationship Id="rId48" Type="http://schemas.openxmlformats.org/officeDocument/2006/relationships/chart" Target="../charts/chart3.xml"/><Relationship Id="rId8" Type="http://schemas.openxmlformats.org/officeDocument/2006/relationships/tags" Target="../tags/tag290.xml"/><Relationship Id="rId3" Type="http://schemas.openxmlformats.org/officeDocument/2006/relationships/tags" Target="../tags/tag285.xml"/><Relationship Id="rId12" Type="http://schemas.openxmlformats.org/officeDocument/2006/relationships/tags" Target="../tags/tag294.xml"/><Relationship Id="rId17" Type="http://schemas.openxmlformats.org/officeDocument/2006/relationships/tags" Target="../tags/tag299.xml"/><Relationship Id="rId25" Type="http://schemas.openxmlformats.org/officeDocument/2006/relationships/tags" Target="../tags/tag307.xml"/><Relationship Id="rId33" Type="http://schemas.openxmlformats.org/officeDocument/2006/relationships/tags" Target="../tags/tag315.xml"/><Relationship Id="rId38" Type="http://schemas.openxmlformats.org/officeDocument/2006/relationships/tags" Target="../tags/tag320.xml"/><Relationship Id="rId46" Type="http://schemas.openxmlformats.org/officeDocument/2006/relationships/oleObject" Target="../embeddings/oleObject20.bin"/><Relationship Id="rId20" Type="http://schemas.openxmlformats.org/officeDocument/2006/relationships/tags" Target="../tags/tag302.xml"/><Relationship Id="rId41" Type="http://schemas.openxmlformats.org/officeDocument/2006/relationships/tags" Target="../tags/tag323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339.xml"/><Relationship Id="rId18" Type="http://schemas.openxmlformats.org/officeDocument/2006/relationships/tags" Target="../tags/tag344.xml"/><Relationship Id="rId26" Type="http://schemas.openxmlformats.org/officeDocument/2006/relationships/tags" Target="../tags/tag352.xml"/><Relationship Id="rId39" Type="http://schemas.openxmlformats.org/officeDocument/2006/relationships/tags" Target="../tags/tag365.xml"/><Relationship Id="rId21" Type="http://schemas.openxmlformats.org/officeDocument/2006/relationships/tags" Target="../tags/tag347.xml"/><Relationship Id="rId34" Type="http://schemas.openxmlformats.org/officeDocument/2006/relationships/tags" Target="../tags/tag360.xml"/><Relationship Id="rId42" Type="http://schemas.openxmlformats.org/officeDocument/2006/relationships/slideLayout" Target="../slideLayouts/slideLayout2.xml"/><Relationship Id="rId7" Type="http://schemas.openxmlformats.org/officeDocument/2006/relationships/tags" Target="../tags/tag333.xml"/><Relationship Id="rId2" Type="http://schemas.openxmlformats.org/officeDocument/2006/relationships/tags" Target="../tags/tag328.xml"/><Relationship Id="rId16" Type="http://schemas.openxmlformats.org/officeDocument/2006/relationships/tags" Target="../tags/tag342.xml"/><Relationship Id="rId29" Type="http://schemas.openxmlformats.org/officeDocument/2006/relationships/tags" Target="../tags/tag355.xml"/><Relationship Id="rId1" Type="http://schemas.openxmlformats.org/officeDocument/2006/relationships/tags" Target="../tags/tag327.xml"/><Relationship Id="rId6" Type="http://schemas.openxmlformats.org/officeDocument/2006/relationships/tags" Target="../tags/tag332.xml"/><Relationship Id="rId11" Type="http://schemas.openxmlformats.org/officeDocument/2006/relationships/tags" Target="../tags/tag337.xml"/><Relationship Id="rId24" Type="http://schemas.openxmlformats.org/officeDocument/2006/relationships/tags" Target="../tags/tag350.xml"/><Relationship Id="rId32" Type="http://schemas.openxmlformats.org/officeDocument/2006/relationships/tags" Target="../tags/tag358.xml"/><Relationship Id="rId37" Type="http://schemas.openxmlformats.org/officeDocument/2006/relationships/tags" Target="../tags/tag363.xml"/><Relationship Id="rId40" Type="http://schemas.openxmlformats.org/officeDocument/2006/relationships/tags" Target="../tags/tag366.xml"/><Relationship Id="rId45" Type="http://schemas.openxmlformats.org/officeDocument/2006/relationships/chart" Target="../charts/chart4.xml"/><Relationship Id="rId5" Type="http://schemas.openxmlformats.org/officeDocument/2006/relationships/tags" Target="../tags/tag331.xml"/><Relationship Id="rId15" Type="http://schemas.openxmlformats.org/officeDocument/2006/relationships/tags" Target="../tags/tag341.xml"/><Relationship Id="rId23" Type="http://schemas.openxmlformats.org/officeDocument/2006/relationships/tags" Target="../tags/tag349.xml"/><Relationship Id="rId28" Type="http://schemas.openxmlformats.org/officeDocument/2006/relationships/tags" Target="../tags/tag354.xml"/><Relationship Id="rId36" Type="http://schemas.openxmlformats.org/officeDocument/2006/relationships/tags" Target="../tags/tag362.xml"/><Relationship Id="rId10" Type="http://schemas.openxmlformats.org/officeDocument/2006/relationships/tags" Target="../tags/tag336.xml"/><Relationship Id="rId19" Type="http://schemas.openxmlformats.org/officeDocument/2006/relationships/tags" Target="../tags/tag345.xml"/><Relationship Id="rId31" Type="http://schemas.openxmlformats.org/officeDocument/2006/relationships/tags" Target="../tags/tag357.xml"/><Relationship Id="rId44" Type="http://schemas.openxmlformats.org/officeDocument/2006/relationships/image" Target="../media/image12.emf"/><Relationship Id="rId4" Type="http://schemas.openxmlformats.org/officeDocument/2006/relationships/tags" Target="../tags/tag330.xml"/><Relationship Id="rId9" Type="http://schemas.openxmlformats.org/officeDocument/2006/relationships/tags" Target="../tags/tag335.xml"/><Relationship Id="rId14" Type="http://schemas.openxmlformats.org/officeDocument/2006/relationships/tags" Target="../tags/tag340.xml"/><Relationship Id="rId22" Type="http://schemas.openxmlformats.org/officeDocument/2006/relationships/tags" Target="../tags/tag348.xml"/><Relationship Id="rId27" Type="http://schemas.openxmlformats.org/officeDocument/2006/relationships/tags" Target="../tags/tag353.xml"/><Relationship Id="rId30" Type="http://schemas.openxmlformats.org/officeDocument/2006/relationships/tags" Target="../tags/tag356.xml"/><Relationship Id="rId35" Type="http://schemas.openxmlformats.org/officeDocument/2006/relationships/tags" Target="../tags/tag361.xml"/><Relationship Id="rId43" Type="http://schemas.openxmlformats.org/officeDocument/2006/relationships/oleObject" Target="../embeddings/oleObject21.bin"/><Relationship Id="rId8" Type="http://schemas.openxmlformats.org/officeDocument/2006/relationships/tags" Target="../tags/tag334.xml"/><Relationship Id="rId3" Type="http://schemas.openxmlformats.org/officeDocument/2006/relationships/tags" Target="../tags/tag329.xml"/><Relationship Id="rId12" Type="http://schemas.openxmlformats.org/officeDocument/2006/relationships/tags" Target="../tags/tag338.xml"/><Relationship Id="rId17" Type="http://schemas.openxmlformats.org/officeDocument/2006/relationships/tags" Target="../tags/tag343.xml"/><Relationship Id="rId25" Type="http://schemas.openxmlformats.org/officeDocument/2006/relationships/tags" Target="../tags/tag351.xml"/><Relationship Id="rId33" Type="http://schemas.openxmlformats.org/officeDocument/2006/relationships/tags" Target="../tags/tag359.xml"/><Relationship Id="rId38" Type="http://schemas.openxmlformats.org/officeDocument/2006/relationships/tags" Target="../tags/tag364.xml"/><Relationship Id="rId20" Type="http://schemas.openxmlformats.org/officeDocument/2006/relationships/tags" Target="../tags/tag346.xml"/><Relationship Id="rId41" Type="http://schemas.openxmlformats.org/officeDocument/2006/relationships/tags" Target="../tags/tag36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75.xml"/><Relationship Id="rId13" Type="http://schemas.openxmlformats.org/officeDocument/2006/relationships/tags" Target="../tags/tag380.xml"/><Relationship Id="rId18" Type="http://schemas.openxmlformats.org/officeDocument/2006/relationships/tags" Target="../tags/tag385.xml"/><Relationship Id="rId26" Type="http://schemas.openxmlformats.org/officeDocument/2006/relationships/oleObject" Target="../embeddings/oleObject22.bin"/><Relationship Id="rId3" Type="http://schemas.openxmlformats.org/officeDocument/2006/relationships/tags" Target="../tags/tag370.xml"/><Relationship Id="rId21" Type="http://schemas.openxmlformats.org/officeDocument/2006/relationships/tags" Target="../tags/tag388.xml"/><Relationship Id="rId7" Type="http://schemas.openxmlformats.org/officeDocument/2006/relationships/tags" Target="../tags/tag374.xml"/><Relationship Id="rId12" Type="http://schemas.openxmlformats.org/officeDocument/2006/relationships/tags" Target="../tags/tag379.xml"/><Relationship Id="rId17" Type="http://schemas.openxmlformats.org/officeDocument/2006/relationships/tags" Target="../tags/tag384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369.xml"/><Relationship Id="rId16" Type="http://schemas.openxmlformats.org/officeDocument/2006/relationships/tags" Target="../tags/tag383.xml"/><Relationship Id="rId20" Type="http://schemas.openxmlformats.org/officeDocument/2006/relationships/tags" Target="../tags/tag387.xml"/><Relationship Id="rId1" Type="http://schemas.openxmlformats.org/officeDocument/2006/relationships/tags" Target="../tags/tag368.xml"/><Relationship Id="rId6" Type="http://schemas.openxmlformats.org/officeDocument/2006/relationships/tags" Target="../tags/tag373.xml"/><Relationship Id="rId11" Type="http://schemas.openxmlformats.org/officeDocument/2006/relationships/tags" Target="../tags/tag378.xml"/><Relationship Id="rId24" Type="http://schemas.openxmlformats.org/officeDocument/2006/relationships/tags" Target="../tags/tag391.xml"/><Relationship Id="rId5" Type="http://schemas.openxmlformats.org/officeDocument/2006/relationships/tags" Target="../tags/tag372.xml"/><Relationship Id="rId15" Type="http://schemas.openxmlformats.org/officeDocument/2006/relationships/tags" Target="../tags/tag382.xml"/><Relationship Id="rId23" Type="http://schemas.openxmlformats.org/officeDocument/2006/relationships/tags" Target="../tags/tag390.xml"/><Relationship Id="rId28" Type="http://schemas.openxmlformats.org/officeDocument/2006/relationships/chart" Target="../charts/chart5.xml"/><Relationship Id="rId10" Type="http://schemas.openxmlformats.org/officeDocument/2006/relationships/tags" Target="../tags/tag377.xml"/><Relationship Id="rId19" Type="http://schemas.openxmlformats.org/officeDocument/2006/relationships/tags" Target="../tags/tag386.xml"/><Relationship Id="rId4" Type="http://schemas.openxmlformats.org/officeDocument/2006/relationships/tags" Target="../tags/tag371.xml"/><Relationship Id="rId9" Type="http://schemas.openxmlformats.org/officeDocument/2006/relationships/tags" Target="../tags/tag376.xml"/><Relationship Id="rId14" Type="http://schemas.openxmlformats.org/officeDocument/2006/relationships/tags" Target="../tags/tag381.xml"/><Relationship Id="rId22" Type="http://schemas.openxmlformats.org/officeDocument/2006/relationships/tags" Target="../tags/tag389.xml"/><Relationship Id="rId27" Type="http://schemas.openxmlformats.org/officeDocument/2006/relationships/image" Target="../media/image13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394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393.xml"/><Relationship Id="rId1" Type="http://schemas.openxmlformats.org/officeDocument/2006/relationships/tags" Target="../tags/tag39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96.xml"/><Relationship Id="rId4" Type="http://schemas.openxmlformats.org/officeDocument/2006/relationships/tags" Target="../tags/tag395.xml"/><Relationship Id="rId9" Type="http://schemas.openxmlformats.org/officeDocument/2006/relationships/image" Target="../media/image14.emf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409.xml"/><Relationship Id="rId18" Type="http://schemas.openxmlformats.org/officeDocument/2006/relationships/tags" Target="../tags/tag414.xml"/><Relationship Id="rId26" Type="http://schemas.openxmlformats.org/officeDocument/2006/relationships/tags" Target="../tags/tag422.xml"/><Relationship Id="rId39" Type="http://schemas.openxmlformats.org/officeDocument/2006/relationships/tags" Target="../tags/tag435.xml"/><Relationship Id="rId21" Type="http://schemas.openxmlformats.org/officeDocument/2006/relationships/tags" Target="../tags/tag417.xml"/><Relationship Id="rId34" Type="http://schemas.openxmlformats.org/officeDocument/2006/relationships/tags" Target="../tags/tag430.xml"/><Relationship Id="rId42" Type="http://schemas.openxmlformats.org/officeDocument/2006/relationships/tags" Target="../tags/tag438.xml"/><Relationship Id="rId47" Type="http://schemas.openxmlformats.org/officeDocument/2006/relationships/tags" Target="../tags/tag443.xml"/><Relationship Id="rId50" Type="http://schemas.openxmlformats.org/officeDocument/2006/relationships/tags" Target="../tags/tag446.xml"/><Relationship Id="rId55" Type="http://schemas.openxmlformats.org/officeDocument/2006/relationships/tags" Target="../tags/tag451.xml"/><Relationship Id="rId7" Type="http://schemas.openxmlformats.org/officeDocument/2006/relationships/tags" Target="../tags/tag403.xml"/><Relationship Id="rId2" Type="http://schemas.openxmlformats.org/officeDocument/2006/relationships/tags" Target="../tags/tag398.xml"/><Relationship Id="rId16" Type="http://schemas.openxmlformats.org/officeDocument/2006/relationships/tags" Target="../tags/tag412.xml"/><Relationship Id="rId29" Type="http://schemas.openxmlformats.org/officeDocument/2006/relationships/tags" Target="../tags/tag425.xml"/><Relationship Id="rId11" Type="http://schemas.openxmlformats.org/officeDocument/2006/relationships/tags" Target="../tags/tag407.xml"/><Relationship Id="rId24" Type="http://schemas.openxmlformats.org/officeDocument/2006/relationships/tags" Target="../tags/tag420.xml"/><Relationship Id="rId32" Type="http://schemas.openxmlformats.org/officeDocument/2006/relationships/tags" Target="../tags/tag428.xml"/><Relationship Id="rId37" Type="http://schemas.openxmlformats.org/officeDocument/2006/relationships/tags" Target="../tags/tag433.xml"/><Relationship Id="rId40" Type="http://schemas.openxmlformats.org/officeDocument/2006/relationships/tags" Target="../tags/tag436.xml"/><Relationship Id="rId45" Type="http://schemas.openxmlformats.org/officeDocument/2006/relationships/tags" Target="../tags/tag441.xml"/><Relationship Id="rId53" Type="http://schemas.openxmlformats.org/officeDocument/2006/relationships/tags" Target="../tags/tag449.xml"/><Relationship Id="rId58" Type="http://schemas.openxmlformats.org/officeDocument/2006/relationships/slideLayout" Target="../slideLayouts/slideLayout19.xml"/><Relationship Id="rId5" Type="http://schemas.openxmlformats.org/officeDocument/2006/relationships/tags" Target="../tags/tag401.xml"/><Relationship Id="rId61" Type="http://schemas.openxmlformats.org/officeDocument/2006/relationships/chart" Target="../charts/chart6.xml"/><Relationship Id="rId19" Type="http://schemas.openxmlformats.org/officeDocument/2006/relationships/tags" Target="../tags/tag415.xml"/><Relationship Id="rId14" Type="http://schemas.openxmlformats.org/officeDocument/2006/relationships/tags" Target="../tags/tag410.xml"/><Relationship Id="rId22" Type="http://schemas.openxmlformats.org/officeDocument/2006/relationships/tags" Target="../tags/tag418.xml"/><Relationship Id="rId27" Type="http://schemas.openxmlformats.org/officeDocument/2006/relationships/tags" Target="../tags/tag423.xml"/><Relationship Id="rId30" Type="http://schemas.openxmlformats.org/officeDocument/2006/relationships/tags" Target="../tags/tag426.xml"/><Relationship Id="rId35" Type="http://schemas.openxmlformats.org/officeDocument/2006/relationships/tags" Target="../tags/tag431.xml"/><Relationship Id="rId43" Type="http://schemas.openxmlformats.org/officeDocument/2006/relationships/tags" Target="../tags/tag439.xml"/><Relationship Id="rId48" Type="http://schemas.openxmlformats.org/officeDocument/2006/relationships/tags" Target="../tags/tag444.xml"/><Relationship Id="rId56" Type="http://schemas.openxmlformats.org/officeDocument/2006/relationships/tags" Target="../tags/tag452.xml"/><Relationship Id="rId8" Type="http://schemas.openxmlformats.org/officeDocument/2006/relationships/tags" Target="../tags/tag404.xml"/><Relationship Id="rId51" Type="http://schemas.openxmlformats.org/officeDocument/2006/relationships/tags" Target="../tags/tag447.xml"/><Relationship Id="rId3" Type="http://schemas.openxmlformats.org/officeDocument/2006/relationships/tags" Target="../tags/tag399.xml"/><Relationship Id="rId12" Type="http://schemas.openxmlformats.org/officeDocument/2006/relationships/tags" Target="../tags/tag408.xml"/><Relationship Id="rId17" Type="http://schemas.openxmlformats.org/officeDocument/2006/relationships/tags" Target="../tags/tag413.xml"/><Relationship Id="rId25" Type="http://schemas.openxmlformats.org/officeDocument/2006/relationships/tags" Target="../tags/tag421.xml"/><Relationship Id="rId33" Type="http://schemas.openxmlformats.org/officeDocument/2006/relationships/tags" Target="../tags/tag429.xml"/><Relationship Id="rId38" Type="http://schemas.openxmlformats.org/officeDocument/2006/relationships/tags" Target="../tags/tag434.xml"/><Relationship Id="rId46" Type="http://schemas.openxmlformats.org/officeDocument/2006/relationships/tags" Target="../tags/tag442.xml"/><Relationship Id="rId59" Type="http://schemas.openxmlformats.org/officeDocument/2006/relationships/oleObject" Target="../embeddings/oleObject24.bin"/><Relationship Id="rId20" Type="http://schemas.openxmlformats.org/officeDocument/2006/relationships/tags" Target="../tags/tag416.xml"/><Relationship Id="rId41" Type="http://schemas.openxmlformats.org/officeDocument/2006/relationships/tags" Target="../tags/tag437.xml"/><Relationship Id="rId54" Type="http://schemas.openxmlformats.org/officeDocument/2006/relationships/tags" Target="../tags/tag450.xml"/><Relationship Id="rId1" Type="http://schemas.openxmlformats.org/officeDocument/2006/relationships/tags" Target="../tags/tag397.xml"/><Relationship Id="rId6" Type="http://schemas.openxmlformats.org/officeDocument/2006/relationships/tags" Target="../tags/tag402.xml"/><Relationship Id="rId15" Type="http://schemas.openxmlformats.org/officeDocument/2006/relationships/tags" Target="../tags/tag411.xml"/><Relationship Id="rId23" Type="http://schemas.openxmlformats.org/officeDocument/2006/relationships/tags" Target="../tags/tag419.xml"/><Relationship Id="rId28" Type="http://schemas.openxmlformats.org/officeDocument/2006/relationships/tags" Target="../tags/tag424.xml"/><Relationship Id="rId36" Type="http://schemas.openxmlformats.org/officeDocument/2006/relationships/tags" Target="../tags/tag432.xml"/><Relationship Id="rId49" Type="http://schemas.openxmlformats.org/officeDocument/2006/relationships/tags" Target="../tags/tag445.xml"/><Relationship Id="rId57" Type="http://schemas.openxmlformats.org/officeDocument/2006/relationships/tags" Target="../tags/tag453.xml"/><Relationship Id="rId10" Type="http://schemas.openxmlformats.org/officeDocument/2006/relationships/tags" Target="../tags/tag406.xml"/><Relationship Id="rId31" Type="http://schemas.openxmlformats.org/officeDocument/2006/relationships/tags" Target="../tags/tag427.xml"/><Relationship Id="rId44" Type="http://schemas.openxmlformats.org/officeDocument/2006/relationships/tags" Target="../tags/tag440.xml"/><Relationship Id="rId52" Type="http://schemas.openxmlformats.org/officeDocument/2006/relationships/tags" Target="../tags/tag448.xml"/><Relationship Id="rId60" Type="http://schemas.openxmlformats.org/officeDocument/2006/relationships/image" Target="../media/image15.emf"/><Relationship Id="rId4" Type="http://schemas.openxmlformats.org/officeDocument/2006/relationships/tags" Target="../tags/tag400.xml"/><Relationship Id="rId9" Type="http://schemas.openxmlformats.org/officeDocument/2006/relationships/tags" Target="../tags/tag40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810FE7-636D-83DC-53C3-4D3BDB3744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DF29A577-46A4-5D86-5434-B7D12DC58DAC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13840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DF29A577-46A4-5D86-5434-B7D12DC58D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ocumenttype">
            <a:extLst>
              <a:ext uri="{FF2B5EF4-FFF2-40B4-BE49-F238E27FC236}">
                <a16:creationId xmlns:a16="http://schemas.microsoft.com/office/drawing/2014/main" id="{A7B0636D-778A-FB79-E418-ECD81DC1D2EF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GB" noProof="0" dirty="0"/>
              <a:t>June 2026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BEAE725F-6147-DF79-D915-F7A2E9FE1069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1942" y="2082341"/>
            <a:ext cx="5195715" cy="1889172"/>
          </a:xfrm>
        </p:spPr>
        <p:txBody>
          <a:bodyPr vert="horz" wrap="square">
            <a:spAutoFit/>
          </a:bodyPr>
          <a:lstStyle/>
          <a:p>
            <a:r>
              <a:rPr lang="en-US" noProof="0" dirty="0"/>
              <a:t>Global Economics Intelligence </a:t>
            </a:r>
            <a:br>
              <a:rPr lang="en-US" noProof="0" dirty="0"/>
            </a:br>
            <a:r>
              <a:rPr lang="en-US" noProof="0" dirty="0"/>
              <a:t>by McKinsey</a:t>
            </a:r>
            <a:endParaRPr lang="en-GB" noProof="0" dirty="0"/>
          </a:p>
        </p:txBody>
      </p:sp>
      <p:pic>
        <p:nvPicPr>
          <p:cNvPr id="2056" name="Picture 8" descr="Airports Council International Europe | ACI EUROPE - Home">
            <a:extLst>
              <a:ext uri="{FF2B5EF4-FFF2-40B4-BE49-F238E27FC236}">
                <a16:creationId xmlns:a16="http://schemas.microsoft.com/office/drawing/2014/main" id="{3FD36A19-4064-2950-6E04-B1668BCFCF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253" y="4984025"/>
            <a:ext cx="853693" cy="1052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83469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B6093F-587F-794D-5F98-8E9C50B37E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2" hidden="1">
            <a:extLst>
              <a:ext uri="{FF2B5EF4-FFF2-40B4-BE49-F238E27FC236}">
                <a16:creationId xmlns:a16="http://schemas.microsoft.com/office/drawing/2014/main" id="{0FDA3D1B-801F-A35B-C5BE-C3D5A77692A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5941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8" imgW="7772400" imgH="10058400" progId="TCLayout.ActiveDocument.1">
                  <p:embed/>
                </p:oleObj>
              </mc:Choice>
              <mc:Fallback>
                <p:oleObj name="think-cell Slide" r:id="rId58" imgW="7772400" imgH="10058400" progId="TCLayout.ActiveDocument.1">
                  <p:embed/>
                  <p:pic>
                    <p:nvPicPr>
                      <p:cNvPr id="8" name="Object 2" hidden="1">
                        <a:extLst>
                          <a:ext uri="{FF2B5EF4-FFF2-40B4-BE49-F238E27FC236}">
                            <a16:creationId xmlns:a16="http://schemas.microsoft.com/office/drawing/2014/main" id="{0FDA3D1B-801F-A35B-C5BE-C3D5A7769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ight Arrow 39">
            <a:extLst>
              <a:ext uri="{FF2B5EF4-FFF2-40B4-BE49-F238E27FC236}">
                <a16:creationId xmlns:a16="http://schemas.microsoft.com/office/drawing/2014/main" id="{437FED05-6A7D-91CD-8809-8C82551D4ED9}"/>
              </a:ext>
            </a:extLst>
          </p:cNvPr>
          <p:cNvSpPr/>
          <p:nvPr/>
        </p:nvSpPr>
        <p:spPr>
          <a:xfrm>
            <a:off x="10771189" y="4996931"/>
            <a:ext cx="528343" cy="225895"/>
          </a:xfrm>
          <a:prstGeom prst="rightArrow">
            <a:avLst>
              <a:gd name="adj1" fmla="val 76785"/>
              <a:gd name="adj2" fmla="val 50000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5" name="SlideLogoText">
            <a:extLst>
              <a:ext uri="{FF2B5EF4-FFF2-40B4-BE49-F238E27FC236}">
                <a16:creationId xmlns:a16="http://schemas.microsoft.com/office/drawing/2014/main" id="{986EBD74-6C81-AB82-75EC-96582A9A0702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9DFB37BB-1B7A-ABBD-6F78-9F9A59E2DC67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15" name="Right Arrow 614">
            <a:extLst>
              <a:ext uri="{FF2B5EF4-FFF2-40B4-BE49-F238E27FC236}">
                <a16:creationId xmlns:a16="http://schemas.microsoft.com/office/drawing/2014/main" id="{8D6E6299-1901-6AE4-692C-4B906B3C440F}"/>
              </a:ext>
            </a:extLst>
          </p:cNvPr>
          <p:cNvSpPr/>
          <p:nvPr/>
        </p:nvSpPr>
        <p:spPr>
          <a:xfrm>
            <a:off x="4378723" y="2262898"/>
            <a:ext cx="850901" cy="400184"/>
          </a:xfrm>
          <a:prstGeom prst="rightArrow">
            <a:avLst>
              <a:gd name="adj1" fmla="val 76785"/>
              <a:gd name="adj2" fmla="val 50000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346559B7-09F0-524A-6D03-F3B7542BDB7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rIns="0">
            <a:spAutoFit/>
          </a:bodyPr>
          <a:lstStyle/>
          <a:p>
            <a:r>
              <a:rPr lang="en-US" dirty="0"/>
              <a:t>A1 | Compared to other disruptions, the current Gulf crisis affects a larger share of global energy vs. any other crisis in the last century</a:t>
            </a:r>
          </a:p>
        </p:txBody>
      </p:sp>
      <p:sp>
        <p:nvSpPr>
          <p:cNvPr id="15" name="3. Subtitle">
            <a:extLst>
              <a:ext uri="{FF2B5EF4-FFF2-40B4-BE49-F238E27FC236}">
                <a16:creationId xmlns:a16="http://schemas.microsoft.com/office/drawing/2014/main" id="{57722CF1-0F99-D84F-D678-819C275E0A33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r>
              <a:rPr lang="en-US"/>
              <a:t>Overview of selected energy supply shocks and impact on global energy system</a:t>
            </a:r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7B9B9E11-2453-6B0F-32FD-7B4C3233470E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40924710"/>
              </p:ext>
            </p:extLst>
          </p:nvPr>
        </p:nvGraphicFramePr>
        <p:xfrm>
          <a:off x="1316038" y="1573213"/>
          <a:ext cx="10255250" cy="4129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1B97100E-C61B-2B3C-9D88-EE9B353981A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357313" y="5651500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8F8B508F-4830-4E88-80A7-E8EE6872A34B}" type="datetime'''''''''''''''''''''''''''0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462" name="Text Placeholder 2">
            <a:extLst>
              <a:ext uri="{FF2B5EF4-FFF2-40B4-BE49-F238E27FC236}">
                <a16:creationId xmlns:a16="http://schemas.microsoft.com/office/drawing/2014/main" id="{19589841-4EC8-2368-B2DF-894B5AFEA13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3070225" y="565150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68C12448-A847-4780-A052-CFA9E41B2089}" type="datetime'''''''''1''''''0''''''''''''''''''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463" name="Text Placeholder 2">
            <a:extLst>
              <a:ext uri="{FF2B5EF4-FFF2-40B4-BE49-F238E27FC236}">
                <a16:creationId xmlns:a16="http://schemas.microsoft.com/office/drawing/2014/main" id="{BD8A9EB9-289A-96ED-14CF-B38DBAEC864A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6580188" y="565150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CEA3AB63-FE60-480D-BA3D-413CDEC9CD01}" type="datetime'''''3''''''''''''''''''''''''''0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370" name="Text Placeholder 2">
            <a:extLst>
              <a:ext uri="{FF2B5EF4-FFF2-40B4-BE49-F238E27FC236}">
                <a16:creationId xmlns:a16="http://schemas.microsoft.com/office/drawing/2014/main" id="{B2CA24CF-D4E1-C383-8BEC-CEB6A273B5E2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8335963" y="565150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47C04615-F583-4AC4-8E93-9DCBF39A66FC}" type="datetime'''''''4''''''''''''''''''''''''''''''''''''''''''''0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464" name="Text Placeholder 2">
            <a:extLst>
              <a:ext uri="{FF2B5EF4-FFF2-40B4-BE49-F238E27FC236}">
                <a16:creationId xmlns:a16="http://schemas.microsoft.com/office/drawing/2014/main" id="{05BE97D5-8B32-AE54-9371-EFA91488DC6A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10091738" y="565150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419C79A4-DF30-45F7-B9B5-6570A861CCE2}" type="datetime'''''''''''''''5''''''''''''''''''''''0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5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529" name="Text Placeholder 2">
            <a:extLst>
              <a:ext uri="{FF2B5EF4-FFF2-40B4-BE49-F238E27FC236}">
                <a16:creationId xmlns:a16="http://schemas.microsoft.com/office/drawing/2014/main" id="{1DE8003E-D1A3-EEBD-0EBE-FCBBD73313F3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0531475" y="565150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B8EC9A1B-BCF0-4DB0-B644-8A58686CFEB2}" type="datetime'2''''0''''''''''''''''''''''0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20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572" name="Text Placeholder 2">
            <a:extLst>
              <a:ext uri="{FF2B5EF4-FFF2-40B4-BE49-F238E27FC236}">
                <a16:creationId xmlns:a16="http://schemas.microsoft.com/office/drawing/2014/main" id="{D3776D6A-9676-9DC7-36FA-6D852E723781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11363325" y="565150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0123B04A-24DA-459C-9BCD-4CD2B4B7F0DF}" type="datetime'4''''2''''''''''''''''''''''''''''''''''''''''''''''''0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4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72CBF1D7-B986-8CE4-C230-4C03F173475A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1077913" y="5510213"/>
            <a:ext cx="219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1F23C330-94D0-4BA0-B0C1-77BB8241FD98}" type="datetime'''''''''''''''''''''''''''0''''''''''%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0%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CAD2222-ECFE-04B6-52BE-7047514E2658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1077913" y="4524375"/>
            <a:ext cx="219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DA4B4E5D-DC19-4270-AA23-1BE6CEB4874A}" type="datetime'''''''''''''''''''''''''''''''''''5''%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5%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0361218-ABE5-97E5-BEA3-1E80F697BDC0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993775" y="3538538"/>
            <a:ext cx="303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2637D452-5295-43DB-9C15-6AD7CB41CC7F}" type="datetime'''''''''''''''''''''''''''''1''0''''''''''%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10%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330" name="Text Placeholder 2">
            <a:extLst>
              <a:ext uri="{FF2B5EF4-FFF2-40B4-BE49-F238E27FC236}">
                <a16:creationId xmlns:a16="http://schemas.microsoft.com/office/drawing/2014/main" id="{83C0325D-54E8-40D7-AA22-C6EA021A664E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993776" y="2551113"/>
            <a:ext cx="303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AF556F8B-D217-430B-8626-93DEF64BF80D}" type="datetime'''''''''''''''''''''''''1''5''''''''''%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15%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0493080-23C6-4A02-2579-C8307CE355A9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993775" y="1565275"/>
            <a:ext cx="303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CCE7AA22-04B5-41E2-91EB-3C33AF6ADD7F}" type="datetime'''''''''''''''''''2''''0''%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20%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368" name="Text Placeholder 2">
            <a:extLst>
              <a:ext uri="{FF2B5EF4-FFF2-40B4-BE49-F238E27FC236}">
                <a16:creationId xmlns:a16="http://schemas.microsoft.com/office/drawing/2014/main" id="{8F807D3F-919D-0E33-823B-B68507B76C9D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4824413" y="565150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D705340E-C994-42A0-8042-F4ABAC39CFA4}" type="datetime'''''''''''''''''''''''''''20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cs"/>
            </a:endParaRPr>
          </a:p>
        </p:txBody>
      </p:sp>
      <p:sp useBgFill="1">
        <p:nvSpPr>
          <p:cNvPr id="23" name="Freeform 22">
            <a:extLst>
              <a:ext uri="{FF2B5EF4-FFF2-40B4-BE49-F238E27FC236}">
                <a16:creationId xmlns:a16="http://schemas.microsoft.com/office/drawing/2014/main" id="{EFD2A2F8-2F7E-B0CC-A5F9-CFF989566B2C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0544175" y="5527675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6350" cap="sq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 useBgFill="1">
        <p:nvSpPr>
          <p:cNvPr id="20" name="Freeform 19">
            <a:extLst>
              <a:ext uri="{FF2B5EF4-FFF2-40B4-BE49-F238E27FC236}">
                <a16:creationId xmlns:a16="http://schemas.microsoft.com/office/drawing/2014/main" id="{F1A25877-D792-5C14-37F5-498845CFD273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0674350" y="5527675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6350" cap="sq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CDA83FB2-4C85-0C80-6186-ABE5F0FF4162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0601325" y="5527675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8632A46F-D2F3-1AD8-B5C1-6D313E09F883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0544175" y="5527675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FD6C022A-97A7-8EF8-82B3-2994F8AC8E84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10731500" y="5527675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E662A5A0-281A-EC2B-4183-4649048735DC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10674350" y="5527675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04" name="Straight Connector 503">
            <a:extLst>
              <a:ext uri="{FF2B5EF4-FFF2-40B4-BE49-F238E27FC236}">
                <a16:creationId xmlns:a16="http://schemas.microsoft.com/office/drawing/2014/main" id="{53EB4859-A459-6D79-BDAC-6C93D6169685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auto">
          <a:xfrm flipH="1">
            <a:off x="1947863" y="3987800"/>
            <a:ext cx="1322388" cy="15462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70EC39AD-955D-2ACD-11E0-13197D8BD020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 flipH="1">
            <a:off x="1685925" y="4321175"/>
            <a:ext cx="2101850" cy="10287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CCEA766D-DEDA-F032-1691-082D741F3E5A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 flipH="1">
            <a:off x="1947863" y="4244975"/>
            <a:ext cx="263525" cy="2333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7" name="Straight Connector 536">
            <a:extLst>
              <a:ext uri="{FF2B5EF4-FFF2-40B4-BE49-F238E27FC236}">
                <a16:creationId xmlns:a16="http://schemas.microsoft.com/office/drawing/2014/main" id="{20C9E7DF-FA87-FF30-BAE6-67553E61D556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H="1">
            <a:off x="2941638" y="5235575"/>
            <a:ext cx="504825" cy="381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6" name="Straight Connector 535">
            <a:extLst>
              <a:ext uri="{FF2B5EF4-FFF2-40B4-BE49-F238E27FC236}">
                <a16:creationId xmlns:a16="http://schemas.microsoft.com/office/drawing/2014/main" id="{624D3B2E-AE03-9E08-EA9E-6FB195E52633}"/>
              </a:ext>
            </a:extLst>
          </p:cNvPr>
          <p:cNvCxnSpPr>
            <a:cxnSpLocks/>
          </p:cNvCxnSpPr>
          <p:nvPr>
            <p:custDataLst>
              <p:tags r:id="rId30"/>
            </p:custDataLst>
          </p:nvPr>
        </p:nvCxnSpPr>
        <p:spPr bwMode="auto">
          <a:xfrm flipH="1">
            <a:off x="1985963" y="4967289"/>
            <a:ext cx="1252538" cy="5492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2" name="Straight Connector 531">
            <a:extLst>
              <a:ext uri="{FF2B5EF4-FFF2-40B4-BE49-F238E27FC236}">
                <a16:creationId xmlns:a16="http://schemas.microsoft.com/office/drawing/2014/main" id="{5AD8560D-FFAE-D327-E962-21816156DB8B}"/>
              </a:ext>
            </a:extLst>
          </p:cNvPr>
          <p:cNvCxnSpPr>
            <a:cxnSpLocks/>
          </p:cNvCxnSpPr>
          <p:nvPr>
            <p:custDataLst>
              <p:tags r:id="rId31"/>
            </p:custDataLst>
          </p:nvPr>
        </p:nvCxnSpPr>
        <p:spPr bwMode="auto">
          <a:xfrm flipH="1">
            <a:off x="2563813" y="5413375"/>
            <a:ext cx="835025" cy="79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A42F9B49-C563-7592-271D-14A5B59137E8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5081588" y="3924300"/>
            <a:ext cx="0" cy="682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B960CD6A-5247-3FE5-7DF9-8B2EDE4A9088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4181475" y="4557713"/>
            <a:ext cx="1054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2D87FED3-F694-45F8-A70D-578D212E4EE8}" type="datetime'''''1''95''''''''0s'''''' ''S''''''''''''u''''ez Cri''''sis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1950s Suez Crisis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4C2980FE-D6AD-DFE0-42AA-04E4040AAAD5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9248775" y="3721100"/>
            <a:ext cx="1473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20523DE7-0EE2-4303-8F01-191C1E3997B0}" type="datetime'''''1''96''0'' ''S''ue''z C''''a''nal'' Cl''''''os''ur''''e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1960 Suez Canal Closure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79EAAABA-3BCE-9234-717E-E0676184D23B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3182938" y="4168775"/>
            <a:ext cx="1520825" cy="1524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17463" tIns="0" rIns="17463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2021 Evergreen ship Suez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107" name="Text Placeholder 2">
            <a:extLst>
              <a:ext uri="{FF2B5EF4-FFF2-40B4-BE49-F238E27FC236}">
                <a16:creationId xmlns:a16="http://schemas.microsoft.com/office/drawing/2014/main" id="{597F1C23-76CB-8EFD-256D-632B1611E6CE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1492250" y="4092575"/>
            <a:ext cx="1611313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B4F1FE9F-A0D5-40AB-A525-DE499EF7BAFB}" type="datetime'''''2019 ''A''''b''qai''q–Khu''rai''s'''' at''''t''''''ac''k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2019 Abqaiq–Khurais attack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7BFF06BA-5730-1033-087A-F772B301B5C9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6819900" y="5229225"/>
            <a:ext cx="12652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2C832901-ABAF-42D1-AC91-3D80B140BDA7}" type="datetime'2''''''''01''1 L''i''bya''n'''' ''''C''''''''ivil'''' ''War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2011 Libyan Civil War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B3A0197F-5D72-5457-A5A6-7EDB51439312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3446463" y="5091113"/>
            <a:ext cx="1776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584D45A7-5AED-422E-965C-05774026E09C}" type="datetime'2005 ''Hurr''ica''''nes ''Ka''tr''i''n''''a ''&amp; ''R''i''ta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2005 Hurricanes Katrina &amp; Rita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725C6CA1-5434-3E6F-07B3-3F258F128B8D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2746375" y="4814888"/>
            <a:ext cx="1335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9D05F920-E259-44C7-BD94-C66B7893B956}" type="datetime'20''1''7 ''''''H''urr''''''''''''ica''ne'' ''''Ha''rve''y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2017 Hurricane Harvey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1299FE95-34F1-A0EC-6059-6C76EA6933F6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3398838" y="5329238"/>
            <a:ext cx="14112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AD35A3C2-268D-458F-B088-975E27C7567F}" type="datetime'''''2''0''''1''6 ''''''''''Canadian'' Wi''l''dfi''r''es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2016 Canadian Wildfires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160927A5-88D3-B407-F536-6401F9FB0076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3614738" y="2921000"/>
            <a:ext cx="18938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85F9C943-96E9-4DDD-A4FE-D700A5A83AE7}" type="datetime'20''26 Strai''''t o''f ''''Hormuz'''''' di''s''''''rupt''ion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2026 Strait of Hormuz disruption</a:t>
            </a:fld>
            <a:r>
              <a:rPr kumimoji="0" lang="en-US" altLang="en-US" sz="1000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2</a:t>
            </a:r>
            <a:endParaRPr kumimoji="0" lang="en-US" sz="1000" b="0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AB5F821B-4719-BED2-E963-11B875FBE4AB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9877425" y="5314950"/>
            <a:ext cx="1558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4ECEA4EC-721D-46A4-9F52-09CEBB41C4DA}" type="datetime'2022 ''''''Ru''''ss''''''ia–''Uk''''''''''r''ain''''e Wa''r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2022 Russia–Ukraine War</a:t>
            </a:fld>
            <a:r>
              <a:rPr kumimoji="0" lang="en-US" altLang="en-US" sz="1000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2</a:t>
            </a:r>
            <a:endParaRPr kumimoji="0" lang="en-US" sz="1000" b="0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C5D98828-11F1-16C1-FDB9-0F0837F302AD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6910388" y="4341813"/>
            <a:ext cx="8493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48199348-F319-4763-B7E4-D13C4EA0DC25}" type="datetime'1990'''''''''''' ''''''''''G''u''l''''''f ''Wa''''r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1990 Gulf War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08A07A1C-D0CB-BB63-508E-1A573DDE32BB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10194925" y="4657725"/>
            <a:ext cx="11858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9B6E0793-1252-4073-8273-022890488579}" type="datetime'''''''''19''''80s ''I''''''''''''ran–Ir''''aq ''''War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1980s Iran–Iraq War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12ECD517-22DE-304E-E2DE-B940E2D1359D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8901113" y="4084638"/>
            <a:ext cx="1366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EA75BFF5-E060-4793-A92B-9C7F220E72AC}" type="datetime'''19''7''''8'' I''r''''''''ania''''n'''' ''''Revol''ution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1978 Iranian Revolution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1ADCB172-10A7-FEFB-1CF1-7754BBC74384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4403725" y="3771900"/>
            <a:ext cx="13541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0330FE23-A6B3-424C-B15A-2396C1AEC8D9}" type="datetime'''''19''''''73 A''''r''ab'''' ''''''''Oi''''l ''''Embar''go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1973 Arab Oil Embargo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2165C593-1A27-EACD-329C-400C8AF01D9B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2473325" y="3835400"/>
            <a:ext cx="1725613" cy="1524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17463" tIns="0" rIns="17463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C9B17912-9CEC-4C47-AFC1-2F84C6859D3D}" type="datetime'19''67'' ''Strai''ts of ''Tiran ''''''''''B''l''o''ck''ade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1967 Straits of Tiran Blockade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92" name="Oval 391">
            <a:extLst>
              <a:ext uri="{FF2B5EF4-FFF2-40B4-BE49-F238E27FC236}">
                <a16:creationId xmlns:a16="http://schemas.microsoft.com/office/drawing/2014/main" id="{767E4782-F287-FEEB-70EF-5200683313DA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4360863" y="1336675"/>
            <a:ext cx="111125" cy="111125"/>
          </a:xfrm>
          <a:prstGeom prst="ellipse">
            <a:avLst/>
          </a:prstGeom>
          <a:solidFill>
            <a:schemeClr val="accent2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3" name="Oval 392">
            <a:extLst>
              <a:ext uri="{FF2B5EF4-FFF2-40B4-BE49-F238E27FC236}">
                <a16:creationId xmlns:a16="http://schemas.microsoft.com/office/drawing/2014/main" id="{274F1FD0-F16A-A718-6741-F8DB660E2D89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6035675" y="1336675"/>
            <a:ext cx="111125" cy="111125"/>
          </a:xfrm>
          <a:prstGeom prst="ellipse">
            <a:avLst/>
          </a:prstGeom>
          <a:solidFill>
            <a:schemeClr val="accent3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5" name="Oval 394">
            <a:extLst>
              <a:ext uri="{FF2B5EF4-FFF2-40B4-BE49-F238E27FC236}">
                <a16:creationId xmlns:a16="http://schemas.microsoft.com/office/drawing/2014/main" id="{4232488A-CBAF-07B7-A28B-78FD29942E79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7915275" y="1336675"/>
            <a:ext cx="111125" cy="111125"/>
          </a:xfrm>
          <a:prstGeom prst="ellipse">
            <a:avLst/>
          </a:prstGeom>
          <a:solidFill>
            <a:schemeClr val="accent6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1" name="Text Placeholder 2">
            <a:extLst>
              <a:ext uri="{FF2B5EF4-FFF2-40B4-BE49-F238E27FC236}">
                <a16:creationId xmlns:a16="http://schemas.microsoft.com/office/drawing/2014/main" id="{00454582-96D4-5501-0A9A-ADDE9C1638C9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auto">
          <a:xfrm>
            <a:off x="4522788" y="1335088"/>
            <a:ext cx="141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DEF464BF-2A92-4A13-8A14-BEC414C007F7}" type="datetime'''(''G''eo''po''''l''iti''c''al'') Supply ''di''sruption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(Geopolitical) Supply disruption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90" name="Text Placeholder 2">
            <a:extLst>
              <a:ext uri="{FF2B5EF4-FFF2-40B4-BE49-F238E27FC236}">
                <a16:creationId xmlns:a16="http://schemas.microsoft.com/office/drawing/2014/main" id="{4BBC7341-1F96-A2CA-FCDC-5F476D01BAC6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auto">
          <a:xfrm>
            <a:off x="6197600" y="1335088"/>
            <a:ext cx="16176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31E8A21F-751B-49BC-8913-D6B1A4FC4BEA}" type="datetime'''(Geopol''''i''tical) Chokepoi''''n''t dis''ru''ption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(Geopolitical) Chokepoint disruption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89" name="Text Placeholder 2">
            <a:extLst>
              <a:ext uri="{FF2B5EF4-FFF2-40B4-BE49-F238E27FC236}">
                <a16:creationId xmlns:a16="http://schemas.microsoft.com/office/drawing/2014/main" id="{0536DD12-795F-915F-9A14-CBA92326E4B4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8077200" y="1335088"/>
            <a:ext cx="15144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8EFE381B-0DBF-46CD-8012-0F906C27F03A}" type="datetime'Natur''''a''l'' dis''asters ''&amp; ''force'''' m''ajeu''re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Natural disasters &amp; force majeure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97" name="Group 9 37">
            <a:extLst>
              <a:ext uri="{FF2B5EF4-FFF2-40B4-BE49-F238E27FC236}">
                <a16:creationId xmlns:a16="http://schemas.microsoft.com/office/drawing/2014/main" id="{FFE2907A-A24F-7C47-DBF0-D0016D6627CF}"/>
              </a:ext>
            </a:extLst>
          </p:cNvPr>
          <p:cNvGrpSpPr/>
          <p:nvPr/>
        </p:nvGrpSpPr>
        <p:grpSpPr>
          <a:xfrm>
            <a:off x="9825056" y="1304929"/>
            <a:ext cx="1812930" cy="234951"/>
            <a:chOff x="9495195" y="1334472"/>
            <a:chExt cx="2656495" cy="348427"/>
          </a:xfrm>
        </p:grpSpPr>
        <p:sp>
          <p:nvSpPr>
            <p:cNvPr id="398" name="Oval 397">
              <a:extLst>
                <a:ext uri="{FF2B5EF4-FFF2-40B4-BE49-F238E27FC236}">
                  <a16:creationId xmlns:a16="http://schemas.microsoft.com/office/drawing/2014/main" id="{F4ADBC85-B971-99C7-1297-7C8B4E75E2E8}"/>
                </a:ext>
              </a:extLst>
            </p:cNvPr>
            <p:cNvSpPr/>
            <p:nvPr/>
          </p:nvSpPr>
          <p:spPr>
            <a:xfrm>
              <a:off x="9582302" y="1508686"/>
              <a:ext cx="174213" cy="174213"/>
            </a:xfrm>
            <a:prstGeom prst="ellipse">
              <a:avLst/>
            </a:prstGeom>
            <a:noFill/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9" name="Oval 398">
              <a:extLst>
                <a:ext uri="{FF2B5EF4-FFF2-40B4-BE49-F238E27FC236}">
                  <a16:creationId xmlns:a16="http://schemas.microsoft.com/office/drawing/2014/main" id="{D4ECA6B5-70F2-1670-B194-24F01048A5AE}"/>
                </a:ext>
              </a:extLst>
            </p:cNvPr>
            <p:cNvSpPr/>
            <p:nvPr/>
          </p:nvSpPr>
          <p:spPr>
            <a:xfrm>
              <a:off x="9495195" y="1334472"/>
              <a:ext cx="348426" cy="348427"/>
            </a:xfrm>
            <a:prstGeom prst="ellipse">
              <a:avLst/>
            </a:prstGeom>
            <a:noFill/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0" name="Rectangle 399">
              <a:extLst>
                <a:ext uri="{FF2B5EF4-FFF2-40B4-BE49-F238E27FC236}">
                  <a16:creationId xmlns:a16="http://schemas.microsoft.com/office/drawing/2014/main" id="{44ABB8AD-8342-8751-731A-DABAF912FDFE}"/>
                </a:ext>
              </a:extLst>
            </p:cNvPr>
            <p:cNvSpPr/>
            <p:nvPr/>
          </p:nvSpPr>
          <p:spPr>
            <a:xfrm>
              <a:off x="9985559" y="1437608"/>
              <a:ext cx="2166131" cy="18250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3202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  <a:sym typeface="+mn-lt"/>
                </a:rPr>
                <a:t>Weekly energy impacted (</a:t>
              </a:r>
              <a:r>
                <a:rPr kumimoji="0" lang="en-US" altLang="en-US" sz="8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  <a:sym typeface="+mn-lt"/>
                </a:rPr>
                <a:t>mtoe</a:t>
              </a:r>
              <a:r>
                <a:rPr kumimoji="0" lang="en-US" alt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  <a:sym typeface="+mn-lt"/>
                </a:rPr>
                <a:t>)</a:t>
              </a: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icrosoft YaHei"/>
                <a:cs typeface="+mn-cs"/>
                <a:sym typeface="+mn-lt"/>
              </a:endParaRPr>
            </a:p>
          </p:txBody>
        </p:sp>
      </p:grpSp>
      <p:sp>
        <p:nvSpPr>
          <p:cNvPr id="600" name="4. Footnote">
            <a:extLst>
              <a:ext uri="{FF2B5EF4-FFF2-40B4-BE49-F238E27FC236}">
                <a16:creationId xmlns:a16="http://schemas.microsoft.com/office/drawing/2014/main" id="{4A7BC157-8C1A-F56D-EEAC-FB6F839F7210}"/>
              </a:ext>
            </a:extLst>
          </p:cNvPr>
          <p:cNvSpPr txBox="1"/>
          <p:nvPr>
            <p:custDataLst>
              <p:tags r:id="rId5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201168" marR="0" lvl="0" indent="-20116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.	Defined as the share of global energy demand impacted by the crisis; 2. Ongoing</a:t>
            </a:r>
          </a:p>
        </p:txBody>
      </p:sp>
      <p:sp>
        <p:nvSpPr>
          <p:cNvPr id="606" name="5. Source">
            <a:extLst>
              <a:ext uri="{FF2B5EF4-FFF2-40B4-BE49-F238E27FC236}">
                <a16:creationId xmlns:a16="http://schemas.microsoft.com/office/drawing/2014/main" id="{27D8E633-175C-F755-4C8E-CB892628E076}"/>
              </a:ext>
            </a:extLst>
          </p:cNvPr>
          <p:cNvSpPr txBox="1"/>
          <p:nvPr>
            <p:custDataLst>
              <p:tags r:id="rId5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IEA historic energy balances, press search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9BE5-7797-0598-34FE-0EA0A64D7E52}"/>
              </a:ext>
            </a:extLst>
          </p:cNvPr>
          <p:cNvSpPr txBox="1"/>
          <p:nvPr/>
        </p:nvSpPr>
        <p:spPr>
          <a:xfrm rot="16200000">
            <a:off x="-889703" y="3017579"/>
            <a:ext cx="314007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nergy impact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% of global energy demand)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B54A415-CCAE-04B0-33BD-065A6B8C896F}"/>
              </a:ext>
            </a:extLst>
          </p:cNvPr>
          <p:cNvSpPr txBox="1"/>
          <p:nvPr/>
        </p:nvSpPr>
        <p:spPr>
          <a:xfrm>
            <a:off x="9168484" y="6008064"/>
            <a:ext cx="2571461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uration of disruption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# of weeks)</a:t>
            </a:r>
          </a:p>
        </p:txBody>
      </p:sp>
      <p:grpSp>
        <p:nvGrpSpPr>
          <p:cNvPr id="466" name="Group 465">
            <a:extLst>
              <a:ext uri="{FF2B5EF4-FFF2-40B4-BE49-F238E27FC236}">
                <a16:creationId xmlns:a16="http://schemas.microsoft.com/office/drawing/2014/main" id="{DEA4D79F-CEAC-5E69-004F-6138E7F07242}"/>
              </a:ext>
            </a:extLst>
          </p:cNvPr>
          <p:cNvGrpSpPr/>
          <p:nvPr/>
        </p:nvGrpSpPr>
        <p:grpSpPr>
          <a:xfrm rot="19299156">
            <a:off x="3513535" y="1943484"/>
            <a:ext cx="1053131" cy="994365"/>
            <a:chOff x="1415076" y="2097177"/>
            <a:chExt cx="1016762" cy="965425"/>
          </a:xfrm>
        </p:grpSpPr>
        <p:sp>
          <p:nvSpPr>
            <p:cNvPr id="460" name="Chord 459">
              <a:extLst>
                <a:ext uri="{FF2B5EF4-FFF2-40B4-BE49-F238E27FC236}">
                  <a16:creationId xmlns:a16="http://schemas.microsoft.com/office/drawing/2014/main" id="{48CDF87D-53C8-464A-154A-D7766CDCB0CE}"/>
                </a:ext>
              </a:extLst>
            </p:cNvPr>
            <p:cNvSpPr/>
            <p:nvPr/>
          </p:nvSpPr>
          <p:spPr>
            <a:xfrm>
              <a:off x="1439356" y="2101434"/>
              <a:ext cx="992482" cy="961168"/>
            </a:xfrm>
            <a:prstGeom prst="chord">
              <a:avLst>
                <a:gd name="adj1" fmla="val 5579514"/>
                <a:gd name="adj2" fmla="val 16200000"/>
              </a:avLst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1" name="Chord 460">
              <a:extLst>
                <a:ext uri="{FF2B5EF4-FFF2-40B4-BE49-F238E27FC236}">
                  <a16:creationId xmlns:a16="http://schemas.microsoft.com/office/drawing/2014/main" id="{AE7A5300-902C-ABF2-53A4-5E5D9B275352}"/>
                </a:ext>
              </a:extLst>
            </p:cNvPr>
            <p:cNvSpPr/>
            <p:nvPr/>
          </p:nvSpPr>
          <p:spPr>
            <a:xfrm rot="10800000">
              <a:off x="1415076" y="2097177"/>
              <a:ext cx="992482" cy="961168"/>
            </a:xfrm>
            <a:prstGeom prst="chord">
              <a:avLst>
                <a:gd name="adj1" fmla="val 5579514"/>
                <a:gd name="adj2" fmla="val 16200000"/>
              </a:avLst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44527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86A6F4-6E33-0FBD-4BE6-68E37C1341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B7A294CF-5492-8719-63EA-57DCCD428C3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1515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28" imgH="428" progId="TCLayout.ActiveDocument.1">
                  <p:embed/>
                </p:oleObj>
              </mc:Choice>
              <mc:Fallback>
                <p:oleObj name="think-cell Slide" r:id="rId41" imgW="428" imgH="428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B7A294CF-5492-8719-63EA-57DCCD428C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FEA92CE0-097B-65DB-5971-2EBFF8293F6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5" y="182372"/>
            <a:ext cx="11488581" cy="731520"/>
          </a:xfrm>
        </p:spPr>
        <p:txBody>
          <a:bodyPr vert="horz" rIns="0"/>
          <a:lstStyle/>
          <a:p>
            <a:r>
              <a:rPr lang="en-US" dirty="0"/>
              <a:t>A1 | Europe is most exposed to supply disruption given large demand, import dependence, and large Middle East-linked supply exposu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275EA3-F297-1121-8E3E-600B74305F9A}"/>
              </a:ext>
            </a:extLst>
          </p:cNvPr>
          <p:cNvSpPr txBox="1"/>
          <p:nvPr/>
        </p:nvSpPr>
        <p:spPr>
          <a:xfrm>
            <a:off x="588963" y="1644650"/>
            <a:ext cx="5939428" cy="2460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latinLnBrk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 latinLnBrk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 latinLnBrk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 latinLnBrk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 latinLnBrk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 latinLnBrk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 latinLnBrk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 latinLnBrk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 latinLnBrk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altLang="ko-KR" b="1" dirty="0"/>
              <a:t>Top 10 global jet fuel demand by source</a:t>
            </a:r>
            <a:r>
              <a:rPr lang="en-US" altLang="ko-KR" dirty="0"/>
              <a:t>, </a:t>
            </a:r>
            <a:r>
              <a:rPr lang="en-US" altLang="ko-KR" dirty="0" err="1"/>
              <a:t>MMb</a:t>
            </a:r>
            <a:r>
              <a:rPr lang="en-US" altLang="ko-KR" dirty="0"/>
              <a:t>/d, 2025</a:t>
            </a:r>
            <a:endParaRPr lang="ko-KR" altLang="en-US" b="1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919179A-1B3C-DC50-79EA-798F9F2445FD}"/>
              </a:ext>
            </a:extLst>
          </p:cNvPr>
          <p:cNvCxnSpPr>
            <a:cxnSpLocks/>
          </p:cNvCxnSpPr>
          <p:nvPr/>
        </p:nvCxnSpPr>
        <p:spPr>
          <a:xfrm>
            <a:off x="551562" y="1911350"/>
            <a:ext cx="11086401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8DFD944-7ADD-80B9-4351-94711FD858D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75234520"/>
              </p:ext>
            </p:extLst>
          </p:nvPr>
        </p:nvGraphicFramePr>
        <p:xfrm>
          <a:off x="1841500" y="2008188"/>
          <a:ext cx="7094538" cy="4238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460" name="Text Placeholder 2">
            <a:extLst>
              <a:ext uri="{FF2B5EF4-FFF2-40B4-BE49-F238E27FC236}">
                <a16:creationId xmlns:a16="http://schemas.microsoft.com/office/drawing/2014/main" id="{3124FCD3-1325-BC55-9FB2-25DB5EECD18D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544513" y="2187575"/>
            <a:ext cx="10652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DEB5A2C-158C-460A-996C-2249ECDD0EBB}" type="datetime'Un''''''''''''i''''''''t''e''d S''''''''''t''''''a''t''es'''">
              <a:rPr lang="en-GB" altLang="en-US" sz="1400" smtClean="0">
                <a:cs typeface="+mn-cs"/>
              </a:rPr>
              <a:pPr/>
              <a:t>United States</a:t>
            </a:fld>
            <a:endParaRPr lang="en-GB" sz="1400" dirty="0">
              <a:cs typeface="+mn-cs"/>
            </a:endParaRPr>
          </a:p>
        </p:txBody>
      </p:sp>
      <p:sp>
        <p:nvSpPr>
          <p:cNvPr id="568" name="Text Placeholder 2">
            <a:extLst>
              <a:ext uri="{FF2B5EF4-FFF2-40B4-BE49-F238E27FC236}">
                <a16:creationId xmlns:a16="http://schemas.microsoft.com/office/drawing/2014/main" id="{8F5350AA-C31C-46D4-0B7F-BA15E7A671B8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544513" y="2593975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E11610B-D2BE-496E-BE7F-AD5C7156A3FD}" type="datetime'''''''''''C''''''''hin''''''''''''''''''''''a'''''''''''''''''">
              <a:rPr lang="en-GB" altLang="en-US" sz="1400" smtClean="0">
                <a:cs typeface="+mn-cs"/>
              </a:rPr>
              <a:pPr/>
              <a:t>China</a:t>
            </a:fld>
            <a:endParaRPr lang="en-GB" sz="1400" dirty="0">
              <a:cs typeface="+mn-cs"/>
            </a:endParaRPr>
          </a:p>
        </p:txBody>
      </p:sp>
      <p:sp>
        <p:nvSpPr>
          <p:cNvPr id="595" name="Text Placeholder 2">
            <a:extLst>
              <a:ext uri="{FF2B5EF4-FFF2-40B4-BE49-F238E27FC236}">
                <a16:creationId xmlns:a16="http://schemas.microsoft.com/office/drawing/2014/main" id="{197D272F-F57E-4D22-0B91-33176F4A1C70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544513" y="3001963"/>
            <a:ext cx="4826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EF4DD3A-4228-44EF-8D7B-A856686B837F}" type="datetime'Ja''''''''p''''''''''''''''''''''''''''''''a''''''''''''n'''">
              <a:rPr lang="en-GB" altLang="en-US" sz="1400" smtClean="0">
                <a:cs typeface="+mn-cs"/>
              </a:rPr>
              <a:pPr/>
              <a:t>Japan</a:t>
            </a:fld>
            <a:endParaRPr lang="en-GB" sz="1400" dirty="0"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3505566E-E197-111D-8BAE-93888376794C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544513" y="3408363"/>
            <a:ext cx="12620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A4E65BE-3A93-441E-AD74-B3DF3D173991}" type="datetime'''''''''''''''Un''''i''''t''ed ''''''K''''''ing''''d''o''m'''">
              <a:rPr lang="en-GB" altLang="en-US" sz="1400" smtClean="0">
                <a:cs typeface="+mn-cs"/>
              </a:rPr>
              <a:pPr/>
              <a:t>United Kingdom</a:t>
            </a:fld>
            <a:endParaRPr lang="en-GB" sz="1400" dirty="0">
              <a:cs typeface="+mn-cs"/>
            </a:endParaRPr>
          </a:p>
        </p:txBody>
      </p:sp>
      <p:sp>
        <p:nvSpPr>
          <p:cNvPr id="554" name="Text Placeholder 2">
            <a:extLst>
              <a:ext uri="{FF2B5EF4-FFF2-40B4-BE49-F238E27FC236}">
                <a16:creationId xmlns:a16="http://schemas.microsoft.com/office/drawing/2014/main" id="{738B76D1-4E04-4B11-E067-8A5CB96E6C0D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544513" y="3816350"/>
            <a:ext cx="366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8FDBA9F-75D3-42A8-8635-4F16909DD0DF}" type="datetime'''''''''''''''''U''''''''''''''A''E'''''''''''''''''">
              <a:rPr lang="en-GB" altLang="en-US" sz="1400" smtClean="0">
                <a:cs typeface="+mn-cs"/>
              </a:rPr>
              <a:pPr/>
              <a:t>UAE</a:t>
            </a:fld>
            <a:endParaRPr lang="en-GB" sz="1400" dirty="0"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D035CB5-4534-B1C9-CBA3-F325EEDE21DF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544513" y="4224338"/>
            <a:ext cx="550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7D71A2A-ABED-4583-859F-87BB5DB600F7}" type="datetime'''''F''''''''r''''a''''''n''''''''''c''e'''''''''''''''''">
              <a:rPr lang="en-GB" altLang="en-US" sz="1400" smtClean="0">
                <a:cs typeface="+mn-cs"/>
              </a:rPr>
              <a:pPr/>
              <a:t>France</a:t>
            </a:fld>
            <a:endParaRPr lang="en-GB" sz="1400" dirty="0">
              <a:cs typeface="+mn-cs"/>
            </a:endParaRPr>
          </a:p>
        </p:txBody>
      </p:sp>
      <p:sp>
        <p:nvSpPr>
          <p:cNvPr id="583" name="Text Placeholder 2">
            <a:extLst>
              <a:ext uri="{FF2B5EF4-FFF2-40B4-BE49-F238E27FC236}">
                <a16:creationId xmlns:a16="http://schemas.microsoft.com/office/drawing/2014/main" id="{AC9BA6C9-2BE0-75A6-B5BF-5E7ECBE6FB7F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544513" y="4630738"/>
            <a:ext cx="690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13396A5-6AE4-458A-B973-8A1DC1A6DF27}" type="datetime'''''''''''''''A''u''''st''''''''''''''''''r''''''a''l''i''a'''">
              <a:rPr lang="en-GB" altLang="en-US" sz="1400" smtClean="0">
                <a:cs typeface="+mn-cs"/>
              </a:rPr>
              <a:pPr/>
              <a:t>Australia</a:t>
            </a:fld>
            <a:endParaRPr lang="en-GB" sz="1400" dirty="0">
              <a:cs typeface="+mn-cs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7C25AE3A-DB1A-B0B6-D3C8-A624E20C701D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44513" y="5038725"/>
            <a:ext cx="325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5DB24A1-91AD-4D7F-BC8F-834DDA8D0C1D}" type="datetime'''''''I''''''''''t''''''a''''''''l''y'''''">
              <a:rPr lang="en-GB" altLang="en-US" sz="1400" smtClean="0">
                <a:cs typeface="+mn-cs"/>
              </a:rPr>
              <a:pPr/>
              <a:t>Italy</a:t>
            </a:fld>
            <a:endParaRPr lang="en-GB" sz="1400" dirty="0">
              <a:cs typeface="+mn-cs"/>
            </a:endParaRPr>
          </a:p>
        </p:txBody>
      </p:sp>
      <p:sp>
        <p:nvSpPr>
          <p:cNvPr id="607" name="Text Placeholder 2">
            <a:extLst>
              <a:ext uri="{FF2B5EF4-FFF2-40B4-BE49-F238E27FC236}">
                <a16:creationId xmlns:a16="http://schemas.microsoft.com/office/drawing/2014/main" id="{D649790A-8194-1CBC-C891-04600FBD51CD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544513" y="5445125"/>
            <a:ext cx="561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C18429D-7316-4B7C-80C1-03AC7643EB08}" type="datetime'''''''''''''M''''e''x''i''''''''c''''''''''''''''''''o'''">
              <a:rPr lang="en-GB" altLang="en-US" sz="1400" smtClean="0">
                <a:cs typeface="+mn-cs"/>
              </a:rPr>
              <a:pPr/>
              <a:t>Mexico</a:t>
            </a:fld>
            <a:endParaRPr lang="en-GB" sz="1400" dirty="0">
              <a:cs typeface="+mn-cs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97F96D71-47E4-D011-532A-8D6F26E5312D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544513" y="5853113"/>
            <a:ext cx="955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32B2B3F-A06E-4A9B-BF2C-A91AF45B4358}" type="datetime'''''''''''Ne''''''''''t''''''he''''''''rl''a''''nds'''''">
              <a:rPr lang="en-GB" altLang="en-US" sz="1400" smtClean="0">
                <a:cs typeface="+mn-cs"/>
              </a:rPr>
              <a:pPr/>
              <a:t>Netherlands</a:t>
            </a:fld>
            <a:endParaRPr lang="en-GB" sz="1400" dirty="0">
              <a:cs typeface="+mn-cs"/>
            </a:endParaRPr>
          </a:p>
        </p:txBody>
      </p:sp>
      <p:sp>
        <p:nvSpPr>
          <p:cNvPr id="482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8878888" y="2187575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77B9DFB-B70B-42A7-A8CE-EA4D6C9732AE}" type="datetime'''''''''''''''''''''''''''1''''''''''''''.''''8'">
              <a:rPr lang="en-GB" altLang="en-US" sz="1400" smtClean="0">
                <a:cs typeface="+mn-cs"/>
              </a:rPr>
              <a:pPr/>
              <a:t>1.8</a:t>
            </a:fld>
            <a:endParaRPr lang="en-GB" sz="1400" dirty="0">
              <a:cs typeface="+mn-cs"/>
            </a:endParaRPr>
          </a:p>
        </p:txBody>
      </p:sp>
      <p:sp>
        <p:nvSpPr>
          <p:cNvPr id="571" name="Text Placeholder 2">
            <a:extLst>
              <a:ext uri="{FF2B5EF4-FFF2-40B4-BE49-F238E27FC236}">
                <a16:creationId xmlns:a16="http://schemas.microsoft.com/office/drawing/2014/main" id="{75369D38-4D83-D7B3-A212-10BA13545CB7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6721475" y="2593975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F611DC7-7130-4605-AE45-8EA8C70058CD}" type="datetime'''''0''''''''''''''.''9'''''''''''''''''''''''''''''''''''''">
              <a:rPr lang="en-GB" altLang="en-US" sz="1400" smtClean="0">
                <a:cs typeface="+mn-cs"/>
              </a:rPr>
              <a:pPr/>
              <a:t>0.9</a:t>
            </a:fld>
            <a:endParaRPr lang="en-GB" sz="1400" dirty="0">
              <a:cs typeface="+mn-cs"/>
            </a:endParaRPr>
          </a:p>
        </p:txBody>
      </p:sp>
      <p:sp>
        <p:nvSpPr>
          <p:cNvPr id="598" name="Text Placeholder 2">
            <a:extLst>
              <a:ext uri="{FF2B5EF4-FFF2-40B4-BE49-F238E27FC236}">
                <a16:creationId xmlns:a16="http://schemas.microsoft.com/office/drawing/2014/main" id="{5B99DC57-E2EF-AA60-62FD-DC0DE4016B0C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4259263" y="3001963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D9BCB79-B35C-4C8A-B783-5D09EEE830F1}" type="datetime'''''''''''''0''''.''''''''''''''4'''">
              <a:rPr lang="en-GB" altLang="en-US" sz="1400" smtClean="0">
                <a:cs typeface="+mn-cs"/>
              </a:rPr>
              <a:pPr/>
              <a:t>0.4</a:t>
            </a:fld>
            <a:endParaRPr lang="en-GB" sz="1400" dirty="0">
              <a:cs typeface="+mn-cs"/>
            </a:endParaRPr>
          </a:p>
        </p:txBody>
      </p:sp>
      <p:sp>
        <p:nvSpPr>
          <p:cNvPr id="508" name="Text Placeholder 2">
            <a:extLst>
              <a:ext uri="{FF2B5EF4-FFF2-40B4-BE49-F238E27FC236}">
                <a16:creationId xmlns:a16="http://schemas.microsoft.com/office/drawing/2014/main" id="{E091E12E-5880-914D-9D77-DC55BA917098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4087813" y="3408363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A780D00-3E04-41FF-9D2F-02B060FCC392}" type="datetime'''''''''''''0''''''''''''''.''3'">
              <a:rPr lang="en-GB" altLang="en-US" sz="1400" smtClean="0">
                <a:cs typeface="+mn-cs"/>
              </a:rPr>
              <a:pPr/>
              <a:t>0.3</a:t>
            </a:fld>
            <a:endParaRPr lang="en-GB" sz="1400" dirty="0">
              <a:cs typeface="+mn-cs"/>
            </a:endParaRPr>
          </a:p>
        </p:txBody>
      </p:sp>
      <p:sp>
        <p:nvSpPr>
          <p:cNvPr id="559" name="Text Placeholder 2">
            <a:extLst>
              <a:ext uri="{FF2B5EF4-FFF2-40B4-BE49-F238E27FC236}">
                <a16:creationId xmlns:a16="http://schemas.microsoft.com/office/drawing/2014/main" id="{B182C85A-E16F-61D0-3000-59A042B6C242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4094163" y="3816350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25FFCC9-E84D-4090-9670-84AA6CF16FE4}" type="datetime'''''''''0''''''''''''''''''''.''''''''''''2'''''">
              <a:rPr lang="en-GB" altLang="en-US" sz="1400" smtClean="0">
                <a:cs typeface="+mn-cs"/>
              </a:rPr>
              <a:pPr/>
              <a:t>0.2</a:t>
            </a:fld>
            <a:endParaRPr lang="en-GB" sz="1400" dirty="0">
              <a:cs typeface="+mn-cs"/>
            </a:endParaRPr>
          </a:p>
        </p:txBody>
      </p:sp>
      <p:sp>
        <p:nvSpPr>
          <p:cNvPr id="514" name="Text Placeholder 2">
            <a:extLst>
              <a:ext uri="{FF2B5EF4-FFF2-40B4-BE49-F238E27FC236}">
                <a16:creationId xmlns:a16="http://schemas.microsoft.com/office/drawing/2014/main" id="{0CDB8E3A-D244-4938-3397-60B722524BB9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3597275" y="4224338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07606CC-4E30-4FD3-B960-FD8067DDE546}" type="datetime'''''''''0.''''''''''''''''''''''''''2'''''''''''''''''''''">
              <a:rPr lang="en-GB" altLang="en-US" sz="1400" smtClean="0">
                <a:cs typeface="+mn-cs"/>
              </a:rPr>
              <a:pPr/>
              <a:t>0.2</a:t>
            </a:fld>
            <a:endParaRPr lang="en-GB" sz="1400" dirty="0">
              <a:cs typeface="+mn-cs"/>
            </a:endParaRPr>
          </a:p>
        </p:txBody>
      </p:sp>
      <p:sp>
        <p:nvSpPr>
          <p:cNvPr id="586" name="Text Placeholder 2">
            <a:extLst>
              <a:ext uri="{FF2B5EF4-FFF2-40B4-BE49-F238E27FC236}">
                <a16:creationId xmlns:a16="http://schemas.microsoft.com/office/drawing/2014/main" id="{F117352C-CBD6-6B8B-3203-B1BD1BB51A1F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3419475" y="4630738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2AA32DF-5545-4A52-9D8C-D7DD445E34F3}" type="datetime'''''''''''''''0''''''''''''''''''''''.''''''1'''''''''''''''">
              <a:rPr lang="en-GB" altLang="en-US" sz="1400" smtClean="0">
                <a:cs typeface="+mn-cs"/>
              </a:rPr>
              <a:pPr/>
              <a:t>0.1</a:t>
            </a:fld>
            <a:endParaRPr lang="en-GB" sz="1400" dirty="0">
              <a:cs typeface="+mn-cs"/>
            </a:endParaRPr>
          </a:p>
        </p:txBody>
      </p:sp>
      <p:sp>
        <p:nvSpPr>
          <p:cNvPr id="414" name="Text Placeholder 2">
            <a:extLst>
              <a:ext uri="{FF2B5EF4-FFF2-40B4-BE49-F238E27FC236}">
                <a16:creationId xmlns:a16="http://schemas.microsoft.com/office/drawing/2014/main" id="{BE85D182-3B21-BF9D-AAB9-D60F41C406F2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3416300" y="5038725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9E470FE-E999-4B1C-8D5A-3DDD3BCF0550}" type="datetime'''''''''''''''''''0''''''''''.1'''''''''''">
              <a:rPr lang="en-GB" altLang="en-US" sz="1400" smtClean="0">
                <a:cs typeface="+mn-cs"/>
              </a:rPr>
              <a:pPr/>
              <a:t>0.1</a:t>
            </a:fld>
            <a:endParaRPr lang="en-GB" sz="1400" dirty="0">
              <a:cs typeface="+mn-cs"/>
            </a:endParaRPr>
          </a:p>
        </p:txBody>
      </p:sp>
      <p:sp>
        <p:nvSpPr>
          <p:cNvPr id="608" name="Text Placeholder 2">
            <a:extLst>
              <a:ext uri="{FF2B5EF4-FFF2-40B4-BE49-F238E27FC236}">
                <a16:creationId xmlns:a16="http://schemas.microsoft.com/office/drawing/2014/main" id="{C2B7AA63-0049-F04E-0827-500F85FF66D0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3319463" y="5445125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31DC8F1-5B4B-4BBA-B851-C644CA4E74D8}" type="datetime'''''0''''.1'''''''''''''''''''''''''''">
              <a:rPr lang="en-GB" altLang="en-US" sz="1400" smtClean="0">
                <a:cs typeface="+mn-cs"/>
              </a:rPr>
              <a:pPr/>
              <a:t>0.1</a:t>
            </a:fld>
            <a:endParaRPr lang="en-GB" sz="1400" dirty="0">
              <a:cs typeface="+mn-cs"/>
            </a:endParaRPr>
          </a:p>
        </p:txBody>
      </p:sp>
      <p:sp>
        <p:nvSpPr>
          <p:cNvPr id="458" name="5. Source">
            <a:extLst>
              <a:ext uri="{FF2B5EF4-FFF2-40B4-BE49-F238E27FC236}">
                <a16:creationId xmlns:a16="http://schemas.microsoft.com/office/drawing/2014/main" id="{C98AF8C0-9484-308A-F356-4DC91F47231D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554735" y="6501669"/>
            <a:ext cx="7277861" cy="3231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Energy Aspects</a:t>
            </a:r>
          </a:p>
          <a:p>
            <a:endParaRPr lang="en-US" sz="800" dirty="0"/>
          </a:p>
        </p:txBody>
      </p:sp>
      <p:sp>
        <p:nvSpPr>
          <p:cNvPr id="477" name="TextBox 476">
            <a:extLst>
              <a:ext uri="{FF2B5EF4-FFF2-40B4-BE49-F238E27FC236}">
                <a16:creationId xmlns:a16="http://schemas.microsoft.com/office/drawing/2014/main" id="{2DC749B6-2515-6F6D-B102-B57D6FD39FE6}"/>
              </a:ext>
            </a:extLst>
          </p:cNvPr>
          <p:cNvSpPr txBox="1"/>
          <p:nvPr/>
        </p:nvSpPr>
        <p:spPr>
          <a:xfrm>
            <a:off x="10879138" y="3201988"/>
            <a:ext cx="758825" cy="184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1200" dirty="0"/>
              <a:t>Imports</a:t>
            </a:r>
          </a:p>
        </p:txBody>
      </p:sp>
      <p:sp>
        <p:nvSpPr>
          <p:cNvPr id="478" name="Right Brace 477">
            <a:extLst>
              <a:ext uri="{FF2B5EF4-FFF2-40B4-BE49-F238E27FC236}">
                <a16:creationId xmlns:a16="http://schemas.microsoft.com/office/drawing/2014/main" id="{BD9A1AEC-F07E-EDF0-CB20-866858CD4492}"/>
              </a:ext>
            </a:extLst>
          </p:cNvPr>
          <p:cNvSpPr/>
          <p:nvPr/>
        </p:nvSpPr>
        <p:spPr>
          <a:xfrm>
            <a:off x="10766425" y="2840038"/>
            <a:ext cx="46038" cy="919163"/>
          </a:xfrm>
          <a:prstGeom prst="rightBrac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1" name="Rectangle 820">
            <a:extLst>
              <a:ext uri="{FF2B5EF4-FFF2-40B4-BE49-F238E27FC236}">
                <a16:creationId xmlns:a16="http://schemas.microsoft.com/office/drawing/2014/main" id="{7D3C812A-689D-61C5-7FC5-C146ED567C23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9594850" y="2211388"/>
            <a:ext cx="165100" cy="165100"/>
          </a:xfrm>
          <a:prstGeom prst="rect">
            <a:avLst/>
          </a:prstGeom>
          <a:solidFill>
            <a:schemeClr val="accent1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822" name="Rectangle 821">
            <a:extLst>
              <a:ext uri="{FF2B5EF4-FFF2-40B4-BE49-F238E27FC236}">
                <a16:creationId xmlns:a16="http://schemas.microsoft.com/office/drawing/2014/main" id="{5C302ED6-24DB-39E4-B3F3-449C049676F4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9594850" y="2444750"/>
            <a:ext cx="165100" cy="165100"/>
          </a:xfrm>
          <a:prstGeom prst="rect">
            <a:avLst/>
          </a:prstGeom>
          <a:solidFill>
            <a:schemeClr val="accent2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823" name="Rectangle 822">
            <a:extLst>
              <a:ext uri="{FF2B5EF4-FFF2-40B4-BE49-F238E27FC236}">
                <a16:creationId xmlns:a16="http://schemas.microsoft.com/office/drawing/2014/main" id="{FF485F99-6BA0-0245-014C-7D1412C4ADCB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9594850" y="2678113"/>
            <a:ext cx="165100" cy="165100"/>
          </a:xfrm>
          <a:prstGeom prst="rect">
            <a:avLst/>
          </a:prstGeom>
          <a:solidFill>
            <a:schemeClr val="accent3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824" name="Rectangle 823">
            <a:extLst>
              <a:ext uri="{FF2B5EF4-FFF2-40B4-BE49-F238E27FC236}">
                <a16:creationId xmlns:a16="http://schemas.microsoft.com/office/drawing/2014/main" id="{AB2262B4-A5DF-BF3F-85EF-D84ACAC80656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9594850" y="2911475"/>
            <a:ext cx="165100" cy="165100"/>
          </a:xfrm>
          <a:prstGeom prst="rect">
            <a:avLst/>
          </a:prstGeom>
          <a:solidFill>
            <a:schemeClr val="accent4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825" name="Rectangle 824">
            <a:extLst>
              <a:ext uri="{FF2B5EF4-FFF2-40B4-BE49-F238E27FC236}">
                <a16:creationId xmlns:a16="http://schemas.microsoft.com/office/drawing/2014/main" id="{9843AEEA-A9EE-0E56-F537-2B3028F65918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9594850" y="3144838"/>
            <a:ext cx="165100" cy="165100"/>
          </a:xfrm>
          <a:prstGeom prst="rect">
            <a:avLst/>
          </a:prstGeom>
          <a:solidFill>
            <a:schemeClr val="accent5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826" name="Rectangle 825">
            <a:extLst>
              <a:ext uri="{FF2B5EF4-FFF2-40B4-BE49-F238E27FC236}">
                <a16:creationId xmlns:a16="http://schemas.microsoft.com/office/drawing/2014/main" id="{FFC1539E-ADEC-5BEA-0E05-64A3417D1F72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9594850" y="3378200"/>
            <a:ext cx="165100" cy="165100"/>
          </a:xfrm>
          <a:prstGeom prst="rect">
            <a:avLst/>
          </a:prstGeom>
          <a:solidFill>
            <a:schemeClr val="accent6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827" name="Rectangle 826">
            <a:extLst>
              <a:ext uri="{FF2B5EF4-FFF2-40B4-BE49-F238E27FC236}">
                <a16:creationId xmlns:a16="http://schemas.microsoft.com/office/drawing/2014/main" id="{4AAB5052-86CB-2E23-0957-B76DE7687633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9594850" y="3611563"/>
            <a:ext cx="165100" cy="165100"/>
          </a:xfrm>
          <a:prstGeom prst="rect">
            <a:avLst/>
          </a:prstGeom>
          <a:solidFill>
            <a:srgbClr val="9C217D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828" name="Rectangle 827">
            <a:extLst>
              <a:ext uri="{FF2B5EF4-FFF2-40B4-BE49-F238E27FC236}">
                <a16:creationId xmlns:a16="http://schemas.microsoft.com/office/drawing/2014/main" id="{8C9D4292-0A97-24BE-F618-4B8567CD6A24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9594850" y="3844925"/>
            <a:ext cx="165100" cy="165100"/>
          </a:xfrm>
          <a:prstGeom prst="rect">
            <a:avLst/>
          </a:prstGeom>
          <a:solidFill>
            <a:srgbClr val="B3B3B3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811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9810750" y="2209800"/>
            <a:ext cx="1384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56D17EA-FFA4-4323-80CF-F36EF5A52497}" type="datetime'D''o''''me''''s''tic'''''''' p''''''''ro''d''''uc''''t''ion'''">
              <a:rPr lang="en-GB" altLang="en-US" sz="12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Domestic production</a:t>
            </a:fld>
            <a:endParaRPr lang="en-GB" sz="1200" dirty="0">
              <a:cs typeface="+mn-cs"/>
            </a:endParaRPr>
          </a:p>
        </p:txBody>
      </p:sp>
      <p:sp>
        <p:nvSpPr>
          <p:cNvPr id="819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9810750" y="2443163"/>
            <a:ext cx="13874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3997E30-C1BA-493A-A3F2-B63B0EE0F226}" type="datetime'''''Im''''p''o''r''t''''s fr''o''''m E''u''r''o''''''p''e'''">
              <a:rPr lang="en-GB" altLang="en-US" sz="12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Imports from Europe</a:t>
            </a:fld>
            <a:endParaRPr lang="en-GB" sz="1200" dirty="0">
              <a:cs typeface="+mn-cs"/>
            </a:endParaRPr>
          </a:p>
        </p:txBody>
      </p:sp>
      <p:sp>
        <p:nvSpPr>
          <p:cNvPr id="814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9810750" y="2676525"/>
            <a:ext cx="7937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0B838A9-32EC-4D97-B804-64A88331401A}" type="datetime'M''i''d''d''''''l''''''''''''''e'''' ''''''''''''''''Ea''st'''">
              <a:rPr lang="en-GB" altLang="en-US" sz="12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Middle East</a:t>
            </a:fld>
            <a:endParaRPr lang="en-GB" sz="1200" dirty="0">
              <a:cs typeface="+mn-cs"/>
            </a:endParaRPr>
          </a:p>
        </p:txBody>
      </p:sp>
      <p:sp>
        <p:nvSpPr>
          <p:cNvPr id="817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9810750" y="2909888"/>
            <a:ext cx="295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2B8C4E3-51B3-4ECA-A645-FDD45FF4136C}" type="datetime'''''''''''''''''As''''i''''a'''''''''''''''''''''''''''''''">
              <a:rPr lang="en-GB" altLang="en-US" sz="12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Asia</a:t>
            </a:fld>
            <a:endParaRPr lang="en-GB" sz="1200" dirty="0">
              <a:cs typeface="+mn-cs"/>
            </a:endParaRPr>
          </a:p>
        </p:txBody>
      </p:sp>
      <p:sp>
        <p:nvSpPr>
          <p:cNvPr id="815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9810750" y="3143250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7764230-9008-4D47-B89A-86CD597103B4}" type="datetime'''''''A''f''''''''r''''''''''''ic''''''a'">
              <a:rPr lang="en-GB" altLang="en-US" sz="12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Africa</a:t>
            </a:fld>
            <a:endParaRPr lang="en-GB" sz="1200" dirty="0">
              <a:cs typeface="+mn-cs"/>
            </a:endParaRPr>
          </a:p>
        </p:txBody>
      </p:sp>
      <p:sp>
        <p:nvSpPr>
          <p:cNvPr id="81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9810750" y="3376613"/>
            <a:ext cx="3127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729B383-1A55-4F8F-A731-4E874D86E6D9}" type="datetime'''U''''''''''''''''''''''''''S''''''''''A'">
              <a:rPr lang="en-GB" altLang="en-US" sz="12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USA</a:t>
            </a:fld>
            <a:endParaRPr lang="en-GB" sz="1200" dirty="0">
              <a:cs typeface="+mn-cs"/>
            </a:endParaRPr>
          </a:p>
        </p:txBody>
      </p:sp>
      <p:sp>
        <p:nvSpPr>
          <p:cNvPr id="816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9810750" y="3609975"/>
            <a:ext cx="3810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27EA006-47FB-43E1-827D-CF3479B5A148}" type="datetime'''''''''''''''''''''''''O''''''''''''''th''''e''r'''''''''''">
              <a:rPr lang="en-GB" altLang="en-US" sz="12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Other</a:t>
            </a:fld>
            <a:endParaRPr lang="en-GB" sz="1200" dirty="0">
              <a:cs typeface="+mn-cs"/>
            </a:endParaRPr>
          </a:p>
        </p:txBody>
      </p:sp>
      <p:sp>
        <p:nvSpPr>
          <p:cNvPr id="813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9810750" y="3843338"/>
            <a:ext cx="515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6CB9D4A-C119-4CEA-BCD2-93B10E17C8C3}" type="datetime'''''''''E''''''''''x''''''p''''o''''''r''''''''''t''s'''''">
              <a:rPr lang="en-GB" altLang="en-US" sz="12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Exports</a:t>
            </a:fld>
            <a:endParaRPr lang="en-GB" sz="1200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2308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5523E0-9A63-A3C4-B84E-04C26E05BC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6" hidden="1">
            <a:extLst>
              <a:ext uri="{FF2B5EF4-FFF2-40B4-BE49-F238E27FC236}">
                <a16:creationId xmlns:a16="http://schemas.microsoft.com/office/drawing/2014/main" id="{E6898262-DB13-2580-747F-7DBA39D4AA4E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7772400" imgH="10058400" progId="TCLayout.ActiveDocument.1">
                  <p:embed/>
                </p:oleObj>
              </mc:Choice>
              <mc:Fallback>
                <p:oleObj name="think-cell Slide" r:id="rId24" imgW="7772400" imgH="10058400" progId="TCLayout.ActiveDocument.1">
                  <p:embed/>
                  <p:pic>
                    <p:nvPicPr>
                      <p:cNvPr id="17" name="Object 6" hidden="1">
                        <a:extLst>
                          <a:ext uri="{FF2B5EF4-FFF2-40B4-BE49-F238E27FC236}">
                            <a16:creationId xmlns:a16="http://schemas.microsoft.com/office/drawing/2014/main" id="{E6898262-DB13-2580-747F-7DBA39D4AA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tangle: Top Corners Rounded 6">
            <a:extLst>
              <a:ext uri="{FF2B5EF4-FFF2-40B4-BE49-F238E27FC236}">
                <a16:creationId xmlns:a16="http://schemas.microsoft.com/office/drawing/2014/main" id="{C7FAB5A4-32DB-68FB-6026-B89C5519709F}"/>
              </a:ext>
            </a:extLst>
          </p:cNvPr>
          <p:cNvSpPr/>
          <p:nvPr/>
        </p:nvSpPr>
        <p:spPr>
          <a:xfrm rot="16200000">
            <a:off x="7812628" y="1830928"/>
            <a:ext cx="4503736" cy="4255008"/>
          </a:xfrm>
          <a:prstGeom prst="round2SameRect">
            <a:avLst/>
          </a:prstGeom>
          <a:solidFill>
            <a:schemeClr val="bg1">
              <a:lumMod val="90000"/>
              <a:lumOff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101" name="2. Slide Title">
            <a:extLst>
              <a:ext uri="{FF2B5EF4-FFF2-40B4-BE49-F238E27FC236}">
                <a16:creationId xmlns:a16="http://schemas.microsoft.com/office/drawing/2014/main" id="{FC517BE3-D2EA-66A8-61DA-469FBB2C94B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rIns="0">
            <a:spAutoFit/>
          </a:bodyPr>
          <a:lstStyle/>
          <a:p>
            <a:r>
              <a:rPr lang="en-GB" noProof="0" dirty="0"/>
              <a:t>A2 | Airlines have steadily increased premium capacity over the years, driven by premium leisure growth</a:t>
            </a:r>
            <a:endParaRPr lang="en-GB" b="0" noProof="0" dirty="0"/>
          </a:p>
        </p:txBody>
      </p: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E2AFD00C-B459-97AA-0DDC-836BAA113B28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471488" y="3371850"/>
          <a:ext cx="6905625" cy="2663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 useBgFill="1">
        <p:nvSpPr>
          <p:cNvPr id="42" name="Freeform 41">
            <a:extLst>
              <a:ext uri="{FF2B5EF4-FFF2-40B4-BE49-F238E27FC236}">
                <a16:creationId xmlns:a16="http://schemas.microsoft.com/office/drawing/2014/main" id="{58430964-D7DF-E76B-8B6E-44ABB4718110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561013" y="5880100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6350" cap="sq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D3339E41-B814-92CF-8BE3-C11ED3E298B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561013" y="588010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Freeform 40">
            <a:extLst>
              <a:ext uri="{FF2B5EF4-FFF2-40B4-BE49-F238E27FC236}">
                <a16:creationId xmlns:a16="http://schemas.microsoft.com/office/drawing/2014/main" id="{2E2A9C46-A6A2-A6B2-CC2E-9297E6363C44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5618163" y="588010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D28140D-1B2C-8B9E-02A5-8F1F505F0FAD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V="1">
            <a:off x="1116013" y="2846388"/>
            <a:ext cx="5616575" cy="45561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C6D78D4-5513-F1DA-FDEA-358D5EBA132F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912813" y="60118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DDD8B751-DE86-402F-8474-8BBB8D474FAA}" type="datetime'''''''''''''''''''''''''2''''''''''''''0''''1''''6'''''">
              <a:rPr lang="en-GB" altLang="en-US" sz="1400" smtClean="0"/>
              <a:pPr lvl="0" algn="ct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2016</a:t>
            </a:fld>
            <a:endParaRPr kumimoji="0" lang="en-GB" sz="1400" b="0" i="0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08E0E65-72B7-6066-AB9C-93DDBC6E2B3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2133600" y="6011863"/>
            <a:ext cx="209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14BECB26-0175-49F6-85EC-6E856DFE526D}" type="datetime'''''''''''''''1''''''''''''''''''7'''''''''''''''">
              <a:rPr kumimoji="0" lang="en-GB" sz="14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17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0A34FAE-2801-3FE7-4E60-A73DB158CFF2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3257550" y="6011863"/>
            <a:ext cx="209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82CCC9F1-B3D2-4C42-B3CD-B692034ECB76}" type="datetime'''''''''18'''''''''''''''''''''''''''''''''''''''''">
              <a:rPr kumimoji="0" lang="en-GB" sz="14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18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57FB66E0-74E0-CA5E-C0D1-7234D057FA5A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4381500" y="6011863"/>
            <a:ext cx="209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48ACB63A-77FD-4CCD-8F98-0D25530EC45A}" type="datetime'''''''''1''''''''9'''''''''''''''''''">
              <a:rPr kumimoji="0" lang="en-GB" sz="14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19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6587348C-CEC7-FC6C-EB79-4567D04DBA7A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6529388" y="60118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216B5603-C32C-4EE5-A67D-599954E6DD70}" type="datetime'''2''''''0''''''''''''''2''''''''''''''''''''''''''''4'''">
              <a:rPr lang="en-GB" altLang="en-US" sz="1400" smtClean="0"/>
              <a:pPr lvl="0" algn="ct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2024</a:t>
            </a:fld>
            <a:endParaRPr kumimoji="0" lang="en-GB" sz="1400" b="0" i="0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70890EE3-F1BA-0E31-6F24-0B3454ACF66F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942975" y="3671888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286D4F68-5D0D-495D-93F3-671765CD00FF}" type="datetime'''''''''''''''''''''''''''''''''''''''''''1''''35'''">
              <a:rPr kumimoji="0" lang="en-GB" sz="14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135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7" name="Text Placeholder 4">
            <a:extLst>
              <a:ext uri="{FF2B5EF4-FFF2-40B4-BE49-F238E27FC236}">
                <a16:creationId xmlns:a16="http://schemas.microsoft.com/office/drawing/2014/main" id="{38BADAE8-C64F-F95D-1D0F-E3CBB95363BF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065338" y="3651250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1CB6A26A-DE59-4AAE-8599-5BBAE122341E}" type="datetime'''''''''''''1''''''''''''3''''6'''''''''''''''''''''''''''">
              <a:rPr kumimoji="0" lang="en-GB" sz="14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136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8" name="Text Placeholder 4">
            <a:extLst>
              <a:ext uri="{FF2B5EF4-FFF2-40B4-BE49-F238E27FC236}">
                <a16:creationId xmlns:a16="http://schemas.microsoft.com/office/drawing/2014/main" id="{EB4AB34D-B871-005E-3935-6DDE728718E0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3189288" y="3400425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827730AB-8EE9-48DD-8658-9466B20D8828}" type="datetime'''''''''''''''''''''''''''''''''''''''''''''''1''''''53'''''''">
              <a:rPr kumimoji="0" lang="en-GB" sz="14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153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1" name="Text Placeholder 4">
            <a:extLst>
              <a:ext uri="{FF2B5EF4-FFF2-40B4-BE49-F238E27FC236}">
                <a16:creationId xmlns:a16="http://schemas.microsoft.com/office/drawing/2014/main" id="{1947164E-1EE2-483A-B5FE-2881B4A9CA67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4313238" y="3325813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5F8FA376-145A-4713-A010-ECF5BD2AADAF}" type="datetime'''''''''''''''''''''''''1''''''''''''''''''''''''58'''''''''''">
              <a:rPr kumimoji="0" lang="en-GB" sz="14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158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3" name="Text Placeholder 4">
            <a:extLst>
              <a:ext uri="{FF2B5EF4-FFF2-40B4-BE49-F238E27FC236}">
                <a16:creationId xmlns:a16="http://schemas.microsoft.com/office/drawing/2014/main" id="{5F12A86C-8A2D-34F5-EAAD-1AE4DCCA0D4F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6559550" y="3216275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C5A06E95-1B17-477E-AA3A-19703BF629E7}" type="datetime'''''''1''''''''''''''''6''''''''5'''''''''''''">
              <a:rPr kumimoji="0" lang="en-GB" sz="14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165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2A29BB2-41A7-B116-C661-F016F246005B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3314700" y="2922588"/>
            <a:ext cx="1219200" cy="301625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63BE683-2E10-4D57-BCCB-5105622789EA}" type="datetime'''''''+''2''''''''''''''''''''''''.''''''''''5''''%'''''''">
              <a:rPr lang="en-US" altLang="en-US" sz="1400" b="1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+2.5%</a:t>
            </a:fld>
            <a:r>
              <a:rPr lang="en-US" sz="1400" b="1">
                <a:cs typeface="+mn-cs"/>
              </a:rPr>
              <a:t> p.a.</a:t>
            </a:r>
            <a:endParaRPr lang="en-US" sz="1400" b="1" dirty="0">
              <a:cs typeface="+mn-cs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7CB140D2-59FB-F9B2-6EC4-D5EB148C1B80}"/>
              </a:ext>
            </a:extLst>
          </p:cNvPr>
          <p:cNvSpPr/>
          <p:nvPr/>
        </p:nvSpPr>
        <p:spPr>
          <a:xfrm>
            <a:off x="6366668" y="2196890"/>
            <a:ext cx="731838" cy="359228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11.8%</a:t>
            </a: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AA0D30B2-B4D8-6817-3BD0-523F15F3CE3F}"/>
              </a:ext>
            </a:extLst>
          </p:cNvPr>
          <p:cNvSpPr/>
          <p:nvPr/>
        </p:nvSpPr>
        <p:spPr>
          <a:xfrm>
            <a:off x="748246" y="2196890"/>
            <a:ext cx="731838" cy="359228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11.0%</a:t>
            </a: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38CD16D6-A306-79FC-C49D-64B20D8192D9}"/>
              </a:ext>
            </a:extLst>
          </p:cNvPr>
          <p:cNvSpPr/>
          <p:nvPr/>
        </p:nvSpPr>
        <p:spPr>
          <a:xfrm>
            <a:off x="1872456" y="2196890"/>
            <a:ext cx="731838" cy="359228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10.5%</a:t>
            </a: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9A4ED217-7463-0C30-69D0-7187606755B8}"/>
              </a:ext>
            </a:extLst>
          </p:cNvPr>
          <p:cNvSpPr/>
          <p:nvPr/>
        </p:nvSpPr>
        <p:spPr>
          <a:xfrm>
            <a:off x="2996406" y="2196890"/>
            <a:ext cx="731838" cy="359228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11.1%</a:t>
            </a: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F3B0C478-B3D5-B2DD-70CC-DA4B9DFF0DCA}"/>
              </a:ext>
            </a:extLst>
          </p:cNvPr>
          <p:cNvSpPr/>
          <p:nvPr/>
        </p:nvSpPr>
        <p:spPr>
          <a:xfrm>
            <a:off x="4120356" y="2196890"/>
            <a:ext cx="731838" cy="359228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11.2%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7E97FC8-B2F6-6C5C-9F83-FC68C03BC701}"/>
              </a:ext>
            </a:extLst>
          </p:cNvPr>
          <p:cNvGrpSpPr/>
          <p:nvPr/>
        </p:nvGrpSpPr>
        <p:grpSpPr>
          <a:xfrm>
            <a:off x="7730926" y="1198200"/>
            <a:ext cx="3906338" cy="246221"/>
            <a:chOff x="8051492" y="1198200"/>
            <a:chExt cx="3906338" cy="246221"/>
          </a:xfrm>
        </p:grpSpPr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F40F256C-F1B2-0123-2687-BAB673E3566E}"/>
                </a:ext>
              </a:extLst>
            </p:cNvPr>
            <p:cNvSpPr/>
            <p:nvPr/>
          </p:nvSpPr>
          <p:spPr>
            <a:xfrm>
              <a:off x="8051492" y="1198200"/>
              <a:ext cx="433091" cy="246221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xx%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65F6CACF-B24F-FAD1-55CB-8F7EC4582E66}"/>
                </a:ext>
              </a:extLst>
            </p:cNvPr>
            <p:cNvSpPr txBox="1"/>
            <p:nvPr/>
          </p:nvSpPr>
          <p:spPr>
            <a:xfrm>
              <a:off x="8575494" y="1228977"/>
              <a:ext cx="3382336" cy="184666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/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91987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hare of business and first class seats out of total</a:t>
              </a:r>
            </a:p>
          </p:txBody>
        </p:sp>
      </p:grpSp>
      <p:sp>
        <p:nvSpPr>
          <p:cNvPr id="130" name="5. Source">
            <a:extLst>
              <a:ext uri="{FF2B5EF4-FFF2-40B4-BE49-F238E27FC236}">
                <a16:creationId xmlns:a16="http://schemas.microsoft.com/office/drawing/2014/main" id="{0C52055F-5A67-436D-3998-28C1A3142BEB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Source: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Dii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 Mi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21D747B-E337-5EDB-34D0-3800AC0BB0A2}"/>
              </a:ext>
            </a:extLst>
          </p:cNvPr>
          <p:cNvSpPr txBox="1">
            <a:spLocks/>
          </p:cNvSpPr>
          <p:nvPr/>
        </p:nvSpPr>
        <p:spPr>
          <a:xfrm>
            <a:off x="554736" y="1713331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91987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noProof="0" dirty="0"/>
              <a:t>Available first and business class seats, </a:t>
            </a:r>
            <a:r>
              <a:rPr lang="en-US" sz="1400" noProof="0" dirty="0"/>
              <a:t>from Europe, </a:t>
            </a:r>
            <a:r>
              <a:rPr lang="en-US" sz="1400" noProof="0" dirty="0" err="1"/>
              <a:t>mn</a:t>
            </a:r>
            <a:endParaRPr lang="en-US" sz="1400" noProof="0" dirty="0"/>
          </a:p>
        </p:txBody>
      </p:sp>
      <p:cxnSp>
        <p:nvCxnSpPr>
          <p:cNvPr id="4" name="LineSeparatorDefault 33">
            <a:extLst>
              <a:ext uri="{FF2B5EF4-FFF2-40B4-BE49-F238E27FC236}">
                <a16:creationId xmlns:a16="http://schemas.microsoft.com/office/drawing/2014/main" id="{9FC27296-DF0F-524B-5538-DFD7A408D0BF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>
          <a:xfrm>
            <a:off x="562768" y="2026095"/>
            <a:ext cx="7269828" cy="0"/>
          </a:xfrm>
          <a:prstGeom prst="straightConnector1">
            <a:avLst/>
          </a:prstGeom>
          <a:ln w="1270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6260745A-A08E-B403-B229-5460C6AF78FD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8206296" y="2241230"/>
            <a:ext cx="2633969" cy="1498853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299E816E-2D59-FE40-1AB2-EE7341E17DB6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8769811" y="3037963"/>
            <a:ext cx="2633969" cy="1498853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5B97443F-E04B-1BA2-D76F-37442D40D917}"/>
              </a:ext>
            </a:extLst>
          </p:cNvPr>
          <p:cNvPicPr>
            <a:picLocks noChangeAspect="1"/>
          </p:cNvPicPr>
          <p:nvPr/>
        </p:nvPicPr>
        <p:blipFill>
          <a:blip r:embed="rId29"/>
          <a:srcRect/>
          <a:stretch/>
        </p:blipFill>
        <p:spPr>
          <a:xfrm>
            <a:off x="9402763" y="4062004"/>
            <a:ext cx="2633969" cy="1498853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169490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0C7EA866-41D9-4F10-B625-652306C2A3E7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4709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04" imgH="405" progId="TCLayout.ActiveDocument.1">
                  <p:embed/>
                </p:oleObj>
              </mc:Choice>
              <mc:Fallback>
                <p:oleObj name="think-cell Slide" r:id="rId25" imgW="404" imgH="405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0C7EA866-41D9-4F10-B625-652306C2A3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" name="2. Slide Title">
            <a:extLst>
              <a:ext uri="{FF2B5EF4-FFF2-40B4-BE49-F238E27FC236}">
                <a16:creationId xmlns:a16="http://schemas.microsoft.com/office/drawing/2014/main" id="{A763436D-F7E1-48A6-B9E1-A76C9C335E7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rIns="0" anchor="b" anchorCtr="0">
            <a:noAutofit/>
          </a:bodyPr>
          <a:lstStyle/>
          <a:p>
            <a:r>
              <a:rPr lang="en-GB" noProof="0"/>
              <a:t>B1 | Post-COVID consumer behaviour shifts driving declines in non-aeronautical revenues</a:t>
            </a:r>
          </a:p>
        </p:txBody>
      </p:sp>
      <p:sp>
        <p:nvSpPr>
          <p:cNvPr id="45" name="AutoShape 250">
            <a:extLst>
              <a:ext uri="{FF2B5EF4-FFF2-40B4-BE49-F238E27FC236}">
                <a16:creationId xmlns:a16="http://schemas.microsoft.com/office/drawing/2014/main" id="{285C5FDB-AAE5-412C-907A-CD55EC689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1974" y="1912511"/>
            <a:ext cx="5756530" cy="2462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 dirty="0"/>
              <a:t>Average s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pend per passenger, </a:t>
            </a:r>
            <a:r>
              <a:rPr kumimoji="0" lang="en-GB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USD, Global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2" name="Slide Number">
            <a:extLst>
              <a:ext uri="{FF2B5EF4-FFF2-40B4-BE49-F238E27FC236}">
                <a16:creationId xmlns:a16="http://schemas.microsoft.com/office/drawing/2014/main" id="{7A51E6C4-F9BD-D1FC-FCE5-9C71B14C1CBD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fld id="{4ABDCABE-3F10-B64C-92F1-86201441703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t>13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8E8F03F4-D420-E174-5993-8B9565797E94}"/>
              </a:ext>
            </a:extLst>
          </p:cNvPr>
          <p:cNvCxnSpPr>
            <a:cxnSpLocks/>
          </p:cNvCxnSpPr>
          <p:nvPr/>
        </p:nvCxnSpPr>
        <p:spPr>
          <a:xfrm>
            <a:off x="554736" y="2249557"/>
            <a:ext cx="6438202" cy="0"/>
          </a:xfrm>
          <a:prstGeom prst="straightConnector1">
            <a:avLst/>
          </a:prstGeom>
          <a:ln w="12700" cap="flat">
            <a:solidFill>
              <a:srgbClr val="75757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: Top Corners Rounded 6">
            <a:extLst>
              <a:ext uri="{FF2B5EF4-FFF2-40B4-BE49-F238E27FC236}">
                <a16:creationId xmlns:a16="http://schemas.microsoft.com/office/drawing/2014/main" id="{D2659523-23C2-3E3A-C272-6EE44694F408}"/>
              </a:ext>
            </a:extLst>
          </p:cNvPr>
          <p:cNvSpPr/>
          <p:nvPr/>
        </p:nvSpPr>
        <p:spPr>
          <a:xfrm rot="16200000">
            <a:off x="7812628" y="1830928"/>
            <a:ext cx="4503736" cy="4255008"/>
          </a:xfrm>
          <a:prstGeom prst="round2SameRect">
            <a:avLst/>
          </a:prstGeom>
          <a:solidFill>
            <a:schemeClr val="bg1">
              <a:lumMod val="90000"/>
              <a:lumOff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73" name="Slide Number">
            <a:extLst>
              <a:ext uri="{FF2B5EF4-FFF2-40B4-BE49-F238E27FC236}">
                <a16:creationId xmlns:a16="http://schemas.microsoft.com/office/drawing/2014/main" id="{188B8FD6-CB0A-0AA8-481C-19C6AEE3FCED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fld id="{4ABDCABE-3F10-B64C-92F1-86201441703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t>13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38C3BDC1-F2D6-3B1D-20EF-96AF0EE9C3C8}"/>
              </a:ext>
            </a:extLst>
          </p:cNvPr>
          <p:cNvGrpSpPr/>
          <p:nvPr/>
        </p:nvGrpSpPr>
        <p:grpSpPr>
          <a:xfrm>
            <a:off x="8318654" y="2133143"/>
            <a:ext cx="3317023" cy="3820996"/>
            <a:chOff x="9271246" y="1738343"/>
            <a:chExt cx="2364432" cy="3820996"/>
          </a:xfrm>
        </p:grpSpPr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1CACB148-76BD-2504-F334-5D305E70B2E2}"/>
                </a:ext>
              </a:extLst>
            </p:cNvPr>
            <p:cNvSpPr txBox="1">
              <a:spLocks/>
            </p:cNvSpPr>
            <p:nvPr/>
          </p:nvSpPr>
          <p:spPr>
            <a:xfrm>
              <a:off x="9297512" y="1738343"/>
              <a:ext cx="2338166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r>
                <a:rPr lang="en-GB" b="1" noProof="0">
                  <a:cs typeface="+mn-cs"/>
                </a:rPr>
                <a:t>Key drivers of trends</a:t>
              </a:r>
              <a:endParaRPr lang="en-GB" noProof="0">
                <a:cs typeface="+mn-cs"/>
              </a:endParaRP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C70B1E02-86B6-4EB0-29B7-BEBDE4C734BA}"/>
                </a:ext>
              </a:extLst>
            </p:cNvPr>
            <p:cNvCxnSpPr>
              <a:cxnSpLocks/>
            </p:cNvCxnSpPr>
            <p:nvPr/>
          </p:nvCxnSpPr>
          <p:spPr>
            <a:xfrm>
              <a:off x="9297512" y="2042822"/>
              <a:ext cx="2338166" cy="0"/>
            </a:xfrm>
            <a:prstGeom prst="line">
              <a:avLst/>
            </a:prstGeom>
            <a:ln w="1270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B2ED58D7-CBE4-B74E-7D54-1B341629CFF4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>
            <a:xfrm>
              <a:off x="9271246" y="2425148"/>
              <a:ext cx="2338166" cy="313419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6pPr>
              <a:lvl7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7pPr>
              <a:lvl8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8pPr>
              <a:lvl9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9pPr>
            </a:lstStyle>
            <a:p>
              <a:pPr lvl="1">
                <a:spcBef>
                  <a:spcPts val="1000"/>
                </a:spcBef>
              </a:pPr>
              <a:r>
                <a:rPr lang="en-US" sz="1400" b="1">
                  <a:cs typeface="+mn-cs"/>
                </a:rPr>
                <a:t>Cost of living:</a:t>
              </a:r>
              <a:r>
                <a:rPr lang="en-US" sz="1400">
                  <a:cs typeface="+mn-cs"/>
                </a:rPr>
                <a:t> expendable income is lower across the board and prices have gone up</a:t>
              </a:r>
            </a:p>
            <a:p>
              <a:pPr lvl="1">
                <a:spcBef>
                  <a:spcPts val="1000"/>
                </a:spcBef>
              </a:pPr>
              <a:r>
                <a:rPr lang="en-US" sz="1400" b="1">
                  <a:cs typeface="+mn-cs"/>
                </a:rPr>
                <a:t>Shift to digital consumption: </a:t>
              </a:r>
              <a:r>
                <a:rPr lang="en-US" sz="1400">
                  <a:cs typeface="+mn-cs"/>
                </a:rPr>
                <a:t>growth in e-commerce and younger passengers expecting omnichannel experiences</a:t>
              </a:r>
            </a:p>
            <a:p>
              <a:pPr lvl="1">
                <a:spcBef>
                  <a:spcPts val="1000"/>
                </a:spcBef>
              </a:pPr>
              <a:r>
                <a:rPr lang="en-US" sz="1400" b="1">
                  <a:cs typeface="+mn-cs"/>
                </a:rPr>
                <a:t>Reduced dwell-time:</a:t>
              </a:r>
              <a:r>
                <a:rPr lang="en-US" sz="1400" b="1"/>
                <a:t> </a:t>
              </a:r>
              <a:r>
                <a:rPr lang="en-US" sz="1400">
                  <a:cs typeface="+mn-cs"/>
                </a:rPr>
                <a:t>partly driven by better information (apps) and by improved process times</a:t>
              </a:r>
            </a:p>
          </p:txBody>
        </p:sp>
      </p:grpSp>
      <p:sp>
        <p:nvSpPr>
          <p:cNvPr id="83" name="5. Source">
            <a:extLst>
              <a:ext uri="{FF2B5EF4-FFF2-40B4-BE49-F238E27FC236}">
                <a16:creationId xmlns:a16="http://schemas.microsoft.com/office/drawing/2014/main" id="{D4397B87-A83D-3A48-9DC1-83B0AA5CEFD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Generation research, ACI</a:t>
            </a:r>
          </a:p>
        </p:txBody>
      </p:sp>
      <p:graphicFrame>
        <p:nvGraphicFramePr>
          <p:cNvPr id="51" name="Chart 50">
            <a:extLst>
              <a:ext uri="{FF2B5EF4-FFF2-40B4-BE49-F238E27FC236}">
                <a16:creationId xmlns:a16="http://schemas.microsoft.com/office/drawing/2014/main" id="{1D40BCB8-C885-1F82-B705-CA43069C4B46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56653356"/>
              </p:ext>
            </p:extLst>
          </p:nvPr>
        </p:nvGraphicFramePr>
        <p:xfrm>
          <a:off x="479425" y="2452688"/>
          <a:ext cx="6513513" cy="3440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02FAF444-C8B3-4D41-9646-0B27B26BA7E2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2784475" y="2576513"/>
            <a:ext cx="0" cy="62071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E9FEADEF-4506-1D43-139B-7CE144257EFE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2784475" y="2576513"/>
            <a:ext cx="3808413" cy="0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327FA1DF-7B50-DB6D-7D6F-CD13B3C044D3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6592888" y="2576513"/>
            <a:ext cx="0" cy="100171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7" name="Text Placeholder 2">
            <a:extLst>
              <a:ext uri="{FF2B5EF4-FFF2-40B4-BE49-F238E27FC236}">
                <a16:creationId xmlns:a16="http://schemas.microsoft.com/office/drawing/2014/main" id="{83203D88-319F-3258-0AFE-0185757CB9F7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676275" y="56451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A082D6C-ADA4-41BD-AC6F-99A9BF7CD686}" type="datetime'''''''''2''''0''1''''''''''''''''''''''''6'''''''">
              <a:rPr lang="en-US" altLang="en-US" sz="140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US" sz="1400" dirty="0">
              <a:cs typeface="+mn-cs"/>
            </a:endParaRPr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0A7DC712-010B-E0B8-6905-183C325D1F3A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1409700" y="5645150"/>
            <a:ext cx="209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1B2CF76-1D6E-4350-B596-BED33E320975}" type="datetime'''''''''''''''''''''1''''''''''''''''''''''7'">
              <a:rPr lang="en-US" altLang="en-US" sz="140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US" sz="1400" dirty="0">
              <a:cs typeface="+mn-cs"/>
            </a:endParaRPr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8971909B-32D3-C360-55AA-7206BCCE0AA7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2044700" y="5645150"/>
            <a:ext cx="209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18AEAB3-4A93-4DB9-8B16-28949EE08A50}" type="datetime'''1''''''''''''''8'">
              <a:rPr lang="en-US" altLang="en-US" sz="140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en-US" sz="1400" dirty="0">
              <a:cs typeface="+mn-cs"/>
            </a:endParaRPr>
          </a:p>
        </p:txBody>
      </p:sp>
      <p:sp>
        <p:nvSpPr>
          <p:cNvPr id="164" name="Text Placeholder 2">
            <a:extLst>
              <a:ext uri="{FF2B5EF4-FFF2-40B4-BE49-F238E27FC236}">
                <a16:creationId xmlns:a16="http://schemas.microsoft.com/office/drawing/2014/main" id="{3BB527CC-B2C1-5D5D-7321-E441D43626E2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2679700" y="5645150"/>
            <a:ext cx="209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180AF8A-4913-46E4-BEC8-D960D83FD9BE}" type="datetime'''''1''''''9'''''''''''''''''''''''">
              <a:rPr lang="en-US" altLang="en-US" sz="140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en-US" sz="1400" dirty="0">
              <a:cs typeface="+mn-cs"/>
            </a:endParaRPr>
          </a:p>
        </p:txBody>
      </p:sp>
      <p:sp>
        <p:nvSpPr>
          <p:cNvPr id="159" name="Text Placeholder 2">
            <a:extLst>
              <a:ext uri="{FF2B5EF4-FFF2-40B4-BE49-F238E27FC236}">
                <a16:creationId xmlns:a16="http://schemas.microsoft.com/office/drawing/2014/main" id="{38522C59-854A-C2EE-0C5E-C4FFD7B6D0AF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3314700" y="5645150"/>
            <a:ext cx="209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1C34D61-BCC9-40B8-ABCB-328C62953DD7}" type="datetime'''''2''''''''0'''''">
              <a:rPr lang="en-US" altLang="en-US" sz="140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sz="1400" dirty="0">
              <a:cs typeface="+mn-cs"/>
            </a:endParaRPr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B6E7E51E-DFB6-9B7A-F7DA-D72361AE0C95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3948113" y="5645150"/>
            <a:ext cx="209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EC8097E-6194-449A-99C1-7E5138FE7B6B}" type="datetime'''''''''''''''''''''2''''''''''''''''''''''''''''''''''1'">
              <a:rPr lang="en-US" altLang="en-US" sz="140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en-US" sz="1400" dirty="0">
              <a:cs typeface="+mn-cs"/>
            </a:endParaRPr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B903542E-52A2-1137-09A3-BFBDCF716E94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4583113" y="5645150"/>
            <a:ext cx="209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5EF0D5C-468F-4892-B04E-FD3DF5BE2ED5}" type="datetime'''''''''''''''''''''''''''2''''''''''''''''2'''''">
              <a:rPr lang="en-US" altLang="en-US" sz="140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en-US" sz="1400" dirty="0">
              <a:cs typeface="+mn-cs"/>
            </a:endParaRPr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D23AF8E2-49C5-8FF0-321F-5EFE354AFEB4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5218113" y="5645150"/>
            <a:ext cx="209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1C09A7D-A946-4E14-8880-AAF4BBA0CB67}" type="datetime'''''''''''''''''''''''''''''2''''3'''''''''''''''">
              <a:rPr lang="en-US" altLang="en-US" sz="140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en-US" sz="1400" dirty="0">
              <a:cs typeface="+mn-cs"/>
            </a:endParaRPr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23E5D3FE-786B-BA47-949E-09BACF6586EE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5853113" y="5645150"/>
            <a:ext cx="209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374FDA2-98B2-4029-8936-66A441781B8F}" type="datetime'''''''2''4'''''''''''''''''''''''">
              <a:rPr lang="en-US" altLang="en-US" sz="140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en-US" sz="1400" dirty="0">
              <a:cs typeface="+mn-c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1613DA3-7D90-992B-865C-85A66759F625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6389688" y="56451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EAE963D-CC17-4816-8DE5-1832F2C72BA0}" type="datetime'2''''''''''''0''''''''2''''''''''''5'''''''''''''''''">
              <a:rPr lang="en-US" altLang="en-US" sz="140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en-US" sz="1400" dirty="0">
              <a:cs typeface="+mn-cs"/>
            </a:endParaRPr>
          </a:p>
        </p:txBody>
      </p:sp>
      <p:sp>
        <p:nvSpPr>
          <p:cNvPr id="168" name="Text Placeholder 2">
            <a:extLst>
              <a:ext uri="{FF2B5EF4-FFF2-40B4-BE49-F238E27FC236}">
                <a16:creationId xmlns:a16="http://schemas.microsoft.com/office/drawing/2014/main" id="{029AB8B5-6609-B9FD-52DA-607849BAC127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4394200" y="2425700"/>
            <a:ext cx="587375" cy="301625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E8E5BAC-7213-473C-B8D8-8DF596F7BAD2}" type="datetime'''''''-''''''''1''''''''8''''''''''''''''''%'''''">
              <a:rPr lang="en-US" altLang="en-US" sz="1400" b="1" smtClean="0">
                <a:effectLst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18%</a:t>
            </a:fld>
            <a:endParaRPr lang="en-US" sz="1400" b="1" dirty="0"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09815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007EAE-ED39-803E-B5D8-5CF33A1E24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A7FC7AFB-1A71-25B3-9D8D-57E881F67EF4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6677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70" imgH="371" progId="TCLayout.ActiveDocument.1">
                  <p:embed/>
                </p:oleObj>
              </mc:Choice>
              <mc:Fallback>
                <p:oleObj name="think-cell Slide" r:id="rId11" imgW="370" imgH="37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A7FC7AFB-1A71-25B3-9D8D-57E881F67E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351D66C1-382A-9D1C-7CE5-89E4EF25F629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 amt="72000"/>
          </a:blip>
          <a:stretch>
            <a:fillRect/>
          </a:stretch>
        </p:blipFill>
        <p:spPr>
          <a:xfrm>
            <a:off x="8319738" y="-17421"/>
            <a:ext cx="3678519" cy="2789399"/>
          </a:xfrm>
          <a:prstGeom prst="rect">
            <a:avLst/>
          </a:prstGeom>
        </p:spPr>
      </p:pic>
      <p:sp>
        <p:nvSpPr>
          <p:cNvPr id="2" name="2. Slide Title">
            <a:extLst>
              <a:ext uri="{FF2B5EF4-FFF2-40B4-BE49-F238E27FC236}">
                <a16:creationId xmlns:a16="http://schemas.microsoft.com/office/drawing/2014/main" id="{D4383C85-6287-1F55-3D05-EB2B255485A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56102"/>
            <a:ext cx="11082528" cy="35779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>
            <a:spAutoFit/>
          </a:bodyPr>
          <a:lstStyle/>
          <a:p>
            <a:r>
              <a:rPr lang="en-GB" noProof="0" dirty="0"/>
              <a:t>B3 | Automation and digitization opportunity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FC2A7CA-531A-9269-DD2A-E3870B49BF29}"/>
              </a:ext>
            </a:extLst>
          </p:cNvPr>
          <p:cNvSpPr>
            <a:spLocks/>
          </p:cNvSpPr>
          <p:nvPr/>
        </p:nvSpPr>
        <p:spPr>
          <a:xfrm>
            <a:off x="554736" y="2096781"/>
            <a:ext cx="2095216" cy="4113519"/>
          </a:xfrm>
          <a:prstGeom prst="roundRect">
            <a:avLst>
              <a:gd name="adj" fmla="val 9191"/>
            </a:avLst>
          </a:prstGeom>
          <a:solidFill>
            <a:schemeClr val="bg1">
              <a:lumMod val="90000"/>
              <a:lumOff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CAD3E807-5CB3-DF74-54F8-2C3930B0E412}"/>
              </a:ext>
            </a:extLst>
          </p:cNvPr>
          <p:cNvSpPr/>
          <p:nvPr/>
        </p:nvSpPr>
        <p:spPr>
          <a:xfrm>
            <a:off x="2801564" y="2096781"/>
            <a:ext cx="2095216" cy="4113519"/>
          </a:xfrm>
          <a:prstGeom prst="roundRect">
            <a:avLst>
              <a:gd name="adj" fmla="val 9191"/>
            </a:avLst>
          </a:prstGeom>
          <a:solidFill>
            <a:schemeClr val="bg1">
              <a:lumMod val="90000"/>
              <a:lumOff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85DBA32A-A4E1-BA75-11E0-CC47CFB6BF84}"/>
              </a:ext>
            </a:extLst>
          </p:cNvPr>
          <p:cNvSpPr/>
          <p:nvPr/>
        </p:nvSpPr>
        <p:spPr>
          <a:xfrm>
            <a:off x="5048392" y="2096781"/>
            <a:ext cx="2095216" cy="4113519"/>
          </a:xfrm>
          <a:prstGeom prst="roundRect">
            <a:avLst>
              <a:gd name="adj" fmla="val 9191"/>
            </a:avLst>
          </a:prstGeom>
          <a:solidFill>
            <a:schemeClr val="bg1">
              <a:lumMod val="90000"/>
              <a:lumOff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C498958E-9F8F-1974-6185-DFCC7A37A483}"/>
              </a:ext>
            </a:extLst>
          </p:cNvPr>
          <p:cNvSpPr/>
          <p:nvPr/>
        </p:nvSpPr>
        <p:spPr>
          <a:xfrm>
            <a:off x="7295220" y="2096781"/>
            <a:ext cx="2095216" cy="4113519"/>
          </a:xfrm>
          <a:prstGeom prst="roundRect">
            <a:avLst>
              <a:gd name="adj" fmla="val 9191"/>
            </a:avLst>
          </a:prstGeom>
          <a:solidFill>
            <a:schemeClr val="bg1">
              <a:lumMod val="90000"/>
              <a:lumOff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57F5036-4325-7D8E-1611-151A55DED716}"/>
              </a:ext>
            </a:extLst>
          </p:cNvPr>
          <p:cNvSpPr/>
          <p:nvPr/>
        </p:nvSpPr>
        <p:spPr>
          <a:xfrm>
            <a:off x="9542048" y="2096781"/>
            <a:ext cx="2095216" cy="4113519"/>
          </a:xfrm>
          <a:prstGeom prst="roundRect">
            <a:avLst>
              <a:gd name="adj" fmla="val 9191"/>
            </a:avLst>
          </a:prstGeom>
          <a:solidFill>
            <a:schemeClr val="bg1">
              <a:lumMod val="90000"/>
              <a:lumOff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F4A1E68-0524-10BC-C847-6B24FAA379AD}"/>
              </a:ext>
            </a:extLst>
          </p:cNvPr>
          <p:cNvGrpSpPr/>
          <p:nvPr/>
        </p:nvGrpSpPr>
        <p:grpSpPr>
          <a:xfrm>
            <a:off x="1071354" y="2291552"/>
            <a:ext cx="1061980" cy="677184"/>
            <a:chOff x="5452589" y="4273352"/>
            <a:chExt cx="1784928" cy="1138156"/>
          </a:xfrm>
        </p:grpSpPr>
        <p:sp>
          <p:nvSpPr>
            <p:cNvPr id="19" name="Freeform 952">
              <a:extLst>
                <a:ext uri="{FF2B5EF4-FFF2-40B4-BE49-F238E27FC236}">
                  <a16:creationId xmlns:a16="http://schemas.microsoft.com/office/drawing/2014/main" id="{CFEA86E0-4322-E0FD-04EE-9D464CF668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3089" y="4962501"/>
              <a:ext cx="301692" cy="104936"/>
            </a:xfrm>
            <a:custGeom>
              <a:avLst/>
              <a:gdLst>
                <a:gd name="T0" fmla="*/ 865 w 891"/>
                <a:gd name="T1" fmla="*/ 167 h 309"/>
                <a:gd name="T2" fmla="*/ 681 w 891"/>
                <a:gd name="T3" fmla="*/ 0 h 309"/>
                <a:gd name="T4" fmla="*/ 599 w 891"/>
                <a:gd name="T5" fmla="*/ 2 h 309"/>
                <a:gd name="T6" fmla="*/ 224 w 891"/>
                <a:gd name="T7" fmla="*/ 31 h 309"/>
                <a:gd name="T8" fmla="*/ 15 w 891"/>
                <a:gd name="T9" fmla="*/ 92 h 309"/>
                <a:gd name="T10" fmla="*/ 7 w 891"/>
                <a:gd name="T11" fmla="*/ 199 h 309"/>
                <a:gd name="T12" fmla="*/ 15 w 891"/>
                <a:gd name="T13" fmla="*/ 309 h 309"/>
                <a:gd name="T14" fmla="*/ 185 w 891"/>
                <a:gd name="T15" fmla="*/ 309 h 309"/>
                <a:gd name="T16" fmla="*/ 189 w 891"/>
                <a:gd name="T17" fmla="*/ 236 h 309"/>
                <a:gd name="T18" fmla="*/ 573 w 891"/>
                <a:gd name="T19" fmla="*/ 271 h 309"/>
                <a:gd name="T20" fmla="*/ 867 w 891"/>
                <a:gd name="T21" fmla="*/ 245 h 309"/>
                <a:gd name="T22" fmla="*/ 865 w 891"/>
                <a:gd name="T23" fmla="*/ 16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91" h="309">
                  <a:moveTo>
                    <a:pt x="865" y="167"/>
                  </a:moveTo>
                  <a:lnTo>
                    <a:pt x="681" y="0"/>
                  </a:lnTo>
                  <a:lnTo>
                    <a:pt x="599" y="2"/>
                  </a:lnTo>
                  <a:cubicBezTo>
                    <a:pt x="599" y="2"/>
                    <a:pt x="333" y="11"/>
                    <a:pt x="224" y="31"/>
                  </a:cubicBezTo>
                  <a:cubicBezTo>
                    <a:pt x="114" y="51"/>
                    <a:pt x="15" y="92"/>
                    <a:pt x="15" y="92"/>
                  </a:cubicBezTo>
                  <a:cubicBezTo>
                    <a:pt x="15" y="92"/>
                    <a:pt x="0" y="154"/>
                    <a:pt x="7" y="199"/>
                  </a:cubicBezTo>
                  <a:cubicBezTo>
                    <a:pt x="9" y="212"/>
                    <a:pt x="12" y="254"/>
                    <a:pt x="15" y="309"/>
                  </a:cubicBezTo>
                  <a:lnTo>
                    <a:pt x="185" y="309"/>
                  </a:lnTo>
                  <a:cubicBezTo>
                    <a:pt x="173" y="268"/>
                    <a:pt x="168" y="236"/>
                    <a:pt x="189" y="236"/>
                  </a:cubicBezTo>
                  <a:cubicBezTo>
                    <a:pt x="213" y="236"/>
                    <a:pt x="532" y="269"/>
                    <a:pt x="573" y="271"/>
                  </a:cubicBezTo>
                  <a:cubicBezTo>
                    <a:pt x="615" y="272"/>
                    <a:pt x="843" y="282"/>
                    <a:pt x="867" y="245"/>
                  </a:cubicBezTo>
                  <a:cubicBezTo>
                    <a:pt x="891" y="209"/>
                    <a:pt x="865" y="167"/>
                    <a:pt x="865" y="167"/>
                  </a:cubicBez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 953">
              <a:extLst>
                <a:ext uri="{FF2B5EF4-FFF2-40B4-BE49-F238E27FC236}">
                  <a16:creationId xmlns:a16="http://schemas.microsoft.com/office/drawing/2014/main" id="{8F28DEEA-3AF9-8540-5D6B-7CD4D1AFE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4458" y="5017997"/>
              <a:ext cx="35315" cy="49441"/>
            </a:xfrm>
            <a:custGeom>
              <a:avLst/>
              <a:gdLst>
                <a:gd name="T0" fmla="*/ 92 w 103"/>
                <a:gd name="T1" fmla="*/ 106 h 144"/>
                <a:gd name="T2" fmla="*/ 97 w 103"/>
                <a:gd name="T3" fmla="*/ 49 h 144"/>
                <a:gd name="T4" fmla="*/ 5 w 103"/>
                <a:gd name="T5" fmla="*/ 0 h 144"/>
                <a:gd name="T6" fmla="*/ 0 w 103"/>
                <a:gd name="T7" fmla="*/ 144 h 144"/>
                <a:gd name="T8" fmla="*/ 103 w 103"/>
                <a:gd name="T9" fmla="*/ 144 h 144"/>
                <a:gd name="T10" fmla="*/ 92 w 103"/>
                <a:gd name="T11" fmla="*/ 10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3" h="144">
                  <a:moveTo>
                    <a:pt x="92" y="106"/>
                  </a:moveTo>
                  <a:cubicBezTo>
                    <a:pt x="85" y="85"/>
                    <a:pt x="97" y="49"/>
                    <a:pt x="97" y="49"/>
                  </a:cubicBezTo>
                  <a:lnTo>
                    <a:pt x="5" y="0"/>
                  </a:lnTo>
                  <a:lnTo>
                    <a:pt x="0" y="144"/>
                  </a:lnTo>
                  <a:lnTo>
                    <a:pt x="103" y="144"/>
                  </a:lnTo>
                  <a:cubicBezTo>
                    <a:pt x="100" y="128"/>
                    <a:pt x="95" y="114"/>
                    <a:pt x="92" y="106"/>
                  </a:cubicBezTo>
                  <a:close/>
                </a:path>
              </a:pathLst>
            </a:custGeom>
            <a:solidFill>
              <a:srgbClr val="163D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 954">
              <a:extLst>
                <a:ext uri="{FF2B5EF4-FFF2-40B4-BE49-F238E27FC236}">
                  <a16:creationId xmlns:a16="http://schemas.microsoft.com/office/drawing/2014/main" id="{DE579302-32C6-F089-B3F7-2F2C9C678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368" y="4968555"/>
              <a:ext cx="270413" cy="98882"/>
            </a:xfrm>
            <a:custGeom>
              <a:avLst/>
              <a:gdLst>
                <a:gd name="T0" fmla="*/ 772 w 798"/>
                <a:gd name="T1" fmla="*/ 151 h 293"/>
                <a:gd name="T2" fmla="*/ 706 w 798"/>
                <a:gd name="T3" fmla="*/ 91 h 293"/>
                <a:gd name="T4" fmla="*/ 509 w 798"/>
                <a:gd name="T5" fmla="*/ 0 h 293"/>
                <a:gd name="T6" fmla="*/ 644 w 798"/>
                <a:gd name="T7" fmla="*/ 204 h 293"/>
                <a:gd name="T8" fmla="*/ 293 w 798"/>
                <a:gd name="T9" fmla="*/ 185 h 293"/>
                <a:gd name="T10" fmla="*/ 10 w 798"/>
                <a:gd name="T11" fmla="*/ 167 h 293"/>
                <a:gd name="T12" fmla="*/ 50 w 798"/>
                <a:gd name="T13" fmla="*/ 293 h 293"/>
                <a:gd name="T14" fmla="*/ 92 w 798"/>
                <a:gd name="T15" fmla="*/ 293 h 293"/>
                <a:gd name="T16" fmla="*/ 96 w 798"/>
                <a:gd name="T17" fmla="*/ 220 h 293"/>
                <a:gd name="T18" fmla="*/ 480 w 798"/>
                <a:gd name="T19" fmla="*/ 255 h 293"/>
                <a:gd name="T20" fmla="*/ 774 w 798"/>
                <a:gd name="T21" fmla="*/ 229 h 293"/>
                <a:gd name="T22" fmla="*/ 772 w 798"/>
                <a:gd name="T23" fmla="*/ 151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98" h="293">
                  <a:moveTo>
                    <a:pt x="772" y="151"/>
                  </a:moveTo>
                  <a:lnTo>
                    <a:pt x="706" y="91"/>
                  </a:lnTo>
                  <a:lnTo>
                    <a:pt x="509" y="0"/>
                  </a:lnTo>
                  <a:cubicBezTo>
                    <a:pt x="509" y="0"/>
                    <a:pt x="602" y="155"/>
                    <a:pt x="644" y="204"/>
                  </a:cubicBezTo>
                  <a:cubicBezTo>
                    <a:pt x="524" y="203"/>
                    <a:pt x="357" y="198"/>
                    <a:pt x="293" y="185"/>
                  </a:cubicBezTo>
                  <a:cubicBezTo>
                    <a:pt x="229" y="172"/>
                    <a:pt x="27" y="137"/>
                    <a:pt x="10" y="167"/>
                  </a:cubicBezTo>
                  <a:cubicBezTo>
                    <a:pt x="0" y="185"/>
                    <a:pt x="26" y="239"/>
                    <a:pt x="50" y="293"/>
                  </a:cubicBezTo>
                  <a:lnTo>
                    <a:pt x="92" y="293"/>
                  </a:lnTo>
                  <a:cubicBezTo>
                    <a:pt x="80" y="252"/>
                    <a:pt x="75" y="220"/>
                    <a:pt x="96" y="220"/>
                  </a:cubicBezTo>
                  <a:cubicBezTo>
                    <a:pt x="120" y="220"/>
                    <a:pt x="439" y="253"/>
                    <a:pt x="480" y="255"/>
                  </a:cubicBezTo>
                  <a:cubicBezTo>
                    <a:pt x="522" y="256"/>
                    <a:pt x="750" y="266"/>
                    <a:pt x="774" y="229"/>
                  </a:cubicBezTo>
                  <a:cubicBezTo>
                    <a:pt x="798" y="193"/>
                    <a:pt x="772" y="151"/>
                    <a:pt x="772" y="151"/>
                  </a:cubicBez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 955">
              <a:extLst>
                <a:ext uri="{FF2B5EF4-FFF2-40B4-BE49-F238E27FC236}">
                  <a16:creationId xmlns:a16="http://schemas.microsoft.com/office/drawing/2014/main" id="{FC7CC62C-5BDC-55F8-D219-623BE1A3716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2620" y="4855547"/>
              <a:ext cx="42378" cy="24216"/>
            </a:xfrm>
            <a:custGeom>
              <a:avLst/>
              <a:gdLst>
                <a:gd name="T0" fmla="*/ 30 w 125"/>
                <a:gd name="T1" fmla="*/ 25 h 71"/>
                <a:gd name="T2" fmla="*/ 0 w 125"/>
                <a:gd name="T3" fmla="*/ 56 h 71"/>
                <a:gd name="T4" fmla="*/ 28 w 125"/>
                <a:gd name="T5" fmla="*/ 62 h 71"/>
                <a:gd name="T6" fmla="*/ 101 w 125"/>
                <a:gd name="T7" fmla="*/ 49 h 71"/>
                <a:gd name="T8" fmla="*/ 125 w 125"/>
                <a:gd name="T9" fmla="*/ 34 h 71"/>
                <a:gd name="T10" fmla="*/ 91 w 125"/>
                <a:gd name="T11" fmla="*/ 0 h 71"/>
                <a:gd name="T12" fmla="*/ 30 w 125"/>
                <a:gd name="T13" fmla="*/ 25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71">
                  <a:moveTo>
                    <a:pt x="30" y="25"/>
                  </a:moveTo>
                  <a:lnTo>
                    <a:pt x="0" y="56"/>
                  </a:lnTo>
                  <a:cubicBezTo>
                    <a:pt x="0" y="56"/>
                    <a:pt x="14" y="71"/>
                    <a:pt x="28" y="62"/>
                  </a:cubicBezTo>
                  <a:cubicBezTo>
                    <a:pt x="42" y="53"/>
                    <a:pt x="101" y="49"/>
                    <a:pt x="101" y="49"/>
                  </a:cubicBezTo>
                  <a:lnTo>
                    <a:pt x="125" y="34"/>
                  </a:lnTo>
                  <a:lnTo>
                    <a:pt x="91" y="0"/>
                  </a:lnTo>
                  <a:lnTo>
                    <a:pt x="30" y="25"/>
                  </a:lnTo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eform 956">
              <a:extLst>
                <a:ext uri="{FF2B5EF4-FFF2-40B4-BE49-F238E27FC236}">
                  <a16:creationId xmlns:a16="http://schemas.microsoft.com/office/drawing/2014/main" id="{78574A55-0C6E-5FB7-5BCB-1784C46E84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7576" y="4887835"/>
              <a:ext cx="73658" cy="22198"/>
            </a:xfrm>
            <a:custGeom>
              <a:avLst/>
              <a:gdLst>
                <a:gd name="T0" fmla="*/ 220 w 220"/>
                <a:gd name="T1" fmla="*/ 49 h 65"/>
                <a:gd name="T2" fmla="*/ 74 w 220"/>
                <a:gd name="T3" fmla="*/ 0 h 65"/>
                <a:gd name="T4" fmla="*/ 0 w 220"/>
                <a:gd name="T5" fmla="*/ 47 h 65"/>
                <a:gd name="T6" fmla="*/ 15 w 220"/>
                <a:gd name="T7" fmla="*/ 58 h 65"/>
                <a:gd name="T8" fmla="*/ 53 w 220"/>
                <a:gd name="T9" fmla="*/ 31 h 65"/>
                <a:gd name="T10" fmla="*/ 92 w 220"/>
                <a:gd name="T11" fmla="*/ 42 h 65"/>
                <a:gd name="T12" fmla="*/ 160 w 220"/>
                <a:gd name="T13" fmla="*/ 63 h 65"/>
                <a:gd name="T14" fmla="*/ 220 w 220"/>
                <a:gd name="T15" fmla="*/ 4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0" h="65">
                  <a:moveTo>
                    <a:pt x="220" y="49"/>
                  </a:moveTo>
                  <a:lnTo>
                    <a:pt x="74" y="0"/>
                  </a:lnTo>
                  <a:lnTo>
                    <a:pt x="0" y="47"/>
                  </a:lnTo>
                  <a:cubicBezTo>
                    <a:pt x="0" y="47"/>
                    <a:pt x="1" y="65"/>
                    <a:pt x="15" y="58"/>
                  </a:cubicBezTo>
                  <a:cubicBezTo>
                    <a:pt x="29" y="51"/>
                    <a:pt x="53" y="31"/>
                    <a:pt x="53" y="31"/>
                  </a:cubicBezTo>
                  <a:lnTo>
                    <a:pt x="92" y="42"/>
                  </a:lnTo>
                  <a:lnTo>
                    <a:pt x="160" y="63"/>
                  </a:lnTo>
                  <a:lnTo>
                    <a:pt x="220" y="49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Freeform 957">
              <a:extLst>
                <a:ext uri="{FF2B5EF4-FFF2-40B4-BE49-F238E27FC236}">
                  <a16:creationId xmlns:a16="http://schemas.microsoft.com/office/drawing/2014/main" id="{3D61E907-2A91-0D9D-AC83-2039DD3E11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4548" y="4850502"/>
              <a:ext cx="168504" cy="47424"/>
            </a:xfrm>
            <a:custGeom>
              <a:avLst/>
              <a:gdLst>
                <a:gd name="T0" fmla="*/ 485 w 499"/>
                <a:gd name="T1" fmla="*/ 58 h 141"/>
                <a:gd name="T2" fmla="*/ 259 w 499"/>
                <a:gd name="T3" fmla="*/ 58 h 141"/>
                <a:gd name="T4" fmla="*/ 116 w 499"/>
                <a:gd name="T5" fmla="*/ 0 h 141"/>
                <a:gd name="T6" fmla="*/ 0 w 499"/>
                <a:gd name="T7" fmla="*/ 55 h 141"/>
                <a:gd name="T8" fmla="*/ 33 w 499"/>
                <a:gd name="T9" fmla="*/ 55 h 141"/>
                <a:gd name="T10" fmla="*/ 104 w 499"/>
                <a:gd name="T11" fmla="*/ 36 h 141"/>
                <a:gd name="T12" fmla="*/ 146 w 499"/>
                <a:gd name="T13" fmla="*/ 66 h 141"/>
                <a:gd name="T14" fmla="*/ 193 w 499"/>
                <a:gd name="T15" fmla="*/ 106 h 141"/>
                <a:gd name="T16" fmla="*/ 247 w 499"/>
                <a:gd name="T17" fmla="*/ 97 h 141"/>
                <a:gd name="T18" fmla="*/ 361 w 499"/>
                <a:gd name="T19" fmla="*/ 119 h 141"/>
                <a:gd name="T20" fmla="*/ 499 w 499"/>
                <a:gd name="T21" fmla="*/ 141 h 141"/>
                <a:gd name="T22" fmla="*/ 485 w 499"/>
                <a:gd name="T23" fmla="*/ 58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99" h="141">
                  <a:moveTo>
                    <a:pt x="485" y="58"/>
                  </a:moveTo>
                  <a:lnTo>
                    <a:pt x="259" y="58"/>
                  </a:lnTo>
                  <a:lnTo>
                    <a:pt x="116" y="0"/>
                  </a:lnTo>
                  <a:lnTo>
                    <a:pt x="0" y="55"/>
                  </a:lnTo>
                  <a:cubicBezTo>
                    <a:pt x="0" y="55"/>
                    <a:pt x="9" y="62"/>
                    <a:pt x="33" y="55"/>
                  </a:cubicBezTo>
                  <a:cubicBezTo>
                    <a:pt x="57" y="47"/>
                    <a:pt x="104" y="36"/>
                    <a:pt x="104" y="36"/>
                  </a:cubicBezTo>
                  <a:lnTo>
                    <a:pt x="146" y="66"/>
                  </a:lnTo>
                  <a:cubicBezTo>
                    <a:pt x="146" y="66"/>
                    <a:pt x="165" y="113"/>
                    <a:pt x="193" y="106"/>
                  </a:cubicBezTo>
                  <a:cubicBezTo>
                    <a:pt x="221" y="99"/>
                    <a:pt x="247" y="97"/>
                    <a:pt x="247" y="97"/>
                  </a:cubicBezTo>
                  <a:cubicBezTo>
                    <a:pt x="247" y="97"/>
                    <a:pt x="315" y="111"/>
                    <a:pt x="361" y="119"/>
                  </a:cubicBezTo>
                  <a:cubicBezTo>
                    <a:pt x="408" y="126"/>
                    <a:pt x="499" y="141"/>
                    <a:pt x="499" y="141"/>
                  </a:cubicBezTo>
                  <a:lnTo>
                    <a:pt x="485" y="58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958">
              <a:extLst>
                <a:ext uri="{FF2B5EF4-FFF2-40B4-BE49-F238E27FC236}">
                  <a16:creationId xmlns:a16="http://schemas.microsoft.com/office/drawing/2014/main" id="{CC32EA2C-748E-B18C-BA39-3517EB639D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3791" y="4742538"/>
              <a:ext cx="127135" cy="307747"/>
            </a:xfrm>
            <a:custGeom>
              <a:avLst/>
              <a:gdLst>
                <a:gd name="T0" fmla="*/ 139 w 376"/>
                <a:gd name="T1" fmla="*/ 29 h 913"/>
                <a:gd name="T2" fmla="*/ 0 w 376"/>
                <a:gd name="T3" fmla="*/ 246 h 913"/>
                <a:gd name="T4" fmla="*/ 45 w 376"/>
                <a:gd name="T5" fmla="*/ 314 h 913"/>
                <a:gd name="T6" fmla="*/ 53 w 376"/>
                <a:gd name="T7" fmla="*/ 350 h 913"/>
                <a:gd name="T8" fmla="*/ 34 w 376"/>
                <a:gd name="T9" fmla="*/ 641 h 913"/>
                <a:gd name="T10" fmla="*/ 27 w 376"/>
                <a:gd name="T11" fmla="*/ 659 h 913"/>
                <a:gd name="T12" fmla="*/ 307 w 376"/>
                <a:gd name="T13" fmla="*/ 913 h 913"/>
                <a:gd name="T14" fmla="*/ 340 w 376"/>
                <a:gd name="T15" fmla="*/ 613 h 913"/>
                <a:gd name="T16" fmla="*/ 272 w 376"/>
                <a:gd name="T17" fmla="*/ 326 h 913"/>
                <a:gd name="T18" fmla="*/ 365 w 376"/>
                <a:gd name="T19" fmla="*/ 74 h 913"/>
                <a:gd name="T20" fmla="*/ 271 w 376"/>
                <a:gd name="T21" fmla="*/ 9 h 913"/>
                <a:gd name="T22" fmla="*/ 220 w 376"/>
                <a:gd name="T23" fmla="*/ 0 h 913"/>
                <a:gd name="T24" fmla="*/ 139 w 376"/>
                <a:gd name="T25" fmla="*/ 29 h 9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6" h="913">
                  <a:moveTo>
                    <a:pt x="139" y="29"/>
                  </a:moveTo>
                  <a:cubicBezTo>
                    <a:pt x="139" y="29"/>
                    <a:pt x="0" y="226"/>
                    <a:pt x="0" y="246"/>
                  </a:cubicBezTo>
                  <a:cubicBezTo>
                    <a:pt x="0" y="266"/>
                    <a:pt x="24" y="310"/>
                    <a:pt x="45" y="314"/>
                  </a:cubicBezTo>
                  <a:cubicBezTo>
                    <a:pt x="53" y="343"/>
                    <a:pt x="53" y="334"/>
                    <a:pt x="53" y="350"/>
                  </a:cubicBezTo>
                  <a:cubicBezTo>
                    <a:pt x="53" y="367"/>
                    <a:pt x="88" y="577"/>
                    <a:pt x="34" y="641"/>
                  </a:cubicBezTo>
                  <a:lnTo>
                    <a:pt x="27" y="659"/>
                  </a:lnTo>
                  <a:cubicBezTo>
                    <a:pt x="27" y="659"/>
                    <a:pt x="180" y="860"/>
                    <a:pt x="307" y="913"/>
                  </a:cubicBezTo>
                  <a:cubicBezTo>
                    <a:pt x="375" y="761"/>
                    <a:pt x="365" y="692"/>
                    <a:pt x="340" y="613"/>
                  </a:cubicBezTo>
                  <a:cubicBezTo>
                    <a:pt x="316" y="535"/>
                    <a:pt x="257" y="401"/>
                    <a:pt x="272" y="326"/>
                  </a:cubicBezTo>
                  <a:cubicBezTo>
                    <a:pt x="288" y="252"/>
                    <a:pt x="376" y="103"/>
                    <a:pt x="365" y="74"/>
                  </a:cubicBezTo>
                  <a:cubicBezTo>
                    <a:pt x="355" y="44"/>
                    <a:pt x="271" y="9"/>
                    <a:pt x="271" y="9"/>
                  </a:cubicBezTo>
                  <a:lnTo>
                    <a:pt x="220" y="0"/>
                  </a:lnTo>
                  <a:lnTo>
                    <a:pt x="139" y="29"/>
                  </a:lnTo>
                </a:path>
              </a:pathLst>
            </a:custGeom>
            <a:solidFill>
              <a:srgbClr val="1F40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959">
              <a:extLst>
                <a:ext uri="{FF2B5EF4-FFF2-40B4-BE49-F238E27FC236}">
                  <a16:creationId xmlns:a16="http://schemas.microsoft.com/office/drawing/2014/main" id="{75A9C20C-3CE0-5520-92D1-2352142428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9016" y="4733458"/>
              <a:ext cx="26234" cy="51460"/>
            </a:xfrm>
            <a:custGeom>
              <a:avLst/>
              <a:gdLst>
                <a:gd name="T0" fmla="*/ 77 w 77"/>
                <a:gd name="T1" fmla="*/ 13 h 151"/>
                <a:gd name="T2" fmla="*/ 19 w 77"/>
                <a:gd name="T3" fmla="*/ 40 h 151"/>
                <a:gd name="T4" fmla="*/ 0 w 77"/>
                <a:gd name="T5" fmla="*/ 151 h 151"/>
                <a:gd name="T6" fmla="*/ 61 w 77"/>
                <a:gd name="T7" fmla="*/ 75 h 151"/>
                <a:gd name="T8" fmla="*/ 77 w 77"/>
                <a:gd name="T9" fmla="*/ 1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151">
                  <a:moveTo>
                    <a:pt x="77" y="13"/>
                  </a:moveTo>
                  <a:cubicBezTo>
                    <a:pt x="77" y="13"/>
                    <a:pt x="30" y="0"/>
                    <a:pt x="19" y="40"/>
                  </a:cubicBezTo>
                  <a:cubicBezTo>
                    <a:pt x="9" y="80"/>
                    <a:pt x="0" y="151"/>
                    <a:pt x="0" y="151"/>
                  </a:cubicBezTo>
                  <a:lnTo>
                    <a:pt x="61" y="75"/>
                  </a:lnTo>
                  <a:lnTo>
                    <a:pt x="77" y="13"/>
                  </a:lnTo>
                </a:path>
              </a:pathLst>
            </a:custGeom>
            <a:solidFill>
              <a:srgbClr val="1F40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eform 960">
              <a:extLst>
                <a:ext uri="{FF2B5EF4-FFF2-40B4-BE49-F238E27FC236}">
                  <a16:creationId xmlns:a16="http://schemas.microsoft.com/office/drawing/2014/main" id="{99EB007B-6447-F80F-847C-1AFC298008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052" y="4647692"/>
              <a:ext cx="64576" cy="133189"/>
            </a:xfrm>
            <a:custGeom>
              <a:avLst/>
              <a:gdLst>
                <a:gd name="T0" fmla="*/ 0 w 191"/>
                <a:gd name="T1" fmla="*/ 139 h 396"/>
                <a:gd name="T2" fmla="*/ 45 w 191"/>
                <a:gd name="T3" fmla="*/ 216 h 396"/>
                <a:gd name="T4" fmla="*/ 59 w 191"/>
                <a:gd name="T5" fmla="*/ 278 h 396"/>
                <a:gd name="T6" fmla="*/ 3 w 191"/>
                <a:gd name="T7" fmla="*/ 395 h 396"/>
                <a:gd name="T8" fmla="*/ 85 w 191"/>
                <a:gd name="T9" fmla="*/ 364 h 396"/>
                <a:gd name="T10" fmla="*/ 191 w 191"/>
                <a:gd name="T11" fmla="*/ 294 h 396"/>
                <a:gd name="T12" fmla="*/ 137 w 191"/>
                <a:gd name="T13" fmla="*/ 214 h 396"/>
                <a:gd name="T14" fmla="*/ 109 w 191"/>
                <a:gd name="T15" fmla="*/ 68 h 396"/>
                <a:gd name="T16" fmla="*/ 68 w 191"/>
                <a:gd name="T17" fmla="*/ 0 h 396"/>
                <a:gd name="T18" fmla="*/ 0 w 191"/>
                <a:gd name="T19" fmla="*/ 90 h 396"/>
                <a:gd name="T20" fmla="*/ 0 w 191"/>
                <a:gd name="T21" fmla="*/ 139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" h="396">
                  <a:moveTo>
                    <a:pt x="0" y="139"/>
                  </a:moveTo>
                  <a:cubicBezTo>
                    <a:pt x="0" y="139"/>
                    <a:pt x="36" y="177"/>
                    <a:pt x="45" y="216"/>
                  </a:cubicBezTo>
                  <a:cubicBezTo>
                    <a:pt x="54" y="254"/>
                    <a:pt x="59" y="278"/>
                    <a:pt x="59" y="278"/>
                  </a:cubicBezTo>
                  <a:lnTo>
                    <a:pt x="3" y="395"/>
                  </a:lnTo>
                  <a:cubicBezTo>
                    <a:pt x="3" y="395"/>
                    <a:pt x="47" y="396"/>
                    <a:pt x="85" y="364"/>
                  </a:cubicBezTo>
                  <a:cubicBezTo>
                    <a:pt x="123" y="331"/>
                    <a:pt x="191" y="294"/>
                    <a:pt x="191" y="294"/>
                  </a:cubicBezTo>
                  <a:cubicBezTo>
                    <a:pt x="191" y="294"/>
                    <a:pt x="149" y="250"/>
                    <a:pt x="137" y="214"/>
                  </a:cubicBezTo>
                  <a:cubicBezTo>
                    <a:pt x="125" y="177"/>
                    <a:pt x="109" y="68"/>
                    <a:pt x="109" y="68"/>
                  </a:cubicBezTo>
                  <a:lnTo>
                    <a:pt x="68" y="0"/>
                  </a:lnTo>
                  <a:lnTo>
                    <a:pt x="0" y="90"/>
                  </a:lnTo>
                  <a:lnTo>
                    <a:pt x="0" y="139"/>
                  </a:lnTo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eform 961">
              <a:extLst>
                <a:ext uri="{FF2B5EF4-FFF2-40B4-BE49-F238E27FC236}">
                  <a16:creationId xmlns:a16="http://schemas.microsoft.com/office/drawing/2014/main" id="{02E86551-4852-9B78-DFEA-DDDF7CEF48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7756" y="4868664"/>
              <a:ext cx="44396" cy="19172"/>
            </a:xfrm>
            <a:custGeom>
              <a:avLst/>
              <a:gdLst>
                <a:gd name="T0" fmla="*/ 119 w 131"/>
                <a:gd name="T1" fmla="*/ 0 h 55"/>
                <a:gd name="T2" fmla="*/ 0 w 131"/>
                <a:gd name="T3" fmla="*/ 2 h 55"/>
                <a:gd name="T4" fmla="*/ 16 w 131"/>
                <a:gd name="T5" fmla="*/ 18 h 55"/>
                <a:gd name="T6" fmla="*/ 44 w 131"/>
                <a:gd name="T7" fmla="*/ 22 h 55"/>
                <a:gd name="T8" fmla="*/ 110 w 131"/>
                <a:gd name="T9" fmla="*/ 49 h 55"/>
                <a:gd name="T10" fmla="*/ 131 w 131"/>
                <a:gd name="T11" fmla="*/ 27 h 55"/>
                <a:gd name="T12" fmla="*/ 119 w 131"/>
                <a:gd name="T1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55">
                  <a:moveTo>
                    <a:pt x="119" y="0"/>
                  </a:moveTo>
                  <a:lnTo>
                    <a:pt x="0" y="2"/>
                  </a:lnTo>
                  <a:cubicBezTo>
                    <a:pt x="0" y="2"/>
                    <a:pt x="2" y="18"/>
                    <a:pt x="16" y="18"/>
                  </a:cubicBezTo>
                  <a:cubicBezTo>
                    <a:pt x="30" y="18"/>
                    <a:pt x="44" y="22"/>
                    <a:pt x="44" y="22"/>
                  </a:cubicBezTo>
                  <a:cubicBezTo>
                    <a:pt x="44" y="22"/>
                    <a:pt x="94" y="55"/>
                    <a:pt x="110" y="49"/>
                  </a:cubicBezTo>
                  <a:cubicBezTo>
                    <a:pt x="126" y="44"/>
                    <a:pt x="131" y="27"/>
                    <a:pt x="131" y="27"/>
                  </a:cubicBezTo>
                  <a:lnTo>
                    <a:pt x="119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eform 962">
              <a:extLst>
                <a:ext uri="{FF2B5EF4-FFF2-40B4-BE49-F238E27FC236}">
                  <a16:creationId xmlns:a16="http://schemas.microsoft.com/office/drawing/2014/main" id="{724929BA-BDCD-9EE3-96E9-391789287F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7088" y="4699151"/>
              <a:ext cx="2018" cy="3027"/>
            </a:xfrm>
            <a:custGeom>
              <a:avLst/>
              <a:gdLst>
                <a:gd name="T0" fmla="*/ 4 w 7"/>
                <a:gd name="T1" fmla="*/ 9 h 9"/>
                <a:gd name="T2" fmla="*/ 7 w 7"/>
                <a:gd name="T3" fmla="*/ 9 h 9"/>
                <a:gd name="T4" fmla="*/ 0 w 7"/>
                <a:gd name="T5" fmla="*/ 0 h 9"/>
                <a:gd name="T6" fmla="*/ 4 w 7"/>
                <a:gd name="T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4" y="9"/>
                  </a:moveTo>
                  <a:lnTo>
                    <a:pt x="7" y="9"/>
                  </a:lnTo>
                  <a:cubicBezTo>
                    <a:pt x="5" y="5"/>
                    <a:pt x="2" y="2"/>
                    <a:pt x="0" y="0"/>
                  </a:cubicBezTo>
                  <a:lnTo>
                    <a:pt x="4" y="9"/>
                  </a:lnTo>
                  <a:close/>
                </a:path>
              </a:pathLst>
            </a:custGeom>
            <a:solidFill>
              <a:srgbClr val="C7D7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 963">
              <a:extLst>
                <a:ext uri="{FF2B5EF4-FFF2-40B4-BE49-F238E27FC236}">
                  <a16:creationId xmlns:a16="http://schemas.microsoft.com/office/drawing/2014/main" id="{C4EF3C62-B4FB-1A8E-8B21-AF2FBE36C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593" y="4602287"/>
              <a:ext cx="73658" cy="130162"/>
            </a:xfrm>
            <a:custGeom>
              <a:avLst/>
              <a:gdLst>
                <a:gd name="T0" fmla="*/ 81 w 217"/>
                <a:gd name="T1" fmla="*/ 5 h 385"/>
                <a:gd name="T2" fmla="*/ 27 w 217"/>
                <a:gd name="T3" fmla="*/ 20 h 385"/>
                <a:gd name="T4" fmla="*/ 7 w 217"/>
                <a:gd name="T5" fmla="*/ 167 h 385"/>
                <a:gd name="T6" fmla="*/ 68 w 217"/>
                <a:gd name="T7" fmla="*/ 307 h 385"/>
                <a:gd name="T8" fmla="*/ 75 w 217"/>
                <a:gd name="T9" fmla="*/ 385 h 385"/>
                <a:gd name="T10" fmla="*/ 217 w 217"/>
                <a:gd name="T11" fmla="*/ 321 h 385"/>
                <a:gd name="T12" fmla="*/ 135 w 217"/>
                <a:gd name="T13" fmla="*/ 186 h 385"/>
                <a:gd name="T14" fmla="*/ 81 w 217"/>
                <a:gd name="T15" fmla="*/ 5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7" h="385">
                  <a:moveTo>
                    <a:pt x="81" y="5"/>
                  </a:moveTo>
                  <a:cubicBezTo>
                    <a:pt x="81" y="5"/>
                    <a:pt x="47" y="0"/>
                    <a:pt x="27" y="20"/>
                  </a:cubicBezTo>
                  <a:cubicBezTo>
                    <a:pt x="8" y="40"/>
                    <a:pt x="0" y="143"/>
                    <a:pt x="7" y="167"/>
                  </a:cubicBezTo>
                  <a:cubicBezTo>
                    <a:pt x="29" y="233"/>
                    <a:pt x="62" y="264"/>
                    <a:pt x="68" y="307"/>
                  </a:cubicBezTo>
                  <a:cubicBezTo>
                    <a:pt x="77" y="369"/>
                    <a:pt x="75" y="385"/>
                    <a:pt x="75" y="385"/>
                  </a:cubicBezTo>
                  <a:lnTo>
                    <a:pt x="217" y="321"/>
                  </a:lnTo>
                  <a:lnTo>
                    <a:pt x="135" y="186"/>
                  </a:lnTo>
                  <a:lnTo>
                    <a:pt x="81" y="5"/>
                  </a:lnTo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reeform 964">
              <a:extLst>
                <a:ext uri="{FF2B5EF4-FFF2-40B4-BE49-F238E27FC236}">
                  <a16:creationId xmlns:a16="http://schemas.microsoft.com/office/drawing/2014/main" id="{399DD1A7-9D8B-CBB3-86CA-7362C26B3E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629" y="4610359"/>
              <a:ext cx="69622" cy="89802"/>
            </a:xfrm>
            <a:custGeom>
              <a:avLst/>
              <a:gdLst>
                <a:gd name="T0" fmla="*/ 40 w 207"/>
                <a:gd name="T1" fmla="*/ 3 h 265"/>
                <a:gd name="T2" fmla="*/ 7 w 207"/>
                <a:gd name="T3" fmla="*/ 80 h 265"/>
                <a:gd name="T4" fmla="*/ 33 w 207"/>
                <a:gd name="T5" fmla="*/ 169 h 265"/>
                <a:gd name="T6" fmla="*/ 30 w 207"/>
                <a:gd name="T7" fmla="*/ 186 h 265"/>
                <a:gd name="T8" fmla="*/ 50 w 207"/>
                <a:gd name="T9" fmla="*/ 191 h 265"/>
                <a:gd name="T10" fmla="*/ 86 w 207"/>
                <a:gd name="T11" fmla="*/ 265 h 265"/>
                <a:gd name="T12" fmla="*/ 188 w 207"/>
                <a:gd name="T13" fmla="*/ 226 h 265"/>
                <a:gd name="T14" fmla="*/ 170 w 207"/>
                <a:gd name="T15" fmla="*/ 85 h 265"/>
                <a:gd name="T16" fmla="*/ 40 w 207"/>
                <a:gd name="T17" fmla="*/ 3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7" h="265">
                  <a:moveTo>
                    <a:pt x="40" y="3"/>
                  </a:moveTo>
                  <a:cubicBezTo>
                    <a:pt x="40" y="3"/>
                    <a:pt x="0" y="27"/>
                    <a:pt x="7" y="80"/>
                  </a:cubicBezTo>
                  <a:cubicBezTo>
                    <a:pt x="14" y="133"/>
                    <a:pt x="37" y="153"/>
                    <a:pt x="33" y="169"/>
                  </a:cubicBezTo>
                  <a:lnTo>
                    <a:pt x="30" y="186"/>
                  </a:lnTo>
                  <a:lnTo>
                    <a:pt x="50" y="191"/>
                  </a:lnTo>
                  <a:cubicBezTo>
                    <a:pt x="50" y="191"/>
                    <a:pt x="59" y="265"/>
                    <a:pt x="86" y="265"/>
                  </a:cubicBezTo>
                  <a:cubicBezTo>
                    <a:pt x="114" y="265"/>
                    <a:pt x="181" y="253"/>
                    <a:pt x="188" y="226"/>
                  </a:cubicBezTo>
                  <a:cubicBezTo>
                    <a:pt x="195" y="199"/>
                    <a:pt x="207" y="135"/>
                    <a:pt x="170" y="85"/>
                  </a:cubicBezTo>
                  <a:cubicBezTo>
                    <a:pt x="134" y="36"/>
                    <a:pt x="56" y="0"/>
                    <a:pt x="40" y="3"/>
                  </a:cubicBez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eform 965">
              <a:extLst>
                <a:ext uri="{FF2B5EF4-FFF2-40B4-BE49-F238E27FC236}">
                  <a16:creationId xmlns:a16="http://schemas.microsoft.com/office/drawing/2014/main" id="{E39F36DE-A766-38BC-084B-4A082BBF73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0674" y="4582107"/>
              <a:ext cx="125116" cy="140252"/>
            </a:xfrm>
            <a:custGeom>
              <a:avLst/>
              <a:gdLst>
                <a:gd name="T0" fmla="*/ 0 w 369"/>
                <a:gd name="T1" fmla="*/ 80 h 415"/>
                <a:gd name="T2" fmla="*/ 160 w 369"/>
                <a:gd name="T3" fmla="*/ 0 h 415"/>
                <a:gd name="T4" fmla="*/ 252 w 369"/>
                <a:gd name="T5" fmla="*/ 78 h 415"/>
                <a:gd name="T6" fmla="*/ 280 w 369"/>
                <a:gd name="T7" fmla="*/ 239 h 415"/>
                <a:gd name="T8" fmla="*/ 369 w 369"/>
                <a:gd name="T9" fmla="*/ 323 h 415"/>
                <a:gd name="T10" fmla="*/ 199 w 369"/>
                <a:gd name="T11" fmla="*/ 415 h 415"/>
                <a:gd name="T12" fmla="*/ 108 w 369"/>
                <a:gd name="T13" fmla="*/ 149 h 415"/>
                <a:gd name="T14" fmla="*/ 0 w 369"/>
                <a:gd name="T15" fmla="*/ 80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9" h="415">
                  <a:moveTo>
                    <a:pt x="0" y="80"/>
                  </a:moveTo>
                  <a:cubicBezTo>
                    <a:pt x="0" y="80"/>
                    <a:pt x="139" y="0"/>
                    <a:pt x="160" y="0"/>
                  </a:cubicBezTo>
                  <a:cubicBezTo>
                    <a:pt x="181" y="0"/>
                    <a:pt x="230" y="32"/>
                    <a:pt x="252" y="78"/>
                  </a:cubicBezTo>
                  <a:cubicBezTo>
                    <a:pt x="275" y="124"/>
                    <a:pt x="270" y="226"/>
                    <a:pt x="280" y="239"/>
                  </a:cubicBezTo>
                  <a:cubicBezTo>
                    <a:pt x="291" y="252"/>
                    <a:pt x="369" y="323"/>
                    <a:pt x="369" y="323"/>
                  </a:cubicBezTo>
                  <a:lnTo>
                    <a:pt x="199" y="415"/>
                  </a:lnTo>
                  <a:cubicBezTo>
                    <a:pt x="199" y="415"/>
                    <a:pt x="136" y="186"/>
                    <a:pt x="108" y="149"/>
                  </a:cubicBezTo>
                  <a:cubicBezTo>
                    <a:pt x="80" y="113"/>
                    <a:pt x="25" y="69"/>
                    <a:pt x="0" y="80"/>
                  </a:cubicBez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eform 966">
              <a:extLst>
                <a:ext uri="{FF2B5EF4-FFF2-40B4-BE49-F238E27FC236}">
                  <a16:creationId xmlns:a16="http://schemas.microsoft.com/office/drawing/2014/main" id="{D57FF51D-B0B0-4143-81FD-3F0242D171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5719" y="4672917"/>
              <a:ext cx="10090" cy="3027"/>
            </a:xfrm>
            <a:custGeom>
              <a:avLst/>
              <a:gdLst>
                <a:gd name="T0" fmla="*/ 0 w 30"/>
                <a:gd name="T1" fmla="*/ 2 h 8"/>
                <a:gd name="T2" fmla="*/ 29 w 30"/>
                <a:gd name="T3" fmla="*/ 4 h 8"/>
                <a:gd name="T4" fmla="*/ 22 w 30"/>
                <a:gd name="T5" fmla="*/ 8 h 8"/>
                <a:gd name="T6" fmla="*/ 0 w 30"/>
                <a:gd name="T7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8">
                  <a:moveTo>
                    <a:pt x="0" y="2"/>
                  </a:moveTo>
                  <a:cubicBezTo>
                    <a:pt x="0" y="2"/>
                    <a:pt x="30" y="0"/>
                    <a:pt x="29" y="4"/>
                  </a:cubicBezTo>
                  <a:cubicBezTo>
                    <a:pt x="29" y="8"/>
                    <a:pt x="22" y="8"/>
                    <a:pt x="22" y="8"/>
                  </a:cubicBezTo>
                  <a:cubicBezTo>
                    <a:pt x="22" y="8"/>
                    <a:pt x="2" y="6"/>
                    <a:pt x="0" y="2"/>
                  </a:cubicBezTo>
                  <a:close/>
                </a:path>
              </a:pathLst>
            </a:custGeom>
            <a:solidFill>
              <a:srgbClr val="9AA6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eform 968">
              <a:extLst>
                <a:ext uri="{FF2B5EF4-FFF2-40B4-BE49-F238E27FC236}">
                  <a16:creationId xmlns:a16="http://schemas.microsoft.com/office/drawing/2014/main" id="{3055933B-7FD1-FB25-91ED-2C248FAAAF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2043" y="4788953"/>
              <a:ext cx="98882" cy="261332"/>
            </a:xfrm>
            <a:custGeom>
              <a:avLst/>
              <a:gdLst>
                <a:gd name="T0" fmla="*/ 259 w 294"/>
                <a:gd name="T1" fmla="*/ 475 h 775"/>
                <a:gd name="T2" fmla="*/ 191 w 294"/>
                <a:gd name="T3" fmla="*/ 188 h 775"/>
                <a:gd name="T4" fmla="*/ 237 w 294"/>
                <a:gd name="T5" fmla="*/ 47 h 775"/>
                <a:gd name="T6" fmla="*/ 207 w 294"/>
                <a:gd name="T7" fmla="*/ 0 h 775"/>
                <a:gd name="T8" fmla="*/ 149 w 294"/>
                <a:gd name="T9" fmla="*/ 36 h 775"/>
                <a:gd name="T10" fmla="*/ 53 w 294"/>
                <a:gd name="T11" fmla="*/ 152 h 775"/>
                <a:gd name="T12" fmla="*/ 15 w 294"/>
                <a:gd name="T13" fmla="*/ 163 h 775"/>
                <a:gd name="T14" fmla="*/ 20 w 294"/>
                <a:gd name="T15" fmla="*/ 191 h 775"/>
                <a:gd name="T16" fmla="*/ 94 w 294"/>
                <a:gd name="T17" fmla="*/ 304 h 775"/>
                <a:gd name="T18" fmla="*/ 169 w 294"/>
                <a:gd name="T19" fmla="*/ 622 h 775"/>
                <a:gd name="T20" fmla="*/ 124 w 294"/>
                <a:gd name="T21" fmla="*/ 709 h 775"/>
                <a:gd name="T22" fmla="*/ 226 w 294"/>
                <a:gd name="T23" fmla="*/ 775 h 775"/>
                <a:gd name="T24" fmla="*/ 259 w 294"/>
                <a:gd name="T25" fmla="*/ 475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4" h="775">
                  <a:moveTo>
                    <a:pt x="259" y="475"/>
                  </a:moveTo>
                  <a:cubicBezTo>
                    <a:pt x="235" y="397"/>
                    <a:pt x="176" y="263"/>
                    <a:pt x="191" y="188"/>
                  </a:cubicBezTo>
                  <a:cubicBezTo>
                    <a:pt x="199" y="150"/>
                    <a:pt x="220" y="96"/>
                    <a:pt x="237" y="47"/>
                  </a:cubicBezTo>
                  <a:lnTo>
                    <a:pt x="207" y="0"/>
                  </a:lnTo>
                  <a:lnTo>
                    <a:pt x="149" y="36"/>
                  </a:lnTo>
                  <a:cubicBezTo>
                    <a:pt x="149" y="36"/>
                    <a:pt x="91" y="141"/>
                    <a:pt x="53" y="152"/>
                  </a:cubicBezTo>
                  <a:lnTo>
                    <a:pt x="15" y="163"/>
                  </a:lnTo>
                  <a:cubicBezTo>
                    <a:pt x="15" y="163"/>
                    <a:pt x="0" y="168"/>
                    <a:pt x="20" y="191"/>
                  </a:cubicBezTo>
                  <a:cubicBezTo>
                    <a:pt x="39" y="213"/>
                    <a:pt x="74" y="242"/>
                    <a:pt x="94" y="304"/>
                  </a:cubicBezTo>
                  <a:cubicBezTo>
                    <a:pt x="114" y="366"/>
                    <a:pt x="182" y="524"/>
                    <a:pt x="169" y="622"/>
                  </a:cubicBezTo>
                  <a:cubicBezTo>
                    <a:pt x="163" y="662"/>
                    <a:pt x="144" y="690"/>
                    <a:pt x="124" y="709"/>
                  </a:cubicBezTo>
                  <a:cubicBezTo>
                    <a:pt x="158" y="737"/>
                    <a:pt x="193" y="761"/>
                    <a:pt x="226" y="775"/>
                  </a:cubicBezTo>
                  <a:cubicBezTo>
                    <a:pt x="294" y="623"/>
                    <a:pt x="284" y="554"/>
                    <a:pt x="259" y="475"/>
                  </a:cubicBezTo>
                </a:path>
              </a:pathLst>
            </a:custGeom>
            <a:solidFill>
              <a:srgbClr val="1F40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eform 969">
              <a:extLst>
                <a:ext uri="{FF2B5EF4-FFF2-40B4-BE49-F238E27FC236}">
                  <a16:creationId xmlns:a16="http://schemas.microsoft.com/office/drawing/2014/main" id="{AA9ADB63-5A67-00F8-515A-E8C3FB3DC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9594" y="4754646"/>
              <a:ext cx="264359" cy="182630"/>
            </a:xfrm>
            <a:custGeom>
              <a:avLst/>
              <a:gdLst>
                <a:gd name="T0" fmla="*/ 773 w 782"/>
                <a:gd name="T1" fmla="*/ 108 h 541"/>
                <a:gd name="T2" fmla="*/ 733 w 782"/>
                <a:gd name="T3" fmla="*/ 11 h 541"/>
                <a:gd name="T4" fmla="*/ 639 w 782"/>
                <a:gd name="T5" fmla="*/ 68 h 541"/>
                <a:gd name="T6" fmla="*/ 575 w 782"/>
                <a:gd name="T7" fmla="*/ 415 h 541"/>
                <a:gd name="T8" fmla="*/ 331 w 782"/>
                <a:gd name="T9" fmla="*/ 449 h 541"/>
                <a:gd name="T10" fmla="*/ 222 w 782"/>
                <a:gd name="T11" fmla="*/ 446 h 541"/>
                <a:gd name="T12" fmla="*/ 76 w 782"/>
                <a:gd name="T13" fmla="*/ 415 h 541"/>
                <a:gd name="T14" fmla="*/ 5 w 782"/>
                <a:gd name="T15" fmla="*/ 479 h 541"/>
                <a:gd name="T16" fmla="*/ 22 w 782"/>
                <a:gd name="T17" fmla="*/ 480 h 541"/>
                <a:gd name="T18" fmla="*/ 71 w 782"/>
                <a:gd name="T19" fmla="*/ 451 h 541"/>
                <a:gd name="T20" fmla="*/ 159 w 782"/>
                <a:gd name="T21" fmla="*/ 495 h 541"/>
                <a:gd name="T22" fmla="*/ 208 w 782"/>
                <a:gd name="T23" fmla="*/ 491 h 541"/>
                <a:gd name="T24" fmla="*/ 439 w 782"/>
                <a:gd name="T25" fmla="*/ 531 h 541"/>
                <a:gd name="T26" fmla="*/ 622 w 782"/>
                <a:gd name="T27" fmla="*/ 541 h 541"/>
                <a:gd name="T28" fmla="*/ 773 w 782"/>
                <a:gd name="T29" fmla="*/ 108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82" h="541">
                  <a:moveTo>
                    <a:pt x="773" y="108"/>
                  </a:moveTo>
                  <a:cubicBezTo>
                    <a:pt x="773" y="108"/>
                    <a:pt x="782" y="22"/>
                    <a:pt x="733" y="11"/>
                  </a:cubicBezTo>
                  <a:cubicBezTo>
                    <a:pt x="684" y="0"/>
                    <a:pt x="648" y="33"/>
                    <a:pt x="639" y="68"/>
                  </a:cubicBezTo>
                  <a:cubicBezTo>
                    <a:pt x="630" y="102"/>
                    <a:pt x="575" y="415"/>
                    <a:pt x="575" y="415"/>
                  </a:cubicBezTo>
                  <a:cubicBezTo>
                    <a:pt x="575" y="415"/>
                    <a:pt x="373" y="451"/>
                    <a:pt x="331" y="449"/>
                  </a:cubicBezTo>
                  <a:cubicBezTo>
                    <a:pt x="290" y="447"/>
                    <a:pt x="222" y="446"/>
                    <a:pt x="222" y="446"/>
                  </a:cubicBezTo>
                  <a:lnTo>
                    <a:pt x="76" y="415"/>
                  </a:lnTo>
                  <a:lnTo>
                    <a:pt x="5" y="479"/>
                  </a:lnTo>
                  <a:cubicBezTo>
                    <a:pt x="5" y="479"/>
                    <a:pt x="0" y="486"/>
                    <a:pt x="22" y="480"/>
                  </a:cubicBezTo>
                  <a:cubicBezTo>
                    <a:pt x="45" y="475"/>
                    <a:pt x="71" y="451"/>
                    <a:pt x="71" y="451"/>
                  </a:cubicBezTo>
                  <a:cubicBezTo>
                    <a:pt x="71" y="451"/>
                    <a:pt x="128" y="497"/>
                    <a:pt x="159" y="495"/>
                  </a:cubicBezTo>
                  <a:cubicBezTo>
                    <a:pt x="191" y="493"/>
                    <a:pt x="208" y="491"/>
                    <a:pt x="208" y="491"/>
                  </a:cubicBezTo>
                  <a:cubicBezTo>
                    <a:pt x="208" y="491"/>
                    <a:pt x="370" y="526"/>
                    <a:pt x="439" y="531"/>
                  </a:cubicBezTo>
                  <a:cubicBezTo>
                    <a:pt x="509" y="537"/>
                    <a:pt x="622" y="541"/>
                    <a:pt x="622" y="541"/>
                  </a:cubicBezTo>
                  <a:cubicBezTo>
                    <a:pt x="622" y="541"/>
                    <a:pt x="764" y="152"/>
                    <a:pt x="773" y="108"/>
                  </a:cubicBezTo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eform 970">
              <a:extLst>
                <a:ext uri="{FF2B5EF4-FFF2-40B4-BE49-F238E27FC236}">
                  <a16:creationId xmlns:a16="http://schemas.microsoft.com/office/drawing/2014/main" id="{983A56DA-1FE4-6AB6-F27F-6BBC5482AB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4908" y="4757674"/>
              <a:ext cx="229044" cy="179603"/>
            </a:xfrm>
            <a:custGeom>
              <a:avLst/>
              <a:gdLst>
                <a:gd name="T0" fmla="*/ 105 w 679"/>
                <a:gd name="T1" fmla="*/ 482 h 532"/>
                <a:gd name="T2" fmla="*/ 336 w 679"/>
                <a:gd name="T3" fmla="*/ 522 h 532"/>
                <a:gd name="T4" fmla="*/ 519 w 679"/>
                <a:gd name="T5" fmla="*/ 532 h 532"/>
                <a:gd name="T6" fmla="*/ 670 w 679"/>
                <a:gd name="T7" fmla="*/ 99 h 532"/>
                <a:gd name="T8" fmla="*/ 630 w 679"/>
                <a:gd name="T9" fmla="*/ 2 h 532"/>
                <a:gd name="T10" fmla="*/ 619 w 679"/>
                <a:gd name="T11" fmla="*/ 0 h 532"/>
                <a:gd name="T12" fmla="*/ 613 w 679"/>
                <a:gd name="T13" fmla="*/ 4 h 532"/>
                <a:gd name="T14" fmla="*/ 622 w 679"/>
                <a:gd name="T15" fmla="*/ 100 h 532"/>
                <a:gd name="T16" fmla="*/ 487 w 679"/>
                <a:gd name="T17" fmla="*/ 496 h 532"/>
                <a:gd name="T18" fmla="*/ 178 w 679"/>
                <a:gd name="T19" fmla="*/ 477 h 532"/>
                <a:gd name="T20" fmla="*/ 81 w 679"/>
                <a:gd name="T21" fmla="*/ 459 h 532"/>
                <a:gd name="T22" fmla="*/ 0 w 679"/>
                <a:gd name="T23" fmla="*/ 464 h 532"/>
                <a:gd name="T24" fmla="*/ 56 w 679"/>
                <a:gd name="T25" fmla="*/ 486 h 532"/>
                <a:gd name="T26" fmla="*/ 105 w 679"/>
                <a:gd name="T27" fmla="*/ 482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79" h="532">
                  <a:moveTo>
                    <a:pt x="105" y="482"/>
                  </a:moveTo>
                  <a:cubicBezTo>
                    <a:pt x="105" y="482"/>
                    <a:pt x="267" y="517"/>
                    <a:pt x="336" y="522"/>
                  </a:cubicBezTo>
                  <a:cubicBezTo>
                    <a:pt x="406" y="528"/>
                    <a:pt x="519" y="532"/>
                    <a:pt x="519" y="532"/>
                  </a:cubicBezTo>
                  <a:cubicBezTo>
                    <a:pt x="519" y="532"/>
                    <a:pt x="661" y="143"/>
                    <a:pt x="670" y="99"/>
                  </a:cubicBezTo>
                  <a:cubicBezTo>
                    <a:pt x="670" y="99"/>
                    <a:pt x="679" y="13"/>
                    <a:pt x="630" y="2"/>
                  </a:cubicBezTo>
                  <a:cubicBezTo>
                    <a:pt x="626" y="1"/>
                    <a:pt x="622" y="1"/>
                    <a:pt x="619" y="0"/>
                  </a:cubicBezTo>
                  <a:lnTo>
                    <a:pt x="613" y="4"/>
                  </a:lnTo>
                  <a:cubicBezTo>
                    <a:pt x="613" y="4"/>
                    <a:pt x="634" y="50"/>
                    <a:pt x="622" y="100"/>
                  </a:cubicBezTo>
                  <a:cubicBezTo>
                    <a:pt x="610" y="149"/>
                    <a:pt x="487" y="496"/>
                    <a:pt x="487" y="496"/>
                  </a:cubicBezTo>
                  <a:cubicBezTo>
                    <a:pt x="487" y="496"/>
                    <a:pt x="225" y="493"/>
                    <a:pt x="178" y="477"/>
                  </a:cubicBezTo>
                  <a:cubicBezTo>
                    <a:pt x="131" y="461"/>
                    <a:pt x="98" y="450"/>
                    <a:pt x="81" y="459"/>
                  </a:cubicBezTo>
                  <a:cubicBezTo>
                    <a:pt x="64" y="469"/>
                    <a:pt x="23" y="472"/>
                    <a:pt x="0" y="464"/>
                  </a:cubicBezTo>
                  <a:cubicBezTo>
                    <a:pt x="18" y="476"/>
                    <a:pt x="41" y="487"/>
                    <a:pt x="56" y="486"/>
                  </a:cubicBezTo>
                  <a:cubicBezTo>
                    <a:pt x="88" y="484"/>
                    <a:pt x="105" y="482"/>
                    <a:pt x="105" y="482"/>
                  </a:cubicBezTo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Rectangle 972">
              <a:extLst>
                <a:ext uri="{FF2B5EF4-FFF2-40B4-BE49-F238E27FC236}">
                  <a16:creationId xmlns:a16="http://schemas.microsoft.com/office/drawing/2014/main" id="{3CFC587A-1C71-055F-D0ED-0EA8AD32D1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7811" y="4937276"/>
              <a:ext cx="391494" cy="13016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eform 973">
              <a:extLst>
                <a:ext uri="{FF2B5EF4-FFF2-40B4-BE49-F238E27FC236}">
                  <a16:creationId xmlns:a16="http://schemas.microsoft.com/office/drawing/2014/main" id="{1B3EB437-AF6F-A8C3-47BC-C82AE4F0B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4766" y="4762718"/>
              <a:ext cx="40360" cy="154378"/>
            </a:xfrm>
            <a:custGeom>
              <a:avLst/>
              <a:gdLst>
                <a:gd name="T0" fmla="*/ 35 w 117"/>
                <a:gd name="T1" fmla="*/ 0 h 458"/>
                <a:gd name="T2" fmla="*/ 26 w 117"/>
                <a:gd name="T3" fmla="*/ 0 h 458"/>
                <a:gd name="T4" fmla="*/ 3 w 117"/>
                <a:gd name="T5" fmla="*/ 28 h 458"/>
                <a:gd name="T6" fmla="*/ 75 w 117"/>
                <a:gd name="T7" fmla="*/ 430 h 458"/>
                <a:gd name="T8" fmla="*/ 108 w 117"/>
                <a:gd name="T9" fmla="*/ 458 h 458"/>
                <a:gd name="T10" fmla="*/ 117 w 117"/>
                <a:gd name="T11" fmla="*/ 458 h 458"/>
                <a:gd name="T12" fmla="*/ 117 w 117"/>
                <a:gd name="T13" fmla="*/ 458 h 458"/>
                <a:gd name="T14" fmla="*/ 35 w 117"/>
                <a:gd name="T15" fmla="*/ 0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7" h="458">
                  <a:moveTo>
                    <a:pt x="35" y="0"/>
                  </a:moveTo>
                  <a:lnTo>
                    <a:pt x="26" y="0"/>
                  </a:lnTo>
                  <a:cubicBezTo>
                    <a:pt x="10" y="0"/>
                    <a:pt x="0" y="13"/>
                    <a:pt x="3" y="28"/>
                  </a:cubicBezTo>
                  <a:lnTo>
                    <a:pt x="75" y="430"/>
                  </a:lnTo>
                  <a:cubicBezTo>
                    <a:pt x="78" y="445"/>
                    <a:pt x="92" y="458"/>
                    <a:pt x="108" y="458"/>
                  </a:cubicBezTo>
                  <a:lnTo>
                    <a:pt x="117" y="458"/>
                  </a:lnTo>
                  <a:cubicBezTo>
                    <a:pt x="117" y="458"/>
                    <a:pt x="117" y="458"/>
                    <a:pt x="117" y="458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505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eform 974">
              <a:extLst>
                <a:ext uri="{FF2B5EF4-FFF2-40B4-BE49-F238E27FC236}">
                  <a16:creationId xmlns:a16="http://schemas.microsoft.com/office/drawing/2014/main" id="{EFE3A9A1-8561-70FF-C3E2-AB08A6771E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1829" y="4762718"/>
              <a:ext cx="182630" cy="154378"/>
            </a:xfrm>
            <a:custGeom>
              <a:avLst/>
              <a:gdLst>
                <a:gd name="T0" fmla="*/ 440 w 539"/>
                <a:gd name="T1" fmla="*/ 0 h 459"/>
                <a:gd name="T2" fmla="*/ 17 w 539"/>
                <a:gd name="T3" fmla="*/ 0 h 459"/>
                <a:gd name="T4" fmla="*/ 2 w 539"/>
                <a:gd name="T5" fmla="*/ 19 h 459"/>
                <a:gd name="T6" fmla="*/ 77 w 539"/>
                <a:gd name="T7" fmla="*/ 439 h 459"/>
                <a:gd name="T8" fmla="*/ 99 w 539"/>
                <a:gd name="T9" fmla="*/ 459 h 459"/>
                <a:gd name="T10" fmla="*/ 522 w 539"/>
                <a:gd name="T11" fmla="*/ 459 h 459"/>
                <a:gd name="T12" fmla="*/ 537 w 539"/>
                <a:gd name="T13" fmla="*/ 439 h 459"/>
                <a:gd name="T14" fmla="*/ 462 w 539"/>
                <a:gd name="T15" fmla="*/ 19 h 459"/>
                <a:gd name="T16" fmla="*/ 440 w 539"/>
                <a:gd name="T17" fmla="*/ 0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9" h="459">
                  <a:moveTo>
                    <a:pt x="440" y="0"/>
                  </a:moveTo>
                  <a:lnTo>
                    <a:pt x="17" y="0"/>
                  </a:lnTo>
                  <a:cubicBezTo>
                    <a:pt x="7" y="0"/>
                    <a:pt x="0" y="8"/>
                    <a:pt x="2" y="19"/>
                  </a:cubicBezTo>
                  <a:lnTo>
                    <a:pt x="77" y="439"/>
                  </a:lnTo>
                  <a:cubicBezTo>
                    <a:pt x="79" y="450"/>
                    <a:pt x="89" y="459"/>
                    <a:pt x="99" y="459"/>
                  </a:cubicBezTo>
                  <a:lnTo>
                    <a:pt x="522" y="459"/>
                  </a:lnTo>
                  <a:cubicBezTo>
                    <a:pt x="532" y="459"/>
                    <a:pt x="539" y="450"/>
                    <a:pt x="537" y="439"/>
                  </a:cubicBezTo>
                  <a:lnTo>
                    <a:pt x="462" y="19"/>
                  </a:lnTo>
                  <a:cubicBezTo>
                    <a:pt x="460" y="8"/>
                    <a:pt x="450" y="0"/>
                    <a:pt x="440" y="0"/>
                  </a:cubicBezTo>
                </a:path>
              </a:pathLst>
            </a:custGeom>
            <a:solidFill>
              <a:srgbClr val="D0D0D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eform 975">
              <a:extLst>
                <a:ext uri="{FF2B5EF4-FFF2-40B4-BE49-F238E27FC236}">
                  <a16:creationId xmlns:a16="http://schemas.microsoft.com/office/drawing/2014/main" id="{AF3CF92C-B9C9-4FAC-97C7-824355A47C4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0909" y="4768773"/>
              <a:ext cx="165477" cy="140252"/>
            </a:xfrm>
            <a:custGeom>
              <a:avLst/>
              <a:gdLst>
                <a:gd name="T0" fmla="*/ 398 w 490"/>
                <a:gd name="T1" fmla="*/ 0 h 414"/>
                <a:gd name="T2" fmla="*/ 17 w 490"/>
                <a:gd name="T3" fmla="*/ 0 h 414"/>
                <a:gd name="T4" fmla="*/ 2 w 490"/>
                <a:gd name="T5" fmla="*/ 20 h 414"/>
                <a:gd name="T6" fmla="*/ 69 w 490"/>
                <a:gd name="T7" fmla="*/ 394 h 414"/>
                <a:gd name="T8" fmla="*/ 92 w 490"/>
                <a:gd name="T9" fmla="*/ 414 h 414"/>
                <a:gd name="T10" fmla="*/ 472 w 490"/>
                <a:gd name="T11" fmla="*/ 414 h 414"/>
                <a:gd name="T12" fmla="*/ 488 w 490"/>
                <a:gd name="T13" fmla="*/ 394 h 414"/>
                <a:gd name="T14" fmla="*/ 421 w 490"/>
                <a:gd name="T15" fmla="*/ 20 h 414"/>
                <a:gd name="T16" fmla="*/ 398 w 490"/>
                <a:gd name="T17" fmla="*/ 0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0" h="414">
                  <a:moveTo>
                    <a:pt x="398" y="0"/>
                  </a:moveTo>
                  <a:lnTo>
                    <a:pt x="17" y="0"/>
                  </a:lnTo>
                  <a:cubicBezTo>
                    <a:pt x="7" y="0"/>
                    <a:pt x="0" y="9"/>
                    <a:pt x="2" y="20"/>
                  </a:cubicBezTo>
                  <a:lnTo>
                    <a:pt x="69" y="394"/>
                  </a:lnTo>
                  <a:cubicBezTo>
                    <a:pt x="71" y="405"/>
                    <a:pt x="81" y="414"/>
                    <a:pt x="92" y="414"/>
                  </a:cubicBezTo>
                  <a:lnTo>
                    <a:pt x="472" y="414"/>
                  </a:lnTo>
                  <a:cubicBezTo>
                    <a:pt x="483" y="414"/>
                    <a:pt x="490" y="405"/>
                    <a:pt x="488" y="394"/>
                  </a:cubicBezTo>
                  <a:lnTo>
                    <a:pt x="421" y="20"/>
                  </a:lnTo>
                  <a:cubicBezTo>
                    <a:pt x="419" y="9"/>
                    <a:pt x="409" y="0"/>
                    <a:pt x="398" y="0"/>
                  </a:cubicBezTo>
                </a:path>
              </a:pathLst>
            </a:custGeom>
            <a:solidFill>
              <a:srgbClr val="B3B3B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eform 976">
              <a:extLst>
                <a:ext uri="{FF2B5EF4-FFF2-40B4-BE49-F238E27FC236}">
                  <a16:creationId xmlns:a16="http://schemas.microsoft.com/office/drawing/2014/main" id="{1A72C682-7713-E378-8642-C8279EAA4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7106" y="4919114"/>
              <a:ext cx="43387" cy="6054"/>
            </a:xfrm>
            <a:custGeom>
              <a:avLst/>
              <a:gdLst>
                <a:gd name="T0" fmla="*/ 120 w 127"/>
                <a:gd name="T1" fmla="*/ 0 h 18"/>
                <a:gd name="T2" fmla="*/ 7 w 127"/>
                <a:gd name="T3" fmla="*/ 0 h 18"/>
                <a:gd name="T4" fmla="*/ 0 w 127"/>
                <a:gd name="T5" fmla="*/ 9 h 18"/>
                <a:gd name="T6" fmla="*/ 7 w 127"/>
                <a:gd name="T7" fmla="*/ 18 h 18"/>
                <a:gd name="T8" fmla="*/ 120 w 127"/>
                <a:gd name="T9" fmla="*/ 18 h 18"/>
                <a:gd name="T10" fmla="*/ 127 w 127"/>
                <a:gd name="T11" fmla="*/ 9 h 18"/>
                <a:gd name="T12" fmla="*/ 120 w 127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" h="18">
                  <a:moveTo>
                    <a:pt x="120" y="0"/>
                  </a:moveTo>
                  <a:lnTo>
                    <a:pt x="7" y="0"/>
                  </a:lnTo>
                  <a:cubicBezTo>
                    <a:pt x="3" y="0"/>
                    <a:pt x="0" y="4"/>
                    <a:pt x="0" y="9"/>
                  </a:cubicBezTo>
                  <a:cubicBezTo>
                    <a:pt x="0" y="14"/>
                    <a:pt x="3" y="18"/>
                    <a:pt x="7" y="18"/>
                  </a:cubicBezTo>
                  <a:lnTo>
                    <a:pt x="120" y="18"/>
                  </a:lnTo>
                  <a:cubicBezTo>
                    <a:pt x="124" y="18"/>
                    <a:pt x="127" y="14"/>
                    <a:pt x="127" y="9"/>
                  </a:cubicBezTo>
                  <a:cubicBezTo>
                    <a:pt x="127" y="4"/>
                    <a:pt x="124" y="0"/>
                    <a:pt x="120" y="0"/>
                  </a:cubicBezTo>
                  <a:close/>
                </a:path>
              </a:pathLst>
            </a:custGeom>
            <a:solidFill>
              <a:srgbClr val="5A6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eform 977">
              <a:extLst>
                <a:ext uri="{FF2B5EF4-FFF2-40B4-BE49-F238E27FC236}">
                  <a16:creationId xmlns:a16="http://schemas.microsoft.com/office/drawing/2014/main" id="{E4AC174A-B3D5-27FD-1D30-9B6EAF666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837" y="4919114"/>
              <a:ext cx="22198" cy="9081"/>
            </a:xfrm>
            <a:custGeom>
              <a:avLst/>
              <a:gdLst>
                <a:gd name="T0" fmla="*/ 52 w 64"/>
                <a:gd name="T1" fmla="*/ 0 h 27"/>
                <a:gd name="T2" fmla="*/ 13 w 64"/>
                <a:gd name="T3" fmla="*/ 0 h 27"/>
                <a:gd name="T4" fmla="*/ 0 w 64"/>
                <a:gd name="T5" fmla="*/ 13 h 27"/>
                <a:gd name="T6" fmla="*/ 13 w 64"/>
                <a:gd name="T7" fmla="*/ 27 h 27"/>
                <a:gd name="T8" fmla="*/ 52 w 64"/>
                <a:gd name="T9" fmla="*/ 27 h 27"/>
                <a:gd name="T10" fmla="*/ 64 w 64"/>
                <a:gd name="T11" fmla="*/ 13 h 27"/>
                <a:gd name="T12" fmla="*/ 52 w 64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27">
                  <a:moveTo>
                    <a:pt x="52" y="0"/>
                  </a:moveTo>
                  <a:lnTo>
                    <a:pt x="13" y="0"/>
                  </a:lnTo>
                  <a:cubicBezTo>
                    <a:pt x="6" y="0"/>
                    <a:pt x="0" y="6"/>
                    <a:pt x="0" y="13"/>
                  </a:cubicBezTo>
                  <a:cubicBezTo>
                    <a:pt x="0" y="21"/>
                    <a:pt x="6" y="27"/>
                    <a:pt x="13" y="27"/>
                  </a:cubicBezTo>
                  <a:lnTo>
                    <a:pt x="52" y="27"/>
                  </a:lnTo>
                  <a:cubicBezTo>
                    <a:pt x="59" y="27"/>
                    <a:pt x="64" y="21"/>
                    <a:pt x="64" y="13"/>
                  </a:cubicBezTo>
                  <a:cubicBezTo>
                    <a:pt x="64" y="6"/>
                    <a:pt x="59" y="0"/>
                    <a:pt x="52" y="0"/>
                  </a:cubicBezTo>
                  <a:close/>
                </a:path>
              </a:pathLst>
            </a:custGeom>
            <a:solidFill>
              <a:srgbClr val="5A6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eform 978">
              <a:extLst>
                <a:ext uri="{FF2B5EF4-FFF2-40B4-BE49-F238E27FC236}">
                  <a16:creationId xmlns:a16="http://schemas.microsoft.com/office/drawing/2014/main" id="{87517457-EF58-6CF5-FF42-2DFC1C069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5108" y="4919114"/>
              <a:ext cx="21189" cy="9081"/>
            </a:xfrm>
            <a:custGeom>
              <a:avLst/>
              <a:gdLst>
                <a:gd name="T0" fmla="*/ 52 w 64"/>
                <a:gd name="T1" fmla="*/ 0 h 27"/>
                <a:gd name="T2" fmla="*/ 13 w 64"/>
                <a:gd name="T3" fmla="*/ 0 h 27"/>
                <a:gd name="T4" fmla="*/ 0 w 64"/>
                <a:gd name="T5" fmla="*/ 13 h 27"/>
                <a:gd name="T6" fmla="*/ 13 w 64"/>
                <a:gd name="T7" fmla="*/ 27 h 27"/>
                <a:gd name="T8" fmla="*/ 52 w 64"/>
                <a:gd name="T9" fmla="*/ 27 h 27"/>
                <a:gd name="T10" fmla="*/ 64 w 64"/>
                <a:gd name="T11" fmla="*/ 13 h 27"/>
                <a:gd name="T12" fmla="*/ 52 w 64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27">
                  <a:moveTo>
                    <a:pt x="52" y="0"/>
                  </a:moveTo>
                  <a:lnTo>
                    <a:pt x="13" y="0"/>
                  </a:lnTo>
                  <a:cubicBezTo>
                    <a:pt x="6" y="0"/>
                    <a:pt x="0" y="6"/>
                    <a:pt x="0" y="13"/>
                  </a:cubicBezTo>
                  <a:cubicBezTo>
                    <a:pt x="0" y="21"/>
                    <a:pt x="6" y="27"/>
                    <a:pt x="13" y="27"/>
                  </a:cubicBezTo>
                  <a:lnTo>
                    <a:pt x="52" y="27"/>
                  </a:lnTo>
                  <a:cubicBezTo>
                    <a:pt x="59" y="27"/>
                    <a:pt x="64" y="21"/>
                    <a:pt x="64" y="13"/>
                  </a:cubicBezTo>
                  <a:cubicBezTo>
                    <a:pt x="64" y="6"/>
                    <a:pt x="59" y="0"/>
                    <a:pt x="52" y="0"/>
                  </a:cubicBezTo>
                  <a:close/>
                </a:path>
              </a:pathLst>
            </a:custGeom>
            <a:solidFill>
              <a:srgbClr val="5A6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eform 979">
              <a:extLst>
                <a:ext uri="{FF2B5EF4-FFF2-40B4-BE49-F238E27FC236}">
                  <a16:creationId xmlns:a16="http://schemas.microsoft.com/office/drawing/2014/main" id="{6F195164-EB90-F2D1-6CFB-EBAA2D555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368" y="4919114"/>
              <a:ext cx="21189" cy="9081"/>
            </a:xfrm>
            <a:custGeom>
              <a:avLst/>
              <a:gdLst>
                <a:gd name="T0" fmla="*/ 51 w 64"/>
                <a:gd name="T1" fmla="*/ 0 h 27"/>
                <a:gd name="T2" fmla="*/ 13 w 64"/>
                <a:gd name="T3" fmla="*/ 0 h 27"/>
                <a:gd name="T4" fmla="*/ 0 w 64"/>
                <a:gd name="T5" fmla="*/ 13 h 27"/>
                <a:gd name="T6" fmla="*/ 13 w 64"/>
                <a:gd name="T7" fmla="*/ 27 h 27"/>
                <a:gd name="T8" fmla="*/ 51 w 64"/>
                <a:gd name="T9" fmla="*/ 27 h 27"/>
                <a:gd name="T10" fmla="*/ 64 w 64"/>
                <a:gd name="T11" fmla="*/ 13 h 27"/>
                <a:gd name="T12" fmla="*/ 51 w 64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27">
                  <a:moveTo>
                    <a:pt x="51" y="0"/>
                  </a:moveTo>
                  <a:lnTo>
                    <a:pt x="13" y="0"/>
                  </a:lnTo>
                  <a:cubicBezTo>
                    <a:pt x="6" y="0"/>
                    <a:pt x="0" y="6"/>
                    <a:pt x="0" y="13"/>
                  </a:cubicBezTo>
                  <a:cubicBezTo>
                    <a:pt x="0" y="21"/>
                    <a:pt x="6" y="27"/>
                    <a:pt x="13" y="27"/>
                  </a:cubicBezTo>
                  <a:lnTo>
                    <a:pt x="51" y="27"/>
                  </a:lnTo>
                  <a:cubicBezTo>
                    <a:pt x="58" y="27"/>
                    <a:pt x="64" y="21"/>
                    <a:pt x="64" y="13"/>
                  </a:cubicBezTo>
                  <a:cubicBezTo>
                    <a:pt x="64" y="6"/>
                    <a:pt x="58" y="0"/>
                    <a:pt x="51" y="0"/>
                  </a:cubicBezTo>
                  <a:close/>
                </a:path>
              </a:pathLst>
            </a:custGeom>
            <a:solidFill>
              <a:srgbClr val="5A6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eform 980">
              <a:extLst>
                <a:ext uri="{FF2B5EF4-FFF2-40B4-BE49-F238E27FC236}">
                  <a16:creationId xmlns:a16="http://schemas.microsoft.com/office/drawing/2014/main" id="{ADB834A4-A65B-BE26-E2DF-1932E1FF44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3630" y="4919114"/>
              <a:ext cx="21189" cy="9081"/>
            </a:xfrm>
            <a:custGeom>
              <a:avLst/>
              <a:gdLst>
                <a:gd name="T0" fmla="*/ 51 w 64"/>
                <a:gd name="T1" fmla="*/ 0 h 27"/>
                <a:gd name="T2" fmla="*/ 13 w 64"/>
                <a:gd name="T3" fmla="*/ 0 h 27"/>
                <a:gd name="T4" fmla="*/ 0 w 64"/>
                <a:gd name="T5" fmla="*/ 13 h 27"/>
                <a:gd name="T6" fmla="*/ 13 w 64"/>
                <a:gd name="T7" fmla="*/ 27 h 27"/>
                <a:gd name="T8" fmla="*/ 51 w 64"/>
                <a:gd name="T9" fmla="*/ 27 h 27"/>
                <a:gd name="T10" fmla="*/ 64 w 64"/>
                <a:gd name="T11" fmla="*/ 13 h 27"/>
                <a:gd name="T12" fmla="*/ 51 w 64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27">
                  <a:moveTo>
                    <a:pt x="51" y="0"/>
                  </a:moveTo>
                  <a:lnTo>
                    <a:pt x="13" y="0"/>
                  </a:lnTo>
                  <a:cubicBezTo>
                    <a:pt x="6" y="0"/>
                    <a:pt x="0" y="6"/>
                    <a:pt x="0" y="13"/>
                  </a:cubicBezTo>
                  <a:cubicBezTo>
                    <a:pt x="0" y="21"/>
                    <a:pt x="6" y="27"/>
                    <a:pt x="13" y="27"/>
                  </a:cubicBezTo>
                  <a:lnTo>
                    <a:pt x="51" y="27"/>
                  </a:lnTo>
                  <a:cubicBezTo>
                    <a:pt x="58" y="27"/>
                    <a:pt x="64" y="21"/>
                    <a:pt x="64" y="13"/>
                  </a:cubicBezTo>
                  <a:cubicBezTo>
                    <a:pt x="64" y="6"/>
                    <a:pt x="58" y="0"/>
                    <a:pt x="51" y="0"/>
                  </a:cubicBezTo>
                  <a:close/>
                </a:path>
              </a:pathLst>
            </a:custGeom>
            <a:solidFill>
              <a:srgbClr val="5A6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eform 981">
              <a:extLst>
                <a:ext uri="{FF2B5EF4-FFF2-40B4-BE49-F238E27FC236}">
                  <a16:creationId xmlns:a16="http://schemas.microsoft.com/office/drawing/2014/main" id="{8C8DBEC3-454A-C488-5BCE-5D08F6E93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2891" y="4919114"/>
              <a:ext cx="21189" cy="9081"/>
            </a:xfrm>
            <a:custGeom>
              <a:avLst/>
              <a:gdLst>
                <a:gd name="T0" fmla="*/ 51 w 64"/>
                <a:gd name="T1" fmla="*/ 0 h 27"/>
                <a:gd name="T2" fmla="*/ 12 w 64"/>
                <a:gd name="T3" fmla="*/ 0 h 27"/>
                <a:gd name="T4" fmla="*/ 0 w 64"/>
                <a:gd name="T5" fmla="*/ 13 h 27"/>
                <a:gd name="T6" fmla="*/ 12 w 64"/>
                <a:gd name="T7" fmla="*/ 27 h 27"/>
                <a:gd name="T8" fmla="*/ 51 w 64"/>
                <a:gd name="T9" fmla="*/ 27 h 27"/>
                <a:gd name="T10" fmla="*/ 64 w 64"/>
                <a:gd name="T11" fmla="*/ 13 h 27"/>
                <a:gd name="T12" fmla="*/ 51 w 64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27">
                  <a:moveTo>
                    <a:pt x="51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3"/>
                  </a:cubicBezTo>
                  <a:cubicBezTo>
                    <a:pt x="0" y="21"/>
                    <a:pt x="5" y="27"/>
                    <a:pt x="12" y="27"/>
                  </a:cubicBezTo>
                  <a:lnTo>
                    <a:pt x="51" y="27"/>
                  </a:lnTo>
                  <a:cubicBezTo>
                    <a:pt x="58" y="27"/>
                    <a:pt x="64" y="21"/>
                    <a:pt x="64" y="13"/>
                  </a:cubicBezTo>
                  <a:cubicBezTo>
                    <a:pt x="64" y="6"/>
                    <a:pt x="58" y="0"/>
                    <a:pt x="51" y="0"/>
                  </a:cubicBezTo>
                  <a:close/>
                </a:path>
              </a:pathLst>
            </a:custGeom>
            <a:solidFill>
              <a:srgbClr val="5A6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eform 982">
              <a:extLst>
                <a:ext uri="{FF2B5EF4-FFF2-40B4-BE49-F238E27FC236}">
                  <a16:creationId xmlns:a16="http://schemas.microsoft.com/office/drawing/2014/main" id="{52C9E0FB-A0B3-3181-BF61-92589EB7516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9702" y="4931222"/>
              <a:ext cx="206846" cy="17153"/>
            </a:xfrm>
            <a:custGeom>
              <a:avLst/>
              <a:gdLst>
                <a:gd name="T0" fmla="*/ 0 w 610"/>
                <a:gd name="T1" fmla="*/ 0 h 53"/>
                <a:gd name="T2" fmla="*/ 0 w 610"/>
                <a:gd name="T3" fmla="*/ 13 h 53"/>
                <a:gd name="T4" fmla="*/ 38 w 610"/>
                <a:gd name="T5" fmla="*/ 53 h 53"/>
                <a:gd name="T6" fmla="*/ 573 w 610"/>
                <a:gd name="T7" fmla="*/ 53 h 53"/>
                <a:gd name="T8" fmla="*/ 610 w 610"/>
                <a:gd name="T9" fmla="*/ 13 h 53"/>
                <a:gd name="T10" fmla="*/ 610 w 610"/>
                <a:gd name="T11" fmla="*/ 0 h 53"/>
                <a:gd name="T12" fmla="*/ 610 w 610"/>
                <a:gd name="T13" fmla="*/ 0 h 53"/>
                <a:gd name="T14" fmla="*/ 0 w 610"/>
                <a:gd name="T1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0" h="53">
                  <a:moveTo>
                    <a:pt x="0" y="0"/>
                  </a:moveTo>
                  <a:lnTo>
                    <a:pt x="0" y="13"/>
                  </a:lnTo>
                  <a:cubicBezTo>
                    <a:pt x="0" y="35"/>
                    <a:pt x="17" y="53"/>
                    <a:pt x="38" y="53"/>
                  </a:cubicBezTo>
                  <a:lnTo>
                    <a:pt x="573" y="53"/>
                  </a:lnTo>
                  <a:cubicBezTo>
                    <a:pt x="594" y="53"/>
                    <a:pt x="610" y="35"/>
                    <a:pt x="610" y="13"/>
                  </a:cubicBezTo>
                  <a:lnTo>
                    <a:pt x="610" y="0"/>
                  </a:lnTo>
                  <a:lnTo>
                    <a:pt x="610" y="0"/>
                  </a:lnTo>
                  <a:lnTo>
                    <a:pt x="0" y="0"/>
                  </a:lnTo>
                </a:path>
              </a:pathLst>
            </a:custGeom>
            <a:solidFill>
              <a:srgbClr val="505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eform 983">
              <a:extLst>
                <a:ext uri="{FF2B5EF4-FFF2-40B4-BE49-F238E27FC236}">
                  <a16:creationId xmlns:a16="http://schemas.microsoft.com/office/drawing/2014/main" id="{7E93EAE2-BA49-A004-CDB5-42D548E6D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9702" y="4924159"/>
              <a:ext cx="206846" cy="7063"/>
            </a:xfrm>
            <a:custGeom>
              <a:avLst/>
              <a:gdLst>
                <a:gd name="T0" fmla="*/ 15 w 610"/>
                <a:gd name="T1" fmla="*/ 0 h 20"/>
                <a:gd name="T2" fmla="*/ 0 w 610"/>
                <a:gd name="T3" fmla="*/ 3 h 20"/>
                <a:gd name="T4" fmla="*/ 0 w 610"/>
                <a:gd name="T5" fmla="*/ 5 h 20"/>
                <a:gd name="T6" fmla="*/ 0 w 610"/>
                <a:gd name="T7" fmla="*/ 20 h 20"/>
                <a:gd name="T8" fmla="*/ 610 w 610"/>
                <a:gd name="T9" fmla="*/ 20 h 20"/>
                <a:gd name="T10" fmla="*/ 610 w 610"/>
                <a:gd name="T11" fmla="*/ 20 h 20"/>
                <a:gd name="T12" fmla="*/ 610 w 610"/>
                <a:gd name="T13" fmla="*/ 5 h 20"/>
                <a:gd name="T14" fmla="*/ 610 w 610"/>
                <a:gd name="T15" fmla="*/ 0 h 20"/>
                <a:gd name="T16" fmla="*/ 15 w 610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0" h="20">
                  <a:moveTo>
                    <a:pt x="15" y="0"/>
                  </a:moveTo>
                  <a:cubicBezTo>
                    <a:pt x="10" y="0"/>
                    <a:pt x="5" y="1"/>
                    <a:pt x="0" y="3"/>
                  </a:cubicBezTo>
                  <a:cubicBezTo>
                    <a:pt x="0" y="4"/>
                    <a:pt x="0" y="4"/>
                    <a:pt x="0" y="5"/>
                  </a:cubicBezTo>
                  <a:lnTo>
                    <a:pt x="0" y="20"/>
                  </a:lnTo>
                  <a:lnTo>
                    <a:pt x="610" y="20"/>
                  </a:lnTo>
                  <a:lnTo>
                    <a:pt x="610" y="20"/>
                  </a:lnTo>
                  <a:lnTo>
                    <a:pt x="610" y="5"/>
                  </a:lnTo>
                  <a:cubicBezTo>
                    <a:pt x="610" y="3"/>
                    <a:pt x="610" y="2"/>
                    <a:pt x="610" y="0"/>
                  </a:cubicBezTo>
                  <a:lnTo>
                    <a:pt x="15" y="0"/>
                  </a:lnTo>
                  <a:close/>
                </a:path>
              </a:pathLst>
            </a:custGeom>
            <a:solidFill>
              <a:srgbClr val="9BA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Freeform 984">
              <a:extLst>
                <a:ext uri="{FF2B5EF4-FFF2-40B4-BE49-F238E27FC236}">
                  <a16:creationId xmlns:a16="http://schemas.microsoft.com/office/drawing/2014/main" id="{C98DF041-E856-7B40-B99A-BB452CE67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0155" y="4969564"/>
              <a:ext cx="335999" cy="124108"/>
            </a:xfrm>
            <a:custGeom>
              <a:avLst/>
              <a:gdLst>
                <a:gd name="T0" fmla="*/ 982 w 995"/>
                <a:gd name="T1" fmla="*/ 155 h 367"/>
                <a:gd name="T2" fmla="*/ 674 w 995"/>
                <a:gd name="T3" fmla="*/ 59 h 367"/>
                <a:gd name="T4" fmla="*/ 379 w 995"/>
                <a:gd name="T5" fmla="*/ 0 h 367"/>
                <a:gd name="T6" fmla="*/ 274 w 995"/>
                <a:gd name="T7" fmla="*/ 31 h 367"/>
                <a:gd name="T8" fmla="*/ 236 w 995"/>
                <a:gd name="T9" fmla="*/ 35 h 367"/>
                <a:gd name="T10" fmla="*/ 75 w 995"/>
                <a:gd name="T11" fmla="*/ 37 h 367"/>
                <a:gd name="T12" fmla="*/ 2 w 995"/>
                <a:gd name="T13" fmla="*/ 133 h 367"/>
                <a:gd name="T14" fmla="*/ 169 w 995"/>
                <a:gd name="T15" fmla="*/ 273 h 367"/>
                <a:gd name="T16" fmla="*/ 726 w 995"/>
                <a:gd name="T17" fmla="*/ 278 h 367"/>
                <a:gd name="T18" fmla="*/ 752 w 995"/>
                <a:gd name="T19" fmla="*/ 300 h 367"/>
                <a:gd name="T20" fmla="*/ 752 w 995"/>
                <a:gd name="T21" fmla="*/ 367 h 367"/>
                <a:gd name="T22" fmla="*/ 977 w 995"/>
                <a:gd name="T23" fmla="*/ 367 h 367"/>
                <a:gd name="T24" fmla="*/ 982 w 995"/>
                <a:gd name="T25" fmla="*/ 155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5" h="367">
                  <a:moveTo>
                    <a:pt x="982" y="155"/>
                  </a:moveTo>
                  <a:cubicBezTo>
                    <a:pt x="977" y="116"/>
                    <a:pt x="739" y="74"/>
                    <a:pt x="674" y="59"/>
                  </a:cubicBezTo>
                  <a:cubicBezTo>
                    <a:pt x="610" y="44"/>
                    <a:pt x="379" y="0"/>
                    <a:pt x="379" y="0"/>
                  </a:cubicBezTo>
                  <a:lnTo>
                    <a:pt x="274" y="31"/>
                  </a:lnTo>
                  <a:lnTo>
                    <a:pt x="236" y="35"/>
                  </a:lnTo>
                  <a:lnTo>
                    <a:pt x="75" y="37"/>
                  </a:lnTo>
                  <a:cubicBezTo>
                    <a:pt x="75" y="37"/>
                    <a:pt x="0" y="57"/>
                    <a:pt x="2" y="133"/>
                  </a:cubicBezTo>
                  <a:cubicBezTo>
                    <a:pt x="3" y="208"/>
                    <a:pt x="81" y="260"/>
                    <a:pt x="169" y="273"/>
                  </a:cubicBezTo>
                  <a:cubicBezTo>
                    <a:pt x="258" y="286"/>
                    <a:pt x="698" y="276"/>
                    <a:pt x="726" y="278"/>
                  </a:cubicBezTo>
                  <a:cubicBezTo>
                    <a:pt x="754" y="280"/>
                    <a:pt x="752" y="300"/>
                    <a:pt x="752" y="300"/>
                  </a:cubicBezTo>
                  <a:lnTo>
                    <a:pt x="752" y="367"/>
                  </a:lnTo>
                  <a:lnTo>
                    <a:pt x="977" y="367"/>
                  </a:lnTo>
                  <a:cubicBezTo>
                    <a:pt x="995" y="266"/>
                    <a:pt x="988" y="193"/>
                    <a:pt x="982" y="155"/>
                  </a:cubicBez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Freeform 985">
              <a:extLst>
                <a:ext uri="{FF2B5EF4-FFF2-40B4-BE49-F238E27FC236}">
                  <a16:creationId xmlns:a16="http://schemas.microsoft.com/office/drawing/2014/main" id="{9C29E1A2-8448-A216-D728-0591A969F9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0155" y="4972591"/>
              <a:ext cx="321873" cy="121081"/>
            </a:xfrm>
            <a:custGeom>
              <a:avLst/>
              <a:gdLst>
                <a:gd name="T0" fmla="*/ 951 w 951"/>
                <a:gd name="T1" fmla="*/ 185 h 360"/>
                <a:gd name="T2" fmla="*/ 810 w 951"/>
                <a:gd name="T3" fmla="*/ 267 h 360"/>
                <a:gd name="T4" fmla="*/ 788 w 951"/>
                <a:gd name="T5" fmla="*/ 206 h 360"/>
                <a:gd name="T6" fmla="*/ 427 w 951"/>
                <a:gd name="T7" fmla="*/ 189 h 360"/>
                <a:gd name="T8" fmla="*/ 151 w 951"/>
                <a:gd name="T9" fmla="*/ 150 h 360"/>
                <a:gd name="T10" fmla="*/ 262 w 951"/>
                <a:gd name="T11" fmla="*/ 95 h 360"/>
                <a:gd name="T12" fmla="*/ 392 w 951"/>
                <a:gd name="T13" fmla="*/ 0 h 360"/>
                <a:gd name="T14" fmla="*/ 344 w 951"/>
                <a:gd name="T15" fmla="*/ 3 h 360"/>
                <a:gd name="T16" fmla="*/ 274 w 951"/>
                <a:gd name="T17" fmla="*/ 24 h 360"/>
                <a:gd name="T18" fmla="*/ 236 w 951"/>
                <a:gd name="T19" fmla="*/ 28 h 360"/>
                <a:gd name="T20" fmla="*/ 75 w 951"/>
                <a:gd name="T21" fmla="*/ 30 h 360"/>
                <a:gd name="T22" fmla="*/ 2 w 951"/>
                <a:gd name="T23" fmla="*/ 126 h 360"/>
                <a:gd name="T24" fmla="*/ 169 w 951"/>
                <a:gd name="T25" fmla="*/ 266 h 360"/>
                <a:gd name="T26" fmla="*/ 726 w 951"/>
                <a:gd name="T27" fmla="*/ 271 h 360"/>
                <a:gd name="T28" fmla="*/ 752 w 951"/>
                <a:gd name="T29" fmla="*/ 293 h 360"/>
                <a:gd name="T30" fmla="*/ 752 w 951"/>
                <a:gd name="T31" fmla="*/ 360 h 360"/>
                <a:gd name="T32" fmla="*/ 832 w 951"/>
                <a:gd name="T33" fmla="*/ 360 h 360"/>
                <a:gd name="T34" fmla="*/ 951 w 951"/>
                <a:gd name="T35" fmla="*/ 185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51" h="360">
                  <a:moveTo>
                    <a:pt x="951" y="185"/>
                  </a:moveTo>
                  <a:lnTo>
                    <a:pt x="810" y="267"/>
                  </a:lnTo>
                  <a:lnTo>
                    <a:pt x="788" y="206"/>
                  </a:lnTo>
                  <a:cubicBezTo>
                    <a:pt x="788" y="206"/>
                    <a:pt x="499" y="176"/>
                    <a:pt x="427" y="189"/>
                  </a:cubicBezTo>
                  <a:cubicBezTo>
                    <a:pt x="356" y="202"/>
                    <a:pt x="151" y="150"/>
                    <a:pt x="151" y="150"/>
                  </a:cubicBezTo>
                  <a:cubicBezTo>
                    <a:pt x="151" y="150"/>
                    <a:pt x="195" y="109"/>
                    <a:pt x="262" y="95"/>
                  </a:cubicBezTo>
                  <a:cubicBezTo>
                    <a:pt x="329" y="82"/>
                    <a:pt x="392" y="0"/>
                    <a:pt x="392" y="0"/>
                  </a:cubicBezTo>
                  <a:lnTo>
                    <a:pt x="344" y="3"/>
                  </a:lnTo>
                  <a:lnTo>
                    <a:pt x="274" y="24"/>
                  </a:lnTo>
                  <a:lnTo>
                    <a:pt x="236" y="28"/>
                  </a:lnTo>
                  <a:lnTo>
                    <a:pt x="75" y="30"/>
                  </a:lnTo>
                  <a:cubicBezTo>
                    <a:pt x="75" y="30"/>
                    <a:pt x="0" y="50"/>
                    <a:pt x="2" y="126"/>
                  </a:cubicBezTo>
                  <a:cubicBezTo>
                    <a:pt x="3" y="201"/>
                    <a:pt x="81" y="253"/>
                    <a:pt x="169" y="266"/>
                  </a:cubicBezTo>
                  <a:cubicBezTo>
                    <a:pt x="258" y="279"/>
                    <a:pt x="698" y="269"/>
                    <a:pt x="726" y="271"/>
                  </a:cubicBezTo>
                  <a:cubicBezTo>
                    <a:pt x="754" y="273"/>
                    <a:pt x="752" y="293"/>
                    <a:pt x="752" y="293"/>
                  </a:cubicBezTo>
                  <a:lnTo>
                    <a:pt x="752" y="360"/>
                  </a:lnTo>
                  <a:lnTo>
                    <a:pt x="832" y="360"/>
                  </a:lnTo>
                  <a:lnTo>
                    <a:pt x="951" y="185"/>
                  </a:lnTo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reeform 986">
              <a:extLst>
                <a:ext uri="{FF2B5EF4-FFF2-40B4-BE49-F238E27FC236}">
                  <a16:creationId xmlns:a16="http://schemas.microsoft.com/office/drawing/2014/main" id="{B324CC1C-E10D-5801-E67A-BDF73A812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4911" y="4721350"/>
              <a:ext cx="36324" cy="40360"/>
            </a:xfrm>
            <a:custGeom>
              <a:avLst/>
              <a:gdLst>
                <a:gd name="T0" fmla="*/ 16 w 36"/>
                <a:gd name="T1" fmla="*/ 0 h 40"/>
                <a:gd name="T2" fmla="*/ 36 w 36"/>
                <a:gd name="T3" fmla="*/ 15 h 40"/>
                <a:gd name="T4" fmla="*/ 12 w 36"/>
                <a:gd name="T5" fmla="*/ 40 h 40"/>
                <a:gd name="T6" fmla="*/ 0 w 36"/>
                <a:gd name="T7" fmla="*/ 18 h 40"/>
                <a:gd name="T8" fmla="*/ 16 w 36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40">
                  <a:moveTo>
                    <a:pt x="16" y="0"/>
                  </a:moveTo>
                  <a:lnTo>
                    <a:pt x="36" y="15"/>
                  </a:lnTo>
                  <a:lnTo>
                    <a:pt x="12" y="40"/>
                  </a:lnTo>
                  <a:lnTo>
                    <a:pt x="0" y="18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1F40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 987">
              <a:extLst>
                <a:ext uri="{FF2B5EF4-FFF2-40B4-BE49-F238E27FC236}">
                  <a16:creationId xmlns:a16="http://schemas.microsoft.com/office/drawing/2014/main" id="{FB3E97C0-EC85-473E-6156-58EA6A4898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3685" y="4879763"/>
              <a:ext cx="21189" cy="14126"/>
            </a:xfrm>
            <a:custGeom>
              <a:avLst/>
              <a:gdLst>
                <a:gd name="T0" fmla="*/ 34 w 63"/>
                <a:gd name="T1" fmla="*/ 4 h 41"/>
                <a:gd name="T2" fmla="*/ 63 w 63"/>
                <a:gd name="T3" fmla="*/ 38 h 41"/>
                <a:gd name="T4" fmla="*/ 48 w 63"/>
                <a:gd name="T5" fmla="*/ 37 h 41"/>
                <a:gd name="T6" fmla="*/ 0 w 63"/>
                <a:gd name="T7" fmla="*/ 0 h 41"/>
                <a:gd name="T8" fmla="*/ 34 w 63"/>
                <a:gd name="T9" fmla="*/ 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41">
                  <a:moveTo>
                    <a:pt x="34" y="4"/>
                  </a:moveTo>
                  <a:lnTo>
                    <a:pt x="63" y="38"/>
                  </a:lnTo>
                  <a:cubicBezTo>
                    <a:pt x="63" y="38"/>
                    <a:pt x="54" y="41"/>
                    <a:pt x="48" y="37"/>
                  </a:cubicBezTo>
                  <a:cubicBezTo>
                    <a:pt x="42" y="33"/>
                    <a:pt x="0" y="0"/>
                    <a:pt x="0" y="0"/>
                  </a:cubicBezTo>
                  <a:lnTo>
                    <a:pt x="34" y="4"/>
                  </a:lnTo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 988">
              <a:extLst>
                <a:ext uri="{FF2B5EF4-FFF2-40B4-BE49-F238E27FC236}">
                  <a16:creationId xmlns:a16="http://schemas.microsoft.com/office/drawing/2014/main" id="{69727369-651B-FF21-79CA-67C7BEAD2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2514" y="4614395"/>
              <a:ext cx="18162" cy="31279"/>
            </a:xfrm>
            <a:custGeom>
              <a:avLst/>
              <a:gdLst>
                <a:gd name="T0" fmla="*/ 26 w 55"/>
                <a:gd name="T1" fmla="*/ 0 h 93"/>
                <a:gd name="T2" fmla="*/ 48 w 55"/>
                <a:gd name="T3" fmla="*/ 43 h 93"/>
                <a:gd name="T4" fmla="*/ 32 w 55"/>
                <a:gd name="T5" fmla="*/ 93 h 93"/>
                <a:gd name="T6" fmla="*/ 0 w 55"/>
                <a:gd name="T7" fmla="*/ 32 h 93"/>
                <a:gd name="T8" fmla="*/ 26 w 5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93">
                  <a:moveTo>
                    <a:pt x="26" y="0"/>
                  </a:moveTo>
                  <a:cubicBezTo>
                    <a:pt x="26" y="0"/>
                    <a:pt x="55" y="11"/>
                    <a:pt x="48" y="43"/>
                  </a:cubicBezTo>
                  <a:cubicBezTo>
                    <a:pt x="41" y="75"/>
                    <a:pt x="32" y="93"/>
                    <a:pt x="32" y="93"/>
                  </a:cubicBezTo>
                  <a:lnTo>
                    <a:pt x="0" y="32"/>
                  </a:lnTo>
                  <a:lnTo>
                    <a:pt x="2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Freeform 989">
              <a:extLst>
                <a:ext uri="{FF2B5EF4-FFF2-40B4-BE49-F238E27FC236}">
                  <a16:creationId xmlns:a16="http://schemas.microsoft.com/office/drawing/2014/main" id="{1213EAC1-197B-ACED-99D5-973435F47F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6315" y="4769782"/>
              <a:ext cx="37333" cy="142270"/>
            </a:xfrm>
            <a:custGeom>
              <a:avLst/>
              <a:gdLst>
                <a:gd name="T0" fmla="*/ 86 w 111"/>
                <a:gd name="T1" fmla="*/ 3 h 422"/>
                <a:gd name="T2" fmla="*/ 86 w 111"/>
                <a:gd name="T3" fmla="*/ 3 h 422"/>
                <a:gd name="T4" fmla="*/ 0 w 111"/>
                <a:gd name="T5" fmla="*/ 0 h 422"/>
                <a:gd name="T6" fmla="*/ 63 w 111"/>
                <a:gd name="T7" fmla="*/ 17 h 422"/>
                <a:gd name="T8" fmla="*/ 62 w 111"/>
                <a:gd name="T9" fmla="*/ 23 h 422"/>
                <a:gd name="T10" fmla="*/ 62 w 111"/>
                <a:gd name="T11" fmla="*/ 403 h 422"/>
                <a:gd name="T12" fmla="*/ 86 w 111"/>
                <a:gd name="T13" fmla="*/ 421 h 422"/>
                <a:gd name="T14" fmla="*/ 111 w 111"/>
                <a:gd name="T15" fmla="*/ 400 h 422"/>
                <a:gd name="T16" fmla="*/ 111 w 111"/>
                <a:gd name="T17" fmla="*/ 22 h 422"/>
                <a:gd name="T18" fmla="*/ 86 w 111"/>
                <a:gd name="T19" fmla="*/ 3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" h="422">
                  <a:moveTo>
                    <a:pt x="86" y="3"/>
                  </a:moveTo>
                  <a:cubicBezTo>
                    <a:pt x="86" y="3"/>
                    <a:pt x="86" y="3"/>
                    <a:pt x="86" y="3"/>
                  </a:cubicBezTo>
                  <a:lnTo>
                    <a:pt x="0" y="0"/>
                  </a:lnTo>
                  <a:lnTo>
                    <a:pt x="63" y="17"/>
                  </a:lnTo>
                  <a:cubicBezTo>
                    <a:pt x="63" y="19"/>
                    <a:pt x="62" y="21"/>
                    <a:pt x="62" y="23"/>
                  </a:cubicBezTo>
                  <a:lnTo>
                    <a:pt x="62" y="403"/>
                  </a:lnTo>
                  <a:cubicBezTo>
                    <a:pt x="62" y="414"/>
                    <a:pt x="73" y="422"/>
                    <a:pt x="86" y="421"/>
                  </a:cubicBezTo>
                  <a:cubicBezTo>
                    <a:pt x="100" y="420"/>
                    <a:pt x="111" y="411"/>
                    <a:pt x="111" y="400"/>
                  </a:cubicBezTo>
                  <a:lnTo>
                    <a:pt x="111" y="22"/>
                  </a:lnTo>
                  <a:cubicBezTo>
                    <a:pt x="111" y="11"/>
                    <a:pt x="100" y="3"/>
                    <a:pt x="86" y="3"/>
                  </a:cubicBezTo>
                </a:path>
              </a:pathLst>
            </a:custGeom>
            <a:solidFill>
              <a:srgbClr val="7A86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 990">
              <a:extLst>
                <a:ext uri="{FF2B5EF4-FFF2-40B4-BE49-F238E27FC236}">
                  <a16:creationId xmlns:a16="http://schemas.microsoft.com/office/drawing/2014/main" id="{7A72B4F1-2045-F020-0C3E-93964088B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3307" y="4765746"/>
              <a:ext cx="140252" cy="146306"/>
            </a:xfrm>
            <a:custGeom>
              <a:avLst/>
              <a:gdLst>
                <a:gd name="T0" fmla="*/ 405 w 415"/>
                <a:gd name="T1" fmla="*/ 14 h 433"/>
                <a:gd name="T2" fmla="*/ 8 w 415"/>
                <a:gd name="T3" fmla="*/ 0 h 433"/>
                <a:gd name="T4" fmla="*/ 0 w 415"/>
                <a:gd name="T5" fmla="*/ 16 h 433"/>
                <a:gd name="T6" fmla="*/ 0 w 415"/>
                <a:gd name="T7" fmla="*/ 367 h 433"/>
                <a:gd name="T8" fmla="*/ 8 w 415"/>
                <a:gd name="T9" fmla="*/ 384 h 433"/>
                <a:gd name="T10" fmla="*/ 405 w 415"/>
                <a:gd name="T11" fmla="*/ 432 h 433"/>
                <a:gd name="T12" fmla="*/ 415 w 415"/>
                <a:gd name="T13" fmla="*/ 416 h 433"/>
                <a:gd name="T14" fmla="*/ 415 w 415"/>
                <a:gd name="T15" fmla="*/ 32 h 433"/>
                <a:gd name="T16" fmla="*/ 405 w 415"/>
                <a:gd name="T17" fmla="*/ 14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5" h="433">
                  <a:moveTo>
                    <a:pt x="405" y="14"/>
                  </a:moveTo>
                  <a:lnTo>
                    <a:pt x="8" y="0"/>
                  </a:lnTo>
                  <a:cubicBezTo>
                    <a:pt x="4" y="0"/>
                    <a:pt x="0" y="7"/>
                    <a:pt x="0" y="16"/>
                  </a:cubicBezTo>
                  <a:lnTo>
                    <a:pt x="0" y="367"/>
                  </a:lnTo>
                  <a:cubicBezTo>
                    <a:pt x="0" y="376"/>
                    <a:pt x="4" y="384"/>
                    <a:pt x="8" y="384"/>
                  </a:cubicBezTo>
                  <a:lnTo>
                    <a:pt x="405" y="432"/>
                  </a:lnTo>
                  <a:cubicBezTo>
                    <a:pt x="410" y="433"/>
                    <a:pt x="415" y="426"/>
                    <a:pt x="415" y="416"/>
                  </a:cubicBezTo>
                  <a:lnTo>
                    <a:pt x="415" y="32"/>
                  </a:lnTo>
                  <a:cubicBezTo>
                    <a:pt x="415" y="22"/>
                    <a:pt x="410" y="14"/>
                    <a:pt x="405" y="14"/>
                  </a:cubicBezTo>
                </a:path>
              </a:pathLst>
            </a:custGeom>
            <a:solidFill>
              <a:srgbClr val="D0D0D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 991">
              <a:extLst>
                <a:ext uri="{FF2B5EF4-FFF2-40B4-BE49-F238E27FC236}">
                  <a16:creationId xmlns:a16="http://schemas.microsoft.com/office/drawing/2014/main" id="{88C0A61D-CE9C-0364-3D36-DC0FF589D6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343" y="4772808"/>
              <a:ext cx="130162" cy="131170"/>
            </a:xfrm>
            <a:custGeom>
              <a:avLst/>
              <a:gdLst>
                <a:gd name="T0" fmla="*/ 378 w 386"/>
                <a:gd name="T1" fmla="*/ 15 h 390"/>
                <a:gd name="T2" fmla="*/ 7 w 386"/>
                <a:gd name="T3" fmla="*/ 0 h 390"/>
                <a:gd name="T4" fmla="*/ 0 w 386"/>
                <a:gd name="T5" fmla="*/ 15 h 390"/>
                <a:gd name="T6" fmla="*/ 0 w 386"/>
                <a:gd name="T7" fmla="*/ 330 h 390"/>
                <a:gd name="T8" fmla="*/ 7 w 386"/>
                <a:gd name="T9" fmla="*/ 345 h 390"/>
                <a:gd name="T10" fmla="*/ 378 w 386"/>
                <a:gd name="T11" fmla="*/ 389 h 390"/>
                <a:gd name="T12" fmla="*/ 386 w 386"/>
                <a:gd name="T13" fmla="*/ 374 h 390"/>
                <a:gd name="T14" fmla="*/ 386 w 386"/>
                <a:gd name="T15" fmla="*/ 32 h 390"/>
                <a:gd name="T16" fmla="*/ 378 w 386"/>
                <a:gd name="T17" fmla="*/ 1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6" h="390">
                  <a:moveTo>
                    <a:pt x="378" y="15"/>
                  </a:moveTo>
                  <a:lnTo>
                    <a:pt x="7" y="0"/>
                  </a:lnTo>
                  <a:cubicBezTo>
                    <a:pt x="3" y="0"/>
                    <a:pt x="0" y="7"/>
                    <a:pt x="0" y="15"/>
                  </a:cubicBezTo>
                  <a:lnTo>
                    <a:pt x="0" y="330"/>
                  </a:lnTo>
                  <a:cubicBezTo>
                    <a:pt x="0" y="338"/>
                    <a:pt x="3" y="345"/>
                    <a:pt x="7" y="345"/>
                  </a:cubicBezTo>
                  <a:lnTo>
                    <a:pt x="378" y="389"/>
                  </a:lnTo>
                  <a:cubicBezTo>
                    <a:pt x="383" y="390"/>
                    <a:pt x="386" y="383"/>
                    <a:pt x="386" y="374"/>
                  </a:cubicBezTo>
                  <a:lnTo>
                    <a:pt x="386" y="32"/>
                  </a:lnTo>
                  <a:cubicBezTo>
                    <a:pt x="386" y="23"/>
                    <a:pt x="383" y="16"/>
                    <a:pt x="378" y="15"/>
                  </a:cubicBez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992">
              <a:extLst>
                <a:ext uri="{FF2B5EF4-FFF2-40B4-BE49-F238E27FC236}">
                  <a16:creationId xmlns:a16="http://schemas.microsoft.com/office/drawing/2014/main" id="{42EE217C-90EC-729E-C7BB-E700CEED5A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1127" y="4912051"/>
              <a:ext cx="125116" cy="35315"/>
            </a:xfrm>
            <a:custGeom>
              <a:avLst/>
              <a:gdLst>
                <a:gd name="T0" fmla="*/ 367 w 371"/>
                <a:gd name="T1" fmla="*/ 60 h 106"/>
                <a:gd name="T2" fmla="*/ 2 w 371"/>
                <a:gd name="T3" fmla="*/ 0 h 106"/>
                <a:gd name="T4" fmla="*/ 0 w 371"/>
                <a:gd name="T5" fmla="*/ 6 h 106"/>
                <a:gd name="T6" fmla="*/ 0 w 371"/>
                <a:gd name="T7" fmla="*/ 34 h 106"/>
                <a:gd name="T8" fmla="*/ 2 w 371"/>
                <a:gd name="T9" fmla="*/ 41 h 106"/>
                <a:gd name="T10" fmla="*/ 367 w 371"/>
                <a:gd name="T11" fmla="*/ 105 h 106"/>
                <a:gd name="T12" fmla="*/ 371 w 371"/>
                <a:gd name="T13" fmla="*/ 98 h 106"/>
                <a:gd name="T14" fmla="*/ 371 w 371"/>
                <a:gd name="T15" fmla="*/ 68 h 106"/>
                <a:gd name="T16" fmla="*/ 367 w 371"/>
                <a:gd name="T17" fmla="*/ 6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1" h="106">
                  <a:moveTo>
                    <a:pt x="367" y="60"/>
                  </a:moveTo>
                  <a:lnTo>
                    <a:pt x="2" y="0"/>
                  </a:lnTo>
                  <a:cubicBezTo>
                    <a:pt x="1" y="0"/>
                    <a:pt x="0" y="3"/>
                    <a:pt x="0" y="6"/>
                  </a:cubicBezTo>
                  <a:lnTo>
                    <a:pt x="0" y="34"/>
                  </a:lnTo>
                  <a:cubicBezTo>
                    <a:pt x="0" y="38"/>
                    <a:pt x="1" y="41"/>
                    <a:pt x="2" y="41"/>
                  </a:cubicBezTo>
                  <a:lnTo>
                    <a:pt x="367" y="105"/>
                  </a:lnTo>
                  <a:cubicBezTo>
                    <a:pt x="369" y="106"/>
                    <a:pt x="371" y="102"/>
                    <a:pt x="371" y="98"/>
                  </a:cubicBezTo>
                  <a:lnTo>
                    <a:pt x="371" y="68"/>
                  </a:lnTo>
                  <a:cubicBezTo>
                    <a:pt x="371" y="64"/>
                    <a:pt x="369" y="60"/>
                    <a:pt x="367" y="60"/>
                  </a:cubicBezTo>
                  <a:close/>
                </a:path>
              </a:pathLst>
            </a:custGeom>
            <a:solidFill>
              <a:srgbClr val="4B6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 993">
              <a:extLst>
                <a:ext uri="{FF2B5EF4-FFF2-40B4-BE49-F238E27FC236}">
                  <a16:creationId xmlns:a16="http://schemas.microsoft.com/office/drawing/2014/main" id="{91D6BE0E-CED1-B7E0-6265-68775C61F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189" y="4921132"/>
              <a:ext cx="158414" cy="26234"/>
            </a:xfrm>
            <a:custGeom>
              <a:avLst/>
              <a:gdLst>
                <a:gd name="T0" fmla="*/ 456 w 466"/>
                <a:gd name="T1" fmla="*/ 0 h 79"/>
                <a:gd name="T2" fmla="*/ 11 w 466"/>
                <a:gd name="T3" fmla="*/ 33 h 79"/>
                <a:gd name="T4" fmla="*/ 0 w 466"/>
                <a:gd name="T5" fmla="*/ 45 h 79"/>
                <a:gd name="T6" fmla="*/ 0 w 466"/>
                <a:gd name="T7" fmla="*/ 68 h 79"/>
                <a:gd name="T8" fmla="*/ 11 w 466"/>
                <a:gd name="T9" fmla="*/ 78 h 79"/>
                <a:gd name="T10" fmla="*/ 456 w 466"/>
                <a:gd name="T11" fmla="*/ 44 h 79"/>
                <a:gd name="T12" fmla="*/ 466 w 466"/>
                <a:gd name="T13" fmla="*/ 33 h 79"/>
                <a:gd name="T14" fmla="*/ 466 w 466"/>
                <a:gd name="T15" fmla="*/ 10 h 79"/>
                <a:gd name="T16" fmla="*/ 456 w 466"/>
                <a:gd name="T17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6" h="79">
                  <a:moveTo>
                    <a:pt x="456" y="0"/>
                  </a:moveTo>
                  <a:lnTo>
                    <a:pt x="11" y="33"/>
                  </a:lnTo>
                  <a:cubicBezTo>
                    <a:pt x="5" y="33"/>
                    <a:pt x="0" y="38"/>
                    <a:pt x="0" y="45"/>
                  </a:cubicBezTo>
                  <a:lnTo>
                    <a:pt x="0" y="68"/>
                  </a:lnTo>
                  <a:cubicBezTo>
                    <a:pt x="0" y="74"/>
                    <a:pt x="5" y="79"/>
                    <a:pt x="11" y="78"/>
                  </a:cubicBezTo>
                  <a:lnTo>
                    <a:pt x="456" y="44"/>
                  </a:lnTo>
                  <a:cubicBezTo>
                    <a:pt x="462" y="44"/>
                    <a:pt x="466" y="38"/>
                    <a:pt x="466" y="33"/>
                  </a:cubicBezTo>
                  <a:lnTo>
                    <a:pt x="466" y="10"/>
                  </a:lnTo>
                  <a:cubicBezTo>
                    <a:pt x="466" y="4"/>
                    <a:pt x="462" y="0"/>
                    <a:pt x="456" y="0"/>
                  </a:cubicBezTo>
                  <a:close/>
                </a:path>
              </a:pathLst>
            </a:custGeom>
            <a:solidFill>
              <a:srgbClr val="6BA6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 994">
              <a:extLst>
                <a:ext uri="{FF2B5EF4-FFF2-40B4-BE49-F238E27FC236}">
                  <a16:creationId xmlns:a16="http://schemas.microsoft.com/office/drawing/2014/main" id="{BCDBE6D0-0B17-6204-8258-D989F05865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9109" y="4903979"/>
              <a:ext cx="277477" cy="28252"/>
            </a:xfrm>
            <a:custGeom>
              <a:avLst/>
              <a:gdLst>
                <a:gd name="T0" fmla="*/ 814 w 820"/>
                <a:gd name="T1" fmla="*/ 49 h 84"/>
                <a:gd name="T2" fmla="*/ 404 w 820"/>
                <a:gd name="T3" fmla="*/ 1 h 84"/>
                <a:gd name="T4" fmla="*/ 381 w 820"/>
                <a:gd name="T5" fmla="*/ 1 h 84"/>
                <a:gd name="T6" fmla="*/ 16 w 820"/>
                <a:gd name="T7" fmla="*/ 22 h 84"/>
                <a:gd name="T8" fmla="*/ 4 w 820"/>
                <a:gd name="T9" fmla="*/ 24 h 84"/>
                <a:gd name="T10" fmla="*/ 371 w 820"/>
                <a:gd name="T11" fmla="*/ 83 h 84"/>
                <a:gd name="T12" fmla="*/ 402 w 820"/>
                <a:gd name="T13" fmla="*/ 83 h 84"/>
                <a:gd name="T14" fmla="*/ 808 w 820"/>
                <a:gd name="T15" fmla="*/ 52 h 84"/>
                <a:gd name="T16" fmla="*/ 814 w 820"/>
                <a:gd name="T17" fmla="*/ 4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0" h="84">
                  <a:moveTo>
                    <a:pt x="814" y="49"/>
                  </a:moveTo>
                  <a:lnTo>
                    <a:pt x="404" y="1"/>
                  </a:lnTo>
                  <a:cubicBezTo>
                    <a:pt x="400" y="0"/>
                    <a:pt x="390" y="0"/>
                    <a:pt x="381" y="1"/>
                  </a:cubicBezTo>
                  <a:lnTo>
                    <a:pt x="16" y="22"/>
                  </a:lnTo>
                  <a:cubicBezTo>
                    <a:pt x="6" y="22"/>
                    <a:pt x="0" y="23"/>
                    <a:pt x="4" y="24"/>
                  </a:cubicBezTo>
                  <a:lnTo>
                    <a:pt x="371" y="83"/>
                  </a:lnTo>
                  <a:cubicBezTo>
                    <a:pt x="376" y="84"/>
                    <a:pt x="390" y="84"/>
                    <a:pt x="402" y="83"/>
                  </a:cubicBezTo>
                  <a:lnTo>
                    <a:pt x="808" y="52"/>
                  </a:lnTo>
                  <a:cubicBezTo>
                    <a:pt x="817" y="51"/>
                    <a:pt x="820" y="50"/>
                    <a:pt x="814" y="49"/>
                  </a:cubicBezTo>
                  <a:close/>
                </a:path>
              </a:pathLst>
            </a:custGeom>
            <a:solidFill>
              <a:srgbClr val="D0D0D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6" name="Freeform 995">
              <a:extLst>
                <a:ext uri="{FF2B5EF4-FFF2-40B4-BE49-F238E27FC236}">
                  <a16:creationId xmlns:a16="http://schemas.microsoft.com/office/drawing/2014/main" id="{D4F2519A-3C9E-B82E-050C-862305CB62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0208" y="4904988"/>
              <a:ext cx="255278" cy="26234"/>
            </a:xfrm>
            <a:custGeom>
              <a:avLst/>
              <a:gdLst>
                <a:gd name="T0" fmla="*/ 362 w 755"/>
                <a:gd name="T1" fmla="*/ 0 h 77"/>
                <a:gd name="T2" fmla="*/ 341 w 755"/>
                <a:gd name="T3" fmla="*/ 0 h 77"/>
                <a:gd name="T4" fmla="*/ 13 w 755"/>
                <a:gd name="T5" fmla="*/ 19 h 77"/>
                <a:gd name="T6" fmla="*/ 3 w 755"/>
                <a:gd name="T7" fmla="*/ 21 h 77"/>
                <a:gd name="T8" fmla="*/ 354 w 755"/>
                <a:gd name="T9" fmla="*/ 77 h 77"/>
                <a:gd name="T10" fmla="*/ 382 w 755"/>
                <a:gd name="T11" fmla="*/ 77 h 77"/>
                <a:gd name="T12" fmla="*/ 745 w 755"/>
                <a:gd name="T13" fmla="*/ 49 h 77"/>
                <a:gd name="T14" fmla="*/ 750 w 755"/>
                <a:gd name="T15" fmla="*/ 46 h 77"/>
                <a:gd name="T16" fmla="*/ 362 w 755"/>
                <a:gd name="T1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5" h="77">
                  <a:moveTo>
                    <a:pt x="362" y="0"/>
                  </a:moveTo>
                  <a:cubicBezTo>
                    <a:pt x="358" y="0"/>
                    <a:pt x="349" y="0"/>
                    <a:pt x="341" y="0"/>
                  </a:cubicBezTo>
                  <a:lnTo>
                    <a:pt x="13" y="19"/>
                  </a:lnTo>
                  <a:cubicBezTo>
                    <a:pt x="4" y="19"/>
                    <a:pt x="0" y="20"/>
                    <a:pt x="3" y="21"/>
                  </a:cubicBezTo>
                  <a:lnTo>
                    <a:pt x="354" y="77"/>
                  </a:lnTo>
                  <a:cubicBezTo>
                    <a:pt x="359" y="77"/>
                    <a:pt x="372" y="77"/>
                    <a:pt x="382" y="77"/>
                  </a:cubicBezTo>
                  <a:lnTo>
                    <a:pt x="745" y="49"/>
                  </a:lnTo>
                  <a:cubicBezTo>
                    <a:pt x="753" y="48"/>
                    <a:pt x="755" y="47"/>
                    <a:pt x="750" y="46"/>
                  </a:cubicBezTo>
                  <a:lnTo>
                    <a:pt x="362" y="0"/>
                  </a:lnTo>
                </a:path>
              </a:pathLst>
            </a:custGeom>
            <a:solidFill>
              <a:srgbClr val="BDCD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7" name="Freeform 996">
              <a:extLst>
                <a:ext uri="{FF2B5EF4-FFF2-40B4-BE49-F238E27FC236}">
                  <a16:creationId xmlns:a16="http://schemas.microsoft.com/office/drawing/2014/main" id="{9C6DD860-EF1C-B93D-5DAF-127C99752A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3397" y="4911042"/>
              <a:ext cx="36324" cy="3027"/>
            </a:xfrm>
            <a:custGeom>
              <a:avLst/>
              <a:gdLst>
                <a:gd name="T0" fmla="*/ 75 w 107"/>
                <a:gd name="T1" fmla="*/ 0 h 9"/>
                <a:gd name="T2" fmla="*/ 63 w 107"/>
                <a:gd name="T3" fmla="*/ 0 h 9"/>
                <a:gd name="T4" fmla="*/ 7 w 107"/>
                <a:gd name="T5" fmla="*/ 4 h 9"/>
                <a:gd name="T6" fmla="*/ 2 w 107"/>
                <a:gd name="T7" fmla="*/ 5 h 9"/>
                <a:gd name="T8" fmla="*/ 31 w 107"/>
                <a:gd name="T9" fmla="*/ 8 h 9"/>
                <a:gd name="T10" fmla="*/ 44 w 107"/>
                <a:gd name="T11" fmla="*/ 8 h 9"/>
                <a:gd name="T12" fmla="*/ 101 w 107"/>
                <a:gd name="T13" fmla="*/ 5 h 9"/>
                <a:gd name="T14" fmla="*/ 105 w 107"/>
                <a:gd name="T15" fmla="*/ 4 h 9"/>
                <a:gd name="T16" fmla="*/ 75 w 107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7" h="9">
                  <a:moveTo>
                    <a:pt x="75" y="0"/>
                  </a:moveTo>
                  <a:cubicBezTo>
                    <a:pt x="73" y="0"/>
                    <a:pt x="67" y="0"/>
                    <a:pt x="63" y="0"/>
                  </a:cubicBezTo>
                  <a:lnTo>
                    <a:pt x="7" y="4"/>
                  </a:lnTo>
                  <a:cubicBezTo>
                    <a:pt x="2" y="4"/>
                    <a:pt x="0" y="4"/>
                    <a:pt x="2" y="5"/>
                  </a:cubicBezTo>
                  <a:lnTo>
                    <a:pt x="31" y="8"/>
                  </a:lnTo>
                  <a:cubicBezTo>
                    <a:pt x="34" y="9"/>
                    <a:pt x="39" y="9"/>
                    <a:pt x="44" y="8"/>
                  </a:cubicBezTo>
                  <a:lnTo>
                    <a:pt x="101" y="5"/>
                  </a:lnTo>
                  <a:cubicBezTo>
                    <a:pt x="105" y="4"/>
                    <a:pt x="107" y="4"/>
                    <a:pt x="105" y="4"/>
                  </a:cubicBezTo>
                  <a:lnTo>
                    <a:pt x="75" y="0"/>
                  </a:lnTo>
                  <a:close/>
                </a:path>
              </a:pathLst>
            </a:custGeom>
            <a:solidFill>
              <a:srgbClr val="9BA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8" name="Freeform 997">
              <a:extLst>
                <a:ext uri="{FF2B5EF4-FFF2-40B4-BE49-F238E27FC236}">
                  <a16:creationId xmlns:a16="http://schemas.microsoft.com/office/drawing/2014/main" id="{ADF043B9-70D9-BFAA-1819-2831E61218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045" y="4913060"/>
              <a:ext cx="37333" cy="3027"/>
            </a:xfrm>
            <a:custGeom>
              <a:avLst/>
              <a:gdLst>
                <a:gd name="T0" fmla="*/ 79 w 110"/>
                <a:gd name="T1" fmla="*/ 0 h 9"/>
                <a:gd name="T2" fmla="*/ 66 w 110"/>
                <a:gd name="T3" fmla="*/ 0 h 9"/>
                <a:gd name="T4" fmla="*/ 7 w 110"/>
                <a:gd name="T5" fmla="*/ 4 h 9"/>
                <a:gd name="T6" fmla="*/ 2 w 110"/>
                <a:gd name="T7" fmla="*/ 5 h 9"/>
                <a:gd name="T8" fmla="*/ 30 w 110"/>
                <a:gd name="T9" fmla="*/ 9 h 9"/>
                <a:gd name="T10" fmla="*/ 43 w 110"/>
                <a:gd name="T11" fmla="*/ 9 h 9"/>
                <a:gd name="T12" fmla="*/ 103 w 110"/>
                <a:gd name="T13" fmla="*/ 5 h 9"/>
                <a:gd name="T14" fmla="*/ 107 w 110"/>
                <a:gd name="T15" fmla="*/ 4 h 9"/>
                <a:gd name="T16" fmla="*/ 79 w 110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" h="9">
                  <a:moveTo>
                    <a:pt x="79" y="0"/>
                  </a:moveTo>
                  <a:cubicBezTo>
                    <a:pt x="77" y="0"/>
                    <a:pt x="71" y="0"/>
                    <a:pt x="66" y="0"/>
                  </a:cubicBezTo>
                  <a:lnTo>
                    <a:pt x="7" y="4"/>
                  </a:lnTo>
                  <a:cubicBezTo>
                    <a:pt x="2" y="4"/>
                    <a:pt x="0" y="5"/>
                    <a:pt x="2" y="5"/>
                  </a:cubicBezTo>
                  <a:lnTo>
                    <a:pt x="30" y="9"/>
                  </a:lnTo>
                  <a:cubicBezTo>
                    <a:pt x="32" y="9"/>
                    <a:pt x="38" y="9"/>
                    <a:pt x="43" y="9"/>
                  </a:cubicBezTo>
                  <a:lnTo>
                    <a:pt x="103" y="5"/>
                  </a:lnTo>
                  <a:cubicBezTo>
                    <a:pt x="108" y="5"/>
                    <a:pt x="110" y="4"/>
                    <a:pt x="107" y="4"/>
                  </a:cubicBezTo>
                  <a:lnTo>
                    <a:pt x="79" y="0"/>
                  </a:lnTo>
                </a:path>
              </a:pathLst>
            </a:custGeom>
            <a:solidFill>
              <a:srgbClr val="9BA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9" name="Freeform 998">
              <a:extLst>
                <a:ext uri="{FF2B5EF4-FFF2-40B4-BE49-F238E27FC236}">
                  <a16:creationId xmlns:a16="http://schemas.microsoft.com/office/drawing/2014/main" id="{E45E62ED-C45A-D512-8B9A-6291129262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2676" y="4916087"/>
              <a:ext cx="38342" cy="3027"/>
            </a:xfrm>
            <a:custGeom>
              <a:avLst/>
              <a:gdLst>
                <a:gd name="T0" fmla="*/ 84 w 114"/>
                <a:gd name="T1" fmla="*/ 1 h 10"/>
                <a:gd name="T2" fmla="*/ 71 w 114"/>
                <a:gd name="T3" fmla="*/ 1 h 10"/>
                <a:gd name="T4" fmla="*/ 8 w 114"/>
                <a:gd name="T5" fmla="*/ 5 h 10"/>
                <a:gd name="T6" fmla="*/ 2 w 114"/>
                <a:gd name="T7" fmla="*/ 6 h 10"/>
                <a:gd name="T8" fmla="*/ 29 w 114"/>
                <a:gd name="T9" fmla="*/ 10 h 10"/>
                <a:gd name="T10" fmla="*/ 43 w 114"/>
                <a:gd name="T11" fmla="*/ 10 h 10"/>
                <a:gd name="T12" fmla="*/ 106 w 114"/>
                <a:gd name="T13" fmla="*/ 6 h 10"/>
                <a:gd name="T14" fmla="*/ 111 w 114"/>
                <a:gd name="T15" fmla="*/ 5 h 10"/>
                <a:gd name="T16" fmla="*/ 84 w 114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" h="10">
                  <a:moveTo>
                    <a:pt x="84" y="1"/>
                  </a:moveTo>
                  <a:cubicBezTo>
                    <a:pt x="82" y="0"/>
                    <a:pt x="76" y="0"/>
                    <a:pt x="71" y="1"/>
                  </a:cubicBezTo>
                  <a:lnTo>
                    <a:pt x="8" y="5"/>
                  </a:lnTo>
                  <a:cubicBezTo>
                    <a:pt x="3" y="5"/>
                    <a:pt x="0" y="6"/>
                    <a:pt x="2" y="6"/>
                  </a:cubicBezTo>
                  <a:lnTo>
                    <a:pt x="29" y="10"/>
                  </a:lnTo>
                  <a:cubicBezTo>
                    <a:pt x="31" y="10"/>
                    <a:pt x="37" y="10"/>
                    <a:pt x="43" y="10"/>
                  </a:cubicBezTo>
                  <a:lnTo>
                    <a:pt x="106" y="6"/>
                  </a:lnTo>
                  <a:cubicBezTo>
                    <a:pt x="111" y="6"/>
                    <a:pt x="114" y="5"/>
                    <a:pt x="111" y="5"/>
                  </a:cubicBezTo>
                  <a:lnTo>
                    <a:pt x="84" y="1"/>
                  </a:lnTo>
                  <a:close/>
                </a:path>
              </a:pathLst>
            </a:custGeom>
            <a:solidFill>
              <a:srgbClr val="9BA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0" name="Freeform 999">
              <a:extLst>
                <a:ext uri="{FF2B5EF4-FFF2-40B4-BE49-F238E27FC236}">
                  <a16:creationId xmlns:a16="http://schemas.microsoft.com/office/drawing/2014/main" id="{C895BD5A-65E8-5C7A-70D2-4D9D18CCD7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8081" y="4907006"/>
              <a:ext cx="34306" cy="2018"/>
            </a:xfrm>
            <a:custGeom>
              <a:avLst/>
              <a:gdLst>
                <a:gd name="T0" fmla="*/ 73 w 101"/>
                <a:gd name="T1" fmla="*/ 0 h 8"/>
                <a:gd name="T2" fmla="*/ 61 w 101"/>
                <a:gd name="T3" fmla="*/ 0 h 8"/>
                <a:gd name="T4" fmla="*/ 6 w 101"/>
                <a:gd name="T5" fmla="*/ 3 h 8"/>
                <a:gd name="T6" fmla="*/ 2 w 101"/>
                <a:gd name="T7" fmla="*/ 4 h 8"/>
                <a:gd name="T8" fmla="*/ 28 w 101"/>
                <a:gd name="T9" fmla="*/ 7 h 8"/>
                <a:gd name="T10" fmla="*/ 40 w 101"/>
                <a:gd name="T11" fmla="*/ 7 h 8"/>
                <a:gd name="T12" fmla="*/ 95 w 101"/>
                <a:gd name="T13" fmla="*/ 4 h 8"/>
                <a:gd name="T14" fmla="*/ 99 w 101"/>
                <a:gd name="T15" fmla="*/ 3 h 8"/>
                <a:gd name="T16" fmla="*/ 73 w 101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8">
                  <a:moveTo>
                    <a:pt x="73" y="0"/>
                  </a:moveTo>
                  <a:cubicBezTo>
                    <a:pt x="71" y="0"/>
                    <a:pt x="65" y="0"/>
                    <a:pt x="61" y="0"/>
                  </a:cubicBezTo>
                  <a:lnTo>
                    <a:pt x="6" y="3"/>
                  </a:lnTo>
                  <a:cubicBezTo>
                    <a:pt x="2" y="3"/>
                    <a:pt x="0" y="4"/>
                    <a:pt x="2" y="4"/>
                  </a:cubicBezTo>
                  <a:lnTo>
                    <a:pt x="28" y="7"/>
                  </a:lnTo>
                  <a:cubicBezTo>
                    <a:pt x="30" y="8"/>
                    <a:pt x="35" y="8"/>
                    <a:pt x="40" y="7"/>
                  </a:cubicBezTo>
                  <a:lnTo>
                    <a:pt x="95" y="4"/>
                  </a:lnTo>
                  <a:cubicBezTo>
                    <a:pt x="99" y="4"/>
                    <a:pt x="101" y="3"/>
                    <a:pt x="99" y="3"/>
                  </a:cubicBezTo>
                  <a:lnTo>
                    <a:pt x="73" y="0"/>
                  </a:lnTo>
                </a:path>
              </a:pathLst>
            </a:custGeom>
            <a:solidFill>
              <a:srgbClr val="9BA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1" name="Freeform 1000">
              <a:extLst>
                <a:ext uri="{FF2B5EF4-FFF2-40B4-BE49-F238E27FC236}">
                  <a16:creationId xmlns:a16="http://schemas.microsoft.com/office/drawing/2014/main" id="{04C54B25-6A73-0CB9-1D02-82C2AF770D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9739" y="4909024"/>
              <a:ext cx="35315" cy="2018"/>
            </a:xfrm>
            <a:custGeom>
              <a:avLst/>
              <a:gdLst>
                <a:gd name="T0" fmla="*/ 76 w 104"/>
                <a:gd name="T1" fmla="*/ 0 h 8"/>
                <a:gd name="T2" fmla="*/ 64 w 104"/>
                <a:gd name="T3" fmla="*/ 0 h 8"/>
                <a:gd name="T4" fmla="*/ 7 w 104"/>
                <a:gd name="T5" fmla="*/ 4 h 8"/>
                <a:gd name="T6" fmla="*/ 2 w 104"/>
                <a:gd name="T7" fmla="*/ 5 h 8"/>
                <a:gd name="T8" fmla="*/ 27 w 104"/>
                <a:gd name="T9" fmla="*/ 8 h 8"/>
                <a:gd name="T10" fmla="*/ 39 w 104"/>
                <a:gd name="T11" fmla="*/ 8 h 8"/>
                <a:gd name="T12" fmla="*/ 97 w 104"/>
                <a:gd name="T13" fmla="*/ 5 h 8"/>
                <a:gd name="T14" fmla="*/ 102 w 104"/>
                <a:gd name="T15" fmla="*/ 4 h 8"/>
                <a:gd name="T16" fmla="*/ 76 w 104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8">
                  <a:moveTo>
                    <a:pt x="76" y="0"/>
                  </a:moveTo>
                  <a:cubicBezTo>
                    <a:pt x="74" y="0"/>
                    <a:pt x="69" y="0"/>
                    <a:pt x="64" y="0"/>
                  </a:cubicBezTo>
                  <a:lnTo>
                    <a:pt x="7" y="4"/>
                  </a:lnTo>
                  <a:cubicBezTo>
                    <a:pt x="2" y="4"/>
                    <a:pt x="0" y="4"/>
                    <a:pt x="2" y="5"/>
                  </a:cubicBezTo>
                  <a:lnTo>
                    <a:pt x="27" y="8"/>
                  </a:lnTo>
                  <a:cubicBezTo>
                    <a:pt x="29" y="8"/>
                    <a:pt x="34" y="8"/>
                    <a:pt x="39" y="8"/>
                  </a:cubicBezTo>
                  <a:lnTo>
                    <a:pt x="97" y="5"/>
                  </a:lnTo>
                  <a:cubicBezTo>
                    <a:pt x="102" y="4"/>
                    <a:pt x="104" y="4"/>
                    <a:pt x="102" y="4"/>
                  </a:cubicBezTo>
                  <a:lnTo>
                    <a:pt x="76" y="0"/>
                  </a:lnTo>
                </a:path>
              </a:pathLst>
            </a:custGeom>
            <a:solidFill>
              <a:srgbClr val="9BA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2" name="Freeform 1001">
              <a:extLst>
                <a:ext uri="{FF2B5EF4-FFF2-40B4-BE49-F238E27FC236}">
                  <a16:creationId xmlns:a16="http://schemas.microsoft.com/office/drawing/2014/main" id="{35668707-A119-94C1-651C-679F031B6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9379" y="4911042"/>
              <a:ext cx="36324" cy="3027"/>
            </a:xfrm>
            <a:custGeom>
              <a:avLst/>
              <a:gdLst>
                <a:gd name="T0" fmla="*/ 81 w 108"/>
                <a:gd name="T1" fmla="*/ 0 h 9"/>
                <a:gd name="T2" fmla="*/ 69 w 108"/>
                <a:gd name="T3" fmla="*/ 0 h 9"/>
                <a:gd name="T4" fmla="*/ 8 w 108"/>
                <a:gd name="T5" fmla="*/ 4 h 9"/>
                <a:gd name="T6" fmla="*/ 2 w 108"/>
                <a:gd name="T7" fmla="*/ 5 h 9"/>
                <a:gd name="T8" fmla="*/ 26 w 108"/>
                <a:gd name="T9" fmla="*/ 8 h 9"/>
                <a:gd name="T10" fmla="*/ 39 w 108"/>
                <a:gd name="T11" fmla="*/ 8 h 9"/>
                <a:gd name="T12" fmla="*/ 101 w 108"/>
                <a:gd name="T13" fmla="*/ 5 h 9"/>
                <a:gd name="T14" fmla="*/ 106 w 108"/>
                <a:gd name="T15" fmla="*/ 4 h 9"/>
                <a:gd name="T16" fmla="*/ 81 w 108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9">
                  <a:moveTo>
                    <a:pt x="81" y="0"/>
                  </a:moveTo>
                  <a:cubicBezTo>
                    <a:pt x="79" y="0"/>
                    <a:pt x="74" y="0"/>
                    <a:pt x="69" y="0"/>
                  </a:cubicBezTo>
                  <a:lnTo>
                    <a:pt x="8" y="4"/>
                  </a:lnTo>
                  <a:cubicBezTo>
                    <a:pt x="3" y="4"/>
                    <a:pt x="0" y="4"/>
                    <a:pt x="2" y="5"/>
                  </a:cubicBezTo>
                  <a:lnTo>
                    <a:pt x="26" y="8"/>
                  </a:lnTo>
                  <a:cubicBezTo>
                    <a:pt x="28" y="9"/>
                    <a:pt x="34" y="9"/>
                    <a:pt x="39" y="8"/>
                  </a:cubicBezTo>
                  <a:lnTo>
                    <a:pt x="101" y="5"/>
                  </a:lnTo>
                  <a:cubicBezTo>
                    <a:pt x="105" y="4"/>
                    <a:pt x="108" y="4"/>
                    <a:pt x="106" y="4"/>
                  </a:cubicBezTo>
                  <a:lnTo>
                    <a:pt x="81" y="0"/>
                  </a:lnTo>
                  <a:close/>
                </a:path>
              </a:pathLst>
            </a:custGeom>
            <a:solidFill>
              <a:srgbClr val="9BA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3" name="Freeform 1002">
              <a:extLst>
                <a:ext uri="{FF2B5EF4-FFF2-40B4-BE49-F238E27FC236}">
                  <a16:creationId xmlns:a16="http://schemas.microsoft.com/office/drawing/2014/main" id="{510FC10F-085B-EBDF-1BF9-EDC14EA36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5234" y="4909024"/>
              <a:ext cx="35315" cy="2018"/>
            </a:xfrm>
            <a:custGeom>
              <a:avLst/>
              <a:gdLst>
                <a:gd name="T0" fmla="*/ 74 w 104"/>
                <a:gd name="T1" fmla="*/ 0 h 8"/>
                <a:gd name="T2" fmla="*/ 62 w 104"/>
                <a:gd name="T3" fmla="*/ 0 h 8"/>
                <a:gd name="T4" fmla="*/ 6 w 104"/>
                <a:gd name="T5" fmla="*/ 4 h 8"/>
                <a:gd name="T6" fmla="*/ 2 w 104"/>
                <a:gd name="T7" fmla="*/ 5 h 8"/>
                <a:gd name="T8" fmla="*/ 29 w 104"/>
                <a:gd name="T9" fmla="*/ 8 h 8"/>
                <a:gd name="T10" fmla="*/ 41 w 104"/>
                <a:gd name="T11" fmla="*/ 8 h 8"/>
                <a:gd name="T12" fmla="*/ 97 w 104"/>
                <a:gd name="T13" fmla="*/ 5 h 8"/>
                <a:gd name="T14" fmla="*/ 101 w 104"/>
                <a:gd name="T15" fmla="*/ 4 h 8"/>
                <a:gd name="T16" fmla="*/ 74 w 104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8">
                  <a:moveTo>
                    <a:pt x="74" y="0"/>
                  </a:moveTo>
                  <a:cubicBezTo>
                    <a:pt x="71" y="0"/>
                    <a:pt x="66" y="0"/>
                    <a:pt x="62" y="0"/>
                  </a:cubicBezTo>
                  <a:lnTo>
                    <a:pt x="6" y="4"/>
                  </a:lnTo>
                  <a:cubicBezTo>
                    <a:pt x="2" y="4"/>
                    <a:pt x="0" y="4"/>
                    <a:pt x="2" y="5"/>
                  </a:cubicBezTo>
                  <a:lnTo>
                    <a:pt x="29" y="8"/>
                  </a:lnTo>
                  <a:cubicBezTo>
                    <a:pt x="31" y="8"/>
                    <a:pt x="37" y="8"/>
                    <a:pt x="41" y="8"/>
                  </a:cubicBezTo>
                  <a:lnTo>
                    <a:pt x="97" y="5"/>
                  </a:lnTo>
                  <a:cubicBezTo>
                    <a:pt x="102" y="4"/>
                    <a:pt x="104" y="4"/>
                    <a:pt x="101" y="4"/>
                  </a:cubicBezTo>
                  <a:lnTo>
                    <a:pt x="74" y="0"/>
                  </a:lnTo>
                  <a:close/>
                </a:path>
              </a:pathLst>
            </a:custGeom>
            <a:solidFill>
              <a:srgbClr val="9BA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4" name="Freeform 1003">
              <a:extLst>
                <a:ext uri="{FF2B5EF4-FFF2-40B4-BE49-F238E27FC236}">
                  <a16:creationId xmlns:a16="http://schemas.microsoft.com/office/drawing/2014/main" id="{12FC5AE4-1E5C-C99F-ACD8-796E6397C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6892" y="4911042"/>
              <a:ext cx="35315" cy="3027"/>
            </a:xfrm>
            <a:custGeom>
              <a:avLst/>
              <a:gdLst>
                <a:gd name="T0" fmla="*/ 78 w 107"/>
                <a:gd name="T1" fmla="*/ 0 h 9"/>
                <a:gd name="T2" fmla="*/ 65 w 107"/>
                <a:gd name="T3" fmla="*/ 0 h 9"/>
                <a:gd name="T4" fmla="*/ 7 w 107"/>
                <a:gd name="T5" fmla="*/ 4 h 9"/>
                <a:gd name="T6" fmla="*/ 2 w 107"/>
                <a:gd name="T7" fmla="*/ 5 h 9"/>
                <a:gd name="T8" fmla="*/ 28 w 107"/>
                <a:gd name="T9" fmla="*/ 8 h 9"/>
                <a:gd name="T10" fmla="*/ 41 w 107"/>
                <a:gd name="T11" fmla="*/ 8 h 9"/>
                <a:gd name="T12" fmla="*/ 100 w 107"/>
                <a:gd name="T13" fmla="*/ 5 h 9"/>
                <a:gd name="T14" fmla="*/ 105 w 107"/>
                <a:gd name="T15" fmla="*/ 4 h 9"/>
                <a:gd name="T16" fmla="*/ 78 w 107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7" h="9">
                  <a:moveTo>
                    <a:pt x="78" y="0"/>
                  </a:moveTo>
                  <a:cubicBezTo>
                    <a:pt x="75" y="0"/>
                    <a:pt x="70" y="0"/>
                    <a:pt x="65" y="0"/>
                  </a:cubicBezTo>
                  <a:lnTo>
                    <a:pt x="7" y="4"/>
                  </a:lnTo>
                  <a:cubicBezTo>
                    <a:pt x="2" y="4"/>
                    <a:pt x="0" y="4"/>
                    <a:pt x="2" y="5"/>
                  </a:cubicBezTo>
                  <a:lnTo>
                    <a:pt x="28" y="8"/>
                  </a:lnTo>
                  <a:cubicBezTo>
                    <a:pt x="30" y="9"/>
                    <a:pt x="36" y="9"/>
                    <a:pt x="41" y="8"/>
                  </a:cubicBezTo>
                  <a:lnTo>
                    <a:pt x="100" y="5"/>
                  </a:lnTo>
                  <a:cubicBezTo>
                    <a:pt x="105" y="4"/>
                    <a:pt x="107" y="4"/>
                    <a:pt x="105" y="4"/>
                  </a:cubicBezTo>
                  <a:lnTo>
                    <a:pt x="78" y="0"/>
                  </a:lnTo>
                </a:path>
              </a:pathLst>
            </a:custGeom>
            <a:solidFill>
              <a:srgbClr val="9BA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6" name="Freeform 1004">
              <a:extLst>
                <a:ext uri="{FF2B5EF4-FFF2-40B4-BE49-F238E27FC236}">
                  <a16:creationId xmlns:a16="http://schemas.microsoft.com/office/drawing/2014/main" id="{C7C1E36D-14EE-819C-7A70-47449F933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5523" y="4913060"/>
              <a:ext cx="37333" cy="3027"/>
            </a:xfrm>
            <a:custGeom>
              <a:avLst/>
              <a:gdLst>
                <a:gd name="T0" fmla="*/ 82 w 111"/>
                <a:gd name="T1" fmla="*/ 0 h 9"/>
                <a:gd name="T2" fmla="*/ 70 w 111"/>
                <a:gd name="T3" fmla="*/ 0 h 9"/>
                <a:gd name="T4" fmla="*/ 8 w 111"/>
                <a:gd name="T5" fmla="*/ 4 h 9"/>
                <a:gd name="T6" fmla="*/ 2 w 111"/>
                <a:gd name="T7" fmla="*/ 5 h 9"/>
                <a:gd name="T8" fmla="*/ 28 w 111"/>
                <a:gd name="T9" fmla="*/ 9 h 9"/>
                <a:gd name="T10" fmla="*/ 41 w 111"/>
                <a:gd name="T11" fmla="*/ 9 h 9"/>
                <a:gd name="T12" fmla="*/ 103 w 111"/>
                <a:gd name="T13" fmla="*/ 5 h 9"/>
                <a:gd name="T14" fmla="*/ 108 w 111"/>
                <a:gd name="T15" fmla="*/ 4 h 9"/>
                <a:gd name="T16" fmla="*/ 82 w 111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" h="9">
                  <a:moveTo>
                    <a:pt x="82" y="0"/>
                  </a:moveTo>
                  <a:cubicBezTo>
                    <a:pt x="80" y="0"/>
                    <a:pt x="75" y="0"/>
                    <a:pt x="70" y="0"/>
                  </a:cubicBezTo>
                  <a:lnTo>
                    <a:pt x="8" y="4"/>
                  </a:lnTo>
                  <a:cubicBezTo>
                    <a:pt x="3" y="4"/>
                    <a:pt x="0" y="5"/>
                    <a:pt x="2" y="5"/>
                  </a:cubicBezTo>
                  <a:lnTo>
                    <a:pt x="28" y="9"/>
                  </a:lnTo>
                  <a:cubicBezTo>
                    <a:pt x="30" y="9"/>
                    <a:pt x="36" y="9"/>
                    <a:pt x="41" y="9"/>
                  </a:cubicBezTo>
                  <a:lnTo>
                    <a:pt x="103" y="5"/>
                  </a:lnTo>
                  <a:cubicBezTo>
                    <a:pt x="108" y="5"/>
                    <a:pt x="111" y="4"/>
                    <a:pt x="108" y="4"/>
                  </a:cubicBezTo>
                  <a:lnTo>
                    <a:pt x="82" y="0"/>
                  </a:lnTo>
                </a:path>
              </a:pathLst>
            </a:custGeom>
            <a:solidFill>
              <a:srgbClr val="9BA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7" name="Freeform 1005">
              <a:extLst>
                <a:ext uri="{FF2B5EF4-FFF2-40B4-BE49-F238E27FC236}">
                  <a16:creationId xmlns:a16="http://schemas.microsoft.com/office/drawing/2014/main" id="{688B9EAB-3474-5D35-08F2-48D4E310DF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3577" y="4913060"/>
              <a:ext cx="37333" cy="3027"/>
            </a:xfrm>
            <a:custGeom>
              <a:avLst/>
              <a:gdLst>
                <a:gd name="T0" fmla="*/ 76 w 110"/>
                <a:gd name="T1" fmla="*/ 0 h 9"/>
                <a:gd name="T2" fmla="*/ 63 w 110"/>
                <a:gd name="T3" fmla="*/ 0 h 9"/>
                <a:gd name="T4" fmla="*/ 6 w 110"/>
                <a:gd name="T5" fmla="*/ 4 h 9"/>
                <a:gd name="T6" fmla="*/ 2 w 110"/>
                <a:gd name="T7" fmla="*/ 5 h 9"/>
                <a:gd name="T8" fmla="*/ 33 w 110"/>
                <a:gd name="T9" fmla="*/ 9 h 9"/>
                <a:gd name="T10" fmla="*/ 46 w 110"/>
                <a:gd name="T11" fmla="*/ 9 h 9"/>
                <a:gd name="T12" fmla="*/ 103 w 110"/>
                <a:gd name="T13" fmla="*/ 5 h 9"/>
                <a:gd name="T14" fmla="*/ 107 w 110"/>
                <a:gd name="T15" fmla="*/ 4 h 9"/>
                <a:gd name="T16" fmla="*/ 76 w 110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" h="9">
                  <a:moveTo>
                    <a:pt x="76" y="0"/>
                  </a:moveTo>
                  <a:cubicBezTo>
                    <a:pt x="74" y="0"/>
                    <a:pt x="68" y="0"/>
                    <a:pt x="63" y="0"/>
                  </a:cubicBezTo>
                  <a:lnTo>
                    <a:pt x="6" y="4"/>
                  </a:lnTo>
                  <a:cubicBezTo>
                    <a:pt x="2" y="4"/>
                    <a:pt x="0" y="5"/>
                    <a:pt x="2" y="5"/>
                  </a:cubicBezTo>
                  <a:lnTo>
                    <a:pt x="33" y="9"/>
                  </a:lnTo>
                  <a:cubicBezTo>
                    <a:pt x="35" y="9"/>
                    <a:pt x="41" y="9"/>
                    <a:pt x="46" y="9"/>
                  </a:cubicBezTo>
                  <a:lnTo>
                    <a:pt x="103" y="5"/>
                  </a:lnTo>
                  <a:cubicBezTo>
                    <a:pt x="108" y="5"/>
                    <a:pt x="110" y="4"/>
                    <a:pt x="107" y="4"/>
                  </a:cubicBezTo>
                  <a:lnTo>
                    <a:pt x="76" y="0"/>
                  </a:lnTo>
                  <a:close/>
                </a:path>
              </a:pathLst>
            </a:custGeom>
            <a:solidFill>
              <a:srgbClr val="9BA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8" name="Freeform 1006">
              <a:extLst>
                <a:ext uri="{FF2B5EF4-FFF2-40B4-BE49-F238E27FC236}">
                  <a16:creationId xmlns:a16="http://schemas.microsoft.com/office/drawing/2014/main" id="{F40F5D31-BE2B-1614-057C-78D5662057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3217" y="4916087"/>
              <a:ext cx="38342" cy="3027"/>
            </a:xfrm>
            <a:custGeom>
              <a:avLst/>
              <a:gdLst>
                <a:gd name="T0" fmla="*/ 80 w 113"/>
                <a:gd name="T1" fmla="*/ 1 h 10"/>
                <a:gd name="T2" fmla="*/ 67 w 113"/>
                <a:gd name="T3" fmla="*/ 1 h 10"/>
                <a:gd name="T4" fmla="*/ 7 w 113"/>
                <a:gd name="T5" fmla="*/ 5 h 10"/>
                <a:gd name="T6" fmla="*/ 2 w 113"/>
                <a:gd name="T7" fmla="*/ 6 h 10"/>
                <a:gd name="T8" fmla="*/ 32 w 113"/>
                <a:gd name="T9" fmla="*/ 10 h 10"/>
                <a:gd name="T10" fmla="*/ 45 w 113"/>
                <a:gd name="T11" fmla="*/ 10 h 10"/>
                <a:gd name="T12" fmla="*/ 106 w 113"/>
                <a:gd name="T13" fmla="*/ 6 h 10"/>
                <a:gd name="T14" fmla="*/ 110 w 113"/>
                <a:gd name="T15" fmla="*/ 5 h 10"/>
                <a:gd name="T16" fmla="*/ 80 w 113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3" h="10">
                  <a:moveTo>
                    <a:pt x="80" y="1"/>
                  </a:moveTo>
                  <a:cubicBezTo>
                    <a:pt x="78" y="0"/>
                    <a:pt x="72" y="0"/>
                    <a:pt x="67" y="1"/>
                  </a:cubicBezTo>
                  <a:lnTo>
                    <a:pt x="7" y="5"/>
                  </a:lnTo>
                  <a:cubicBezTo>
                    <a:pt x="2" y="5"/>
                    <a:pt x="0" y="6"/>
                    <a:pt x="2" y="6"/>
                  </a:cubicBezTo>
                  <a:lnTo>
                    <a:pt x="32" y="10"/>
                  </a:lnTo>
                  <a:cubicBezTo>
                    <a:pt x="34" y="10"/>
                    <a:pt x="40" y="10"/>
                    <a:pt x="45" y="10"/>
                  </a:cubicBezTo>
                  <a:lnTo>
                    <a:pt x="106" y="6"/>
                  </a:lnTo>
                  <a:cubicBezTo>
                    <a:pt x="111" y="6"/>
                    <a:pt x="113" y="5"/>
                    <a:pt x="110" y="5"/>
                  </a:cubicBezTo>
                  <a:lnTo>
                    <a:pt x="80" y="1"/>
                  </a:lnTo>
                </a:path>
              </a:pathLst>
            </a:custGeom>
            <a:solidFill>
              <a:srgbClr val="9BA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9" name="Freeform 1007">
              <a:extLst>
                <a:ext uri="{FF2B5EF4-FFF2-40B4-BE49-F238E27FC236}">
                  <a16:creationId xmlns:a16="http://schemas.microsoft.com/office/drawing/2014/main" id="{74742000-EE92-5E46-E664-8CDBE04766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0838" y="4918105"/>
              <a:ext cx="39352" cy="4036"/>
            </a:xfrm>
            <a:custGeom>
              <a:avLst/>
              <a:gdLst>
                <a:gd name="T0" fmla="*/ 85 w 117"/>
                <a:gd name="T1" fmla="*/ 1 h 11"/>
                <a:gd name="T2" fmla="*/ 72 w 117"/>
                <a:gd name="T3" fmla="*/ 1 h 11"/>
                <a:gd name="T4" fmla="*/ 8 w 117"/>
                <a:gd name="T5" fmla="*/ 5 h 11"/>
                <a:gd name="T6" fmla="*/ 2 w 117"/>
                <a:gd name="T7" fmla="*/ 6 h 11"/>
                <a:gd name="T8" fmla="*/ 31 w 117"/>
                <a:gd name="T9" fmla="*/ 11 h 11"/>
                <a:gd name="T10" fmla="*/ 45 w 117"/>
                <a:gd name="T11" fmla="*/ 11 h 11"/>
                <a:gd name="T12" fmla="*/ 110 w 117"/>
                <a:gd name="T13" fmla="*/ 6 h 11"/>
                <a:gd name="T14" fmla="*/ 115 w 117"/>
                <a:gd name="T15" fmla="*/ 5 h 11"/>
                <a:gd name="T16" fmla="*/ 85 w 117"/>
                <a:gd name="T1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" h="11">
                  <a:moveTo>
                    <a:pt x="85" y="1"/>
                  </a:moveTo>
                  <a:cubicBezTo>
                    <a:pt x="83" y="0"/>
                    <a:pt x="77" y="0"/>
                    <a:pt x="72" y="1"/>
                  </a:cubicBezTo>
                  <a:lnTo>
                    <a:pt x="8" y="5"/>
                  </a:lnTo>
                  <a:cubicBezTo>
                    <a:pt x="2" y="5"/>
                    <a:pt x="0" y="6"/>
                    <a:pt x="2" y="6"/>
                  </a:cubicBezTo>
                  <a:lnTo>
                    <a:pt x="31" y="11"/>
                  </a:lnTo>
                  <a:cubicBezTo>
                    <a:pt x="33" y="11"/>
                    <a:pt x="40" y="11"/>
                    <a:pt x="45" y="11"/>
                  </a:cubicBezTo>
                  <a:lnTo>
                    <a:pt x="110" y="6"/>
                  </a:lnTo>
                  <a:cubicBezTo>
                    <a:pt x="115" y="6"/>
                    <a:pt x="117" y="5"/>
                    <a:pt x="115" y="5"/>
                  </a:cubicBezTo>
                  <a:lnTo>
                    <a:pt x="85" y="1"/>
                  </a:lnTo>
                </a:path>
              </a:pathLst>
            </a:custGeom>
            <a:solidFill>
              <a:srgbClr val="9BA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0" name="Freeform 1008">
              <a:extLst>
                <a:ext uri="{FF2B5EF4-FFF2-40B4-BE49-F238E27FC236}">
                  <a16:creationId xmlns:a16="http://schemas.microsoft.com/office/drawing/2014/main" id="{7AE33DD1-5128-AEEE-2286-009901DD5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57" y="4916087"/>
              <a:ext cx="38342" cy="3027"/>
            </a:xfrm>
            <a:custGeom>
              <a:avLst/>
              <a:gdLst>
                <a:gd name="T0" fmla="*/ 77 w 113"/>
                <a:gd name="T1" fmla="*/ 1 h 10"/>
                <a:gd name="T2" fmla="*/ 64 w 113"/>
                <a:gd name="T3" fmla="*/ 1 h 10"/>
                <a:gd name="T4" fmla="*/ 7 w 113"/>
                <a:gd name="T5" fmla="*/ 5 h 10"/>
                <a:gd name="T6" fmla="*/ 3 w 113"/>
                <a:gd name="T7" fmla="*/ 6 h 10"/>
                <a:gd name="T8" fmla="*/ 35 w 113"/>
                <a:gd name="T9" fmla="*/ 10 h 10"/>
                <a:gd name="T10" fmla="*/ 49 w 113"/>
                <a:gd name="T11" fmla="*/ 10 h 10"/>
                <a:gd name="T12" fmla="*/ 107 w 113"/>
                <a:gd name="T13" fmla="*/ 6 h 10"/>
                <a:gd name="T14" fmla="*/ 110 w 113"/>
                <a:gd name="T15" fmla="*/ 5 h 10"/>
                <a:gd name="T16" fmla="*/ 77 w 113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3" h="10">
                  <a:moveTo>
                    <a:pt x="77" y="1"/>
                  </a:moveTo>
                  <a:cubicBezTo>
                    <a:pt x="75" y="0"/>
                    <a:pt x="69" y="0"/>
                    <a:pt x="64" y="1"/>
                  </a:cubicBezTo>
                  <a:lnTo>
                    <a:pt x="7" y="5"/>
                  </a:lnTo>
                  <a:cubicBezTo>
                    <a:pt x="2" y="5"/>
                    <a:pt x="0" y="5"/>
                    <a:pt x="3" y="6"/>
                  </a:cubicBezTo>
                  <a:lnTo>
                    <a:pt x="35" y="10"/>
                  </a:lnTo>
                  <a:cubicBezTo>
                    <a:pt x="38" y="10"/>
                    <a:pt x="44" y="10"/>
                    <a:pt x="49" y="10"/>
                  </a:cubicBezTo>
                  <a:lnTo>
                    <a:pt x="107" y="6"/>
                  </a:lnTo>
                  <a:cubicBezTo>
                    <a:pt x="111" y="5"/>
                    <a:pt x="113" y="5"/>
                    <a:pt x="110" y="5"/>
                  </a:cubicBezTo>
                  <a:lnTo>
                    <a:pt x="77" y="1"/>
                  </a:lnTo>
                  <a:close/>
                </a:path>
              </a:pathLst>
            </a:custGeom>
            <a:solidFill>
              <a:srgbClr val="9BA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1" name="Freeform 1010">
              <a:extLst>
                <a:ext uri="{FF2B5EF4-FFF2-40B4-BE49-F238E27FC236}">
                  <a16:creationId xmlns:a16="http://schemas.microsoft.com/office/drawing/2014/main" id="{1DAD9E76-FC6A-511D-5158-9F46562A8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3397" y="4918105"/>
              <a:ext cx="39352" cy="4036"/>
            </a:xfrm>
            <a:custGeom>
              <a:avLst/>
              <a:gdLst>
                <a:gd name="T0" fmla="*/ 82 w 117"/>
                <a:gd name="T1" fmla="*/ 1 h 11"/>
                <a:gd name="T2" fmla="*/ 68 w 117"/>
                <a:gd name="T3" fmla="*/ 1 h 11"/>
                <a:gd name="T4" fmla="*/ 7 w 117"/>
                <a:gd name="T5" fmla="*/ 5 h 11"/>
                <a:gd name="T6" fmla="*/ 3 w 117"/>
                <a:gd name="T7" fmla="*/ 6 h 11"/>
                <a:gd name="T8" fmla="*/ 34 w 117"/>
                <a:gd name="T9" fmla="*/ 11 h 11"/>
                <a:gd name="T10" fmla="*/ 48 w 117"/>
                <a:gd name="T11" fmla="*/ 11 h 11"/>
                <a:gd name="T12" fmla="*/ 110 w 117"/>
                <a:gd name="T13" fmla="*/ 6 h 11"/>
                <a:gd name="T14" fmla="*/ 114 w 117"/>
                <a:gd name="T15" fmla="*/ 5 h 11"/>
                <a:gd name="T16" fmla="*/ 82 w 117"/>
                <a:gd name="T1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" h="11">
                  <a:moveTo>
                    <a:pt x="82" y="1"/>
                  </a:moveTo>
                  <a:cubicBezTo>
                    <a:pt x="79" y="0"/>
                    <a:pt x="73" y="0"/>
                    <a:pt x="68" y="1"/>
                  </a:cubicBezTo>
                  <a:lnTo>
                    <a:pt x="7" y="5"/>
                  </a:lnTo>
                  <a:cubicBezTo>
                    <a:pt x="2" y="5"/>
                    <a:pt x="0" y="6"/>
                    <a:pt x="3" y="6"/>
                  </a:cubicBezTo>
                  <a:lnTo>
                    <a:pt x="34" y="11"/>
                  </a:lnTo>
                  <a:cubicBezTo>
                    <a:pt x="37" y="11"/>
                    <a:pt x="43" y="11"/>
                    <a:pt x="48" y="11"/>
                  </a:cubicBezTo>
                  <a:lnTo>
                    <a:pt x="110" y="6"/>
                  </a:lnTo>
                  <a:cubicBezTo>
                    <a:pt x="115" y="6"/>
                    <a:pt x="117" y="5"/>
                    <a:pt x="114" y="5"/>
                  </a:cubicBezTo>
                  <a:lnTo>
                    <a:pt x="82" y="1"/>
                  </a:lnTo>
                </a:path>
              </a:pathLst>
            </a:custGeom>
            <a:solidFill>
              <a:srgbClr val="9BA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2" name="Freeform 1011">
              <a:extLst>
                <a:ext uri="{FF2B5EF4-FFF2-40B4-BE49-F238E27FC236}">
                  <a16:creationId xmlns:a16="http://schemas.microsoft.com/office/drawing/2014/main" id="{748BF7C1-2345-D6AE-ECB1-4CEA9DD4B7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0009" y="4921132"/>
              <a:ext cx="41369" cy="4036"/>
            </a:xfrm>
            <a:custGeom>
              <a:avLst/>
              <a:gdLst>
                <a:gd name="T0" fmla="*/ 87 w 121"/>
                <a:gd name="T1" fmla="*/ 0 h 11"/>
                <a:gd name="T2" fmla="*/ 73 w 121"/>
                <a:gd name="T3" fmla="*/ 0 h 11"/>
                <a:gd name="T4" fmla="*/ 8 w 121"/>
                <a:gd name="T5" fmla="*/ 5 h 11"/>
                <a:gd name="T6" fmla="*/ 3 w 121"/>
                <a:gd name="T7" fmla="*/ 6 h 11"/>
                <a:gd name="T8" fmla="*/ 33 w 121"/>
                <a:gd name="T9" fmla="*/ 11 h 11"/>
                <a:gd name="T10" fmla="*/ 48 w 121"/>
                <a:gd name="T11" fmla="*/ 11 h 11"/>
                <a:gd name="T12" fmla="*/ 114 w 121"/>
                <a:gd name="T13" fmla="*/ 6 h 11"/>
                <a:gd name="T14" fmla="*/ 118 w 121"/>
                <a:gd name="T15" fmla="*/ 5 h 11"/>
                <a:gd name="T16" fmla="*/ 87 w 121"/>
                <a:gd name="T1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" h="11">
                  <a:moveTo>
                    <a:pt x="87" y="0"/>
                  </a:moveTo>
                  <a:cubicBezTo>
                    <a:pt x="85" y="0"/>
                    <a:pt x="78" y="0"/>
                    <a:pt x="73" y="0"/>
                  </a:cubicBezTo>
                  <a:lnTo>
                    <a:pt x="8" y="5"/>
                  </a:lnTo>
                  <a:cubicBezTo>
                    <a:pt x="3" y="5"/>
                    <a:pt x="0" y="6"/>
                    <a:pt x="3" y="6"/>
                  </a:cubicBezTo>
                  <a:lnTo>
                    <a:pt x="33" y="11"/>
                  </a:lnTo>
                  <a:cubicBezTo>
                    <a:pt x="36" y="11"/>
                    <a:pt x="42" y="11"/>
                    <a:pt x="48" y="11"/>
                  </a:cubicBezTo>
                  <a:lnTo>
                    <a:pt x="114" y="6"/>
                  </a:lnTo>
                  <a:cubicBezTo>
                    <a:pt x="119" y="6"/>
                    <a:pt x="121" y="5"/>
                    <a:pt x="118" y="5"/>
                  </a:cubicBezTo>
                  <a:lnTo>
                    <a:pt x="87" y="0"/>
                  </a:lnTo>
                </a:path>
              </a:pathLst>
            </a:custGeom>
            <a:solidFill>
              <a:srgbClr val="9BA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3" name="Freeform 1012">
              <a:extLst>
                <a:ext uri="{FF2B5EF4-FFF2-40B4-BE49-F238E27FC236}">
                  <a16:creationId xmlns:a16="http://schemas.microsoft.com/office/drawing/2014/main" id="{62F841B7-9B43-DE65-5696-9AD850F31DF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189" y="4925168"/>
              <a:ext cx="42378" cy="4036"/>
            </a:xfrm>
            <a:custGeom>
              <a:avLst/>
              <a:gdLst>
                <a:gd name="T0" fmla="*/ 88 w 124"/>
                <a:gd name="T1" fmla="*/ 1 h 12"/>
                <a:gd name="T2" fmla="*/ 74 w 124"/>
                <a:gd name="T3" fmla="*/ 1 h 12"/>
                <a:gd name="T4" fmla="*/ 8 w 124"/>
                <a:gd name="T5" fmla="*/ 5 h 12"/>
                <a:gd name="T6" fmla="*/ 2 w 124"/>
                <a:gd name="T7" fmla="*/ 7 h 12"/>
                <a:gd name="T8" fmla="*/ 35 w 124"/>
                <a:gd name="T9" fmla="*/ 12 h 12"/>
                <a:gd name="T10" fmla="*/ 50 w 124"/>
                <a:gd name="T11" fmla="*/ 12 h 12"/>
                <a:gd name="T12" fmla="*/ 117 w 124"/>
                <a:gd name="T13" fmla="*/ 7 h 12"/>
                <a:gd name="T14" fmla="*/ 121 w 124"/>
                <a:gd name="T15" fmla="*/ 5 h 12"/>
                <a:gd name="T16" fmla="*/ 88 w 124"/>
                <a:gd name="T1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4" h="12">
                  <a:moveTo>
                    <a:pt x="88" y="1"/>
                  </a:moveTo>
                  <a:cubicBezTo>
                    <a:pt x="86" y="0"/>
                    <a:pt x="79" y="0"/>
                    <a:pt x="74" y="1"/>
                  </a:cubicBezTo>
                  <a:lnTo>
                    <a:pt x="8" y="5"/>
                  </a:lnTo>
                  <a:cubicBezTo>
                    <a:pt x="2" y="6"/>
                    <a:pt x="0" y="7"/>
                    <a:pt x="2" y="7"/>
                  </a:cubicBezTo>
                  <a:lnTo>
                    <a:pt x="35" y="12"/>
                  </a:lnTo>
                  <a:cubicBezTo>
                    <a:pt x="38" y="12"/>
                    <a:pt x="44" y="12"/>
                    <a:pt x="50" y="12"/>
                  </a:cubicBezTo>
                  <a:lnTo>
                    <a:pt x="117" y="7"/>
                  </a:lnTo>
                  <a:cubicBezTo>
                    <a:pt x="122" y="7"/>
                    <a:pt x="124" y="6"/>
                    <a:pt x="121" y="5"/>
                  </a:cubicBezTo>
                  <a:lnTo>
                    <a:pt x="88" y="1"/>
                  </a:lnTo>
                  <a:close/>
                </a:path>
              </a:pathLst>
            </a:custGeom>
            <a:solidFill>
              <a:srgbClr val="9BA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4" name="Freeform 1013">
              <a:extLst>
                <a:ext uri="{FF2B5EF4-FFF2-40B4-BE49-F238E27FC236}">
                  <a16:creationId xmlns:a16="http://schemas.microsoft.com/office/drawing/2014/main" id="{2A4EE2EE-4EBE-903B-0225-7B85A5B26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4585" y="4921132"/>
              <a:ext cx="40360" cy="4036"/>
            </a:xfrm>
            <a:custGeom>
              <a:avLst/>
              <a:gdLst>
                <a:gd name="T0" fmla="*/ 83 w 120"/>
                <a:gd name="T1" fmla="*/ 0 h 11"/>
                <a:gd name="T2" fmla="*/ 69 w 120"/>
                <a:gd name="T3" fmla="*/ 0 h 11"/>
                <a:gd name="T4" fmla="*/ 7 w 120"/>
                <a:gd name="T5" fmla="*/ 5 h 11"/>
                <a:gd name="T6" fmla="*/ 3 w 120"/>
                <a:gd name="T7" fmla="*/ 6 h 11"/>
                <a:gd name="T8" fmla="*/ 36 w 120"/>
                <a:gd name="T9" fmla="*/ 11 h 11"/>
                <a:gd name="T10" fmla="*/ 51 w 120"/>
                <a:gd name="T11" fmla="*/ 11 h 11"/>
                <a:gd name="T12" fmla="*/ 114 w 120"/>
                <a:gd name="T13" fmla="*/ 6 h 11"/>
                <a:gd name="T14" fmla="*/ 117 w 120"/>
                <a:gd name="T15" fmla="*/ 5 h 11"/>
                <a:gd name="T16" fmla="*/ 83 w 120"/>
                <a:gd name="T1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" h="11">
                  <a:moveTo>
                    <a:pt x="83" y="0"/>
                  </a:moveTo>
                  <a:cubicBezTo>
                    <a:pt x="81" y="0"/>
                    <a:pt x="74" y="0"/>
                    <a:pt x="69" y="0"/>
                  </a:cubicBezTo>
                  <a:lnTo>
                    <a:pt x="7" y="5"/>
                  </a:lnTo>
                  <a:cubicBezTo>
                    <a:pt x="2" y="5"/>
                    <a:pt x="0" y="6"/>
                    <a:pt x="3" y="6"/>
                  </a:cubicBezTo>
                  <a:lnTo>
                    <a:pt x="36" y="11"/>
                  </a:lnTo>
                  <a:cubicBezTo>
                    <a:pt x="39" y="11"/>
                    <a:pt x="46" y="11"/>
                    <a:pt x="51" y="11"/>
                  </a:cubicBezTo>
                  <a:lnTo>
                    <a:pt x="114" y="6"/>
                  </a:lnTo>
                  <a:cubicBezTo>
                    <a:pt x="118" y="6"/>
                    <a:pt x="120" y="5"/>
                    <a:pt x="117" y="5"/>
                  </a:cubicBezTo>
                  <a:lnTo>
                    <a:pt x="83" y="0"/>
                  </a:lnTo>
                  <a:close/>
                </a:path>
              </a:pathLst>
            </a:custGeom>
            <a:solidFill>
              <a:srgbClr val="9BA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5" name="Freeform 1014">
              <a:extLst>
                <a:ext uri="{FF2B5EF4-FFF2-40B4-BE49-F238E27FC236}">
                  <a16:creationId xmlns:a16="http://schemas.microsoft.com/office/drawing/2014/main" id="{C5ACAC5B-4CBB-9D97-D7A6-98B5E25C2E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5955" y="4918105"/>
              <a:ext cx="39352" cy="4036"/>
            </a:xfrm>
            <a:custGeom>
              <a:avLst/>
              <a:gdLst>
                <a:gd name="T0" fmla="*/ 78 w 116"/>
                <a:gd name="T1" fmla="*/ 1 h 11"/>
                <a:gd name="T2" fmla="*/ 65 w 116"/>
                <a:gd name="T3" fmla="*/ 1 h 11"/>
                <a:gd name="T4" fmla="*/ 6 w 116"/>
                <a:gd name="T5" fmla="*/ 5 h 11"/>
                <a:gd name="T6" fmla="*/ 3 w 116"/>
                <a:gd name="T7" fmla="*/ 6 h 11"/>
                <a:gd name="T8" fmla="*/ 37 w 116"/>
                <a:gd name="T9" fmla="*/ 11 h 11"/>
                <a:gd name="T10" fmla="*/ 51 w 116"/>
                <a:gd name="T11" fmla="*/ 11 h 11"/>
                <a:gd name="T12" fmla="*/ 110 w 116"/>
                <a:gd name="T13" fmla="*/ 6 h 11"/>
                <a:gd name="T14" fmla="*/ 113 w 116"/>
                <a:gd name="T15" fmla="*/ 5 h 11"/>
                <a:gd name="T16" fmla="*/ 78 w 116"/>
                <a:gd name="T1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6" h="11">
                  <a:moveTo>
                    <a:pt x="78" y="1"/>
                  </a:moveTo>
                  <a:cubicBezTo>
                    <a:pt x="75" y="0"/>
                    <a:pt x="70" y="0"/>
                    <a:pt x="65" y="1"/>
                  </a:cubicBezTo>
                  <a:lnTo>
                    <a:pt x="6" y="5"/>
                  </a:lnTo>
                  <a:cubicBezTo>
                    <a:pt x="2" y="5"/>
                    <a:pt x="0" y="6"/>
                    <a:pt x="3" y="6"/>
                  </a:cubicBezTo>
                  <a:lnTo>
                    <a:pt x="37" y="11"/>
                  </a:lnTo>
                  <a:cubicBezTo>
                    <a:pt x="40" y="11"/>
                    <a:pt x="46" y="11"/>
                    <a:pt x="51" y="11"/>
                  </a:cubicBezTo>
                  <a:lnTo>
                    <a:pt x="110" y="6"/>
                  </a:lnTo>
                  <a:cubicBezTo>
                    <a:pt x="115" y="6"/>
                    <a:pt x="116" y="5"/>
                    <a:pt x="113" y="5"/>
                  </a:cubicBezTo>
                  <a:lnTo>
                    <a:pt x="78" y="1"/>
                  </a:lnTo>
                  <a:close/>
                </a:path>
              </a:pathLst>
            </a:custGeom>
            <a:solidFill>
              <a:srgbClr val="9BA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6" name="Freeform 1015">
              <a:extLst>
                <a:ext uri="{FF2B5EF4-FFF2-40B4-BE49-F238E27FC236}">
                  <a16:creationId xmlns:a16="http://schemas.microsoft.com/office/drawing/2014/main" id="{1ADE5066-36D4-6055-D192-52DA619FA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3397" y="4910033"/>
              <a:ext cx="36324" cy="3027"/>
            </a:xfrm>
            <a:custGeom>
              <a:avLst/>
              <a:gdLst>
                <a:gd name="T0" fmla="*/ 75 w 107"/>
                <a:gd name="T1" fmla="*/ 0 h 9"/>
                <a:gd name="T2" fmla="*/ 63 w 107"/>
                <a:gd name="T3" fmla="*/ 0 h 9"/>
                <a:gd name="T4" fmla="*/ 7 w 107"/>
                <a:gd name="T5" fmla="*/ 4 h 9"/>
                <a:gd name="T6" fmla="*/ 2 w 107"/>
                <a:gd name="T7" fmla="*/ 5 h 9"/>
                <a:gd name="T8" fmla="*/ 31 w 107"/>
                <a:gd name="T9" fmla="*/ 9 h 9"/>
                <a:gd name="T10" fmla="*/ 44 w 107"/>
                <a:gd name="T11" fmla="*/ 9 h 9"/>
                <a:gd name="T12" fmla="*/ 101 w 107"/>
                <a:gd name="T13" fmla="*/ 5 h 9"/>
                <a:gd name="T14" fmla="*/ 105 w 107"/>
                <a:gd name="T15" fmla="*/ 4 h 9"/>
                <a:gd name="T16" fmla="*/ 75 w 107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7" h="9">
                  <a:moveTo>
                    <a:pt x="75" y="0"/>
                  </a:moveTo>
                  <a:cubicBezTo>
                    <a:pt x="73" y="0"/>
                    <a:pt x="67" y="0"/>
                    <a:pt x="63" y="0"/>
                  </a:cubicBezTo>
                  <a:lnTo>
                    <a:pt x="7" y="4"/>
                  </a:lnTo>
                  <a:cubicBezTo>
                    <a:pt x="2" y="4"/>
                    <a:pt x="0" y="4"/>
                    <a:pt x="2" y="5"/>
                  </a:cubicBezTo>
                  <a:lnTo>
                    <a:pt x="31" y="9"/>
                  </a:lnTo>
                  <a:cubicBezTo>
                    <a:pt x="34" y="9"/>
                    <a:pt x="39" y="9"/>
                    <a:pt x="44" y="9"/>
                  </a:cubicBezTo>
                  <a:lnTo>
                    <a:pt x="101" y="5"/>
                  </a:lnTo>
                  <a:cubicBezTo>
                    <a:pt x="105" y="4"/>
                    <a:pt x="107" y="4"/>
                    <a:pt x="105" y="4"/>
                  </a:cubicBezTo>
                  <a:lnTo>
                    <a:pt x="7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7" name="Freeform 1016">
              <a:extLst>
                <a:ext uri="{FF2B5EF4-FFF2-40B4-BE49-F238E27FC236}">
                  <a16:creationId xmlns:a16="http://schemas.microsoft.com/office/drawing/2014/main" id="{EE0DA167-DA9B-A684-9F86-43D9616F9F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045" y="4912051"/>
              <a:ext cx="37333" cy="3027"/>
            </a:xfrm>
            <a:custGeom>
              <a:avLst/>
              <a:gdLst>
                <a:gd name="T0" fmla="*/ 79 w 110"/>
                <a:gd name="T1" fmla="*/ 0 h 9"/>
                <a:gd name="T2" fmla="*/ 66 w 110"/>
                <a:gd name="T3" fmla="*/ 0 h 9"/>
                <a:gd name="T4" fmla="*/ 7 w 110"/>
                <a:gd name="T5" fmla="*/ 4 h 9"/>
                <a:gd name="T6" fmla="*/ 2 w 110"/>
                <a:gd name="T7" fmla="*/ 5 h 9"/>
                <a:gd name="T8" fmla="*/ 30 w 110"/>
                <a:gd name="T9" fmla="*/ 9 h 9"/>
                <a:gd name="T10" fmla="*/ 43 w 110"/>
                <a:gd name="T11" fmla="*/ 9 h 9"/>
                <a:gd name="T12" fmla="*/ 103 w 110"/>
                <a:gd name="T13" fmla="*/ 5 h 9"/>
                <a:gd name="T14" fmla="*/ 107 w 110"/>
                <a:gd name="T15" fmla="*/ 4 h 9"/>
                <a:gd name="T16" fmla="*/ 79 w 110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" h="9">
                  <a:moveTo>
                    <a:pt x="79" y="0"/>
                  </a:moveTo>
                  <a:cubicBezTo>
                    <a:pt x="77" y="0"/>
                    <a:pt x="71" y="0"/>
                    <a:pt x="66" y="0"/>
                  </a:cubicBezTo>
                  <a:lnTo>
                    <a:pt x="7" y="4"/>
                  </a:lnTo>
                  <a:cubicBezTo>
                    <a:pt x="2" y="4"/>
                    <a:pt x="0" y="5"/>
                    <a:pt x="2" y="5"/>
                  </a:cubicBezTo>
                  <a:lnTo>
                    <a:pt x="30" y="9"/>
                  </a:lnTo>
                  <a:cubicBezTo>
                    <a:pt x="32" y="9"/>
                    <a:pt x="38" y="9"/>
                    <a:pt x="43" y="9"/>
                  </a:cubicBezTo>
                  <a:lnTo>
                    <a:pt x="103" y="5"/>
                  </a:lnTo>
                  <a:cubicBezTo>
                    <a:pt x="108" y="5"/>
                    <a:pt x="110" y="4"/>
                    <a:pt x="107" y="4"/>
                  </a:cubicBezTo>
                  <a:lnTo>
                    <a:pt x="79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8" name="Freeform 1017">
              <a:extLst>
                <a:ext uri="{FF2B5EF4-FFF2-40B4-BE49-F238E27FC236}">
                  <a16:creationId xmlns:a16="http://schemas.microsoft.com/office/drawing/2014/main" id="{7782274F-70B2-C6AC-5466-6C646C595D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2676" y="4915078"/>
              <a:ext cx="38342" cy="3027"/>
            </a:xfrm>
            <a:custGeom>
              <a:avLst/>
              <a:gdLst>
                <a:gd name="T0" fmla="*/ 84 w 114"/>
                <a:gd name="T1" fmla="*/ 0 h 10"/>
                <a:gd name="T2" fmla="*/ 71 w 114"/>
                <a:gd name="T3" fmla="*/ 0 h 10"/>
                <a:gd name="T4" fmla="*/ 8 w 114"/>
                <a:gd name="T5" fmla="*/ 4 h 10"/>
                <a:gd name="T6" fmla="*/ 2 w 114"/>
                <a:gd name="T7" fmla="*/ 5 h 10"/>
                <a:gd name="T8" fmla="*/ 29 w 114"/>
                <a:gd name="T9" fmla="*/ 9 h 10"/>
                <a:gd name="T10" fmla="*/ 43 w 114"/>
                <a:gd name="T11" fmla="*/ 9 h 10"/>
                <a:gd name="T12" fmla="*/ 106 w 114"/>
                <a:gd name="T13" fmla="*/ 5 h 10"/>
                <a:gd name="T14" fmla="*/ 111 w 114"/>
                <a:gd name="T15" fmla="*/ 4 h 10"/>
                <a:gd name="T16" fmla="*/ 84 w 114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" h="10">
                  <a:moveTo>
                    <a:pt x="84" y="0"/>
                  </a:moveTo>
                  <a:cubicBezTo>
                    <a:pt x="82" y="0"/>
                    <a:pt x="76" y="0"/>
                    <a:pt x="71" y="0"/>
                  </a:cubicBezTo>
                  <a:lnTo>
                    <a:pt x="8" y="4"/>
                  </a:lnTo>
                  <a:cubicBezTo>
                    <a:pt x="3" y="4"/>
                    <a:pt x="0" y="5"/>
                    <a:pt x="2" y="5"/>
                  </a:cubicBezTo>
                  <a:lnTo>
                    <a:pt x="29" y="9"/>
                  </a:lnTo>
                  <a:cubicBezTo>
                    <a:pt x="31" y="10"/>
                    <a:pt x="37" y="10"/>
                    <a:pt x="43" y="9"/>
                  </a:cubicBezTo>
                  <a:lnTo>
                    <a:pt x="106" y="5"/>
                  </a:lnTo>
                  <a:cubicBezTo>
                    <a:pt x="111" y="5"/>
                    <a:pt x="114" y="4"/>
                    <a:pt x="111" y="4"/>
                  </a:cubicBezTo>
                  <a:lnTo>
                    <a:pt x="8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9" name="Freeform 1018">
              <a:extLst>
                <a:ext uri="{FF2B5EF4-FFF2-40B4-BE49-F238E27FC236}">
                  <a16:creationId xmlns:a16="http://schemas.microsoft.com/office/drawing/2014/main" id="{668D9B9C-5B88-CC18-98D4-32217F1C7C2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8081" y="4905997"/>
              <a:ext cx="34306" cy="2018"/>
            </a:xfrm>
            <a:custGeom>
              <a:avLst/>
              <a:gdLst>
                <a:gd name="T0" fmla="*/ 73 w 101"/>
                <a:gd name="T1" fmla="*/ 0 h 8"/>
                <a:gd name="T2" fmla="*/ 61 w 101"/>
                <a:gd name="T3" fmla="*/ 0 h 8"/>
                <a:gd name="T4" fmla="*/ 6 w 101"/>
                <a:gd name="T5" fmla="*/ 3 h 8"/>
                <a:gd name="T6" fmla="*/ 2 w 101"/>
                <a:gd name="T7" fmla="*/ 4 h 8"/>
                <a:gd name="T8" fmla="*/ 28 w 101"/>
                <a:gd name="T9" fmla="*/ 8 h 8"/>
                <a:gd name="T10" fmla="*/ 40 w 101"/>
                <a:gd name="T11" fmla="*/ 8 h 8"/>
                <a:gd name="T12" fmla="*/ 95 w 101"/>
                <a:gd name="T13" fmla="*/ 4 h 8"/>
                <a:gd name="T14" fmla="*/ 99 w 101"/>
                <a:gd name="T15" fmla="*/ 3 h 8"/>
                <a:gd name="T16" fmla="*/ 73 w 101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8">
                  <a:moveTo>
                    <a:pt x="73" y="0"/>
                  </a:moveTo>
                  <a:cubicBezTo>
                    <a:pt x="71" y="0"/>
                    <a:pt x="65" y="0"/>
                    <a:pt x="61" y="0"/>
                  </a:cubicBezTo>
                  <a:lnTo>
                    <a:pt x="6" y="3"/>
                  </a:lnTo>
                  <a:cubicBezTo>
                    <a:pt x="2" y="4"/>
                    <a:pt x="0" y="4"/>
                    <a:pt x="2" y="4"/>
                  </a:cubicBezTo>
                  <a:lnTo>
                    <a:pt x="28" y="8"/>
                  </a:lnTo>
                  <a:cubicBezTo>
                    <a:pt x="30" y="8"/>
                    <a:pt x="35" y="8"/>
                    <a:pt x="40" y="8"/>
                  </a:cubicBezTo>
                  <a:lnTo>
                    <a:pt x="95" y="4"/>
                  </a:lnTo>
                  <a:cubicBezTo>
                    <a:pt x="99" y="4"/>
                    <a:pt x="101" y="4"/>
                    <a:pt x="99" y="3"/>
                  </a:cubicBezTo>
                  <a:lnTo>
                    <a:pt x="73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1" name="Freeform 1019">
              <a:extLst>
                <a:ext uri="{FF2B5EF4-FFF2-40B4-BE49-F238E27FC236}">
                  <a16:creationId xmlns:a16="http://schemas.microsoft.com/office/drawing/2014/main" id="{9ACB02AF-6DD1-5FBA-4649-4E257DE89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9739" y="4908015"/>
              <a:ext cx="35315" cy="3027"/>
            </a:xfrm>
            <a:custGeom>
              <a:avLst/>
              <a:gdLst>
                <a:gd name="T0" fmla="*/ 76 w 104"/>
                <a:gd name="T1" fmla="*/ 1 h 9"/>
                <a:gd name="T2" fmla="*/ 64 w 104"/>
                <a:gd name="T3" fmla="*/ 1 h 9"/>
                <a:gd name="T4" fmla="*/ 7 w 104"/>
                <a:gd name="T5" fmla="*/ 4 h 9"/>
                <a:gd name="T6" fmla="*/ 2 w 104"/>
                <a:gd name="T7" fmla="*/ 5 h 9"/>
                <a:gd name="T8" fmla="*/ 27 w 104"/>
                <a:gd name="T9" fmla="*/ 8 h 9"/>
                <a:gd name="T10" fmla="*/ 39 w 104"/>
                <a:gd name="T11" fmla="*/ 8 h 9"/>
                <a:gd name="T12" fmla="*/ 97 w 104"/>
                <a:gd name="T13" fmla="*/ 5 h 9"/>
                <a:gd name="T14" fmla="*/ 102 w 104"/>
                <a:gd name="T15" fmla="*/ 4 h 9"/>
                <a:gd name="T16" fmla="*/ 76 w 104"/>
                <a:gd name="T1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9">
                  <a:moveTo>
                    <a:pt x="76" y="1"/>
                  </a:moveTo>
                  <a:cubicBezTo>
                    <a:pt x="74" y="0"/>
                    <a:pt x="69" y="0"/>
                    <a:pt x="64" y="1"/>
                  </a:cubicBezTo>
                  <a:lnTo>
                    <a:pt x="7" y="4"/>
                  </a:lnTo>
                  <a:cubicBezTo>
                    <a:pt x="2" y="4"/>
                    <a:pt x="0" y="5"/>
                    <a:pt x="2" y="5"/>
                  </a:cubicBezTo>
                  <a:lnTo>
                    <a:pt x="27" y="8"/>
                  </a:lnTo>
                  <a:cubicBezTo>
                    <a:pt x="29" y="9"/>
                    <a:pt x="34" y="9"/>
                    <a:pt x="39" y="8"/>
                  </a:cubicBezTo>
                  <a:lnTo>
                    <a:pt x="97" y="5"/>
                  </a:lnTo>
                  <a:cubicBezTo>
                    <a:pt x="102" y="5"/>
                    <a:pt x="104" y="4"/>
                    <a:pt x="102" y="4"/>
                  </a:cubicBezTo>
                  <a:lnTo>
                    <a:pt x="76" y="1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2" name="Freeform 1020">
              <a:extLst>
                <a:ext uri="{FF2B5EF4-FFF2-40B4-BE49-F238E27FC236}">
                  <a16:creationId xmlns:a16="http://schemas.microsoft.com/office/drawing/2014/main" id="{93508B00-369F-D61E-EA97-0CEF0C58F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9379" y="4910033"/>
              <a:ext cx="36324" cy="3027"/>
            </a:xfrm>
            <a:custGeom>
              <a:avLst/>
              <a:gdLst>
                <a:gd name="T0" fmla="*/ 81 w 108"/>
                <a:gd name="T1" fmla="*/ 0 h 9"/>
                <a:gd name="T2" fmla="*/ 69 w 108"/>
                <a:gd name="T3" fmla="*/ 0 h 9"/>
                <a:gd name="T4" fmla="*/ 8 w 108"/>
                <a:gd name="T5" fmla="*/ 4 h 9"/>
                <a:gd name="T6" fmla="*/ 2 w 108"/>
                <a:gd name="T7" fmla="*/ 5 h 9"/>
                <a:gd name="T8" fmla="*/ 26 w 108"/>
                <a:gd name="T9" fmla="*/ 9 h 9"/>
                <a:gd name="T10" fmla="*/ 39 w 108"/>
                <a:gd name="T11" fmla="*/ 9 h 9"/>
                <a:gd name="T12" fmla="*/ 101 w 108"/>
                <a:gd name="T13" fmla="*/ 5 h 9"/>
                <a:gd name="T14" fmla="*/ 106 w 108"/>
                <a:gd name="T15" fmla="*/ 4 h 9"/>
                <a:gd name="T16" fmla="*/ 81 w 108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9">
                  <a:moveTo>
                    <a:pt x="81" y="0"/>
                  </a:moveTo>
                  <a:cubicBezTo>
                    <a:pt x="79" y="0"/>
                    <a:pt x="74" y="0"/>
                    <a:pt x="69" y="0"/>
                  </a:cubicBezTo>
                  <a:lnTo>
                    <a:pt x="8" y="4"/>
                  </a:lnTo>
                  <a:cubicBezTo>
                    <a:pt x="3" y="4"/>
                    <a:pt x="0" y="5"/>
                    <a:pt x="2" y="5"/>
                  </a:cubicBezTo>
                  <a:lnTo>
                    <a:pt x="26" y="9"/>
                  </a:lnTo>
                  <a:cubicBezTo>
                    <a:pt x="28" y="9"/>
                    <a:pt x="34" y="9"/>
                    <a:pt x="39" y="9"/>
                  </a:cubicBezTo>
                  <a:lnTo>
                    <a:pt x="101" y="5"/>
                  </a:lnTo>
                  <a:cubicBezTo>
                    <a:pt x="105" y="5"/>
                    <a:pt x="108" y="4"/>
                    <a:pt x="106" y="4"/>
                  </a:cubicBezTo>
                  <a:lnTo>
                    <a:pt x="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3" name="Freeform 1021">
              <a:extLst>
                <a:ext uri="{FF2B5EF4-FFF2-40B4-BE49-F238E27FC236}">
                  <a16:creationId xmlns:a16="http://schemas.microsoft.com/office/drawing/2014/main" id="{9E39E63A-9297-F237-0AE5-91E0D6023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5234" y="4908015"/>
              <a:ext cx="35315" cy="3027"/>
            </a:xfrm>
            <a:custGeom>
              <a:avLst/>
              <a:gdLst>
                <a:gd name="T0" fmla="*/ 74 w 104"/>
                <a:gd name="T1" fmla="*/ 0 h 9"/>
                <a:gd name="T2" fmla="*/ 62 w 104"/>
                <a:gd name="T3" fmla="*/ 0 h 9"/>
                <a:gd name="T4" fmla="*/ 6 w 104"/>
                <a:gd name="T5" fmla="*/ 4 h 9"/>
                <a:gd name="T6" fmla="*/ 2 w 104"/>
                <a:gd name="T7" fmla="*/ 5 h 9"/>
                <a:gd name="T8" fmla="*/ 29 w 104"/>
                <a:gd name="T9" fmla="*/ 8 h 9"/>
                <a:gd name="T10" fmla="*/ 41 w 104"/>
                <a:gd name="T11" fmla="*/ 8 h 9"/>
                <a:gd name="T12" fmla="*/ 97 w 104"/>
                <a:gd name="T13" fmla="*/ 5 h 9"/>
                <a:gd name="T14" fmla="*/ 101 w 104"/>
                <a:gd name="T15" fmla="*/ 4 h 9"/>
                <a:gd name="T16" fmla="*/ 74 w 104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9">
                  <a:moveTo>
                    <a:pt x="74" y="0"/>
                  </a:moveTo>
                  <a:cubicBezTo>
                    <a:pt x="71" y="0"/>
                    <a:pt x="66" y="0"/>
                    <a:pt x="62" y="0"/>
                  </a:cubicBezTo>
                  <a:lnTo>
                    <a:pt x="6" y="4"/>
                  </a:lnTo>
                  <a:cubicBezTo>
                    <a:pt x="2" y="4"/>
                    <a:pt x="0" y="5"/>
                    <a:pt x="2" y="5"/>
                  </a:cubicBezTo>
                  <a:lnTo>
                    <a:pt x="29" y="8"/>
                  </a:lnTo>
                  <a:cubicBezTo>
                    <a:pt x="31" y="9"/>
                    <a:pt x="37" y="9"/>
                    <a:pt x="41" y="8"/>
                  </a:cubicBezTo>
                  <a:lnTo>
                    <a:pt x="97" y="5"/>
                  </a:lnTo>
                  <a:cubicBezTo>
                    <a:pt x="102" y="5"/>
                    <a:pt x="104" y="4"/>
                    <a:pt x="101" y="4"/>
                  </a:cubicBezTo>
                  <a:lnTo>
                    <a:pt x="7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4" name="Freeform 1022">
              <a:extLst>
                <a:ext uri="{FF2B5EF4-FFF2-40B4-BE49-F238E27FC236}">
                  <a16:creationId xmlns:a16="http://schemas.microsoft.com/office/drawing/2014/main" id="{2F2BD1C0-FE67-978D-4E6B-7B3614840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6892" y="4910033"/>
              <a:ext cx="35315" cy="3027"/>
            </a:xfrm>
            <a:custGeom>
              <a:avLst/>
              <a:gdLst>
                <a:gd name="T0" fmla="*/ 78 w 107"/>
                <a:gd name="T1" fmla="*/ 0 h 9"/>
                <a:gd name="T2" fmla="*/ 65 w 107"/>
                <a:gd name="T3" fmla="*/ 0 h 9"/>
                <a:gd name="T4" fmla="*/ 7 w 107"/>
                <a:gd name="T5" fmla="*/ 4 h 9"/>
                <a:gd name="T6" fmla="*/ 2 w 107"/>
                <a:gd name="T7" fmla="*/ 5 h 9"/>
                <a:gd name="T8" fmla="*/ 28 w 107"/>
                <a:gd name="T9" fmla="*/ 9 h 9"/>
                <a:gd name="T10" fmla="*/ 41 w 107"/>
                <a:gd name="T11" fmla="*/ 9 h 9"/>
                <a:gd name="T12" fmla="*/ 100 w 107"/>
                <a:gd name="T13" fmla="*/ 5 h 9"/>
                <a:gd name="T14" fmla="*/ 105 w 107"/>
                <a:gd name="T15" fmla="*/ 4 h 9"/>
                <a:gd name="T16" fmla="*/ 78 w 107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7" h="9">
                  <a:moveTo>
                    <a:pt x="78" y="0"/>
                  </a:moveTo>
                  <a:cubicBezTo>
                    <a:pt x="75" y="0"/>
                    <a:pt x="70" y="0"/>
                    <a:pt x="65" y="0"/>
                  </a:cubicBezTo>
                  <a:lnTo>
                    <a:pt x="7" y="4"/>
                  </a:lnTo>
                  <a:cubicBezTo>
                    <a:pt x="2" y="4"/>
                    <a:pt x="0" y="5"/>
                    <a:pt x="2" y="5"/>
                  </a:cubicBezTo>
                  <a:lnTo>
                    <a:pt x="28" y="9"/>
                  </a:lnTo>
                  <a:cubicBezTo>
                    <a:pt x="30" y="9"/>
                    <a:pt x="36" y="9"/>
                    <a:pt x="41" y="9"/>
                  </a:cubicBezTo>
                  <a:lnTo>
                    <a:pt x="100" y="5"/>
                  </a:lnTo>
                  <a:cubicBezTo>
                    <a:pt x="105" y="5"/>
                    <a:pt x="107" y="4"/>
                    <a:pt x="105" y="4"/>
                  </a:cubicBezTo>
                  <a:lnTo>
                    <a:pt x="78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5" name="Freeform 1023">
              <a:extLst>
                <a:ext uri="{FF2B5EF4-FFF2-40B4-BE49-F238E27FC236}">
                  <a16:creationId xmlns:a16="http://schemas.microsoft.com/office/drawing/2014/main" id="{59C9A8CE-27AF-3D45-10C9-119D1FE497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5523" y="4912051"/>
              <a:ext cx="37333" cy="4036"/>
            </a:xfrm>
            <a:custGeom>
              <a:avLst/>
              <a:gdLst>
                <a:gd name="T0" fmla="*/ 82 w 111"/>
                <a:gd name="T1" fmla="*/ 0 h 10"/>
                <a:gd name="T2" fmla="*/ 70 w 111"/>
                <a:gd name="T3" fmla="*/ 0 h 10"/>
                <a:gd name="T4" fmla="*/ 8 w 111"/>
                <a:gd name="T5" fmla="*/ 4 h 10"/>
                <a:gd name="T6" fmla="*/ 2 w 111"/>
                <a:gd name="T7" fmla="*/ 5 h 10"/>
                <a:gd name="T8" fmla="*/ 28 w 111"/>
                <a:gd name="T9" fmla="*/ 9 h 10"/>
                <a:gd name="T10" fmla="*/ 41 w 111"/>
                <a:gd name="T11" fmla="*/ 9 h 10"/>
                <a:gd name="T12" fmla="*/ 103 w 111"/>
                <a:gd name="T13" fmla="*/ 5 h 10"/>
                <a:gd name="T14" fmla="*/ 108 w 111"/>
                <a:gd name="T15" fmla="*/ 4 h 10"/>
                <a:gd name="T16" fmla="*/ 82 w 111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" h="10">
                  <a:moveTo>
                    <a:pt x="82" y="0"/>
                  </a:moveTo>
                  <a:cubicBezTo>
                    <a:pt x="80" y="0"/>
                    <a:pt x="75" y="0"/>
                    <a:pt x="70" y="0"/>
                  </a:cubicBezTo>
                  <a:lnTo>
                    <a:pt x="8" y="4"/>
                  </a:lnTo>
                  <a:cubicBezTo>
                    <a:pt x="3" y="4"/>
                    <a:pt x="0" y="5"/>
                    <a:pt x="2" y="5"/>
                  </a:cubicBezTo>
                  <a:lnTo>
                    <a:pt x="28" y="9"/>
                  </a:lnTo>
                  <a:cubicBezTo>
                    <a:pt x="30" y="10"/>
                    <a:pt x="36" y="10"/>
                    <a:pt x="41" y="9"/>
                  </a:cubicBezTo>
                  <a:lnTo>
                    <a:pt x="103" y="5"/>
                  </a:lnTo>
                  <a:cubicBezTo>
                    <a:pt x="108" y="5"/>
                    <a:pt x="111" y="4"/>
                    <a:pt x="108" y="4"/>
                  </a:cubicBezTo>
                  <a:lnTo>
                    <a:pt x="82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6" name="Freeform 1024">
              <a:extLst>
                <a:ext uri="{FF2B5EF4-FFF2-40B4-BE49-F238E27FC236}">
                  <a16:creationId xmlns:a16="http://schemas.microsoft.com/office/drawing/2014/main" id="{290639B1-F69C-BB0F-1154-67B194439D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3577" y="4912051"/>
              <a:ext cx="37333" cy="3027"/>
            </a:xfrm>
            <a:custGeom>
              <a:avLst/>
              <a:gdLst>
                <a:gd name="T0" fmla="*/ 76 w 110"/>
                <a:gd name="T1" fmla="*/ 0 h 9"/>
                <a:gd name="T2" fmla="*/ 63 w 110"/>
                <a:gd name="T3" fmla="*/ 0 h 9"/>
                <a:gd name="T4" fmla="*/ 6 w 110"/>
                <a:gd name="T5" fmla="*/ 4 h 9"/>
                <a:gd name="T6" fmla="*/ 2 w 110"/>
                <a:gd name="T7" fmla="*/ 5 h 9"/>
                <a:gd name="T8" fmla="*/ 33 w 110"/>
                <a:gd name="T9" fmla="*/ 9 h 9"/>
                <a:gd name="T10" fmla="*/ 46 w 110"/>
                <a:gd name="T11" fmla="*/ 9 h 9"/>
                <a:gd name="T12" fmla="*/ 103 w 110"/>
                <a:gd name="T13" fmla="*/ 5 h 9"/>
                <a:gd name="T14" fmla="*/ 107 w 110"/>
                <a:gd name="T15" fmla="*/ 4 h 9"/>
                <a:gd name="T16" fmla="*/ 76 w 110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" h="9">
                  <a:moveTo>
                    <a:pt x="76" y="0"/>
                  </a:moveTo>
                  <a:cubicBezTo>
                    <a:pt x="74" y="0"/>
                    <a:pt x="68" y="0"/>
                    <a:pt x="63" y="0"/>
                  </a:cubicBezTo>
                  <a:lnTo>
                    <a:pt x="6" y="4"/>
                  </a:lnTo>
                  <a:cubicBezTo>
                    <a:pt x="2" y="4"/>
                    <a:pt x="0" y="5"/>
                    <a:pt x="2" y="5"/>
                  </a:cubicBezTo>
                  <a:lnTo>
                    <a:pt x="33" y="9"/>
                  </a:lnTo>
                  <a:cubicBezTo>
                    <a:pt x="35" y="9"/>
                    <a:pt x="41" y="9"/>
                    <a:pt x="46" y="9"/>
                  </a:cubicBezTo>
                  <a:lnTo>
                    <a:pt x="103" y="5"/>
                  </a:lnTo>
                  <a:cubicBezTo>
                    <a:pt x="108" y="5"/>
                    <a:pt x="110" y="4"/>
                    <a:pt x="107" y="4"/>
                  </a:cubicBez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7" name="Freeform 1025">
              <a:extLst>
                <a:ext uri="{FF2B5EF4-FFF2-40B4-BE49-F238E27FC236}">
                  <a16:creationId xmlns:a16="http://schemas.microsoft.com/office/drawing/2014/main" id="{DF14450B-8904-D3E5-5C93-8AB4E4DED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3217" y="4915078"/>
              <a:ext cx="38342" cy="3027"/>
            </a:xfrm>
            <a:custGeom>
              <a:avLst/>
              <a:gdLst>
                <a:gd name="T0" fmla="*/ 80 w 113"/>
                <a:gd name="T1" fmla="*/ 0 h 10"/>
                <a:gd name="T2" fmla="*/ 67 w 113"/>
                <a:gd name="T3" fmla="*/ 0 h 10"/>
                <a:gd name="T4" fmla="*/ 7 w 113"/>
                <a:gd name="T5" fmla="*/ 4 h 10"/>
                <a:gd name="T6" fmla="*/ 2 w 113"/>
                <a:gd name="T7" fmla="*/ 5 h 10"/>
                <a:gd name="T8" fmla="*/ 32 w 113"/>
                <a:gd name="T9" fmla="*/ 9 h 10"/>
                <a:gd name="T10" fmla="*/ 45 w 113"/>
                <a:gd name="T11" fmla="*/ 9 h 10"/>
                <a:gd name="T12" fmla="*/ 106 w 113"/>
                <a:gd name="T13" fmla="*/ 5 h 10"/>
                <a:gd name="T14" fmla="*/ 110 w 113"/>
                <a:gd name="T15" fmla="*/ 4 h 10"/>
                <a:gd name="T16" fmla="*/ 80 w 113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3" h="10">
                  <a:moveTo>
                    <a:pt x="80" y="0"/>
                  </a:moveTo>
                  <a:cubicBezTo>
                    <a:pt x="78" y="0"/>
                    <a:pt x="72" y="0"/>
                    <a:pt x="67" y="0"/>
                  </a:cubicBezTo>
                  <a:lnTo>
                    <a:pt x="7" y="4"/>
                  </a:lnTo>
                  <a:cubicBezTo>
                    <a:pt x="2" y="4"/>
                    <a:pt x="0" y="5"/>
                    <a:pt x="2" y="5"/>
                  </a:cubicBezTo>
                  <a:lnTo>
                    <a:pt x="32" y="9"/>
                  </a:lnTo>
                  <a:cubicBezTo>
                    <a:pt x="34" y="10"/>
                    <a:pt x="40" y="10"/>
                    <a:pt x="45" y="9"/>
                  </a:cubicBezTo>
                  <a:lnTo>
                    <a:pt x="106" y="5"/>
                  </a:lnTo>
                  <a:cubicBezTo>
                    <a:pt x="111" y="5"/>
                    <a:pt x="113" y="4"/>
                    <a:pt x="110" y="4"/>
                  </a:cubicBezTo>
                  <a:lnTo>
                    <a:pt x="8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8" name="Freeform 1026">
              <a:extLst>
                <a:ext uri="{FF2B5EF4-FFF2-40B4-BE49-F238E27FC236}">
                  <a16:creationId xmlns:a16="http://schemas.microsoft.com/office/drawing/2014/main" id="{621FBF16-2703-BF3F-EA43-908C0A40422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0838" y="4918105"/>
              <a:ext cx="39352" cy="3027"/>
            </a:xfrm>
            <a:custGeom>
              <a:avLst/>
              <a:gdLst>
                <a:gd name="T0" fmla="*/ 85 w 117"/>
                <a:gd name="T1" fmla="*/ 0 h 10"/>
                <a:gd name="T2" fmla="*/ 72 w 117"/>
                <a:gd name="T3" fmla="*/ 0 h 10"/>
                <a:gd name="T4" fmla="*/ 8 w 117"/>
                <a:gd name="T5" fmla="*/ 4 h 10"/>
                <a:gd name="T6" fmla="*/ 2 w 117"/>
                <a:gd name="T7" fmla="*/ 5 h 10"/>
                <a:gd name="T8" fmla="*/ 31 w 117"/>
                <a:gd name="T9" fmla="*/ 10 h 10"/>
                <a:gd name="T10" fmla="*/ 45 w 117"/>
                <a:gd name="T11" fmla="*/ 10 h 10"/>
                <a:gd name="T12" fmla="*/ 110 w 117"/>
                <a:gd name="T13" fmla="*/ 5 h 10"/>
                <a:gd name="T14" fmla="*/ 115 w 117"/>
                <a:gd name="T15" fmla="*/ 4 h 10"/>
                <a:gd name="T16" fmla="*/ 85 w 117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" h="10">
                  <a:moveTo>
                    <a:pt x="85" y="0"/>
                  </a:moveTo>
                  <a:cubicBezTo>
                    <a:pt x="83" y="0"/>
                    <a:pt x="77" y="0"/>
                    <a:pt x="72" y="0"/>
                  </a:cubicBezTo>
                  <a:lnTo>
                    <a:pt x="8" y="4"/>
                  </a:lnTo>
                  <a:cubicBezTo>
                    <a:pt x="2" y="5"/>
                    <a:pt x="0" y="5"/>
                    <a:pt x="2" y="5"/>
                  </a:cubicBezTo>
                  <a:lnTo>
                    <a:pt x="31" y="10"/>
                  </a:lnTo>
                  <a:cubicBezTo>
                    <a:pt x="33" y="10"/>
                    <a:pt x="40" y="10"/>
                    <a:pt x="45" y="10"/>
                  </a:cubicBezTo>
                  <a:lnTo>
                    <a:pt x="110" y="5"/>
                  </a:lnTo>
                  <a:cubicBezTo>
                    <a:pt x="115" y="5"/>
                    <a:pt x="117" y="5"/>
                    <a:pt x="115" y="4"/>
                  </a:cubicBezTo>
                  <a:lnTo>
                    <a:pt x="85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9" name="Freeform 1027">
              <a:extLst>
                <a:ext uri="{FF2B5EF4-FFF2-40B4-BE49-F238E27FC236}">
                  <a16:creationId xmlns:a16="http://schemas.microsoft.com/office/drawing/2014/main" id="{9D014B1C-3F83-CD56-230C-46FA37D39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57" y="4915078"/>
              <a:ext cx="38342" cy="3027"/>
            </a:xfrm>
            <a:custGeom>
              <a:avLst/>
              <a:gdLst>
                <a:gd name="T0" fmla="*/ 77 w 113"/>
                <a:gd name="T1" fmla="*/ 1 h 10"/>
                <a:gd name="T2" fmla="*/ 64 w 113"/>
                <a:gd name="T3" fmla="*/ 1 h 10"/>
                <a:gd name="T4" fmla="*/ 7 w 113"/>
                <a:gd name="T5" fmla="*/ 5 h 10"/>
                <a:gd name="T6" fmla="*/ 3 w 113"/>
                <a:gd name="T7" fmla="*/ 6 h 10"/>
                <a:gd name="T8" fmla="*/ 35 w 113"/>
                <a:gd name="T9" fmla="*/ 10 h 10"/>
                <a:gd name="T10" fmla="*/ 49 w 113"/>
                <a:gd name="T11" fmla="*/ 10 h 10"/>
                <a:gd name="T12" fmla="*/ 107 w 113"/>
                <a:gd name="T13" fmla="*/ 6 h 10"/>
                <a:gd name="T14" fmla="*/ 110 w 113"/>
                <a:gd name="T15" fmla="*/ 5 h 10"/>
                <a:gd name="T16" fmla="*/ 77 w 113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3" h="10">
                  <a:moveTo>
                    <a:pt x="77" y="1"/>
                  </a:moveTo>
                  <a:cubicBezTo>
                    <a:pt x="75" y="0"/>
                    <a:pt x="69" y="0"/>
                    <a:pt x="64" y="1"/>
                  </a:cubicBezTo>
                  <a:lnTo>
                    <a:pt x="7" y="5"/>
                  </a:lnTo>
                  <a:cubicBezTo>
                    <a:pt x="2" y="5"/>
                    <a:pt x="0" y="6"/>
                    <a:pt x="3" y="6"/>
                  </a:cubicBezTo>
                  <a:lnTo>
                    <a:pt x="35" y="10"/>
                  </a:lnTo>
                  <a:cubicBezTo>
                    <a:pt x="38" y="10"/>
                    <a:pt x="44" y="10"/>
                    <a:pt x="49" y="10"/>
                  </a:cubicBezTo>
                  <a:lnTo>
                    <a:pt x="107" y="6"/>
                  </a:lnTo>
                  <a:cubicBezTo>
                    <a:pt x="111" y="6"/>
                    <a:pt x="113" y="5"/>
                    <a:pt x="110" y="5"/>
                  </a:cubicBezTo>
                  <a:lnTo>
                    <a:pt x="7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0" name="Freeform 1028">
              <a:extLst>
                <a:ext uri="{FF2B5EF4-FFF2-40B4-BE49-F238E27FC236}">
                  <a16:creationId xmlns:a16="http://schemas.microsoft.com/office/drawing/2014/main" id="{FC315ABD-B879-C166-EA7D-F5C23F5E87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3397" y="4917096"/>
              <a:ext cx="39352" cy="4036"/>
            </a:xfrm>
            <a:custGeom>
              <a:avLst/>
              <a:gdLst>
                <a:gd name="T0" fmla="*/ 82 w 117"/>
                <a:gd name="T1" fmla="*/ 1 h 11"/>
                <a:gd name="T2" fmla="*/ 68 w 117"/>
                <a:gd name="T3" fmla="*/ 1 h 11"/>
                <a:gd name="T4" fmla="*/ 7 w 117"/>
                <a:gd name="T5" fmla="*/ 5 h 11"/>
                <a:gd name="T6" fmla="*/ 3 w 117"/>
                <a:gd name="T7" fmla="*/ 6 h 11"/>
                <a:gd name="T8" fmla="*/ 34 w 117"/>
                <a:gd name="T9" fmla="*/ 11 h 11"/>
                <a:gd name="T10" fmla="*/ 48 w 117"/>
                <a:gd name="T11" fmla="*/ 11 h 11"/>
                <a:gd name="T12" fmla="*/ 110 w 117"/>
                <a:gd name="T13" fmla="*/ 6 h 11"/>
                <a:gd name="T14" fmla="*/ 114 w 117"/>
                <a:gd name="T15" fmla="*/ 5 h 11"/>
                <a:gd name="T16" fmla="*/ 82 w 117"/>
                <a:gd name="T1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" h="11">
                  <a:moveTo>
                    <a:pt x="82" y="1"/>
                  </a:moveTo>
                  <a:cubicBezTo>
                    <a:pt x="79" y="0"/>
                    <a:pt x="73" y="0"/>
                    <a:pt x="68" y="1"/>
                  </a:cubicBezTo>
                  <a:lnTo>
                    <a:pt x="7" y="5"/>
                  </a:lnTo>
                  <a:cubicBezTo>
                    <a:pt x="2" y="5"/>
                    <a:pt x="0" y="6"/>
                    <a:pt x="3" y="6"/>
                  </a:cubicBezTo>
                  <a:lnTo>
                    <a:pt x="34" y="11"/>
                  </a:lnTo>
                  <a:cubicBezTo>
                    <a:pt x="37" y="11"/>
                    <a:pt x="43" y="11"/>
                    <a:pt x="48" y="11"/>
                  </a:cubicBezTo>
                  <a:lnTo>
                    <a:pt x="110" y="6"/>
                  </a:lnTo>
                  <a:cubicBezTo>
                    <a:pt x="115" y="6"/>
                    <a:pt x="117" y="5"/>
                    <a:pt x="114" y="5"/>
                  </a:cubicBezTo>
                  <a:lnTo>
                    <a:pt x="82" y="1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1" name="Freeform 1029">
              <a:extLst>
                <a:ext uri="{FF2B5EF4-FFF2-40B4-BE49-F238E27FC236}">
                  <a16:creationId xmlns:a16="http://schemas.microsoft.com/office/drawing/2014/main" id="{11BCDBD5-FA31-6A55-2730-754ED18CC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0009" y="4920123"/>
              <a:ext cx="41369" cy="4036"/>
            </a:xfrm>
            <a:custGeom>
              <a:avLst/>
              <a:gdLst>
                <a:gd name="T0" fmla="*/ 87 w 121"/>
                <a:gd name="T1" fmla="*/ 0 h 11"/>
                <a:gd name="T2" fmla="*/ 73 w 121"/>
                <a:gd name="T3" fmla="*/ 0 h 11"/>
                <a:gd name="T4" fmla="*/ 8 w 121"/>
                <a:gd name="T5" fmla="*/ 5 h 11"/>
                <a:gd name="T6" fmla="*/ 3 w 121"/>
                <a:gd name="T7" fmla="*/ 6 h 11"/>
                <a:gd name="T8" fmla="*/ 33 w 121"/>
                <a:gd name="T9" fmla="*/ 11 h 11"/>
                <a:gd name="T10" fmla="*/ 48 w 121"/>
                <a:gd name="T11" fmla="*/ 11 h 11"/>
                <a:gd name="T12" fmla="*/ 114 w 121"/>
                <a:gd name="T13" fmla="*/ 6 h 11"/>
                <a:gd name="T14" fmla="*/ 118 w 121"/>
                <a:gd name="T15" fmla="*/ 5 h 11"/>
                <a:gd name="T16" fmla="*/ 87 w 121"/>
                <a:gd name="T1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" h="11">
                  <a:moveTo>
                    <a:pt x="87" y="0"/>
                  </a:moveTo>
                  <a:cubicBezTo>
                    <a:pt x="85" y="0"/>
                    <a:pt x="78" y="0"/>
                    <a:pt x="73" y="0"/>
                  </a:cubicBezTo>
                  <a:lnTo>
                    <a:pt x="8" y="5"/>
                  </a:lnTo>
                  <a:cubicBezTo>
                    <a:pt x="3" y="5"/>
                    <a:pt x="0" y="6"/>
                    <a:pt x="3" y="6"/>
                  </a:cubicBezTo>
                  <a:lnTo>
                    <a:pt x="33" y="11"/>
                  </a:lnTo>
                  <a:cubicBezTo>
                    <a:pt x="36" y="11"/>
                    <a:pt x="42" y="11"/>
                    <a:pt x="48" y="11"/>
                  </a:cubicBezTo>
                  <a:lnTo>
                    <a:pt x="114" y="6"/>
                  </a:lnTo>
                  <a:cubicBezTo>
                    <a:pt x="119" y="6"/>
                    <a:pt x="121" y="5"/>
                    <a:pt x="118" y="5"/>
                  </a:cubicBezTo>
                  <a:lnTo>
                    <a:pt x="87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2" name="Freeform 1030">
              <a:extLst>
                <a:ext uri="{FF2B5EF4-FFF2-40B4-BE49-F238E27FC236}">
                  <a16:creationId xmlns:a16="http://schemas.microsoft.com/office/drawing/2014/main" id="{51619BED-9683-78CA-9F65-1647EF1013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189" y="4924159"/>
              <a:ext cx="42378" cy="4036"/>
            </a:xfrm>
            <a:custGeom>
              <a:avLst/>
              <a:gdLst>
                <a:gd name="T0" fmla="*/ 88 w 124"/>
                <a:gd name="T1" fmla="*/ 1 h 12"/>
                <a:gd name="T2" fmla="*/ 74 w 124"/>
                <a:gd name="T3" fmla="*/ 1 h 12"/>
                <a:gd name="T4" fmla="*/ 8 w 124"/>
                <a:gd name="T5" fmla="*/ 6 h 12"/>
                <a:gd name="T6" fmla="*/ 2 w 124"/>
                <a:gd name="T7" fmla="*/ 7 h 12"/>
                <a:gd name="T8" fmla="*/ 35 w 124"/>
                <a:gd name="T9" fmla="*/ 12 h 12"/>
                <a:gd name="T10" fmla="*/ 50 w 124"/>
                <a:gd name="T11" fmla="*/ 12 h 12"/>
                <a:gd name="T12" fmla="*/ 117 w 124"/>
                <a:gd name="T13" fmla="*/ 7 h 12"/>
                <a:gd name="T14" fmla="*/ 121 w 124"/>
                <a:gd name="T15" fmla="*/ 6 h 12"/>
                <a:gd name="T16" fmla="*/ 88 w 124"/>
                <a:gd name="T1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4" h="12">
                  <a:moveTo>
                    <a:pt x="88" y="1"/>
                  </a:moveTo>
                  <a:cubicBezTo>
                    <a:pt x="86" y="0"/>
                    <a:pt x="79" y="0"/>
                    <a:pt x="74" y="1"/>
                  </a:cubicBezTo>
                  <a:lnTo>
                    <a:pt x="8" y="6"/>
                  </a:lnTo>
                  <a:cubicBezTo>
                    <a:pt x="2" y="6"/>
                    <a:pt x="0" y="7"/>
                    <a:pt x="2" y="7"/>
                  </a:cubicBezTo>
                  <a:lnTo>
                    <a:pt x="35" y="12"/>
                  </a:lnTo>
                  <a:cubicBezTo>
                    <a:pt x="38" y="12"/>
                    <a:pt x="44" y="12"/>
                    <a:pt x="50" y="12"/>
                  </a:cubicBezTo>
                  <a:lnTo>
                    <a:pt x="117" y="7"/>
                  </a:lnTo>
                  <a:cubicBezTo>
                    <a:pt x="122" y="7"/>
                    <a:pt x="124" y="6"/>
                    <a:pt x="121" y="6"/>
                  </a:cubicBezTo>
                  <a:lnTo>
                    <a:pt x="88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3" name="Freeform 1031">
              <a:extLst>
                <a:ext uri="{FF2B5EF4-FFF2-40B4-BE49-F238E27FC236}">
                  <a16:creationId xmlns:a16="http://schemas.microsoft.com/office/drawing/2014/main" id="{1C0617B5-9701-FA93-BA44-67A7C03B47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4585" y="4920123"/>
              <a:ext cx="40360" cy="4036"/>
            </a:xfrm>
            <a:custGeom>
              <a:avLst/>
              <a:gdLst>
                <a:gd name="T0" fmla="*/ 83 w 120"/>
                <a:gd name="T1" fmla="*/ 0 h 11"/>
                <a:gd name="T2" fmla="*/ 69 w 120"/>
                <a:gd name="T3" fmla="*/ 0 h 11"/>
                <a:gd name="T4" fmla="*/ 7 w 120"/>
                <a:gd name="T5" fmla="*/ 5 h 11"/>
                <a:gd name="T6" fmla="*/ 3 w 120"/>
                <a:gd name="T7" fmla="*/ 6 h 11"/>
                <a:gd name="T8" fmla="*/ 36 w 120"/>
                <a:gd name="T9" fmla="*/ 11 h 11"/>
                <a:gd name="T10" fmla="*/ 51 w 120"/>
                <a:gd name="T11" fmla="*/ 11 h 11"/>
                <a:gd name="T12" fmla="*/ 114 w 120"/>
                <a:gd name="T13" fmla="*/ 6 h 11"/>
                <a:gd name="T14" fmla="*/ 117 w 120"/>
                <a:gd name="T15" fmla="*/ 5 h 11"/>
                <a:gd name="T16" fmla="*/ 83 w 120"/>
                <a:gd name="T1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" h="11">
                  <a:moveTo>
                    <a:pt x="83" y="0"/>
                  </a:moveTo>
                  <a:cubicBezTo>
                    <a:pt x="81" y="0"/>
                    <a:pt x="74" y="0"/>
                    <a:pt x="69" y="0"/>
                  </a:cubicBezTo>
                  <a:lnTo>
                    <a:pt x="7" y="5"/>
                  </a:lnTo>
                  <a:cubicBezTo>
                    <a:pt x="2" y="5"/>
                    <a:pt x="0" y="6"/>
                    <a:pt x="3" y="6"/>
                  </a:cubicBezTo>
                  <a:lnTo>
                    <a:pt x="36" y="11"/>
                  </a:lnTo>
                  <a:cubicBezTo>
                    <a:pt x="39" y="11"/>
                    <a:pt x="46" y="11"/>
                    <a:pt x="51" y="11"/>
                  </a:cubicBezTo>
                  <a:lnTo>
                    <a:pt x="114" y="6"/>
                  </a:lnTo>
                  <a:cubicBezTo>
                    <a:pt x="118" y="6"/>
                    <a:pt x="120" y="5"/>
                    <a:pt x="117" y="5"/>
                  </a:cubicBezTo>
                  <a:lnTo>
                    <a:pt x="8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4" name="Freeform 1032">
              <a:extLst>
                <a:ext uri="{FF2B5EF4-FFF2-40B4-BE49-F238E27FC236}">
                  <a16:creationId xmlns:a16="http://schemas.microsoft.com/office/drawing/2014/main" id="{432DD9F6-D1AC-B610-0C93-581AAC74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5955" y="4917096"/>
              <a:ext cx="39352" cy="4036"/>
            </a:xfrm>
            <a:custGeom>
              <a:avLst/>
              <a:gdLst>
                <a:gd name="T0" fmla="*/ 78 w 116"/>
                <a:gd name="T1" fmla="*/ 1 h 11"/>
                <a:gd name="T2" fmla="*/ 65 w 116"/>
                <a:gd name="T3" fmla="*/ 1 h 11"/>
                <a:gd name="T4" fmla="*/ 6 w 116"/>
                <a:gd name="T5" fmla="*/ 5 h 11"/>
                <a:gd name="T6" fmla="*/ 3 w 116"/>
                <a:gd name="T7" fmla="*/ 6 h 11"/>
                <a:gd name="T8" fmla="*/ 37 w 116"/>
                <a:gd name="T9" fmla="*/ 11 h 11"/>
                <a:gd name="T10" fmla="*/ 51 w 116"/>
                <a:gd name="T11" fmla="*/ 11 h 11"/>
                <a:gd name="T12" fmla="*/ 110 w 116"/>
                <a:gd name="T13" fmla="*/ 6 h 11"/>
                <a:gd name="T14" fmla="*/ 113 w 116"/>
                <a:gd name="T15" fmla="*/ 5 h 11"/>
                <a:gd name="T16" fmla="*/ 78 w 116"/>
                <a:gd name="T1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6" h="11">
                  <a:moveTo>
                    <a:pt x="78" y="1"/>
                  </a:moveTo>
                  <a:cubicBezTo>
                    <a:pt x="75" y="0"/>
                    <a:pt x="70" y="0"/>
                    <a:pt x="65" y="1"/>
                  </a:cubicBezTo>
                  <a:lnTo>
                    <a:pt x="6" y="5"/>
                  </a:lnTo>
                  <a:cubicBezTo>
                    <a:pt x="2" y="5"/>
                    <a:pt x="0" y="6"/>
                    <a:pt x="3" y="6"/>
                  </a:cubicBezTo>
                  <a:lnTo>
                    <a:pt x="37" y="11"/>
                  </a:lnTo>
                  <a:cubicBezTo>
                    <a:pt x="40" y="11"/>
                    <a:pt x="46" y="11"/>
                    <a:pt x="51" y="11"/>
                  </a:cubicBezTo>
                  <a:lnTo>
                    <a:pt x="110" y="6"/>
                  </a:lnTo>
                  <a:cubicBezTo>
                    <a:pt x="115" y="6"/>
                    <a:pt x="116" y="5"/>
                    <a:pt x="113" y="5"/>
                  </a:cubicBezTo>
                  <a:lnTo>
                    <a:pt x="78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5" name="Freeform 1033">
              <a:extLst>
                <a:ext uri="{FF2B5EF4-FFF2-40B4-BE49-F238E27FC236}">
                  <a16:creationId xmlns:a16="http://schemas.microsoft.com/office/drawing/2014/main" id="{35992307-E634-0AD6-0E96-25C90C5CED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4930" y="4953421"/>
              <a:ext cx="156396" cy="84756"/>
            </a:xfrm>
            <a:custGeom>
              <a:avLst/>
              <a:gdLst>
                <a:gd name="T0" fmla="*/ 111 w 461"/>
                <a:gd name="T1" fmla="*/ 0 h 249"/>
                <a:gd name="T2" fmla="*/ 76 w 461"/>
                <a:gd name="T3" fmla="*/ 217 h 249"/>
                <a:gd name="T4" fmla="*/ 223 w 461"/>
                <a:gd name="T5" fmla="*/ 146 h 249"/>
                <a:gd name="T6" fmla="*/ 433 w 461"/>
                <a:gd name="T7" fmla="*/ 68 h 249"/>
                <a:gd name="T8" fmla="*/ 453 w 461"/>
                <a:gd name="T9" fmla="*/ 48 h 249"/>
                <a:gd name="T10" fmla="*/ 415 w 461"/>
                <a:gd name="T11" fmla="*/ 29 h 249"/>
                <a:gd name="T12" fmla="*/ 278 w 461"/>
                <a:gd name="T13" fmla="*/ 29 h 249"/>
                <a:gd name="T14" fmla="*/ 111 w 461"/>
                <a:gd name="T1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1" h="249">
                  <a:moveTo>
                    <a:pt x="111" y="0"/>
                  </a:moveTo>
                  <a:cubicBezTo>
                    <a:pt x="111" y="0"/>
                    <a:pt x="0" y="249"/>
                    <a:pt x="76" y="217"/>
                  </a:cubicBezTo>
                  <a:cubicBezTo>
                    <a:pt x="151" y="186"/>
                    <a:pt x="190" y="147"/>
                    <a:pt x="223" y="146"/>
                  </a:cubicBezTo>
                  <a:cubicBezTo>
                    <a:pt x="256" y="144"/>
                    <a:pt x="405" y="87"/>
                    <a:pt x="433" y="68"/>
                  </a:cubicBezTo>
                  <a:cubicBezTo>
                    <a:pt x="461" y="50"/>
                    <a:pt x="453" y="48"/>
                    <a:pt x="453" y="48"/>
                  </a:cubicBezTo>
                  <a:lnTo>
                    <a:pt x="415" y="29"/>
                  </a:lnTo>
                  <a:lnTo>
                    <a:pt x="278" y="29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6" name="Freeform 1034">
              <a:extLst>
                <a:ext uri="{FF2B5EF4-FFF2-40B4-BE49-F238E27FC236}">
                  <a16:creationId xmlns:a16="http://schemas.microsoft.com/office/drawing/2014/main" id="{74C90283-DB5C-D47E-CECA-598D8E0CE8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9128" y="4824268"/>
              <a:ext cx="213909" cy="85766"/>
            </a:xfrm>
            <a:custGeom>
              <a:avLst/>
              <a:gdLst>
                <a:gd name="T0" fmla="*/ 59 w 632"/>
                <a:gd name="T1" fmla="*/ 0 h 253"/>
                <a:gd name="T2" fmla="*/ 127 w 632"/>
                <a:gd name="T3" fmla="*/ 163 h 253"/>
                <a:gd name="T4" fmla="*/ 163 w 632"/>
                <a:gd name="T5" fmla="*/ 164 h 253"/>
                <a:gd name="T6" fmla="*/ 436 w 632"/>
                <a:gd name="T7" fmla="*/ 112 h 253"/>
                <a:gd name="T8" fmla="*/ 529 w 632"/>
                <a:gd name="T9" fmla="*/ 124 h 253"/>
                <a:gd name="T10" fmla="*/ 632 w 632"/>
                <a:gd name="T11" fmla="*/ 201 h 253"/>
                <a:gd name="T12" fmla="*/ 544 w 632"/>
                <a:gd name="T13" fmla="*/ 173 h 253"/>
                <a:gd name="T14" fmla="*/ 428 w 632"/>
                <a:gd name="T15" fmla="*/ 151 h 253"/>
                <a:gd name="T16" fmla="*/ 157 w 632"/>
                <a:gd name="T17" fmla="*/ 251 h 253"/>
                <a:gd name="T18" fmla="*/ 6 w 632"/>
                <a:gd name="T19" fmla="*/ 253 h 253"/>
                <a:gd name="T20" fmla="*/ 4 w 632"/>
                <a:gd name="T21" fmla="*/ 135 h 253"/>
                <a:gd name="T22" fmla="*/ 0 w 632"/>
                <a:gd name="T23" fmla="*/ 28 h 253"/>
                <a:gd name="T24" fmla="*/ 59 w 632"/>
                <a:gd name="T25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2" h="253">
                  <a:moveTo>
                    <a:pt x="59" y="0"/>
                  </a:moveTo>
                  <a:lnTo>
                    <a:pt x="127" y="163"/>
                  </a:lnTo>
                  <a:cubicBezTo>
                    <a:pt x="127" y="163"/>
                    <a:pt x="127" y="168"/>
                    <a:pt x="163" y="164"/>
                  </a:cubicBezTo>
                  <a:cubicBezTo>
                    <a:pt x="198" y="161"/>
                    <a:pt x="436" y="112"/>
                    <a:pt x="436" y="112"/>
                  </a:cubicBezTo>
                  <a:cubicBezTo>
                    <a:pt x="436" y="112"/>
                    <a:pt x="494" y="94"/>
                    <a:pt x="529" y="124"/>
                  </a:cubicBezTo>
                  <a:cubicBezTo>
                    <a:pt x="564" y="153"/>
                    <a:pt x="632" y="189"/>
                    <a:pt x="632" y="201"/>
                  </a:cubicBezTo>
                  <a:cubicBezTo>
                    <a:pt x="632" y="220"/>
                    <a:pt x="590" y="190"/>
                    <a:pt x="544" y="173"/>
                  </a:cubicBezTo>
                  <a:cubicBezTo>
                    <a:pt x="498" y="157"/>
                    <a:pt x="467" y="137"/>
                    <a:pt x="428" y="151"/>
                  </a:cubicBezTo>
                  <a:cubicBezTo>
                    <a:pt x="389" y="166"/>
                    <a:pt x="222" y="249"/>
                    <a:pt x="157" y="251"/>
                  </a:cubicBezTo>
                  <a:cubicBezTo>
                    <a:pt x="92" y="253"/>
                    <a:pt x="6" y="253"/>
                    <a:pt x="6" y="253"/>
                  </a:cubicBezTo>
                  <a:lnTo>
                    <a:pt x="4" y="135"/>
                  </a:lnTo>
                  <a:lnTo>
                    <a:pt x="0" y="28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7" name="Freeform 1035">
              <a:extLst>
                <a:ext uri="{FF2B5EF4-FFF2-40B4-BE49-F238E27FC236}">
                  <a16:creationId xmlns:a16="http://schemas.microsoft.com/office/drawing/2014/main" id="{5C31A5DF-3924-B19C-E99A-A2FAA69F7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7668" y="4619440"/>
              <a:ext cx="113008" cy="115027"/>
            </a:xfrm>
            <a:custGeom>
              <a:avLst/>
              <a:gdLst>
                <a:gd name="T0" fmla="*/ 255 w 334"/>
                <a:gd name="T1" fmla="*/ 9 h 343"/>
                <a:gd name="T2" fmla="*/ 284 w 334"/>
                <a:gd name="T3" fmla="*/ 0 h 343"/>
                <a:gd name="T4" fmla="*/ 323 w 334"/>
                <a:gd name="T5" fmla="*/ 114 h 343"/>
                <a:gd name="T6" fmla="*/ 299 w 334"/>
                <a:gd name="T7" fmla="*/ 182 h 343"/>
                <a:gd name="T8" fmla="*/ 306 w 334"/>
                <a:gd name="T9" fmla="*/ 216 h 343"/>
                <a:gd name="T10" fmla="*/ 280 w 334"/>
                <a:gd name="T11" fmla="*/ 222 h 343"/>
                <a:gd name="T12" fmla="*/ 246 w 334"/>
                <a:gd name="T13" fmla="*/ 302 h 343"/>
                <a:gd name="T14" fmla="*/ 160 w 334"/>
                <a:gd name="T15" fmla="*/ 291 h 343"/>
                <a:gd name="T16" fmla="*/ 105 w 334"/>
                <a:gd name="T17" fmla="*/ 343 h 343"/>
                <a:gd name="T18" fmla="*/ 0 w 334"/>
                <a:gd name="T19" fmla="*/ 240 h 343"/>
                <a:gd name="T20" fmla="*/ 28 w 334"/>
                <a:gd name="T21" fmla="*/ 153 h 343"/>
                <a:gd name="T22" fmla="*/ 175 w 334"/>
                <a:gd name="T23" fmla="*/ 29 h 343"/>
                <a:gd name="T24" fmla="*/ 255 w 334"/>
                <a:gd name="T25" fmla="*/ 9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4" h="343">
                  <a:moveTo>
                    <a:pt x="255" y="9"/>
                  </a:moveTo>
                  <a:lnTo>
                    <a:pt x="284" y="0"/>
                  </a:lnTo>
                  <a:cubicBezTo>
                    <a:pt x="284" y="0"/>
                    <a:pt x="334" y="66"/>
                    <a:pt x="323" y="114"/>
                  </a:cubicBezTo>
                  <a:cubicBezTo>
                    <a:pt x="312" y="162"/>
                    <a:pt x="293" y="164"/>
                    <a:pt x="299" y="182"/>
                  </a:cubicBezTo>
                  <a:cubicBezTo>
                    <a:pt x="304" y="201"/>
                    <a:pt x="311" y="209"/>
                    <a:pt x="306" y="216"/>
                  </a:cubicBezTo>
                  <a:cubicBezTo>
                    <a:pt x="302" y="221"/>
                    <a:pt x="280" y="222"/>
                    <a:pt x="280" y="222"/>
                  </a:cubicBezTo>
                  <a:cubicBezTo>
                    <a:pt x="280" y="222"/>
                    <a:pt x="283" y="291"/>
                    <a:pt x="246" y="302"/>
                  </a:cubicBezTo>
                  <a:cubicBezTo>
                    <a:pt x="209" y="313"/>
                    <a:pt x="182" y="285"/>
                    <a:pt x="160" y="291"/>
                  </a:cubicBezTo>
                  <a:cubicBezTo>
                    <a:pt x="138" y="296"/>
                    <a:pt x="105" y="343"/>
                    <a:pt x="105" y="343"/>
                  </a:cubicBezTo>
                  <a:lnTo>
                    <a:pt x="0" y="240"/>
                  </a:lnTo>
                  <a:lnTo>
                    <a:pt x="28" y="153"/>
                  </a:lnTo>
                  <a:lnTo>
                    <a:pt x="175" y="29"/>
                  </a:lnTo>
                  <a:lnTo>
                    <a:pt x="255" y="9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8" name="Freeform 1036">
              <a:extLst>
                <a:ext uri="{FF2B5EF4-FFF2-40B4-BE49-F238E27FC236}">
                  <a16:creationId xmlns:a16="http://schemas.microsoft.com/office/drawing/2014/main" id="{9CD553F6-337C-941A-AD25-C458640E8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9596" y="4591188"/>
              <a:ext cx="124108" cy="97874"/>
            </a:xfrm>
            <a:custGeom>
              <a:avLst/>
              <a:gdLst>
                <a:gd name="T0" fmla="*/ 201 w 365"/>
                <a:gd name="T1" fmla="*/ 199 h 291"/>
                <a:gd name="T2" fmla="*/ 297 w 365"/>
                <a:gd name="T3" fmla="*/ 90 h 291"/>
                <a:gd name="T4" fmla="*/ 341 w 365"/>
                <a:gd name="T5" fmla="*/ 131 h 291"/>
                <a:gd name="T6" fmla="*/ 308 w 365"/>
                <a:gd name="T7" fmla="*/ 55 h 291"/>
                <a:gd name="T8" fmla="*/ 232 w 365"/>
                <a:gd name="T9" fmla="*/ 26 h 291"/>
                <a:gd name="T10" fmla="*/ 153 w 365"/>
                <a:gd name="T11" fmla="*/ 24 h 291"/>
                <a:gd name="T12" fmla="*/ 98 w 365"/>
                <a:gd name="T13" fmla="*/ 18 h 291"/>
                <a:gd name="T14" fmla="*/ 72 w 365"/>
                <a:gd name="T15" fmla="*/ 76 h 291"/>
                <a:gd name="T16" fmla="*/ 35 w 365"/>
                <a:gd name="T17" fmla="*/ 142 h 291"/>
                <a:gd name="T18" fmla="*/ 13 w 365"/>
                <a:gd name="T19" fmla="*/ 243 h 291"/>
                <a:gd name="T20" fmla="*/ 39 w 365"/>
                <a:gd name="T21" fmla="*/ 291 h 291"/>
                <a:gd name="T22" fmla="*/ 146 w 365"/>
                <a:gd name="T23" fmla="*/ 230 h 291"/>
                <a:gd name="T24" fmla="*/ 201 w 365"/>
                <a:gd name="T25" fmla="*/ 19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5" h="291">
                  <a:moveTo>
                    <a:pt x="201" y="199"/>
                  </a:moveTo>
                  <a:lnTo>
                    <a:pt x="297" y="90"/>
                  </a:lnTo>
                  <a:lnTo>
                    <a:pt x="341" y="131"/>
                  </a:lnTo>
                  <a:cubicBezTo>
                    <a:pt x="341" y="131"/>
                    <a:pt x="365" y="65"/>
                    <a:pt x="308" y="55"/>
                  </a:cubicBezTo>
                  <a:cubicBezTo>
                    <a:pt x="251" y="46"/>
                    <a:pt x="247" y="37"/>
                    <a:pt x="232" y="26"/>
                  </a:cubicBezTo>
                  <a:cubicBezTo>
                    <a:pt x="218" y="15"/>
                    <a:pt x="153" y="24"/>
                    <a:pt x="153" y="24"/>
                  </a:cubicBezTo>
                  <a:cubicBezTo>
                    <a:pt x="153" y="24"/>
                    <a:pt x="124" y="0"/>
                    <a:pt x="98" y="18"/>
                  </a:cubicBezTo>
                  <a:cubicBezTo>
                    <a:pt x="72" y="37"/>
                    <a:pt x="72" y="76"/>
                    <a:pt x="72" y="76"/>
                  </a:cubicBezTo>
                  <a:cubicBezTo>
                    <a:pt x="72" y="76"/>
                    <a:pt x="30" y="111"/>
                    <a:pt x="35" y="142"/>
                  </a:cubicBezTo>
                  <a:cubicBezTo>
                    <a:pt x="41" y="173"/>
                    <a:pt x="0" y="208"/>
                    <a:pt x="13" y="243"/>
                  </a:cubicBezTo>
                  <a:cubicBezTo>
                    <a:pt x="26" y="278"/>
                    <a:pt x="39" y="291"/>
                    <a:pt x="39" y="291"/>
                  </a:cubicBezTo>
                  <a:lnTo>
                    <a:pt x="146" y="230"/>
                  </a:lnTo>
                  <a:lnTo>
                    <a:pt x="201" y="199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9" name="Freeform 1037">
              <a:extLst>
                <a:ext uri="{FF2B5EF4-FFF2-40B4-BE49-F238E27FC236}">
                  <a16:creationId xmlns:a16="http://schemas.microsoft.com/office/drawing/2014/main" id="{BD68A5C5-F66E-065D-93A4-D9FADB6F8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4191" y="4718322"/>
              <a:ext cx="130162" cy="253260"/>
            </a:xfrm>
            <a:custGeom>
              <a:avLst/>
              <a:gdLst>
                <a:gd name="T0" fmla="*/ 138 w 385"/>
                <a:gd name="T1" fmla="*/ 0 h 747"/>
                <a:gd name="T2" fmla="*/ 0 w 385"/>
                <a:gd name="T3" fmla="*/ 133 h 747"/>
                <a:gd name="T4" fmla="*/ 35 w 385"/>
                <a:gd name="T5" fmla="*/ 529 h 747"/>
                <a:gd name="T6" fmla="*/ 3 w 385"/>
                <a:gd name="T7" fmla="*/ 704 h 747"/>
                <a:gd name="T8" fmla="*/ 341 w 385"/>
                <a:gd name="T9" fmla="*/ 735 h 747"/>
                <a:gd name="T10" fmla="*/ 372 w 385"/>
                <a:gd name="T11" fmla="*/ 409 h 747"/>
                <a:gd name="T12" fmla="*/ 263 w 385"/>
                <a:gd name="T13" fmla="*/ 90 h 747"/>
                <a:gd name="T14" fmla="*/ 138 w 385"/>
                <a:gd name="T15" fmla="*/ 0 h 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5" h="747">
                  <a:moveTo>
                    <a:pt x="138" y="0"/>
                  </a:moveTo>
                  <a:lnTo>
                    <a:pt x="0" y="133"/>
                  </a:lnTo>
                  <a:cubicBezTo>
                    <a:pt x="0" y="133"/>
                    <a:pt x="42" y="481"/>
                    <a:pt x="35" y="529"/>
                  </a:cubicBezTo>
                  <a:cubicBezTo>
                    <a:pt x="27" y="577"/>
                    <a:pt x="3" y="704"/>
                    <a:pt x="3" y="704"/>
                  </a:cubicBezTo>
                  <a:cubicBezTo>
                    <a:pt x="3" y="704"/>
                    <a:pt x="214" y="747"/>
                    <a:pt x="341" y="735"/>
                  </a:cubicBezTo>
                  <a:cubicBezTo>
                    <a:pt x="385" y="488"/>
                    <a:pt x="379" y="471"/>
                    <a:pt x="372" y="409"/>
                  </a:cubicBezTo>
                  <a:cubicBezTo>
                    <a:pt x="385" y="332"/>
                    <a:pt x="341" y="158"/>
                    <a:pt x="263" y="90"/>
                  </a:cubicBezTo>
                  <a:cubicBezTo>
                    <a:pt x="186" y="22"/>
                    <a:pt x="138" y="0"/>
                    <a:pt x="138" y="0"/>
                  </a:cubicBezTo>
                  <a:close/>
                </a:path>
              </a:pathLst>
            </a:custGeom>
            <a:solidFill>
              <a:srgbClr val="1F40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0" name="Freeform 1039">
              <a:extLst>
                <a:ext uri="{FF2B5EF4-FFF2-40B4-BE49-F238E27FC236}">
                  <a16:creationId xmlns:a16="http://schemas.microsoft.com/office/drawing/2014/main" id="{25D9A360-3070-EC92-76AC-075D161662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1974" y="4703187"/>
              <a:ext cx="39352" cy="27243"/>
            </a:xfrm>
            <a:custGeom>
              <a:avLst/>
              <a:gdLst>
                <a:gd name="T0" fmla="*/ 118 w 118"/>
                <a:gd name="T1" fmla="*/ 50 h 81"/>
                <a:gd name="T2" fmla="*/ 62 w 118"/>
                <a:gd name="T3" fmla="*/ 19 h 81"/>
                <a:gd name="T4" fmla="*/ 19 w 118"/>
                <a:gd name="T5" fmla="*/ 28 h 81"/>
                <a:gd name="T6" fmla="*/ 0 w 118"/>
                <a:gd name="T7" fmla="*/ 78 h 81"/>
                <a:gd name="T8" fmla="*/ 15 w 118"/>
                <a:gd name="T9" fmla="*/ 81 h 81"/>
                <a:gd name="T10" fmla="*/ 42 w 118"/>
                <a:gd name="T11" fmla="*/ 39 h 81"/>
                <a:gd name="T12" fmla="*/ 118 w 118"/>
                <a:gd name="T13" fmla="*/ 5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8" h="81">
                  <a:moveTo>
                    <a:pt x="118" y="50"/>
                  </a:moveTo>
                  <a:cubicBezTo>
                    <a:pt x="118" y="50"/>
                    <a:pt x="91" y="37"/>
                    <a:pt x="62" y="19"/>
                  </a:cubicBezTo>
                  <a:cubicBezTo>
                    <a:pt x="33" y="0"/>
                    <a:pt x="27" y="16"/>
                    <a:pt x="19" y="28"/>
                  </a:cubicBezTo>
                  <a:cubicBezTo>
                    <a:pt x="10" y="41"/>
                    <a:pt x="0" y="78"/>
                    <a:pt x="0" y="78"/>
                  </a:cubicBezTo>
                  <a:lnTo>
                    <a:pt x="15" y="81"/>
                  </a:lnTo>
                  <a:cubicBezTo>
                    <a:pt x="15" y="81"/>
                    <a:pt x="30" y="40"/>
                    <a:pt x="42" y="39"/>
                  </a:cubicBezTo>
                  <a:cubicBezTo>
                    <a:pt x="55" y="37"/>
                    <a:pt x="104" y="51"/>
                    <a:pt x="118" y="50"/>
                  </a:cubicBez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1" name="Freeform 1040">
              <a:extLst>
                <a:ext uri="{FF2B5EF4-FFF2-40B4-BE49-F238E27FC236}">
                  <a16:creationId xmlns:a16="http://schemas.microsoft.com/office/drawing/2014/main" id="{C2522BC2-0ED6-DFAC-29D6-5370E962A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2533" y="4700160"/>
              <a:ext cx="67604" cy="72648"/>
            </a:xfrm>
            <a:custGeom>
              <a:avLst/>
              <a:gdLst>
                <a:gd name="T0" fmla="*/ 67 w 67"/>
                <a:gd name="T1" fmla="*/ 40 h 72"/>
                <a:gd name="T2" fmla="*/ 15 w 67"/>
                <a:gd name="T3" fmla="*/ 0 h 72"/>
                <a:gd name="T4" fmla="*/ 0 w 67"/>
                <a:gd name="T5" fmla="*/ 18 h 72"/>
                <a:gd name="T6" fmla="*/ 35 w 67"/>
                <a:gd name="T7" fmla="*/ 72 h 72"/>
                <a:gd name="T8" fmla="*/ 67 w 67"/>
                <a:gd name="T9" fmla="*/ 4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72">
                  <a:moveTo>
                    <a:pt x="67" y="40"/>
                  </a:moveTo>
                  <a:lnTo>
                    <a:pt x="15" y="0"/>
                  </a:lnTo>
                  <a:lnTo>
                    <a:pt x="0" y="18"/>
                  </a:lnTo>
                  <a:lnTo>
                    <a:pt x="35" y="72"/>
                  </a:lnTo>
                  <a:lnTo>
                    <a:pt x="67" y="40"/>
                  </a:lnTo>
                  <a:close/>
                </a:path>
              </a:pathLst>
            </a:custGeom>
            <a:solidFill>
              <a:srgbClr val="1F40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2" name="Freeform 1042">
              <a:extLst>
                <a:ext uri="{FF2B5EF4-FFF2-40B4-BE49-F238E27FC236}">
                  <a16:creationId xmlns:a16="http://schemas.microsoft.com/office/drawing/2014/main" id="{C83F4EF7-D0AC-5DB1-44BD-CC36A8A06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7668" y="4669890"/>
              <a:ext cx="38342" cy="35315"/>
            </a:xfrm>
            <a:custGeom>
              <a:avLst/>
              <a:gdLst>
                <a:gd name="T0" fmla="*/ 38 w 38"/>
                <a:gd name="T1" fmla="*/ 1 h 35"/>
                <a:gd name="T2" fmla="*/ 13 w 38"/>
                <a:gd name="T3" fmla="*/ 20 h 35"/>
                <a:gd name="T4" fmla="*/ 7 w 38"/>
                <a:gd name="T5" fmla="*/ 35 h 35"/>
                <a:gd name="T6" fmla="*/ 0 w 38"/>
                <a:gd name="T7" fmla="*/ 30 h 35"/>
                <a:gd name="T8" fmla="*/ 4 w 38"/>
                <a:gd name="T9" fmla="*/ 17 h 35"/>
                <a:gd name="T10" fmla="*/ 38 w 38"/>
                <a:gd name="T11" fmla="*/ 0 h 35"/>
                <a:gd name="T12" fmla="*/ 38 w 38"/>
                <a:gd name="T13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35">
                  <a:moveTo>
                    <a:pt x="38" y="1"/>
                  </a:moveTo>
                  <a:lnTo>
                    <a:pt x="13" y="20"/>
                  </a:lnTo>
                  <a:lnTo>
                    <a:pt x="7" y="35"/>
                  </a:lnTo>
                  <a:lnTo>
                    <a:pt x="0" y="30"/>
                  </a:lnTo>
                  <a:lnTo>
                    <a:pt x="4" y="17"/>
                  </a:lnTo>
                  <a:lnTo>
                    <a:pt x="38" y="0"/>
                  </a:lnTo>
                  <a:lnTo>
                    <a:pt x="38" y="1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3" name="Freeform 1043">
              <a:extLst>
                <a:ext uri="{FF2B5EF4-FFF2-40B4-BE49-F238E27FC236}">
                  <a16:creationId xmlns:a16="http://schemas.microsoft.com/office/drawing/2014/main" id="{8460D0AC-478D-6FAC-44C7-79DBA448E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5920" y="4644665"/>
              <a:ext cx="30270" cy="40360"/>
            </a:xfrm>
            <a:custGeom>
              <a:avLst/>
              <a:gdLst>
                <a:gd name="T0" fmla="*/ 88 w 88"/>
                <a:gd name="T1" fmla="*/ 46 h 118"/>
                <a:gd name="T2" fmla="*/ 33 w 88"/>
                <a:gd name="T3" fmla="*/ 27 h 118"/>
                <a:gd name="T4" fmla="*/ 52 w 88"/>
                <a:gd name="T5" fmla="*/ 118 h 118"/>
                <a:gd name="T6" fmla="*/ 88 w 88"/>
                <a:gd name="T7" fmla="*/ 46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" h="118">
                  <a:moveTo>
                    <a:pt x="88" y="46"/>
                  </a:moveTo>
                  <a:cubicBezTo>
                    <a:pt x="88" y="46"/>
                    <a:pt x="66" y="0"/>
                    <a:pt x="33" y="27"/>
                  </a:cubicBezTo>
                  <a:cubicBezTo>
                    <a:pt x="0" y="55"/>
                    <a:pt x="52" y="118"/>
                    <a:pt x="52" y="118"/>
                  </a:cubicBezTo>
                  <a:lnTo>
                    <a:pt x="88" y="46"/>
                  </a:lnTo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4" name="Freeform 1044">
              <a:extLst>
                <a:ext uri="{FF2B5EF4-FFF2-40B4-BE49-F238E27FC236}">
                  <a16:creationId xmlns:a16="http://schemas.microsoft.com/office/drawing/2014/main" id="{E8381F22-90F0-EE74-7ACC-EC5748F2FD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5452" y="4690070"/>
              <a:ext cx="16144" cy="4036"/>
            </a:xfrm>
            <a:custGeom>
              <a:avLst/>
              <a:gdLst>
                <a:gd name="T0" fmla="*/ 46 w 46"/>
                <a:gd name="T1" fmla="*/ 2 h 12"/>
                <a:gd name="T2" fmla="*/ 17 w 46"/>
                <a:gd name="T3" fmla="*/ 2 h 12"/>
                <a:gd name="T4" fmla="*/ 2 w 46"/>
                <a:gd name="T5" fmla="*/ 4 h 12"/>
                <a:gd name="T6" fmla="*/ 19 w 46"/>
                <a:gd name="T7" fmla="*/ 11 h 12"/>
                <a:gd name="T8" fmla="*/ 46 w 46"/>
                <a:gd name="T9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12">
                  <a:moveTo>
                    <a:pt x="46" y="2"/>
                  </a:moveTo>
                  <a:cubicBezTo>
                    <a:pt x="46" y="2"/>
                    <a:pt x="30" y="4"/>
                    <a:pt x="17" y="2"/>
                  </a:cubicBezTo>
                  <a:cubicBezTo>
                    <a:pt x="4" y="1"/>
                    <a:pt x="0" y="0"/>
                    <a:pt x="2" y="4"/>
                  </a:cubicBezTo>
                  <a:cubicBezTo>
                    <a:pt x="5" y="7"/>
                    <a:pt x="17" y="12"/>
                    <a:pt x="19" y="11"/>
                  </a:cubicBezTo>
                  <a:cubicBezTo>
                    <a:pt x="21" y="11"/>
                    <a:pt x="46" y="10"/>
                    <a:pt x="46" y="2"/>
                  </a:cubicBezTo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5" name="Freeform 1045">
              <a:extLst>
                <a:ext uri="{FF2B5EF4-FFF2-40B4-BE49-F238E27FC236}">
                  <a16:creationId xmlns:a16="http://schemas.microsoft.com/office/drawing/2014/main" id="{6AF178E5-BDE2-36C8-FA6E-20066362E3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4424" y="4867655"/>
              <a:ext cx="36324" cy="22198"/>
            </a:xfrm>
            <a:custGeom>
              <a:avLst/>
              <a:gdLst>
                <a:gd name="T0" fmla="*/ 56 w 107"/>
                <a:gd name="T1" fmla="*/ 14 h 65"/>
                <a:gd name="T2" fmla="*/ 107 w 107"/>
                <a:gd name="T3" fmla="*/ 63 h 65"/>
                <a:gd name="T4" fmla="*/ 85 w 107"/>
                <a:gd name="T5" fmla="*/ 65 h 65"/>
                <a:gd name="T6" fmla="*/ 66 w 107"/>
                <a:gd name="T7" fmla="*/ 47 h 65"/>
                <a:gd name="T8" fmla="*/ 6 w 107"/>
                <a:gd name="T9" fmla="*/ 26 h 65"/>
                <a:gd name="T10" fmla="*/ 56 w 107"/>
                <a:gd name="T11" fmla="*/ 1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7" h="65">
                  <a:moveTo>
                    <a:pt x="56" y="14"/>
                  </a:moveTo>
                  <a:lnTo>
                    <a:pt x="107" y="63"/>
                  </a:lnTo>
                  <a:lnTo>
                    <a:pt x="85" y="65"/>
                  </a:lnTo>
                  <a:lnTo>
                    <a:pt x="66" y="47"/>
                  </a:lnTo>
                  <a:cubicBezTo>
                    <a:pt x="66" y="47"/>
                    <a:pt x="12" y="47"/>
                    <a:pt x="6" y="26"/>
                  </a:cubicBezTo>
                  <a:cubicBezTo>
                    <a:pt x="0" y="4"/>
                    <a:pt x="37" y="0"/>
                    <a:pt x="56" y="14"/>
                  </a:cubicBezTo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6" name="Freeform 1046">
              <a:extLst>
                <a:ext uri="{FF2B5EF4-FFF2-40B4-BE49-F238E27FC236}">
                  <a16:creationId xmlns:a16="http://schemas.microsoft.com/office/drawing/2014/main" id="{877D2C99-ABD3-19D2-BEAC-C9771C945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7398" y="4818214"/>
              <a:ext cx="306737" cy="141261"/>
            </a:xfrm>
            <a:custGeom>
              <a:avLst/>
              <a:gdLst>
                <a:gd name="T0" fmla="*/ 133 w 907"/>
                <a:gd name="T1" fmla="*/ 31 h 416"/>
                <a:gd name="T2" fmla="*/ 164 w 907"/>
                <a:gd name="T3" fmla="*/ 201 h 416"/>
                <a:gd name="T4" fmla="*/ 228 w 907"/>
                <a:gd name="T5" fmla="*/ 267 h 416"/>
                <a:gd name="T6" fmla="*/ 628 w 907"/>
                <a:gd name="T7" fmla="*/ 280 h 416"/>
                <a:gd name="T8" fmla="*/ 750 w 907"/>
                <a:gd name="T9" fmla="*/ 214 h 416"/>
                <a:gd name="T10" fmla="*/ 907 w 907"/>
                <a:gd name="T11" fmla="*/ 276 h 416"/>
                <a:gd name="T12" fmla="*/ 800 w 907"/>
                <a:gd name="T13" fmla="*/ 310 h 416"/>
                <a:gd name="T14" fmla="*/ 752 w 907"/>
                <a:gd name="T15" fmla="*/ 304 h 416"/>
                <a:gd name="T16" fmla="*/ 689 w 907"/>
                <a:gd name="T17" fmla="*/ 337 h 416"/>
                <a:gd name="T18" fmla="*/ 639 w 907"/>
                <a:gd name="T19" fmla="*/ 334 h 416"/>
                <a:gd name="T20" fmla="*/ 149 w 907"/>
                <a:gd name="T21" fmla="*/ 396 h 416"/>
                <a:gd name="T22" fmla="*/ 0 w 907"/>
                <a:gd name="T23" fmla="*/ 51 h 416"/>
                <a:gd name="T24" fmla="*/ 133 w 907"/>
                <a:gd name="T25" fmla="*/ 31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07" h="416">
                  <a:moveTo>
                    <a:pt x="133" y="31"/>
                  </a:moveTo>
                  <a:cubicBezTo>
                    <a:pt x="133" y="31"/>
                    <a:pt x="162" y="157"/>
                    <a:pt x="164" y="201"/>
                  </a:cubicBezTo>
                  <a:cubicBezTo>
                    <a:pt x="166" y="245"/>
                    <a:pt x="204" y="265"/>
                    <a:pt x="228" y="267"/>
                  </a:cubicBezTo>
                  <a:cubicBezTo>
                    <a:pt x="252" y="269"/>
                    <a:pt x="628" y="280"/>
                    <a:pt x="628" y="280"/>
                  </a:cubicBezTo>
                  <a:lnTo>
                    <a:pt x="750" y="214"/>
                  </a:lnTo>
                  <a:cubicBezTo>
                    <a:pt x="750" y="214"/>
                    <a:pt x="892" y="241"/>
                    <a:pt x="907" y="276"/>
                  </a:cubicBezTo>
                  <a:cubicBezTo>
                    <a:pt x="877" y="300"/>
                    <a:pt x="839" y="311"/>
                    <a:pt x="800" y="310"/>
                  </a:cubicBezTo>
                  <a:cubicBezTo>
                    <a:pt x="761" y="308"/>
                    <a:pt x="752" y="304"/>
                    <a:pt x="752" y="304"/>
                  </a:cubicBezTo>
                  <a:cubicBezTo>
                    <a:pt x="752" y="304"/>
                    <a:pt x="732" y="339"/>
                    <a:pt x="689" y="337"/>
                  </a:cubicBezTo>
                  <a:cubicBezTo>
                    <a:pt x="647" y="335"/>
                    <a:pt x="639" y="334"/>
                    <a:pt x="639" y="334"/>
                  </a:cubicBezTo>
                  <a:cubicBezTo>
                    <a:pt x="639" y="334"/>
                    <a:pt x="333" y="416"/>
                    <a:pt x="149" y="396"/>
                  </a:cubicBezTo>
                  <a:cubicBezTo>
                    <a:pt x="96" y="299"/>
                    <a:pt x="11" y="134"/>
                    <a:pt x="0" y="51"/>
                  </a:cubicBezTo>
                  <a:cubicBezTo>
                    <a:pt x="72" y="0"/>
                    <a:pt x="133" y="31"/>
                    <a:pt x="133" y="31"/>
                  </a:cubicBezTo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7" name="Freeform 1047">
              <a:extLst>
                <a:ext uri="{FF2B5EF4-FFF2-40B4-BE49-F238E27FC236}">
                  <a16:creationId xmlns:a16="http://schemas.microsoft.com/office/drawing/2014/main" id="{FA7383FE-F2B2-192B-BF13-45B4768FFD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7398" y="4818214"/>
              <a:ext cx="299675" cy="141261"/>
            </a:xfrm>
            <a:custGeom>
              <a:avLst/>
              <a:gdLst>
                <a:gd name="T0" fmla="*/ 0 w 885"/>
                <a:gd name="T1" fmla="*/ 51 h 416"/>
                <a:gd name="T2" fmla="*/ 149 w 885"/>
                <a:gd name="T3" fmla="*/ 396 h 416"/>
                <a:gd name="T4" fmla="*/ 639 w 885"/>
                <a:gd name="T5" fmla="*/ 334 h 416"/>
                <a:gd name="T6" fmla="*/ 689 w 885"/>
                <a:gd name="T7" fmla="*/ 337 h 416"/>
                <a:gd name="T8" fmla="*/ 752 w 885"/>
                <a:gd name="T9" fmla="*/ 304 h 416"/>
                <a:gd name="T10" fmla="*/ 800 w 885"/>
                <a:gd name="T11" fmla="*/ 310 h 416"/>
                <a:gd name="T12" fmla="*/ 885 w 885"/>
                <a:gd name="T13" fmla="*/ 291 h 416"/>
                <a:gd name="T14" fmla="*/ 860 w 885"/>
                <a:gd name="T15" fmla="*/ 294 h 416"/>
                <a:gd name="T16" fmla="*/ 748 w 885"/>
                <a:gd name="T17" fmla="*/ 278 h 416"/>
                <a:gd name="T18" fmla="*/ 690 w 885"/>
                <a:gd name="T19" fmla="*/ 315 h 416"/>
                <a:gd name="T20" fmla="*/ 643 w 885"/>
                <a:gd name="T21" fmla="*/ 315 h 416"/>
                <a:gd name="T22" fmla="*/ 173 w 885"/>
                <a:gd name="T23" fmla="*/ 352 h 416"/>
                <a:gd name="T24" fmla="*/ 43 w 885"/>
                <a:gd name="T25" fmla="*/ 80 h 416"/>
                <a:gd name="T26" fmla="*/ 130 w 885"/>
                <a:gd name="T27" fmla="*/ 39 h 416"/>
                <a:gd name="T28" fmla="*/ 134 w 885"/>
                <a:gd name="T29" fmla="*/ 37 h 416"/>
                <a:gd name="T30" fmla="*/ 133 w 885"/>
                <a:gd name="T31" fmla="*/ 31 h 416"/>
                <a:gd name="T32" fmla="*/ 0 w 885"/>
                <a:gd name="T33" fmla="*/ 51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5" h="416">
                  <a:moveTo>
                    <a:pt x="0" y="51"/>
                  </a:moveTo>
                  <a:cubicBezTo>
                    <a:pt x="11" y="134"/>
                    <a:pt x="96" y="299"/>
                    <a:pt x="149" y="396"/>
                  </a:cubicBezTo>
                  <a:cubicBezTo>
                    <a:pt x="333" y="416"/>
                    <a:pt x="639" y="334"/>
                    <a:pt x="639" y="334"/>
                  </a:cubicBezTo>
                  <a:cubicBezTo>
                    <a:pt x="639" y="334"/>
                    <a:pt x="647" y="335"/>
                    <a:pt x="689" y="337"/>
                  </a:cubicBezTo>
                  <a:cubicBezTo>
                    <a:pt x="732" y="339"/>
                    <a:pt x="752" y="304"/>
                    <a:pt x="752" y="304"/>
                  </a:cubicBezTo>
                  <a:cubicBezTo>
                    <a:pt x="752" y="304"/>
                    <a:pt x="761" y="308"/>
                    <a:pt x="800" y="310"/>
                  </a:cubicBezTo>
                  <a:cubicBezTo>
                    <a:pt x="830" y="311"/>
                    <a:pt x="859" y="305"/>
                    <a:pt x="885" y="291"/>
                  </a:cubicBezTo>
                  <a:lnTo>
                    <a:pt x="860" y="294"/>
                  </a:lnTo>
                  <a:lnTo>
                    <a:pt x="748" y="278"/>
                  </a:lnTo>
                  <a:cubicBezTo>
                    <a:pt x="748" y="278"/>
                    <a:pt x="708" y="306"/>
                    <a:pt x="690" y="315"/>
                  </a:cubicBezTo>
                  <a:cubicBezTo>
                    <a:pt x="672" y="324"/>
                    <a:pt x="643" y="315"/>
                    <a:pt x="643" y="315"/>
                  </a:cubicBezTo>
                  <a:cubicBezTo>
                    <a:pt x="643" y="315"/>
                    <a:pt x="226" y="347"/>
                    <a:pt x="173" y="352"/>
                  </a:cubicBezTo>
                  <a:cubicBezTo>
                    <a:pt x="135" y="315"/>
                    <a:pt x="43" y="80"/>
                    <a:pt x="43" y="80"/>
                  </a:cubicBezTo>
                  <a:lnTo>
                    <a:pt x="130" y="39"/>
                  </a:lnTo>
                  <a:lnTo>
                    <a:pt x="134" y="37"/>
                  </a:lnTo>
                  <a:cubicBezTo>
                    <a:pt x="133" y="33"/>
                    <a:pt x="133" y="31"/>
                    <a:pt x="133" y="31"/>
                  </a:cubicBezTo>
                  <a:cubicBezTo>
                    <a:pt x="133" y="31"/>
                    <a:pt x="72" y="0"/>
                    <a:pt x="0" y="51"/>
                  </a:cubicBezTo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8" name="Freeform 1048">
              <a:extLst>
                <a:ext uri="{FF2B5EF4-FFF2-40B4-BE49-F238E27FC236}">
                  <a16:creationId xmlns:a16="http://schemas.microsoft.com/office/drawing/2014/main" id="{08BFA8AB-D41B-DF30-2A08-04BEA30F7A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3865" y="4902970"/>
              <a:ext cx="29261" cy="13117"/>
            </a:xfrm>
            <a:custGeom>
              <a:avLst/>
              <a:gdLst>
                <a:gd name="T0" fmla="*/ 0 w 87"/>
                <a:gd name="T1" fmla="*/ 0 h 39"/>
                <a:gd name="T2" fmla="*/ 73 w 87"/>
                <a:gd name="T3" fmla="*/ 39 h 39"/>
                <a:gd name="T4" fmla="*/ 87 w 87"/>
                <a:gd name="T5" fmla="*/ 29 h 39"/>
                <a:gd name="T6" fmla="*/ 0 w 87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7" h="39">
                  <a:moveTo>
                    <a:pt x="0" y="0"/>
                  </a:moveTo>
                  <a:lnTo>
                    <a:pt x="73" y="39"/>
                  </a:lnTo>
                  <a:cubicBezTo>
                    <a:pt x="77" y="36"/>
                    <a:pt x="82" y="33"/>
                    <a:pt x="87" y="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9" name="Freeform 1049">
              <a:extLst>
                <a:ext uri="{FF2B5EF4-FFF2-40B4-BE49-F238E27FC236}">
                  <a16:creationId xmlns:a16="http://schemas.microsoft.com/office/drawing/2014/main" id="{5FBCF162-45F8-DB1C-E9C2-98A7D227CC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1074" y="4740520"/>
              <a:ext cx="89802" cy="97874"/>
            </a:xfrm>
            <a:custGeom>
              <a:avLst/>
              <a:gdLst>
                <a:gd name="T0" fmla="*/ 265 w 265"/>
                <a:gd name="T1" fmla="*/ 260 h 288"/>
                <a:gd name="T2" fmla="*/ 232 w 265"/>
                <a:gd name="T3" fmla="*/ 78 h 288"/>
                <a:gd name="T4" fmla="*/ 83 w 265"/>
                <a:gd name="T5" fmla="*/ 28 h 288"/>
                <a:gd name="T6" fmla="*/ 28 w 265"/>
                <a:gd name="T7" fmla="*/ 100 h 288"/>
                <a:gd name="T8" fmla="*/ 74 w 265"/>
                <a:gd name="T9" fmla="*/ 288 h 288"/>
                <a:gd name="T10" fmla="*/ 265 w 265"/>
                <a:gd name="T11" fmla="*/ 26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288">
                  <a:moveTo>
                    <a:pt x="265" y="260"/>
                  </a:moveTo>
                  <a:lnTo>
                    <a:pt x="232" y="78"/>
                  </a:lnTo>
                  <a:cubicBezTo>
                    <a:pt x="232" y="78"/>
                    <a:pt x="166" y="0"/>
                    <a:pt x="83" y="28"/>
                  </a:cubicBezTo>
                  <a:cubicBezTo>
                    <a:pt x="0" y="56"/>
                    <a:pt x="28" y="100"/>
                    <a:pt x="28" y="100"/>
                  </a:cubicBezTo>
                  <a:lnTo>
                    <a:pt x="74" y="288"/>
                  </a:lnTo>
                  <a:lnTo>
                    <a:pt x="265" y="260"/>
                  </a:lnTo>
                </a:path>
              </a:pathLst>
            </a:custGeom>
            <a:solidFill>
              <a:srgbClr val="1F40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0" name="Freeform 1050">
              <a:extLst>
                <a:ext uri="{FF2B5EF4-FFF2-40B4-BE49-F238E27FC236}">
                  <a16:creationId xmlns:a16="http://schemas.microsoft.com/office/drawing/2014/main" id="{ED6FD9FE-6A8A-58F5-DA97-0283E5915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7719" y="4777854"/>
              <a:ext cx="142270" cy="278485"/>
            </a:xfrm>
            <a:custGeom>
              <a:avLst/>
              <a:gdLst>
                <a:gd name="T0" fmla="*/ 6 w 420"/>
                <a:gd name="T1" fmla="*/ 683 h 826"/>
                <a:gd name="T2" fmla="*/ 195 w 420"/>
                <a:gd name="T3" fmla="*/ 69 h 826"/>
                <a:gd name="T4" fmla="*/ 355 w 420"/>
                <a:gd name="T5" fmla="*/ 15 h 826"/>
                <a:gd name="T6" fmla="*/ 355 w 420"/>
                <a:gd name="T7" fmla="*/ 15 h 826"/>
                <a:gd name="T8" fmla="*/ 388 w 420"/>
                <a:gd name="T9" fmla="*/ 123 h 826"/>
                <a:gd name="T10" fmla="*/ 199 w 420"/>
                <a:gd name="T11" fmla="*/ 737 h 826"/>
                <a:gd name="T12" fmla="*/ 110 w 420"/>
                <a:gd name="T13" fmla="*/ 811 h 826"/>
                <a:gd name="T14" fmla="*/ 110 w 420"/>
                <a:gd name="T15" fmla="*/ 811 h 826"/>
                <a:gd name="T16" fmla="*/ 6 w 420"/>
                <a:gd name="T17" fmla="*/ 683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0" h="826">
                  <a:moveTo>
                    <a:pt x="6" y="683"/>
                  </a:moveTo>
                  <a:cubicBezTo>
                    <a:pt x="0" y="465"/>
                    <a:pt x="67" y="250"/>
                    <a:pt x="195" y="69"/>
                  </a:cubicBezTo>
                  <a:cubicBezTo>
                    <a:pt x="227" y="23"/>
                    <a:pt x="301" y="0"/>
                    <a:pt x="355" y="15"/>
                  </a:cubicBezTo>
                  <a:lnTo>
                    <a:pt x="355" y="15"/>
                  </a:lnTo>
                  <a:cubicBezTo>
                    <a:pt x="408" y="30"/>
                    <a:pt x="420" y="77"/>
                    <a:pt x="388" y="123"/>
                  </a:cubicBezTo>
                  <a:cubicBezTo>
                    <a:pt x="260" y="304"/>
                    <a:pt x="194" y="519"/>
                    <a:pt x="199" y="737"/>
                  </a:cubicBezTo>
                  <a:cubicBezTo>
                    <a:pt x="200" y="793"/>
                    <a:pt x="163" y="826"/>
                    <a:pt x="110" y="811"/>
                  </a:cubicBezTo>
                  <a:lnTo>
                    <a:pt x="110" y="811"/>
                  </a:lnTo>
                  <a:cubicBezTo>
                    <a:pt x="56" y="796"/>
                    <a:pt x="7" y="739"/>
                    <a:pt x="6" y="68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1" name="Freeform 1051">
              <a:extLst>
                <a:ext uri="{FF2B5EF4-FFF2-40B4-BE49-F238E27FC236}">
                  <a16:creationId xmlns:a16="http://schemas.microsoft.com/office/drawing/2014/main" id="{79B63F14-2D32-B026-3065-94864BCEB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5337" y="5133023"/>
              <a:ext cx="55495" cy="125116"/>
            </a:xfrm>
            <a:custGeom>
              <a:avLst/>
              <a:gdLst>
                <a:gd name="T0" fmla="*/ 25 w 163"/>
                <a:gd name="T1" fmla="*/ 369 h 369"/>
                <a:gd name="T2" fmla="*/ 5 w 163"/>
                <a:gd name="T3" fmla="*/ 354 h 369"/>
                <a:gd name="T4" fmla="*/ 18 w 163"/>
                <a:gd name="T5" fmla="*/ 326 h 369"/>
                <a:gd name="T6" fmla="*/ 119 w 163"/>
                <a:gd name="T7" fmla="*/ 183 h 369"/>
                <a:gd name="T8" fmla="*/ 29 w 163"/>
                <a:gd name="T9" fmla="*/ 45 h 369"/>
                <a:gd name="T10" fmla="*/ 17 w 163"/>
                <a:gd name="T11" fmla="*/ 16 h 369"/>
                <a:gd name="T12" fmla="*/ 47 w 163"/>
                <a:gd name="T13" fmla="*/ 4 h 369"/>
                <a:gd name="T14" fmla="*/ 163 w 163"/>
                <a:gd name="T15" fmla="*/ 183 h 369"/>
                <a:gd name="T16" fmla="*/ 33 w 163"/>
                <a:gd name="T17" fmla="*/ 368 h 369"/>
                <a:gd name="T18" fmla="*/ 25 w 163"/>
                <a:gd name="T19" fmla="*/ 36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3" h="369">
                  <a:moveTo>
                    <a:pt x="25" y="369"/>
                  </a:moveTo>
                  <a:cubicBezTo>
                    <a:pt x="16" y="369"/>
                    <a:pt x="8" y="363"/>
                    <a:pt x="5" y="354"/>
                  </a:cubicBezTo>
                  <a:cubicBezTo>
                    <a:pt x="0" y="343"/>
                    <a:pt x="7" y="330"/>
                    <a:pt x="18" y="326"/>
                  </a:cubicBezTo>
                  <a:cubicBezTo>
                    <a:pt x="78" y="305"/>
                    <a:pt x="119" y="247"/>
                    <a:pt x="119" y="183"/>
                  </a:cubicBezTo>
                  <a:cubicBezTo>
                    <a:pt x="119" y="123"/>
                    <a:pt x="84" y="69"/>
                    <a:pt x="29" y="45"/>
                  </a:cubicBezTo>
                  <a:cubicBezTo>
                    <a:pt x="18" y="40"/>
                    <a:pt x="13" y="27"/>
                    <a:pt x="17" y="16"/>
                  </a:cubicBezTo>
                  <a:cubicBezTo>
                    <a:pt x="22" y="5"/>
                    <a:pt x="35" y="0"/>
                    <a:pt x="47" y="4"/>
                  </a:cubicBezTo>
                  <a:cubicBezTo>
                    <a:pt x="118" y="36"/>
                    <a:pt x="163" y="106"/>
                    <a:pt x="163" y="183"/>
                  </a:cubicBezTo>
                  <a:cubicBezTo>
                    <a:pt x="163" y="266"/>
                    <a:pt x="111" y="340"/>
                    <a:pt x="33" y="368"/>
                  </a:cubicBezTo>
                  <a:cubicBezTo>
                    <a:pt x="30" y="369"/>
                    <a:pt x="28" y="369"/>
                    <a:pt x="25" y="369"/>
                  </a:cubicBez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2" name="Freeform 1052">
              <a:extLst>
                <a:ext uri="{FF2B5EF4-FFF2-40B4-BE49-F238E27FC236}">
                  <a16:creationId xmlns:a16="http://schemas.microsoft.com/office/drawing/2014/main" id="{D36DC105-6B3C-F526-8960-1075682B61C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2491" y="5099726"/>
              <a:ext cx="76684" cy="192720"/>
            </a:xfrm>
            <a:custGeom>
              <a:avLst/>
              <a:gdLst>
                <a:gd name="T0" fmla="*/ 25 w 227"/>
                <a:gd name="T1" fmla="*/ 570 h 570"/>
                <a:gd name="T2" fmla="*/ 4 w 227"/>
                <a:gd name="T3" fmla="*/ 556 h 570"/>
                <a:gd name="T4" fmla="*/ 17 w 227"/>
                <a:gd name="T5" fmla="*/ 528 h 570"/>
                <a:gd name="T6" fmla="*/ 183 w 227"/>
                <a:gd name="T7" fmla="*/ 282 h 570"/>
                <a:gd name="T8" fmla="*/ 36 w 227"/>
                <a:gd name="T9" fmla="*/ 45 h 570"/>
                <a:gd name="T10" fmla="*/ 26 w 227"/>
                <a:gd name="T11" fmla="*/ 16 h 570"/>
                <a:gd name="T12" fmla="*/ 55 w 227"/>
                <a:gd name="T13" fmla="*/ 6 h 570"/>
                <a:gd name="T14" fmla="*/ 227 w 227"/>
                <a:gd name="T15" fmla="*/ 282 h 570"/>
                <a:gd name="T16" fmla="*/ 33 w 227"/>
                <a:gd name="T17" fmla="*/ 569 h 570"/>
                <a:gd name="T18" fmla="*/ 25 w 227"/>
                <a:gd name="T19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7" h="570">
                  <a:moveTo>
                    <a:pt x="25" y="570"/>
                  </a:moveTo>
                  <a:cubicBezTo>
                    <a:pt x="16" y="570"/>
                    <a:pt x="8" y="565"/>
                    <a:pt x="4" y="556"/>
                  </a:cubicBezTo>
                  <a:cubicBezTo>
                    <a:pt x="0" y="545"/>
                    <a:pt x="5" y="532"/>
                    <a:pt x="17" y="528"/>
                  </a:cubicBezTo>
                  <a:cubicBezTo>
                    <a:pt x="118" y="487"/>
                    <a:pt x="183" y="391"/>
                    <a:pt x="183" y="282"/>
                  </a:cubicBezTo>
                  <a:cubicBezTo>
                    <a:pt x="183" y="181"/>
                    <a:pt x="127" y="90"/>
                    <a:pt x="36" y="45"/>
                  </a:cubicBezTo>
                  <a:cubicBezTo>
                    <a:pt x="25" y="40"/>
                    <a:pt x="20" y="27"/>
                    <a:pt x="26" y="16"/>
                  </a:cubicBezTo>
                  <a:cubicBezTo>
                    <a:pt x="31" y="5"/>
                    <a:pt x="44" y="0"/>
                    <a:pt x="55" y="6"/>
                  </a:cubicBezTo>
                  <a:cubicBezTo>
                    <a:pt x="161" y="58"/>
                    <a:pt x="227" y="164"/>
                    <a:pt x="227" y="282"/>
                  </a:cubicBezTo>
                  <a:cubicBezTo>
                    <a:pt x="227" y="409"/>
                    <a:pt x="151" y="522"/>
                    <a:pt x="33" y="569"/>
                  </a:cubicBezTo>
                  <a:cubicBezTo>
                    <a:pt x="30" y="570"/>
                    <a:pt x="28" y="570"/>
                    <a:pt x="25" y="570"/>
                  </a:cubicBez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3" name="Freeform 1053">
              <a:extLst>
                <a:ext uri="{FF2B5EF4-FFF2-40B4-BE49-F238E27FC236}">
                  <a16:creationId xmlns:a16="http://schemas.microsoft.com/office/drawing/2014/main" id="{9870AA79-FF5F-A414-2D9D-5CC75911F4E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8635" y="5066429"/>
              <a:ext cx="98882" cy="261332"/>
            </a:xfrm>
            <a:custGeom>
              <a:avLst/>
              <a:gdLst>
                <a:gd name="T0" fmla="*/ 25 w 293"/>
                <a:gd name="T1" fmla="*/ 771 h 771"/>
                <a:gd name="T2" fmla="*/ 5 w 293"/>
                <a:gd name="T3" fmla="*/ 758 h 771"/>
                <a:gd name="T4" fmla="*/ 17 w 293"/>
                <a:gd name="T5" fmla="*/ 729 h 771"/>
                <a:gd name="T6" fmla="*/ 249 w 293"/>
                <a:gd name="T7" fmla="*/ 380 h 771"/>
                <a:gd name="T8" fmla="*/ 44 w 293"/>
                <a:gd name="T9" fmla="*/ 45 h 771"/>
                <a:gd name="T10" fmla="*/ 34 w 293"/>
                <a:gd name="T11" fmla="*/ 15 h 771"/>
                <a:gd name="T12" fmla="*/ 64 w 293"/>
                <a:gd name="T13" fmla="*/ 5 h 771"/>
                <a:gd name="T14" fmla="*/ 293 w 293"/>
                <a:gd name="T15" fmla="*/ 380 h 771"/>
                <a:gd name="T16" fmla="*/ 34 w 293"/>
                <a:gd name="T17" fmla="*/ 769 h 771"/>
                <a:gd name="T18" fmla="*/ 25 w 293"/>
                <a:gd name="T19" fmla="*/ 771 h 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3" h="771">
                  <a:moveTo>
                    <a:pt x="25" y="771"/>
                  </a:moveTo>
                  <a:cubicBezTo>
                    <a:pt x="17" y="771"/>
                    <a:pt x="8" y="766"/>
                    <a:pt x="5" y="758"/>
                  </a:cubicBezTo>
                  <a:cubicBezTo>
                    <a:pt x="0" y="746"/>
                    <a:pt x="5" y="733"/>
                    <a:pt x="17" y="729"/>
                  </a:cubicBezTo>
                  <a:cubicBezTo>
                    <a:pt x="158" y="670"/>
                    <a:pt x="249" y="533"/>
                    <a:pt x="249" y="380"/>
                  </a:cubicBezTo>
                  <a:cubicBezTo>
                    <a:pt x="249" y="238"/>
                    <a:pt x="170" y="110"/>
                    <a:pt x="44" y="45"/>
                  </a:cubicBezTo>
                  <a:cubicBezTo>
                    <a:pt x="33" y="39"/>
                    <a:pt x="29" y="26"/>
                    <a:pt x="34" y="15"/>
                  </a:cubicBezTo>
                  <a:cubicBezTo>
                    <a:pt x="40" y="4"/>
                    <a:pt x="53" y="0"/>
                    <a:pt x="64" y="5"/>
                  </a:cubicBezTo>
                  <a:cubicBezTo>
                    <a:pt x="205" y="78"/>
                    <a:pt x="293" y="221"/>
                    <a:pt x="293" y="380"/>
                  </a:cubicBezTo>
                  <a:cubicBezTo>
                    <a:pt x="293" y="551"/>
                    <a:pt x="191" y="704"/>
                    <a:pt x="34" y="769"/>
                  </a:cubicBezTo>
                  <a:cubicBezTo>
                    <a:pt x="31" y="771"/>
                    <a:pt x="28" y="771"/>
                    <a:pt x="25" y="771"/>
                  </a:cubicBez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4" name="Freeform 1054">
              <a:extLst>
                <a:ext uri="{FF2B5EF4-FFF2-40B4-BE49-F238E27FC236}">
                  <a16:creationId xmlns:a16="http://schemas.microsoft.com/office/drawing/2014/main" id="{FDD7418D-BF24-077A-CE72-B8394236E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779" y="5168338"/>
              <a:ext cx="56504" cy="59532"/>
            </a:xfrm>
            <a:custGeom>
              <a:avLst/>
              <a:gdLst>
                <a:gd name="T0" fmla="*/ 0 w 165"/>
                <a:gd name="T1" fmla="*/ 176 h 176"/>
                <a:gd name="T2" fmla="*/ 91 w 165"/>
                <a:gd name="T3" fmla="*/ 169 h 176"/>
                <a:gd name="T4" fmla="*/ 165 w 165"/>
                <a:gd name="T5" fmla="*/ 88 h 176"/>
                <a:gd name="T6" fmla="*/ 91 w 165"/>
                <a:gd name="T7" fmla="*/ 8 h 176"/>
                <a:gd name="T8" fmla="*/ 0 w 165"/>
                <a:gd name="T9" fmla="*/ 0 h 176"/>
                <a:gd name="T10" fmla="*/ 0 w 165"/>
                <a:gd name="T11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176">
                  <a:moveTo>
                    <a:pt x="0" y="176"/>
                  </a:moveTo>
                  <a:lnTo>
                    <a:pt x="91" y="169"/>
                  </a:lnTo>
                  <a:cubicBezTo>
                    <a:pt x="132" y="165"/>
                    <a:pt x="165" y="129"/>
                    <a:pt x="165" y="88"/>
                  </a:cubicBezTo>
                  <a:cubicBezTo>
                    <a:pt x="165" y="47"/>
                    <a:pt x="132" y="11"/>
                    <a:pt x="91" y="8"/>
                  </a:cubicBezTo>
                  <a:lnTo>
                    <a:pt x="0" y="0"/>
                  </a:lnTo>
                  <a:lnTo>
                    <a:pt x="0" y="17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5" name="Freeform 1055">
              <a:extLst>
                <a:ext uri="{FF2B5EF4-FFF2-40B4-BE49-F238E27FC236}">
                  <a16:creationId xmlns:a16="http://schemas.microsoft.com/office/drawing/2014/main" id="{706C48DC-EE95-F41F-0A82-DEC70552E14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9273" y="4998825"/>
              <a:ext cx="54486" cy="125116"/>
            </a:xfrm>
            <a:custGeom>
              <a:avLst/>
              <a:gdLst>
                <a:gd name="T0" fmla="*/ 126 w 163"/>
                <a:gd name="T1" fmla="*/ 369 h 369"/>
                <a:gd name="T2" fmla="*/ 117 w 163"/>
                <a:gd name="T3" fmla="*/ 367 h 369"/>
                <a:gd name="T4" fmla="*/ 0 w 163"/>
                <a:gd name="T5" fmla="*/ 188 h 369"/>
                <a:gd name="T6" fmla="*/ 131 w 163"/>
                <a:gd name="T7" fmla="*/ 4 h 369"/>
                <a:gd name="T8" fmla="*/ 159 w 163"/>
                <a:gd name="T9" fmla="*/ 18 h 369"/>
                <a:gd name="T10" fmla="*/ 146 w 163"/>
                <a:gd name="T11" fmla="*/ 46 h 369"/>
                <a:gd name="T12" fmla="*/ 45 w 163"/>
                <a:gd name="T13" fmla="*/ 188 h 369"/>
                <a:gd name="T14" fmla="*/ 135 w 163"/>
                <a:gd name="T15" fmla="*/ 327 h 369"/>
                <a:gd name="T16" fmla="*/ 146 w 163"/>
                <a:gd name="T17" fmla="*/ 356 h 369"/>
                <a:gd name="T18" fmla="*/ 126 w 163"/>
                <a:gd name="T19" fmla="*/ 36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3" h="369">
                  <a:moveTo>
                    <a:pt x="126" y="369"/>
                  </a:moveTo>
                  <a:cubicBezTo>
                    <a:pt x="123" y="369"/>
                    <a:pt x="120" y="369"/>
                    <a:pt x="117" y="367"/>
                  </a:cubicBezTo>
                  <a:cubicBezTo>
                    <a:pt x="46" y="336"/>
                    <a:pt x="0" y="266"/>
                    <a:pt x="0" y="188"/>
                  </a:cubicBezTo>
                  <a:cubicBezTo>
                    <a:pt x="0" y="106"/>
                    <a:pt x="53" y="31"/>
                    <a:pt x="131" y="4"/>
                  </a:cubicBezTo>
                  <a:cubicBezTo>
                    <a:pt x="142" y="0"/>
                    <a:pt x="155" y="6"/>
                    <a:pt x="159" y="18"/>
                  </a:cubicBezTo>
                  <a:cubicBezTo>
                    <a:pt x="163" y="29"/>
                    <a:pt x="157" y="42"/>
                    <a:pt x="146" y="46"/>
                  </a:cubicBezTo>
                  <a:cubicBezTo>
                    <a:pt x="85" y="67"/>
                    <a:pt x="45" y="124"/>
                    <a:pt x="45" y="188"/>
                  </a:cubicBezTo>
                  <a:cubicBezTo>
                    <a:pt x="45" y="248"/>
                    <a:pt x="80" y="303"/>
                    <a:pt x="135" y="327"/>
                  </a:cubicBezTo>
                  <a:cubicBezTo>
                    <a:pt x="146" y="332"/>
                    <a:pt x="151" y="345"/>
                    <a:pt x="146" y="356"/>
                  </a:cubicBezTo>
                  <a:cubicBezTo>
                    <a:pt x="143" y="364"/>
                    <a:pt x="134" y="369"/>
                    <a:pt x="126" y="369"/>
                  </a:cubicBezTo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6" name="Freeform 1056">
              <a:extLst>
                <a:ext uri="{FF2B5EF4-FFF2-40B4-BE49-F238E27FC236}">
                  <a16:creationId xmlns:a16="http://schemas.microsoft.com/office/drawing/2014/main" id="{9F6B7EAE-F379-D973-CCDD-3BA23F729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0931" y="4964519"/>
              <a:ext cx="76684" cy="192720"/>
            </a:xfrm>
            <a:custGeom>
              <a:avLst/>
              <a:gdLst>
                <a:gd name="T0" fmla="*/ 182 w 228"/>
                <a:gd name="T1" fmla="*/ 570 h 570"/>
                <a:gd name="T2" fmla="*/ 172 w 228"/>
                <a:gd name="T3" fmla="*/ 568 h 570"/>
                <a:gd name="T4" fmla="*/ 0 w 228"/>
                <a:gd name="T5" fmla="*/ 291 h 570"/>
                <a:gd name="T6" fmla="*/ 195 w 228"/>
                <a:gd name="T7" fmla="*/ 5 h 570"/>
                <a:gd name="T8" fmla="*/ 223 w 228"/>
                <a:gd name="T9" fmla="*/ 17 h 570"/>
                <a:gd name="T10" fmla="*/ 211 w 228"/>
                <a:gd name="T11" fmla="*/ 46 h 570"/>
                <a:gd name="T12" fmla="*/ 45 w 228"/>
                <a:gd name="T13" fmla="*/ 291 h 570"/>
                <a:gd name="T14" fmla="*/ 192 w 228"/>
                <a:gd name="T15" fmla="*/ 528 h 570"/>
                <a:gd name="T16" fmla="*/ 202 w 228"/>
                <a:gd name="T17" fmla="*/ 558 h 570"/>
                <a:gd name="T18" fmla="*/ 182 w 228"/>
                <a:gd name="T19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570">
                  <a:moveTo>
                    <a:pt x="182" y="570"/>
                  </a:moveTo>
                  <a:cubicBezTo>
                    <a:pt x="179" y="570"/>
                    <a:pt x="176" y="570"/>
                    <a:pt x="172" y="568"/>
                  </a:cubicBezTo>
                  <a:cubicBezTo>
                    <a:pt x="66" y="516"/>
                    <a:pt x="0" y="410"/>
                    <a:pt x="0" y="291"/>
                  </a:cubicBezTo>
                  <a:cubicBezTo>
                    <a:pt x="0" y="164"/>
                    <a:pt x="77" y="52"/>
                    <a:pt x="195" y="5"/>
                  </a:cubicBezTo>
                  <a:cubicBezTo>
                    <a:pt x="206" y="0"/>
                    <a:pt x="219" y="6"/>
                    <a:pt x="223" y="17"/>
                  </a:cubicBezTo>
                  <a:cubicBezTo>
                    <a:pt x="228" y="29"/>
                    <a:pt x="222" y="41"/>
                    <a:pt x="211" y="46"/>
                  </a:cubicBezTo>
                  <a:cubicBezTo>
                    <a:pt x="110" y="86"/>
                    <a:pt x="45" y="183"/>
                    <a:pt x="45" y="291"/>
                  </a:cubicBezTo>
                  <a:cubicBezTo>
                    <a:pt x="45" y="393"/>
                    <a:pt x="101" y="483"/>
                    <a:pt x="192" y="528"/>
                  </a:cubicBezTo>
                  <a:cubicBezTo>
                    <a:pt x="203" y="534"/>
                    <a:pt x="208" y="547"/>
                    <a:pt x="202" y="558"/>
                  </a:cubicBezTo>
                  <a:cubicBezTo>
                    <a:pt x="198" y="566"/>
                    <a:pt x="190" y="570"/>
                    <a:pt x="182" y="570"/>
                  </a:cubicBezTo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7" name="Freeform 1057">
              <a:extLst>
                <a:ext uri="{FF2B5EF4-FFF2-40B4-BE49-F238E27FC236}">
                  <a16:creationId xmlns:a16="http://schemas.microsoft.com/office/drawing/2014/main" id="{FE5A7B6E-DF58-FB74-BA49-6B37ED7E86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2589" y="4929204"/>
              <a:ext cx="99892" cy="261332"/>
            </a:xfrm>
            <a:custGeom>
              <a:avLst/>
              <a:gdLst>
                <a:gd name="T0" fmla="*/ 240 w 294"/>
                <a:gd name="T1" fmla="*/ 772 h 772"/>
                <a:gd name="T2" fmla="*/ 230 w 294"/>
                <a:gd name="T3" fmla="*/ 770 h 772"/>
                <a:gd name="T4" fmla="*/ 0 w 294"/>
                <a:gd name="T5" fmla="*/ 394 h 772"/>
                <a:gd name="T6" fmla="*/ 260 w 294"/>
                <a:gd name="T7" fmla="*/ 5 h 772"/>
                <a:gd name="T8" fmla="*/ 289 w 294"/>
                <a:gd name="T9" fmla="*/ 17 h 772"/>
                <a:gd name="T10" fmla="*/ 277 w 294"/>
                <a:gd name="T11" fmla="*/ 46 h 772"/>
                <a:gd name="T12" fmla="*/ 45 w 294"/>
                <a:gd name="T13" fmla="*/ 394 h 772"/>
                <a:gd name="T14" fmla="*/ 250 w 294"/>
                <a:gd name="T15" fmla="*/ 730 h 772"/>
                <a:gd name="T16" fmla="*/ 260 w 294"/>
                <a:gd name="T17" fmla="*/ 760 h 772"/>
                <a:gd name="T18" fmla="*/ 240 w 294"/>
                <a:gd name="T19" fmla="*/ 772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4" h="772">
                  <a:moveTo>
                    <a:pt x="240" y="772"/>
                  </a:moveTo>
                  <a:cubicBezTo>
                    <a:pt x="236" y="772"/>
                    <a:pt x="233" y="771"/>
                    <a:pt x="230" y="770"/>
                  </a:cubicBezTo>
                  <a:cubicBezTo>
                    <a:pt x="88" y="697"/>
                    <a:pt x="0" y="553"/>
                    <a:pt x="0" y="394"/>
                  </a:cubicBezTo>
                  <a:cubicBezTo>
                    <a:pt x="0" y="224"/>
                    <a:pt x="102" y="71"/>
                    <a:pt x="260" y="5"/>
                  </a:cubicBezTo>
                  <a:cubicBezTo>
                    <a:pt x="271" y="0"/>
                    <a:pt x="284" y="6"/>
                    <a:pt x="289" y="17"/>
                  </a:cubicBezTo>
                  <a:cubicBezTo>
                    <a:pt x="294" y="28"/>
                    <a:pt x="288" y="41"/>
                    <a:pt x="277" y="46"/>
                  </a:cubicBezTo>
                  <a:cubicBezTo>
                    <a:pt x="136" y="105"/>
                    <a:pt x="45" y="242"/>
                    <a:pt x="45" y="394"/>
                  </a:cubicBezTo>
                  <a:cubicBezTo>
                    <a:pt x="45" y="537"/>
                    <a:pt x="123" y="665"/>
                    <a:pt x="250" y="730"/>
                  </a:cubicBezTo>
                  <a:cubicBezTo>
                    <a:pt x="261" y="736"/>
                    <a:pt x="265" y="749"/>
                    <a:pt x="260" y="760"/>
                  </a:cubicBezTo>
                  <a:cubicBezTo>
                    <a:pt x="256" y="768"/>
                    <a:pt x="248" y="772"/>
                    <a:pt x="240" y="772"/>
                  </a:cubicBez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8" name="Freeform 1058">
              <a:extLst>
                <a:ext uri="{FF2B5EF4-FFF2-40B4-BE49-F238E27FC236}">
                  <a16:creationId xmlns:a16="http://schemas.microsoft.com/office/drawing/2014/main" id="{EA6EB5A4-64D5-26F1-FC6D-9DB0C9AE6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0823" y="5031113"/>
              <a:ext cx="56504" cy="59532"/>
            </a:xfrm>
            <a:custGeom>
              <a:avLst/>
              <a:gdLst>
                <a:gd name="T0" fmla="*/ 0 w 165"/>
                <a:gd name="T1" fmla="*/ 88 h 177"/>
                <a:gd name="T2" fmla="*/ 74 w 165"/>
                <a:gd name="T3" fmla="*/ 169 h 177"/>
                <a:gd name="T4" fmla="*/ 165 w 165"/>
                <a:gd name="T5" fmla="*/ 177 h 177"/>
                <a:gd name="T6" fmla="*/ 165 w 165"/>
                <a:gd name="T7" fmla="*/ 0 h 177"/>
                <a:gd name="T8" fmla="*/ 74 w 165"/>
                <a:gd name="T9" fmla="*/ 8 h 177"/>
                <a:gd name="T10" fmla="*/ 0 w 165"/>
                <a:gd name="T11" fmla="*/ 8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177">
                  <a:moveTo>
                    <a:pt x="0" y="88"/>
                  </a:moveTo>
                  <a:cubicBezTo>
                    <a:pt x="0" y="129"/>
                    <a:pt x="33" y="165"/>
                    <a:pt x="74" y="169"/>
                  </a:cubicBezTo>
                  <a:lnTo>
                    <a:pt x="165" y="177"/>
                  </a:lnTo>
                  <a:lnTo>
                    <a:pt x="165" y="0"/>
                  </a:lnTo>
                  <a:lnTo>
                    <a:pt x="74" y="8"/>
                  </a:lnTo>
                  <a:cubicBezTo>
                    <a:pt x="33" y="12"/>
                    <a:pt x="0" y="47"/>
                    <a:pt x="0" y="88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9" name="Freeform 1059">
              <a:extLst>
                <a:ext uri="{FF2B5EF4-FFF2-40B4-BE49-F238E27FC236}">
                  <a16:creationId xmlns:a16="http://schemas.microsoft.com/office/drawing/2014/main" id="{9D98DDB3-CC3F-B50D-2AEF-DD608D2465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2676" y="4358108"/>
              <a:ext cx="133189" cy="54486"/>
            </a:xfrm>
            <a:custGeom>
              <a:avLst/>
              <a:gdLst>
                <a:gd name="T0" fmla="*/ 17 w 392"/>
                <a:gd name="T1" fmla="*/ 159 h 159"/>
                <a:gd name="T2" fmla="*/ 12 w 392"/>
                <a:gd name="T3" fmla="*/ 158 h 159"/>
                <a:gd name="T4" fmla="*/ 3 w 392"/>
                <a:gd name="T5" fmla="*/ 139 h 159"/>
                <a:gd name="T6" fmla="*/ 198 w 392"/>
                <a:gd name="T7" fmla="*/ 0 h 159"/>
                <a:gd name="T8" fmla="*/ 388 w 392"/>
                <a:gd name="T9" fmla="*/ 124 h 159"/>
                <a:gd name="T10" fmla="*/ 381 w 392"/>
                <a:gd name="T11" fmla="*/ 144 h 159"/>
                <a:gd name="T12" fmla="*/ 361 w 392"/>
                <a:gd name="T13" fmla="*/ 136 h 159"/>
                <a:gd name="T14" fmla="*/ 198 w 392"/>
                <a:gd name="T15" fmla="*/ 30 h 159"/>
                <a:gd name="T16" fmla="*/ 31 w 392"/>
                <a:gd name="T17" fmla="*/ 149 h 159"/>
                <a:gd name="T18" fmla="*/ 17 w 392"/>
                <a:gd name="T19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2" h="159">
                  <a:moveTo>
                    <a:pt x="17" y="159"/>
                  </a:moveTo>
                  <a:cubicBezTo>
                    <a:pt x="15" y="159"/>
                    <a:pt x="14" y="158"/>
                    <a:pt x="12" y="158"/>
                  </a:cubicBezTo>
                  <a:cubicBezTo>
                    <a:pt x="4" y="155"/>
                    <a:pt x="0" y="146"/>
                    <a:pt x="3" y="139"/>
                  </a:cubicBezTo>
                  <a:cubicBezTo>
                    <a:pt x="32" y="56"/>
                    <a:pt x="111" y="0"/>
                    <a:pt x="198" y="0"/>
                  </a:cubicBezTo>
                  <a:cubicBezTo>
                    <a:pt x="281" y="0"/>
                    <a:pt x="355" y="49"/>
                    <a:pt x="388" y="124"/>
                  </a:cubicBezTo>
                  <a:cubicBezTo>
                    <a:pt x="392" y="132"/>
                    <a:pt x="388" y="140"/>
                    <a:pt x="381" y="144"/>
                  </a:cubicBezTo>
                  <a:cubicBezTo>
                    <a:pt x="373" y="147"/>
                    <a:pt x="364" y="144"/>
                    <a:pt x="361" y="136"/>
                  </a:cubicBezTo>
                  <a:cubicBezTo>
                    <a:pt x="333" y="72"/>
                    <a:pt x="269" y="30"/>
                    <a:pt x="198" y="30"/>
                  </a:cubicBezTo>
                  <a:cubicBezTo>
                    <a:pt x="123" y="30"/>
                    <a:pt x="56" y="78"/>
                    <a:pt x="31" y="149"/>
                  </a:cubicBezTo>
                  <a:cubicBezTo>
                    <a:pt x="29" y="155"/>
                    <a:pt x="23" y="159"/>
                    <a:pt x="17" y="159"/>
                  </a:cubicBezTo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4" name="Freeform 1060">
              <a:extLst>
                <a:ext uri="{FF2B5EF4-FFF2-40B4-BE49-F238E27FC236}">
                  <a16:creationId xmlns:a16="http://schemas.microsoft.com/office/drawing/2014/main" id="{C9C63DC2-7024-6B0C-FD37-3969492E71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334" y="4315730"/>
              <a:ext cx="207855" cy="77694"/>
            </a:xfrm>
            <a:custGeom>
              <a:avLst/>
              <a:gdLst>
                <a:gd name="T0" fmla="*/ 17 w 615"/>
                <a:gd name="T1" fmla="*/ 231 h 231"/>
                <a:gd name="T2" fmla="*/ 11 w 615"/>
                <a:gd name="T3" fmla="*/ 230 h 231"/>
                <a:gd name="T4" fmla="*/ 3 w 615"/>
                <a:gd name="T5" fmla="*/ 210 h 231"/>
                <a:gd name="T6" fmla="*/ 312 w 615"/>
                <a:gd name="T7" fmla="*/ 0 h 231"/>
                <a:gd name="T8" fmla="*/ 611 w 615"/>
                <a:gd name="T9" fmla="*/ 186 h 231"/>
                <a:gd name="T10" fmla="*/ 604 w 615"/>
                <a:gd name="T11" fmla="*/ 206 h 231"/>
                <a:gd name="T12" fmla="*/ 584 w 615"/>
                <a:gd name="T13" fmla="*/ 200 h 231"/>
                <a:gd name="T14" fmla="*/ 312 w 615"/>
                <a:gd name="T15" fmla="*/ 30 h 231"/>
                <a:gd name="T16" fmla="*/ 31 w 615"/>
                <a:gd name="T17" fmla="*/ 221 h 231"/>
                <a:gd name="T18" fmla="*/ 17 w 615"/>
                <a:gd name="T19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5" h="231">
                  <a:moveTo>
                    <a:pt x="17" y="231"/>
                  </a:moveTo>
                  <a:cubicBezTo>
                    <a:pt x="15" y="231"/>
                    <a:pt x="13" y="230"/>
                    <a:pt x="11" y="230"/>
                  </a:cubicBezTo>
                  <a:cubicBezTo>
                    <a:pt x="4" y="227"/>
                    <a:pt x="0" y="218"/>
                    <a:pt x="3" y="210"/>
                  </a:cubicBezTo>
                  <a:cubicBezTo>
                    <a:pt x="54" y="83"/>
                    <a:pt x="175" y="0"/>
                    <a:pt x="312" y="0"/>
                  </a:cubicBezTo>
                  <a:cubicBezTo>
                    <a:pt x="440" y="0"/>
                    <a:pt x="555" y="72"/>
                    <a:pt x="611" y="186"/>
                  </a:cubicBezTo>
                  <a:cubicBezTo>
                    <a:pt x="615" y="194"/>
                    <a:pt x="612" y="203"/>
                    <a:pt x="604" y="206"/>
                  </a:cubicBezTo>
                  <a:cubicBezTo>
                    <a:pt x="597" y="210"/>
                    <a:pt x="588" y="207"/>
                    <a:pt x="584" y="200"/>
                  </a:cubicBezTo>
                  <a:cubicBezTo>
                    <a:pt x="533" y="95"/>
                    <a:pt x="429" y="30"/>
                    <a:pt x="312" y="30"/>
                  </a:cubicBezTo>
                  <a:cubicBezTo>
                    <a:pt x="188" y="30"/>
                    <a:pt x="77" y="105"/>
                    <a:pt x="31" y="221"/>
                  </a:cubicBezTo>
                  <a:cubicBezTo>
                    <a:pt x="29" y="227"/>
                    <a:pt x="23" y="231"/>
                    <a:pt x="17" y="231"/>
                  </a:cubicBezTo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5" name="Freeform 1061">
              <a:extLst>
                <a:ext uri="{FF2B5EF4-FFF2-40B4-BE49-F238E27FC236}">
                  <a16:creationId xmlns:a16="http://schemas.microsoft.com/office/drawing/2014/main" id="{BC6A9C01-CA71-7A18-5B5A-001370E7AE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5992" y="4273352"/>
              <a:ext cx="283531" cy="102918"/>
            </a:xfrm>
            <a:custGeom>
              <a:avLst/>
              <a:gdLst>
                <a:gd name="T0" fmla="*/ 17 w 839"/>
                <a:gd name="T1" fmla="*/ 303 h 303"/>
                <a:gd name="T2" fmla="*/ 11 w 839"/>
                <a:gd name="T3" fmla="*/ 302 h 303"/>
                <a:gd name="T4" fmla="*/ 3 w 839"/>
                <a:gd name="T5" fmla="*/ 282 h 303"/>
                <a:gd name="T6" fmla="*/ 426 w 839"/>
                <a:gd name="T7" fmla="*/ 0 h 303"/>
                <a:gd name="T8" fmla="*/ 835 w 839"/>
                <a:gd name="T9" fmla="*/ 250 h 303"/>
                <a:gd name="T10" fmla="*/ 828 w 839"/>
                <a:gd name="T11" fmla="*/ 270 h 303"/>
                <a:gd name="T12" fmla="*/ 808 w 839"/>
                <a:gd name="T13" fmla="*/ 263 h 303"/>
                <a:gd name="T14" fmla="*/ 426 w 839"/>
                <a:gd name="T15" fmla="*/ 30 h 303"/>
                <a:gd name="T16" fmla="*/ 31 w 839"/>
                <a:gd name="T17" fmla="*/ 294 h 303"/>
                <a:gd name="T18" fmla="*/ 17 w 839"/>
                <a:gd name="T19" fmla="*/ 303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9" h="303">
                  <a:moveTo>
                    <a:pt x="17" y="303"/>
                  </a:moveTo>
                  <a:cubicBezTo>
                    <a:pt x="15" y="303"/>
                    <a:pt x="13" y="303"/>
                    <a:pt x="11" y="302"/>
                  </a:cubicBezTo>
                  <a:cubicBezTo>
                    <a:pt x="3" y="299"/>
                    <a:pt x="0" y="290"/>
                    <a:pt x="3" y="282"/>
                  </a:cubicBezTo>
                  <a:cubicBezTo>
                    <a:pt x="74" y="111"/>
                    <a:pt x="241" y="0"/>
                    <a:pt x="426" y="0"/>
                  </a:cubicBezTo>
                  <a:cubicBezTo>
                    <a:pt x="599" y="0"/>
                    <a:pt x="756" y="96"/>
                    <a:pt x="835" y="250"/>
                  </a:cubicBezTo>
                  <a:cubicBezTo>
                    <a:pt x="839" y="257"/>
                    <a:pt x="836" y="266"/>
                    <a:pt x="828" y="270"/>
                  </a:cubicBezTo>
                  <a:cubicBezTo>
                    <a:pt x="821" y="274"/>
                    <a:pt x="812" y="271"/>
                    <a:pt x="808" y="263"/>
                  </a:cubicBezTo>
                  <a:cubicBezTo>
                    <a:pt x="734" y="119"/>
                    <a:pt x="588" y="30"/>
                    <a:pt x="426" y="30"/>
                  </a:cubicBezTo>
                  <a:cubicBezTo>
                    <a:pt x="253" y="30"/>
                    <a:pt x="97" y="134"/>
                    <a:pt x="31" y="294"/>
                  </a:cubicBezTo>
                  <a:cubicBezTo>
                    <a:pt x="28" y="300"/>
                    <a:pt x="23" y="303"/>
                    <a:pt x="17" y="303"/>
                  </a:cubicBezTo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7" name="Freeform 1062">
              <a:extLst>
                <a:ext uri="{FF2B5EF4-FFF2-40B4-BE49-F238E27FC236}">
                  <a16:creationId xmlns:a16="http://schemas.microsoft.com/office/drawing/2014/main" id="{DCDA6230-4C57-0991-07B5-05AE99E79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5973" y="4400486"/>
              <a:ext cx="66594" cy="62558"/>
            </a:xfrm>
            <a:custGeom>
              <a:avLst/>
              <a:gdLst>
                <a:gd name="T0" fmla="*/ 0 w 196"/>
                <a:gd name="T1" fmla="*/ 184 h 184"/>
                <a:gd name="T2" fmla="*/ 8 w 196"/>
                <a:gd name="T3" fmla="*/ 82 h 184"/>
                <a:gd name="T4" fmla="*/ 97 w 196"/>
                <a:gd name="T5" fmla="*/ 0 h 184"/>
                <a:gd name="T6" fmla="*/ 187 w 196"/>
                <a:gd name="T7" fmla="*/ 82 h 184"/>
                <a:gd name="T8" fmla="*/ 196 w 196"/>
                <a:gd name="T9" fmla="*/ 184 h 184"/>
                <a:gd name="T10" fmla="*/ 0 w 196"/>
                <a:gd name="T11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6" h="184">
                  <a:moveTo>
                    <a:pt x="0" y="184"/>
                  </a:moveTo>
                  <a:lnTo>
                    <a:pt x="8" y="82"/>
                  </a:lnTo>
                  <a:cubicBezTo>
                    <a:pt x="12" y="37"/>
                    <a:pt x="52" y="0"/>
                    <a:pt x="97" y="0"/>
                  </a:cubicBezTo>
                  <a:cubicBezTo>
                    <a:pt x="143" y="0"/>
                    <a:pt x="183" y="37"/>
                    <a:pt x="187" y="82"/>
                  </a:cubicBezTo>
                  <a:lnTo>
                    <a:pt x="196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8" name="Freeform 1063">
              <a:extLst>
                <a:ext uri="{FF2B5EF4-FFF2-40B4-BE49-F238E27FC236}">
                  <a16:creationId xmlns:a16="http://schemas.microsoft.com/office/drawing/2014/main" id="{CD912BFE-47FF-80C2-FD2A-D5D1C095C9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1561" y="4753638"/>
              <a:ext cx="284539" cy="295638"/>
            </a:xfrm>
            <a:custGeom>
              <a:avLst/>
              <a:gdLst>
                <a:gd name="T0" fmla="*/ 170 w 844"/>
                <a:gd name="T1" fmla="*/ 33 h 874"/>
                <a:gd name="T2" fmla="*/ 103 w 844"/>
                <a:gd name="T3" fmla="*/ 2 h 874"/>
                <a:gd name="T4" fmla="*/ 86 w 844"/>
                <a:gd name="T5" fmla="*/ 0 h 874"/>
                <a:gd name="T6" fmla="*/ 86 w 844"/>
                <a:gd name="T7" fmla="*/ 8 h 874"/>
                <a:gd name="T8" fmla="*/ 45 w 844"/>
                <a:gd name="T9" fmla="*/ 200 h 874"/>
                <a:gd name="T10" fmla="*/ 166 w 844"/>
                <a:gd name="T11" fmla="*/ 629 h 874"/>
                <a:gd name="T12" fmla="*/ 197 w 844"/>
                <a:gd name="T13" fmla="*/ 808 h 874"/>
                <a:gd name="T14" fmla="*/ 282 w 844"/>
                <a:gd name="T15" fmla="*/ 824 h 874"/>
                <a:gd name="T16" fmla="*/ 844 w 844"/>
                <a:gd name="T17" fmla="*/ 855 h 874"/>
                <a:gd name="T18" fmla="*/ 170 w 844"/>
                <a:gd name="T19" fmla="*/ 33 h 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4" h="874">
                  <a:moveTo>
                    <a:pt x="170" y="33"/>
                  </a:moveTo>
                  <a:cubicBezTo>
                    <a:pt x="129" y="12"/>
                    <a:pt x="103" y="2"/>
                    <a:pt x="103" y="2"/>
                  </a:cubicBezTo>
                  <a:lnTo>
                    <a:pt x="86" y="0"/>
                  </a:lnTo>
                  <a:lnTo>
                    <a:pt x="86" y="8"/>
                  </a:lnTo>
                  <a:cubicBezTo>
                    <a:pt x="19" y="15"/>
                    <a:pt x="0" y="155"/>
                    <a:pt x="45" y="200"/>
                  </a:cubicBezTo>
                  <a:cubicBezTo>
                    <a:pt x="7" y="264"/>
                    <a:pt x="117" y="475"/>
                    <a:pt x="166" y="629"/>
                  </a:cubicBezTo>
                  <a:cubicBezTo>
                    <a:pt x="185" y="690"/>
                    <a:pt x="192" y="752"/>
                    <a:pt x="197" y="808"/>
                  </a:cubicBezTo>
                  <a:cubicBezTo>
                    <a:pt x="219" y="813"/>
                    <a:pt x="248" y="818"/>
                    <a:pt x="282" y="824"/>
                  </a:cubicBezTo>
                  <a:cubicBezTo>
                    <a:pt x="419" y="847"/>
                    <a:pt x="640" y="874"/>
                    <a:pt x="844" y="855"/>
                  </a:cubicBezTo>
                  <a:cubicBezTo>
                    <a:pt x="764" y="372"/>
                    <a:pt x="338" y="116"/>
                    <a:pt x="170" y="3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0" name="Freeform 1064">
              <a:extLst>
                <a:ext uri="{FF2B5EF4-FFF2-40B4-BE49-F238E27FC236}">
                  <a16:creationId xmlns:a16="http://schemas.microsoft.com/office/drawing/2014/main" id="{443C0B6D-EC5E-E6A2-A866-50210EAB88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1561" y="4421675"/>
              <a:ext cx="1508462" cy="878843"/>
            </a:xfrm>
            <a:custGeom>
              <a:avLst/>
              <a:gdLst>
                <a:gd name="T0" fmla="*/ 170 w 4465"/>
                <a:gd name="T1" fmla="*/ 1065 h 2598"/>
                <a:gd name="T2" fmla="*/ 877 w 4465"/>
                <a:gd name="T3" fmla="*/ 196 h 2598"/>
                <a:gd name="T4" fmla="*/ 3523 w 4465"/>
                <a:gd name="T5" fmla="*/ 841 h 2598"/>
                <a:gd name="T6" fmla="*/ 3971 w 4465"/>
                <a:gd name="T7" fmla="*/ 1766 h 2598"/>
                <a:gd name="T8" fmla="*/ 618 w 4465"/>
                <a:gd name="T9" fmla="*/ 1766 h 2598"/>
                <a:gd name="T10" fmla="*/ 121 w 4465"/>
                <a:gd name="T11" fmla="*/ 1218 h 2598"/>
                <a:gd name="T12" fmla="*/ 107 w 4465"/>
                <a:gd name="T13" fmla="*/ 1125 h 2598"/>
                <a:gd name="T14" fmla="*/ 4460 w 4465"/>
                <a:gd name="T15" fmla="*/ 2363 h 2598"/>
                <a:gd name="T16" fmla="*/ 4453 w 4465"/>
                <a:gd name="T17" fmla="*/ 2333 h 2598"/>
                <a:gd name="T18" fmla="*/ 4432 w 4465"/>
                <a:gd name="T19" fmla="*/ 2273 h 2598"/>
                <a:gd name="T20" fmla="*/ 4420 w 4465"/>
                <a:gd name="T21" fmla="*/ 2244 h 2598"/>
                <a:gd name="T22" fmla="*/ 4404 w 4465"/>
                <a:gd name="T23" fmla="*/ 2211 h 2598"/>
                <a:gd name="T24" fmla="*/ 4389 w 4465"/>
                <a:gd name="T25" fmla="*/ 2184 h 2598"/>
                <a:gd name="T26" fmla="*/ 4371 w 4465"/>
                <a:gd name="T27" fmla="*/ 2153 h 2598"/>
                <a:gd name="T28" fmla="*/ 4367 w 4465"/>
                <a:gd name="T29" fmla="*/ 2147 h 2598"/>
                <a:gd name="T30" fmla="*/ 4344 w 4465"/>
                <a:gd name="T31" fmla="*/ 2111 h 2598"/>
                <a:gd name="T32" fmla="*/ 4327 w 4465"/>
                <a:gd name="T33" fmla="*/ 2085 h 2598"/>
                <a:gd name="T34" fmla="*/ 4156 w 4465"/>
                <a:gd name="T35" fmla="*/ 1875 h 2598"/>
                <a:gd name="T36" fmla="*/ 4152 w 4465"/>
                <a:gd name="T37" fmla="*/ 1871 h 2598"/>
                <a:gd name="T38" fmla="*/ 4149 w 4465"/>
                <a:gd name="T39" fmla="*/ 1868 h 2598"/>
                <a:gd name="T40" fmla="*/ 4069 w 4465"/>
                <a:gd name="T41" fmla="*/ 1766 h 2598"/>
                <a:gd name="T42" fmla="*/ 870 w 4465"/>
                <a:gd name="T43" fmla="*/ 112 h 2598"/>
                <a:gd name="T44" fmla="*/ 86 w 4465"/>
                <a:gd name="T45" fmla="*/ 990 h 2598"/>
                <a:gd name="T46" fmla="*/ 40 w 4465"/>
                <a:gd name="T47" fmla="*/ 1194 h 2598"/>
                <a:gd name="T48" fmla="*/ 38 w 4465"/>
                <a:gd name="T49" fmla="*/ 1211 h 2598"/>
                <a:gd name="T50" fmla="*/ 41 w 4465"/>
                <a:gd name="T51" fmla="*/ 1253 h 2598"/>
                <a:gd name="T52" fmla="*/ 62 w 4465"/>
                <a:gd name="T53" fmla="*/ 1332 h 2598"/>
                <a:gd name="T54" fmla="*/ 82 w 4465"/>
                <a:gd name="T55" fmla="*/ 1388 h 2598"/>
                <a:gd name="T56" fmla="*/ 139 w 4465"/>
                <a:gd name="T57" fmla="*/ 1536 h 2598"/>
                <a:gd name="T58" fmla="*/ 153 w 4465"/>
                <a:gd name="T59" fmla="*/ 1574 h 2598"/>
                <a:gd name="T60" fmla="*/ 166 w 4465"/>
                <a:gd name="T61" fmla="*/ 1611 h 2598"/>
                <a:gd name="T62" fmla="*/ 177 w 4465"/>
                <a:gd name="T63" fmla="*/ 1653 h 2598"/>
                <a:gd name="T64" fmla="*/ 197 w 4465"/>
                <a:gd name="T65" fmla="*/ 1790 h 2598"/>
                <a:gd name="T66" fmla="*/ 206 w 4465"/>
                <a:gd name="T67" fmla="*/ 1900 h 2598"/>
                <a:gd name="T68" fmla="*/ 209 w 4465"/>
                <a:gd name="T69" fmla="*/ 1923 h 2598"/>
                <a:gd name="T70" fmla="*/ 215 w 4465"/>
                <a:gd name="T71" fmla="*/ 1947 h 2598"/>
                <a:gd name="T72" fmla="*/ 220 w 4465"/>
                <a:gd name="T73" fmla="*/ 1963 h 2598"/>
                <a:gd name="T74" fmla="*/ 230 w 4465"/>
                <a:gd name="T75" fmla="*/ 1980 h 2598"/>
                <a:gd name="T76" fmla="*/ 441 w 4465"/>
                <a:gd name="T77" fmla="*/ 2232 h 2598"/>
                <a:gd name="T78" fmla="*/ 3719 w 4465"/>
                <a:gd name="T79" fmla="*/ 2598 h 2598"/>
                <a:gd name="T80" fmla="*/ 4460 w 4465"/>
                <a:gd name="T81" fmla="*/ 2363 h 2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465" h="2598">
                  <a:moveTo>
                    <a:pt x="110" y="1072"/>
                  </a:moveTo>
                  <a:lnTo>
                    <a:pt x="170" y="1065"/>
                  </a:lnTo>
                  <a:lnTo>
                    <a:pt x="170" y="980"/>
                  </a:lnTo>
                  <a:cubicBezTo>
                    <a:pt x="168" y="906"/>
                    <a:pt x="170" y="257"/>
                    <a:pt x="877" y="196"/>
                  </a:cubicBezTo>
                  <a:cubicBezTo>
                    <a:pt x="1088" y="178"/>
                    <a:pt x="1315" y="161"/>
                    <a:pt x="1541" y="161"/>
                  </a:cubicBezTo>
                  <a:cubicBezTo>
                    <a:pt x="2317" y="161"/>
                    <a:pt x="3247" y="377"/>
                    <a:pt x="3523" y="841"/>
                  </a:cubicBezTo>
                  <a:cubicBezTo>
                    <a:pt x="3709" y="1154"/>
                    <a:pt x="3798" y="1369"/>
                    <a:pt x="3862" y="1527"/>
                  </a:cubicBezTo>
                  <a:cubicBezTo>
                    <a:pt x="3900" y="1619"/>
                    <a:pt x="3932" y="1696"/>
                    <a:pt x="3971" y="1766"/>
                  </a:cubicBezTo>
                  <a:lnTo>
                    <a:pt x="3971" y="1766"/>
                  </a:lnTo>
                  <a:lnTo>
                    <a:pt x="618" y="1766"/>
                  </a:lnTo>
                  <a:cubicBezTo>
                    <a:pt x="502" y="1470"/>
                    <a:pt x="248" y="1294"/>
                    <a:pt x="121" y="1221"/>
                  </a:cubicBezTo>
                  <a:cubicBezTo>
                    <a:pt x="121" y="1220"/>
                    <a:pt x="121" y="1219"/>
                    <a:pt x="121" y="1218"/>
                  </a:cubicBezTo>
                  <a:lnTo>
                    <a:pt x="150" y="1168"/>
                  </a:lnTo>
                  <a:lnTo>
                    <a:pt x="107" y="1125"/>
                  </a:lnTo>
                  <a:cubicBezTo>
                    <a:pt x="102" y="1113"/>
                    <a:pt x="104" y="1086"/>
                    <a:pt x="110" y="1072"/>
                  </a:cubicBezTo>
                  <a:close/>
                  <a:moveTo>
                    <a:pt x="4460" y="2363"/>
                  </a:moveTo>
                  <a:cubicBezTo>
                    <a:pt x="4460" y="2361"/>
                    <a:pt x="4459" y="2359"/>
                    <a:pt x="4459" y="2358"/>
                  </a:cubicBezTo>
                  <a:cubicBezTo>
                    <a:pt x="4457" y="2350"/>
                    <a:pt x="4455" y="2341"/>
                    <a:pt x="4453" y="2333"/>
                  </a:cubicBezTo>
                  <a:cubicBezTo>
                    <a:pt x="4453" y="2332"/>
                    <a:pt x="4452" y="2331"/>
                    <a:pt x="4452" y="2330"/>
                  </a:cubicBezTo>
                  <a:cubicBezTo>
                    <a:pt x="4447" y="2311"/>
                    <a:pt x="4440" y="2292"/>
                    <a:pt x="4432" y="2273"/>
                  </a:cubicBezTo>
                  <a:cubicBezTo>
                    <a:pt x="4431" y="2270"/>
                    <a:pt x="4430" y="2268"/>
                    <a:pt x="4429" y="2265"/>
                  </a:cubicBezTo>
                  <a:cubicBezTo>
                    <a:pt x="4426" y="2258"/>
                    <a:pt x="4423" y="2251"/>
                    <a:pt x="4420" y="2244"/>
                  </a:cubicBezTo>
                  <a:cubicBezTo>
                    <a:pt x="4419" y="2242"/>
                    <a:pt x="4418" y="2239"/>
                    <a:pt x="4416" y="2236"/>
                  </a:cubicBezTo>
                  <a:cubicBezTo>
                    <a:pt x="4412" y="2228"/>
                    <a:pt x="4408" y="2219"/>
                    <a:pt x="4404" y="2211"/>
                  </a:cubicBezTo>
                  <a:cubicBezTo>
                    <a:pt x="4402" y="2207"/>
                    <a:pt x="4400" y="2203"/>
                    <a:pt x="4398" y="2200"/>
                  </a:cubicBezTo>
                  <a:cubicBezTo>
                    <a:pt x="4395" y="2194"/>
                    <a:pt x="4392" y="2189"/>
                    <a:pt x="4389" y="2184"/>
                  </a:cubicBezTo>
                  <a:cubicBezTo>
                    <a:pt x="4387" y="2180"/>
                    <a:pt x="4385" y="2176"/>
                    <a:pt x="4382" y="2172"/>
                  </a:cubicBezTo>
                  <a:cubicBezTo>
                    <a:pt x="4379" y="2166"/>
                    <a:pt x="4375" y="2159"/>
                    <a:pt x="4371" y="2153"/>
                  </a:cubicBezTo>
                  <a:cubicBezTo>
                    <a:pt x="4370" y="2151"/>
                    <a:pt x="4369" y="2150"/>
                    <a:pt x="4368" y="2148"/>
                  </a:cubicBezTo>
                  <a:cubicBezTo>
                    <a:pt x="4368" y="2148"/>
                    <a:pt x="4368" y="2147"/>
                    <a:pt x="4367" y="2147"/>
                  </a:cubicBezTo>
                  <a:cubicBezTo>
                    <a:pt x="4362" y="2139"/>
                    <a:pt x="4357" y="2130"/>
                    <a:pt x="4352" y="2122"/>
                  </a:cubicBezTo>
                  <a:cubicBezTo>
                    <a:pt x="4350" y="2119"/>
                    <a:pt x="4347" y="2115"/>
                    <a:pt x="4344" y="2111"/>
                  </a:cubicBezTo>
                  <a:cubicBezTo>
                    <a:pt x="4342" y="2107"/>
                    <a:pt x="4339" y="2103"/>
                    <a:pt x="4337" y="2099"/>
                  </a:cubicBezTo>
                  <a:cubicBezTo>
                    <a:pt x="4333" y="2094"/>
                    <a:pt x="4330" y="2089"/>
                    <a:pt x="4327" y="2085"/>
                  </a:cubicBezTo>
                  <a:cubicBezTo>
                    <a:pt x="4325" y="2082"/>
                    <a:pt x="4323" y="2080"/>
                    <a:pt x="4322" y="2077"/>
                  </a:cubicBezTo>
                  <a:cubicBezTo>
                    <a:pt x="4252" y="1978"/>
                    <a:pt x="4178" y="1898"/>
                    <a:pt x="4156" y="1875"/>
                  </a:cubicBezTo>
                  <a:lnTo>
                    <a:pt x="4156" y="1874"/>
                  </a:lnTo>
                  <a:cubicBezTo>
                    <a:pt x="4154" y="1873"/>
                    <a:pt x="4153" y="1872"/>
                    <a:pt x="4152" y="1871"/>
                  </a:cubicBezTo>
                  <a:cubicBezTo>
                    <a:pt x="4152" y="1870"/>
                    <a:pt x="4151" y="1870"/>
                    <a:pt x="4151" y="1870"/>
                  </a:cubicBezTo>
                  <a:cubicBezTo>
                    <a:pt x="4150" y="1869"/>
                    <a:pt x="4150" y="1868"/>
                    <a:pt x="4149" y="1868"/>
                  </a:cubicBezTo>
                  <a:cubicBezTo>
                    <a:pt x="4149" y="1867"/>
                    <a:pt x="4148" y="1867"/>
                    <a:pt x="4148" y="1867"/>
                  </a:cubicBezTo>
                  <a:cubicBezTo>
                    <a:pt x="4117" y="1834"/>
                    <a:pt x="4092" y="1801"/>
                    <a:pt x="4069" y="1766"/>
                  </a:cubicBezTo>
                  <a:cubicBezTo>
                    <a:pt x="3946" y="1576"/>
                    <a:pt x="3913" y="1332"/>
                    <a:pt x="3595" y="798"/>
                  </a:cubicBezTo>
                  <a:cubicBezTo>
                    <a:pt x="3120" y="0"/>
                    <a:pt x="1698" y="41"/>
                    <a:pt x="870" y="112"/>
                  </a:cubicBezTo>
                  <a:cubicBezTo>
                    <a:pt x="89" y="180"/>
                    <a:pt x="84" y="899"/>
                    <a:pt x="86" y="982"/>
                  </a:cubicBezTo>
                  <a:lnTo>
                    <a:pt x="86" y="990"/>
                  </a:lnTo>
                  <a:cubicBezTo>
                    <a:pt x="19" y="997"/>
                    <a:pt x="0" y="1137"/>
                    <a:pt x="45" y="1182"/>
                  </a:cubicBezTo>
                  <a:cubicBezTo>
                    <a:pt x="43" y="1185"/>
                    <a:pt x="41" y="1190"/>
                    <a:pt x="40" y="1194"/>
                  </a:cubicBezTo>
                  <a:cubicBezTo>
                    <a:pt x="40" y="1195"/>
                    <a:pt x="40" y="1196"/>
                    <a:pt x="39" y="1198"/>
                  </a:cubicBezTo>
                  <a:cubicBezTo>
                    <a:pt x="39" y="1202"/>
                    <a:pt x="38" y="1206"/>
                    <a:pt x="38" y="1211"/>
                  </a:cubicBezTo>
                  <a:cubicBezTo>
                    <a:pt x="38" y="1211"/>
                    <a:pt x="37" y="1212"/>
                    <a:pt x="37" y="1213"/>
                  </a:cubicBezTo>
                  <a:cubicBezTo>
                    <a:pt x="37" y="1225"/>
                    <a:pt x="38" y="1238"/>
                    <a:pt x="41" y="1253"/>
                  </a:cubicBezTo>
                  <a:cubicBezTo>
                    <a:pt x="41" y="1254"/>
                    <a:pt x="41" y="1255"/>
                    <a:pt x="41" y="1256"/>
                  </a:cubicBezTo>
                  <a:cubicBezTo>
                    <a:pt x="46" y="1278"/>
                    <a:pt x="53" y="1304"/>
                    <a:pt x="62" y="1332"/>
                  </a:cubicBezTo>
                  <a:cubicBezTo>
                    <a:pt x="63" y="1333"/>
                    <a:pt x="63" y="1334"/>
                    <a:pt x="63" y="1335"/>
                  </a:cubicBezTo>
                  <a:cubicBezTo>
                    <a:pt x="69" y="1352"/>
                    <a:pt x="75" y="1370"/>
                    <a:pt x="82" y="1388"/>
                  </a:cubicBezTo>
                  <a:cubicBezTo>
                    <a:pt x="98" y="1430"/>
                    <a:pt x="116" y="1474"/>
                    <a:pt x="132" y="1517"/>
                  </a:cubicBezTo>
                  <a:cubicBezTo>
                    <a:pt x="134" y="1523"/>
                    <a:pt x="137" y="1530"/>
                    <a:pt x="139" y="1536"/>
                  </a:cubicBezTo>
                  <a:cubicBezTo>
                    <a:pt x="141" y="1540"/>
                    <a:pt x="142" y="1543"/>
                    <a:pt x="143" y="1546"/>
                  </a:cubicBezTo>
                  <a:cubicBezTo>
                    <a:pt x="147" y="1556"/>
                    <a:pt x="150" y="1565"/>
                    <a:pt x="153" y="1574"/>
                  </a:cubicBezTo>
                  <a:cubicBezTo>
                    <a:pt x="154" y="1576"/>
                    <a:pt x="154" y="1578"/>
                    <a:pt x="155" y="1579"/>
                  </a:cubicBezTo>
                  <a:cubicBezTo>
                    <a:pt x="159" y="1590"/>
                    <a:pt x="162" y="1601"/>
                    <a:pt x="166" y="1611"/>
                  </a:cubicBezTo>
                  <a:cubicBezTo>
                    <a:pt x="168" y="1620"/>
                    <a:pt x="171" y="1629"/>
                    <a:pt x="173" y="1638"/>
                  </a:cubicBezTo>
                  <a:cubicBezTo>
                    <a:pt x="175" y="1643"/>
                    <a:pt x="176" y="1648"/>
                    <a:pt x="177" y="1653"/>
                  </a:cubicBezTo>
                  <a:cubicBezTo>
                    <a:pt x="178" y="1656"/>
                    <a:pt x="178" y="1659"/>
                    <a:pt x="179" y="1662"/>
                  </a:cubicBezTo>
                  <a:cubicBezTo>
                    <a:pt x="189" y="1706"/>
                    <a:pt x="194" y="1750"/>
                    <a:pt x="197" y="1790"/>
                  </a:cubicBezTo>
                  <a:cubicBezTo>
                    <a:pt x="200" y="1826"/>
                    <a:pt x="202" y="1859"/>
                    <a:pt x="205" y="1888"/>
                  </a:cubicBezTo>
                  <a:cubicBezTo>
                    <a:pt x="205" y="1892"/>
                    <a:pt x="206" y="1896"/>
                    <a:pt x="206" y="1900"/>
                  </a:cubicBezTo>
                  <a:cubicBezTo>
                    <a:pt x="207" y="1904"/>
                    <a:pt x="207" y="1907"/>
                    <a:pt x="207" y="1910"/>
                  </a:cubicBezTo>
                  <a:cubicBezTo>
                    <a:pt x="208" y="1914"/>
                    <a:pt x="209" y="1919"/>
                    <a:pt x="209" y="1923"/>
                  </a:cubicBezTo>
                  <a:cubicBezTo>
                    <a:pt x="210" y="1926"/>
                    <a:pt x="210" y="1928"/>
                    <a:pt x="211" y="1930"/>
                  </a:cubicBezTo>
                  <a:cubicBezTo>
                    <a:pt x="212" y="1936"/>
                    <a:pt x="213" y="1942"/>
                    <a:pt x="215" y="1947"/>
                  </a:cubicBezTo>
                  <a:cubicBezTo>
                    <a:pt x="215" y="1949"/>
                    <a:pt x="216" y="1951"/>
                    <a:pt x="216" y="1952"/>
                  </a:cubicBezTo>
                  <a:cubicBezTo>
                    <a:pt x="218" y="1956"/>
                    <a:pt x="219" y="1960"/>
                    <a:pt x="220" y="1963"/>
                  </a:cubicBezTo>
                  <a:cubicBezTo>
                    <a:pt x="221" y="1965"/>
                    <a:pt x="222" y="1966"/>
                    <a:pt x="222" y="1968"/>
                  </a:cubicBezTo>
                  <a:cubicBezTo>
                    <a:pt x="225" y="1972"/>
                    <a:pt x="227" y="1977"/>
                    <a:pt x="230" y="1980"/>
                  </a:cubicBezTo>
                  <a:cubicBezTo>
                    <a:pt x="271" y="2033"/>
                    <a:pt x="425" y="2007"/>
                    <a:pt x="489" y="2097"/>
                  </a:cubicBezTo>
                  <a:cubicBezTo>
                    <a:pt x="554" y="2187"/>
                    <a:pt x="441" y="2232"/>
                    <a:pt x="441" y="2232"/>
                  </a:cubicBezTo>
                  <a:cubicBezTo>
                    <a:pt x="441" y="2232"/>
                    <a:pt x="354" y="2583"/>
                    <a:pt x="764" y="2598"/>
                  </a:cubicBezTo>
                  <a:cubicBezTo>
                    <a:pt x="1525" y="2492"/>
                    <a:pt x="3719" y="2598"/>
                    <a:pt x="3719" y="2598"/>
                  </a:cubicBezTo>
                  <a:lnTo>
                    <a:pt x="4465" y="2391"/>
                  </a:lnTo>
                  <a:cubicBezTo>
                    <a:pt x="4464" y="2381"/>
                    <a:pt x="4462" y="2372"/>
                    <a:pt x="4460" y="2363"/>
                  </a:cubicBezTo>
                </a:path>
              </a:pathLst>
            </a:custGeom>
            <a:solidFill>
              <a:srgbClr val="00A9F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1" name="Freeform 1065">
              <a:extLst>
                <a:ext uri="{FF2B5EF4-FFF2-40B4-BE49-F238E27FC236}">
                  <a16:creationId xmlns:a16="http://schemas.microsoft.com/office/drawing/2014/main" id="{7B78A6C8-6175-DDBD-C9F4-89C9AF4AB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0823" y="5156230"/>
              <a:ext cx="255278" cy="255278"/>
            </a:xfrm>
            <a:custGeom>
              <a:avLst/>
              <a:gdLst>
                <a:gd name="T0" fmla="*/ 754 w 757"/>
                <a:gd name="T1" fmla="*/ 332 h 756"/>
                <a:gd name="T2" fmla="*/ 500 w 757"/>
                <a:gd name="T3" fmla="*/ 20 h 756"/>
                <a:gd name="T4" fmla="*/ 378 w 757"/>
                <a:gd name="T5" fmla="*/ 0 h 756"/>
                <a:gd name="T6" fmla="*/ 0 w 757"/>
                <a:gd name="T7" fmla="*/ 378 h 756"/>
                <a:gd name="T8" fmla="*/ 378 w 757"/>
                <a:gd name="T9" fmla="*/ 756 h 756"/>
                <a:gd name="T10" fmla="*/ 757 w 757"/>
                <a:gd name="T11" fmla="*/ 378 h 756"/>
                <a:gd name="T12" fmla="*/ 754 w 757"/>
                <a:gd name="T13" fmla="*/ 332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7" h="756">
                  <a:moveTo>
                    <a:pt x="754" y="332"/>
                  </a:moveTo>
                  <a:cubicBezTo>
                    <a:pt x="736" y="186"/>
                    <a:pt x="635" y="66"/>
                    <a:pt x="500" y="20"/>
                  </a:cubicBezTo>
                  <a:cubicBezTo>
                    <a:pt x="462" y="7"/>
                    <a:pt x="421" y="0"/>
                    <a:pt x="378" y="0"/>
                  </a:cubicBezTo>
                  <a:cubicBezTo>
                    <a:pt x="170" y="0"/>
                    <a:pt x="0" y="169"/>
                    <a:pt x="0" y="378"/>
                  </a:cubicBezTo>
                  <a:cubicBezTo>
                    <a:pt x="0" y="587"/>
                    <a:pt x="170" y="756"/>
                    <a:pt x="378" y="756"/>
                  </a:cubicBezTo>
                  <a:cubicBezTo>
                    <a:pt x="587" y="756"/>
                    <a:pt x="757" y="587"/>
                    <a:pt x="757" y="378"/>
                  </a:cubicBezTo>
                  <a:cubicBezTo>
                    <a:pt x="757" y="362"/>
                    <a:pt x="755" y="347"/>
                    <a:pt x="754" y="33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2" name="Freeform 1066">
              <a:extLst>
                <a:ext uri="{FF2B5EF4-FFF2-40B4-BE49-F238E27FC236}">
                  <a16:creationId xmlns:a16="http://schemas.microsoft.com/office/drawing/2014/main" id="{DD10E2A7-F267-D8F0-3E37-4741EEB59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6407" y="5221815"/>
              <a:ext cx="124108" cy="124108"/>
            </a:xfrm>
            <a:custGeom>
              <a:avLst/>
              <a:gdLst>
                <a:gd name="T0" fmla="*/ 357 w 367"/>
                <a:gd name="T1" fmla="*/ 124 h 366"/>
                <a:gd name="T2" fmla="*/ 245 w 367"/>
                <a:gd name="T3" fmla="*/ 10 h 366"/>
                <a:gd name="T4" fmla="*/ 183 w 367"/>
                <a:gd name="T5" fmla="*/ 0 h 366"/>
                <a:gd name="T6" fmla="*/ 0 w 367"/>
                <a:gd name="T7" fmla="*/ 183 h 366"/>
                <a:gd name="T8" fmla="*/ 183 w 367"/>
                <a:gd name="T9" fmla="*/ 366 h 366"/>
                <a:gd name="T10" fmla="*/ 367 w 367"/>
                <a:gd name="T11" fmla="*/ 183 h 366"/>
                <a:gd name="T12" fmla="*/ 357 w 367"/>
                <a:gd name="T13" fmla="*/ 12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7" h="366">
                  <a:moveTo>
                    <a:pt x="357" y="124"/>
                  </a:moveTo>
                  <a:cubicBezTo>
                    <a:pt x="339" y="71"/>
                    <a:pt x="297" y="29"/>
                    <a:pt x="245" y="10"/>
                  </a:cubicBezTo>
                  <a:cubicBezTo>
                    <a:pt x="225" y="4"/>
                    <a:pt x="205" y="0"/>
                    <a:pt x="183" y="0"/>
                  </a:cubicBezTo>
                  <a:cubicBezTo>
                    <a:pt x="82" y="0"/>
                    <a:pt x="0" y="82"/>
                    <a:pt x="0" y="183"/>
                  </a:cubicBezTo>
                  <a:cubicBezTo>
                    <a:pt x="0" y="284"/>
                    <a:pt x="82" y="366"/>
                    <a:pt x="183" y="366"/>
                  </a:cubicBezTo>
                  <a:cubicBezTo>
                    <a:pt x="285" y="366"/>
                    <a:pt x="367" y="284"/>
                    <a:pt x="367" y="183"/>
                  </a:cubicBezTo>
                  <a:cubicBezTo>
                    <a:pt x="367" y="162"/>
                    <a:pt x="363" y="143"/>
                    <a:pt x="357" y="124"/>
                  </a:cubicBezTo>
                </a:path>
              </a:pathLst>
            </a:custGeom>
            <a:solidFill>
              <a:srgbClr val="D0D0D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3" name="Freeform 1067">
              <a:extLst>
                <a:ext uri="{FF2B5EF4-FFF2-40B4-BE49-F238E27FC236}">
                  <a16:creationId xmlns:a16="http://schemas.microsoft.com/office/drawing/2014/main" id="{1C71E774-9D68-8DD2-34F1-1D02419D8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1898" y="5156230"/>
              <a:ext cx="256287" cy="255278"/>
            </a:xfrm>
            <a:custGeom>
              <a:avLst/>
              <a:gdLst>
                <a:gd name="T0" fmla="*/ 548 w 757"/>
                <a:gd name="T1" fmla="*/ 40 h 756"/>
                <a:gd name="T2" fmla="*/ 378 w 757"/>
                <a:gd name="T3" fmla="*/ 0 h 756"/>
                <a:gd name="T4" fmla="*/ 4 w 757"/>
                <a:gd name="T5" fmla="*/ 326 h 756"/>
                <a:gd name="T6" fmla="*/ 0 w 757"/>
                <a:gd name="T7" fmla="*/ 378 h 756"/>
                <a:gd name="T8" fmla="*/ 378 w 757"/>
                <a:gd name="T9" fmla="*/ 756 h 756"/>
                <a:gd name="T10" fmla="*/ 757 w 757"/>
                <a:gd name="T11" fmla="*/ 378 h 756"/>
                <a:gd name="T12" fmla="*/ 548 w 757"/>
                <a:gd name="T13" fmla="*/ 40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7" h="756">
                  <a:moveTo>
                    <a:pt x="548" y="40"/>
                  </a:moveTo>
                  <a:cubicBezTo>
                    <a:pt x="497" y="14"/>
                    <a:pt x="439" y="0"/>
                    <a:pt x="378" y="0"/>
                  </a:cubicBezTo>
                  <a:cubicBezTo>
                    <a:pt x="187" y="0"/>
                    <a:pt x="30" y="142"/>
                    <a:pt x="4" y="326"/>
                  </a:cubicBezTo>
                  <a:cubicBezTo>
                    <a:pt x="2" y="343"/>
                    <a:pt x="0" y="360"/>
                    <a:pt x="0" y="378"/>
                  </a:cubicBezTo>
                  <a:cubicBezTo>
                    <a:pt x="0" y="587"/>
                    <a:pt x="170" y="756"/>
                    <a:pt x="378" y="756"/>
                  </a:cubicBezTo>
                  <a:cubicBezTo>
                    <a:pt x="587" y="756"/>
                    <a:pt x="757" y="587"/>
                    <a:pt x="757" y="378"/>
                  </a:cubicBezTo>
                  <a:cubicBezTo>
                    <a:pt x="757" y="230"/>
                    <a:pt x="671" y="102"/>
                    <a:pt x="548" y="4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4" name="Freeform 1068">
              <a:extLst>
                <a:ext uri="{FF2B5EF4-FFF2-40B4-BE49-F238E27FC236}">
                  <a16:creationId xmlns:a16="http://schemas.microsoft.com/office/drawing/2014/main" id="{5BD33044-4426-8252-E5AA-3253CC1284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8492" y="5221815"/>
              <a:ext cx="124108" cy="124108"/>
            </a:xfrm>
            <a:custGeom>
              <a:avLst/>
              <a:gdLst>
                <a:gd name="T0" fmla="*/ 244 w 367"/>
                <a:gd name="T1" fmla="*/ 10 h 366"/>
                <a:gd name="T2" fmla="*/ 183 w 367"/>
                <a:gd name="T3" fmla="*/ 0 h 366"/>
                <a:gd name="T4" fmla="*/ 42 w 367"/>
                <a:gd name="T5" fmla="*/ 66 h 366"/>
                <a:gd name="T6" fmla="*/ 0 w 367"/>
                <a:gd name="T7" fmla="*/ 183 h 366"/>
                <a:gd name="T8" fmla="*/ 183 w 367"/>
                <a:gd name="T9" fmla="*/ 366 h 366"/>
                <a:gd name="T10" fmla="*/ 367 w 367"/>
                <a:gd name="T11" fmla="*/ 183 h 366"/>
                <a:gd name="T12" fmla="*/ 244 w 367"/>
                <a:gd name="T13" fmla="*/ 1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7" h="366">
                  <a:moveTo>
                    <a:pt x="244" y="10"/>
                  </a:moveTo>
                  <a:cubicBezTo>
                    <a:pt x="225" y="3"/>
                    <a:pt x="205" y="0"/>
                    <a:pt x="183" y="0"/>
                  </a:cubicBezTo>
                  <a:cubicBezTo>
                    <a:pt x="127" y="0"/>
                    <a:pt x="76" y="26"/>
                    <a:pt x="42" y="66"/>
                  </a:cubicBezTo>
                  <a:cubicBezTo>
                    <a:pt x="16" y="98"/>
                    <a:pt x="0" y="138"/>
                    <a:pt x="0" y="183"/>
                  </a:cubicBezTo>
                  <a:cubicBezTo>
                    <a:pt x="0" y="284"/>
                    <a:pt x="82" y="366"/>
                    <a:pt x="183" y="366"/>
                  </a:cubicBezTo>
                  <a:cubicBezTo>
                    <a:pt x="285" y="366"/>
                    <a:pt x="367" y="284"/>
                    <a:pt x="367" y="183"/>
                  </a:cubicBezTo>
                  <a:cubicBezTo>
                    <a:pt x="367" y="103"/>
                    <a:pt x="315" y="35"/>
                    <a:pt x="244" y="10"/>
                  </a:cubicBezTo>
                </a:path>
              </a:pathLst>
            </a:custGeom>
            <a:solidFill>
              <a:srgbClr val="D0D0D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5" name="Freeform 1069">
              <a:extLst>
                <a:ext uri="{FF2B5EF4-FFF2-40B4-BE49-F238E27FC236}">
                  <a16:creationId xmlns:a16="http://schemas.microsoft.com/office/drawing/2014/main" id="{F4A0E570-5C47-A910-301C-658A7989A8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0912" y="4921132"/>
              <a:ext cx="61550" cy="129153"/>
            </a:xfrm>
            <a:custGeom>
              <a:avLst/>
              <a:gdLst>
                <a:gd name="T0" fmla="*/ 105 w 183"/>
                <a:gd name="T1" fmla="*/ 40 h 381"/>
                <a:gd name="T2" fmla="*/ 0 w 183"/>
                <a:gd name="T3" fmla="*/ 0 h 381"/>
                <a:gd name="T4" fmla="*/ 49 w 183"/>
                <a:gd name="T5" fmla="*/ 134 h 381"/>
                <a:gd name="T6" fmla="*/ 85 w 183"/>
                <a:gd name="T7" fmla="*/ 381 h 381"/>
                <a:gd name="T8" fmla="*/ 162 w 183"/>
                <a:gd name="T9" fmla="*/ 288 h 381"/>
                <a:gd name="T10" fmla="*/ 177 w 183"/>
                <a:gd name="T11" fmla="*/ 219 h 381"/>
                <a:gd name="T12" fmla="*/ 105 w 183"/>
                <a:gd name="T13" fmla="*/ 40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381">
                  <a:moveTo>
                    <a:pt x="105" y="40"/>
                  </a:moveTo>
                  <a:cubicBezTo>
                    <a:pt x="75" y="18"/>
                    <a:pt x="39" y="5"/>
                    <a:pt x="0" y="0"/>
                  </a:cubicBezTo>
                  <a:cubicBezTo>
                    <a:pt x="17" y="46"/>
                    <a:pt x="35" y="92"/>
                    <a:pt x="49" y="134"/>
                  </a:cubicBezTo>
                  <a:cubicBezTo>
                    <a:pt x="76" y="221"/>
                    <a:pt x="80" y="310"/>
                    <a:pt x="85" y="381"/>
                  </a:cubicBezTo>
                  <a:cubicBezTo>
                    <a:pt x="114" y="363"/>
                    <a:pt x="144" y="333"/>
                    <a:pt x="162" y="288"/>
                  </a:cubicBezTo>
                  <a:cubicBezTo>
                    <a:pt x="170" y="268"/>
                    <a:pt x="175" y="245"/>
                    <a:pt x="177" y="219"/>
                  </a:cubicBezTo>
                  <a:cubicBezTo>
                    <a:pt x="183" y="134"/>
                    <a:pt x="153" y="76"/>
                    <a:pt x="105" y="4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6" name="Freeform 1070">
              <a:extLst>
                <a:ext uri="{FF2B5EF4-FFF2-40B4-BE49-F238E27FC236}">
                  <a16:creationId xmlns:a16="http://schemas.microsoft.com/office/drawing/2014/main" id="{F04B6365-1475-BE06-1E5D-1772C5C40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8762" y="5053312"/>
              <a:ext cx="108973" cy="95856"/>
            </a:xfrm>
            <a:custGeom>
              <a:avLst/>
              <a:gdLst>
                <a:gd name="T0" fmla="*/ 102 w 322"/>
                <a:gd name="T1" fmla="*/ 0 h 286"/>
                <a:gd name="T2" fmla="*/ 46 w 322"/>
                <a:gd name="T3" fmla="*/ 63 h 286"/>
                <a:gd name="T4" fmla="*/ 93 w 322"/>
                <a:gd name="T5" fmla="*/ 239 h 286"/>
                <a:gd name="T6" fmla="*/ 223 w 322"/>
                <a:gd name="T7" fmla="*/ 282 h 286"/>
                <a:gd name="T8" fmla="*/ 322 w 322"/>
                <a:gd name="T9" fmla="*/ 281 h 286"/>
                <a:gd name="T10" fmla="*/ 102 w 322"/>
                <a:gd name="T11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2" h="286">
                  <a:moveTo>
                    <a:pt x="102" y="0"/>
                  </a:moveTo>
                  <a:cubicBezTo>
                    <a:pt x="102" y="0"/>
                    <a:pt x="70" y="26"/>
                    <a:pt x="46" y="63"/>
                  </a:cubicBezTo>
                  <a:cubicBezTo>
                    <a:pt x="16" y="112"/>
                    <a:pt x="0" y="180"/>
                    <a:pt x="93" y="239"/>
                  </a:cubicBezTo>
                  <a:cubicBezTo>
                    <a:pt x="135" y="265"/>
                    <a:pt x="180" y="278"/>
                    <a:pt x="223" y="282"/>
                  </a:cubicBezTo>
                  <a:cubicBezTo>
                    <a:pt x="258" y="286"/>
                    <a:pt x="291" y="285"/>
                    <a:pt x="322" y="281"/>
                  </a:cubicBezTo>
                  <a:cubicBezTo>
                    <a:pt x="229" y="128"/>
                    <a:pt x="102" y="0"/>
                    <a:pt x="10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7" name="Freeform 1071">
              <a:extLst>
                <a:ext uri="{FF2B5EF4-FFF2-40B4-BE49-F238E27FC236}">
                  <a16:creationId xmlns:a16="http://schemas.microsoft.com/office/drawing/2014/main" id="{D4CB242F-7943-50E9-4B97-10C53EBF2D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5452" y="5019005"/>
              <a:ext cx="761799" cy="245188"/>
            </a:xfrm>
            <a:custGeom>
              <a:avLst/>
              <a:gdLst>
                <a:gd name="T0" fmla="*/ 2236 w 2253"/>
                <a:gd name="T1" fmla="*/ 0 h 727"/>
                <a:gd name="T2" fmla="*/ 7 w 2253"/>
                <a:gd name="T3" fmla="*/ 0 h 727"/>
                <a:gd name="T4" fmla="*/ 0 w 2253"/>
                <a:gd name="T5" fmla="*/ 187 h 727"/>
                <a:gd name="T6" fmla="*/ 598 w 2253"/>
                <a:gd name="T7" fmla="*/ 702 h 727"/>
                <a:gd name="T8" fmla="*/ 907 w 2253"/>
                <a:gd name="T9" fmla="*/ 727 h 727"/>
                <a:gd name="T10" fmla="*/ 1297 w 2253"/>
                <a:gd name="T11" fmla="*/ 706 h 727"/>
                <a:gd name="T12" fmla="*/ 2253 w 2253"/>
                <a:gd name="T13" fmla="*/ 187 h 727"/>
                <a:gd name="T14" fmla="*/ 2236 w 2253"/>
                <a:gd name="T15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53" h="727">
                  <a:moveTo>
                    <a:pt x="2236" y="0"/>
                  </a:moveTo>
                  <a:lnTo>
                    <a:pt x="7" y="0"/>
                  </a:lnTo>
                  <a:cubicBezTo>
                    <a:pt x="2" y="55"/>
                    <a:pt x="0" y="117"/>
                    <a:pt x="0" y="187"/>
                  </a:cubicBezTo>
                  <a:cubicBezTo>
                    <a:pt x="0" y="429"/>
                    <a:pt x="199" y="634"/>
                    <a:pt x="598" y="702"/>
                  </a:cubicBezTo>
                  <a:cubicBezTo>
                    <a:pt x="690" y="718"/>
                    <a:pt x="793" y="727"/>
                    <a:pt x="907" y="727"/>
                  </a:cubicBezTo>
                  <a:cubicBezTo>
                    <a:pt x="1045" y="727"/>
                    <a:pt x="1176" y="719"/>
                    <a:pt x="1297" y="706"/>
                  </a:cubicBezTo>
                  <a:cubicBezTo>
                    <a:pt x="1881" y="642"/>
                    <a:pt x="2253" y="433"/>
                    <a:pt x="2253" y="187"/>
                  </a:cubicBezTo>
                  <a:cubicBezTo>
                    <a:pt x="2253" y="116"/>
                    <a:pt x="2247" y="54"/>
                    <a:pt x="2236" y="0"/>
                  </a:cubicBezTo>
                </a:path>
              </a:pathLst>
            </a:custGeom>
            <a:solidFill>
              <a:srgbClr val="1F40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98" name="TextBox 397">
            <a:extLst>
              <a:ext uri="{FF2B5EF4-FFF2-40B4-BE49-F238E27FC236}">
                <a16:creationId xmlns:a16="http://schemas.microsoft.com/office/drawing/2014/main" id="{7A230198-A6E1-020F-4B70-265087CFA14B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63348" y="3074825"/>
            <a:ext cx="1877992" cy="49244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utonomous Vehicles</a:t>
            </a:r>
          </a:p>
        </p:txBody>
      </p:sp>
      <p:sp>
        <p:nvSpPr>
          <p:cNvPr id="402" name="TextBox 401">
            <a:extLst>
              <a:ext uri="{FF2B5EF4-FFF2-40B4-BE49-F238E27FC236}">
                <a16:creationId xmlns:a16="http://schemas.microsoft.com/office/drawing/2014/main" id="{3154284D-50BD-44F2-FD7E-C44613925560}"/>
              </a:ext>
            </a:extLst>
          </p:cNvPr>
          <p:cNvSpPr txBox="1">
            <a:spLocks/>
          </p:cNvSpPr>
          <p:nvPr/>
        </p:nvSpPr>
        <p:spPr>
          <a:xfrm>
            <a:off x="663348" y="4999511"/>
            <a:ext cx="1877992" cy="707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  <a:sym typeface=""/>
              </a:rPr>
              <a:t>20-30%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of airport operations FTE are involved in driving tasks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"/>
            </a:endParaRPr>
          </a:p>
        </p:txBody>
      </p:sp>
      <p:grpSp>
        <p:nvGrpSpPr>
          <p:cNvPr id="403" name="Group 402">
            <a:extLst>
              <a:ext uri="{FF2B5EF4-FFF2-40B4-BE49-F238E27FC236}">
                <a16:creationId xmlns:a16="http://schemas.microsoft.com/office/drawing/2014/main" id="{2F1F2C85-DA9F-6194-38AB-4298FE32F43B}"/>
              </a:ext>
            </a:extLst>
          </p:cNvPr>
          <p:cNvGrpSpPr/>
          <p:nvPr/>
        </p:nvGrpSpPr>
        <p:grpSpPr>
          <a:xfrm>
            <a:off x="7793450" y="2410813"/>
            <a:ext cx="1098757" cy="438541"/>
            <a:chOff x="7515756" y="4580740"/>
            <a:chExt cx="1823674" cy="727870"/>
          </a:xfrm>
        </p:grpSpPr>
        <p:sp>
          <p:nvSpPr>
            <p:cNvPr id="404" name="Freeform: Shape 403">
              <a:extLst>
                <a:ext uri="{FF2B5EF4-FFF2-40B4-BE49-F238E27FC236}">
                  <a16:creationId xmlns:a16="http://schemas.microsoft.com/office/drawing/2014/main" id="{527D8B00-2DD7-2787-B612-2814B3E15A5E}"/>
                </a:ext>
              </a:extLst>
            </p:cNvPr>
            <p:cNvSpPr/>
            <p:nvPr/>
          </p:nvSpPr>
          <p:spPr>
            <a:xfrm>
              <a:off x="8400926" y="4838622"/>
              <a:ext cx="56890" cy="355561"/>
            </a:xfrm>
            <a:custGeom>
              <a:avLst/>
              <a:gdLst>
                <a:gd name="connsiteX0" fmla="*/ 63212 w 56889"/>
                <a:gd name="connsiteY0" fmla="*/ 358655 h 355561"/>
                <a:gd name="connsiteX1" fmla="*/ 63212 w 56889"/>
                <a:gd name="connsiteY1" fmla="*/ 0 h 355561"/>
                <a:gd name="connsiteX2" fmla="*/ 0 w 56889"/>
                <a:gd name="connsiteY2" fmla="*/ 0 h 355561"/>
                <a:gd name="connsiteX3" fmla="*/ 0 w 56889"/>
                <a:gd name="connsiteY3" fmla="*/ 358655 h 355561"/>
                <a:gd name="connsiteX4" fmla="*/ 63212 w 56889"/>
                <a:gd name="connsiteY4" fmla="*/ 358655 h 355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889" h="355561">
                  <a:moveTo>
                    <a:pt x="63212" y="358655"/>
                  </a:moveTo>
                  <a:lnTo>
                    <a:pt x="63212" y="0"/>
                  </a:lnTo>
                  <a:lnTo>
                    <a:pt x="0" y="0"/>
                  </a:lnTo>
                  <a:lnTo>
                    <a:pt x="0" y="358655"/>
                  </a:lnTo>
                  <a:lnTo>
                    <a:pt x="63212" y="358655"/>
                  </a:lnTo>
                  <a:close/>
                </a:path>
              </a:pathLst>
            </a:custGeom>
            <a:solidFill>
              <a:srgbClr val="7F7F7F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5" name="Freeform: Shape 404">
              <a:extLst>
                <a:ext uri="{FF2B5EF4-FFF2-40B4-BE49-F238E27FC236}">
                  <a16:creationId xmlns:a16="http://schemas.microsoft.com/office/drawing/2014/main" id="{1A88F05C-E6D4-46F0-78BB-AC310E0C4941}"/>
                </a:ext>
              </a:extLst>
            </p:cNvPr>
            <p:cNvSpPr/>
            <p:nvPr/>
          </p:nvSpPr>
          <p:spPr>
            <a:xfrm>
              <a:off x="8290595" y="4639002"/>
              <a:ext cx="277338" cy="120891"/>
            </a:xfrm>
            <a:custGeom>
              <a:avLst/>
              <a:gdLst>
                <a:gd name="connsiteX0" fmla="*/ 280893 w 277337"/>
                <a:gd name="connsiteY0" fmla="*/ 84396 h 120890"/>
                <a:gd name="connsiteX1" fmla="*/ 238226 w 277337"/>
                <a:gd name="connsiteY1" fmla="*/ 127063 h 120890"/>
                <a:gd name="connsiteX2" fmla="*/ 42667 w 277337"/>
                <a:gd name="connsiteY2" fmla="*/ 127063 h 120890"/>
                <a:gd name="connsiteX3" fmla="*/ 0 w 277337"/>
                <a:gd name="connsiteY3" fmla="*/ 84396 h 120890"/>
                <a:gd name="connsiteX4" fmla="*/ 0 w 277337"/>
                <a:gd name="connsiteY4" fmla="*/ 42667 h 120890"/>
                <a:gd name="connsiteX5" fmla="*/ 42667 w 277337"/>
                <a:gd name="connsiteY5" fmla="*/ 0 h 120890"/>
                <a:gd name="connsiteX6" fmla="*/ 238226 w 277337"/>
                <a:gd name="connsiteY6" fmla="*/ 0 h 120890"/>
                <a:gd name="connsiteX7" fmla="*/ 280893 w 277337"/>
                <a:gd name="connsiteY7" fmla="*/ 42667 h 120890"/>
                <a:gd name="connsiteX8" fmla="*/ 280893 w 277337"/>
                <a:gd name="connsiteY8" fmla="*/ 84396 h 120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7337" h="120890">
                  <a:moveTo>
                    <a:pt x="280893" y="84396"/>
                  </a:moveTo>
                  <a:cubicBezTo>
                    <a:pt x="280893" y="107955"/>
                    <a:pt x="261793" y="127063"/>
                    <a:pt x="238226" y="127063"/>
                  </a:cubicBezTo>
                  <a:lnTo>
                    <a:pt x="42667" y="127063"/>
                  </a:lnTo>
                  <a:cubicBezTo>
                    <a:pt x="19108" y="127063"/>
                    <a:pt x="0" y="107955"/>
                    <a:pt x="0" y="84396"/>
                  </a:cubicBezTo>
                  <a:lnTo>
                    <a:pt x="0" y="42667"/>
                  </a:lnTo>
                  <a:cubicBezTo>
                    <a:pt x="0" y="19101"/>
                    <a:pt x="19108" y="0"/>
                    <a:pt x="42667" y="0"/>
                  </a:cubicBezTo>
                  <a:lnTo>
                    <a:pt x="238226" y="0"/>
                  </a:lnTo>
                  <a:cubicBezTo>
                    <a:pt x="261793" y="0"/>
                    <a:pt x="280893" y="19101"/>
                    <a:pt x="280893" y="42667"/>
                  </a:cubicBezTo>
                  <a:lnTo>
                    <a:pt x="280893" y="84396"/>
                  </a:lnTo>
                  <a:close/>
                </a:path>
              </a:pathLst>
            </a:custGeom>
            <a:solidFill>
              <a:srgbClr val="B3B3B3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6" name="Freeform: Shape 405">
              <a:extLst>
                <a:ext uri="{FF2B5EF4-FFF2-40B4-BE49-F238E27FC236}">
                  <a16:creationId xmlns:a16="http://schemas.microsoft.com/office/drawing/2014/main" id="{DE999C9F-ECB7-C06D-2F02-0308449CD0C1}"/>
                </a:ext>
              </a:extLst>
            </p:cNvPr>
            <p:cNvSpPr/>
            <p:nvPr/>
          </p:nvSpPr>
          <p:spPr>
            <a:xfrm>
              <a:off x="8479042" y="4639002"/>
              <a:ext cx="92446" cy="120891"/>
            </a:xfrm>
            <a:custGeom>
              <a:avLst/>
              <a:gdLst>
                <a:gd name="connsiteX0" fmla="*/ 49779 w 92445"/>
                <a:gd name="connsiteY0" fmla="*/ 0 h 120890"/>
                <a:gd name="connsiteX1" fmla="*/ 0 w 92445"/>
                <a:gd name="connsiteY1" fmla="*/ 0 h 120890"/>
                <a:gd name="connsiteX2" fmla="*/ 42667 w 92445"/>
                <a:gd name="connsiteY2" fmla="*/ 42667 h 120890"/>
                <a:gd name="connsiteX3" fmla="*/ 42667 w 92445"/>
                <a:gd name="connsiteY3" fmla="*/ 84396 h 120890"/>
                <a:gd name="connsiteX4" fmla="*/ 0 w 92445"/>
                <a:gd name="connsiteY4" fmla="*/ 127063 h 120890"/>
                <a:gd name="connsiteX5" fmla="*/ 49779 w 92445"/>
                <a:gd name="connsiteY5" fmla="*/ 127063 h 120890"/>
                <a:gd name="connsiteX6" fmla="*/ 92446 w 92445"/>
                <a:gd name="connsiteY6" fmla="*/ 84396 h 120890"/>
                <a:gd name="connsiteX7" fmla="*/ 92446 w 92445"/>
                <a:gd name="connsiteY7" fmla="*/ 42667 h 120890"/>
                <a:gd name="connsiteX8" fmla="*/ 49779 w 92445"/>
                <a:gd name="connsiteY8" fmla="*/ 0 h 120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445" h="120890">
                  <a:moveTo>
                    <a:pt x="49779" y="0"/>
                  </a:moveTo>
                  <a:lnTo>
                    <a:pt x="0" y="0"/>
                  </a:lnTo>
                  <a:cubicBezTo>
                    <a:pt x="23567" y="0"/>
                    <a:pt x="42667" y="19101"/>
                    <a:pt x="42667" y="42667"/>
                  </a:cubicBezTo>
                  <a:lnTo>
                    <a:pt x="42667" y="84396"/>
                  </a:lnTo>
                  <a:cubicBezTo>
                    <a:pt x="42667" y="107955"/>
                    <a:pt x="23567" y="127063"/>
                    <a:pt x="0" y="127063"/>
                  </a:cubicBezTo>
                  <a:lnTo>
                    <a:pt x="49779" y="127063"/>
                  </a:lnTo>
                  <a:cubicBezTo>
                    <a:pt x="73345" y="127063"/>
                    <a:pt x="92446" y="107955"/>
                    <a:pt x="92446" y="84396"/>
                  </a:cubicBezTo>
                  <a:lnTo>
                    <a:pt x="92446" y="42667"/>
                  </a:lnTo>
                  <a:cubicBezTo>
                    <a:pt x="92446" y="19101"/>
                    <a:pt x="73345" y="0"/>
                    <a:pt x="49779" y="0"/>
                  </a:cubicBezTo>
                  <a:close/>
                </a:path>
              </a:pathLst>
            </a:custGeom>
            <a:solidFill>
              <a:srgbClr val="7F7F7F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7" name="Freeform: Shape 406">
              <a:extLst>
                <a:ext uri="{FF2B5EF4-FFF2-40B4-BE49-F238E27FC236}">
                  <a16:creationId xmlns:a16="http://schemas.microsoft.com/office/drawing/2014/main" id="{143DF3FB-ECDB-9FF8-103F-4628D7BE2A6F}"/>
                </a:ext>
              </a:extLst>
            </p:cNvPr>
            <p:cNvSpPr/>
            <p:nvPr/>
          </p:nvSpPr>
          <p:spPr>
            <a:xfrm>
              <a:off x="7949235" y="4789291"/>
              <a:ext cx="960015" cy="56890"/>
            </a:xfrm>
            <a:custGeom>
              <a:avLst/>
              <a:gdLst>
                <a:gd name="connsiteX0" fmla="*/ 966608 w 960015"/>
                <a:gd name="connsiteY0" fmla="*/ 0 h 56889"/>
                <a:gd name="connsiteX1" fmla="*/ 0 w 960015"/>
                <a:gd name="connsiteY1" fmla="*/ 0 h 56889"/>
                <a:gd name="connsiteX2" fmla="*/ 0 w 960015"/>
                <a:gd name="connsiteY2" fmla="*/ 63212 h 56889"/>
                <a:gd name="connsiteX3" fmla="*/ 966608 w 960015"/>
                <a:gd name="connsiteY3" fmla="*/ 63212 h 56889"/>
                <a:gd name="connsiteX4" fmla="*/ 966608 w 960015"/>
                <a:gd name="connsiteY4" fmla="*/ 0 h 56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0015" h="56889">
                  <a:moveTo>
                    <a:pt x="966608" y="0"/>
                  </a:moveTo>
                  <a:lnTo>
                    <a:pt x="0" y="0"/>
                  </a:lnTo>
                  <a:lnTo>
                    <a:pt x="0" y="63212"/>
                  </a:lnTo>
                  <a:lnTo>
                    <a:pt x="966608" y="63212"/>
                  </a:lnTo>
                  <a:lnTo>
                    <a:pt x="966608" y="0"/>
                  </a:lnTo>
                  <a:close/>
                </a:path>
              </a:pathLst>
            </a:custGeom>
            <a:solidFill>
              <a:srgbClr val="7F7F7F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8" name="Freeform: Shape 407">
              <a:extLst>
                <a:ext uri="{FF2B5EF4-FFF2-40B4-BE49-F238E27FC236}">
                  <a16:creationId xmlns:a16="http://schemas.microsoft.com/office/drawing/2014/main" id="{624348AE-1B3B-4E67-7E7F-11C5FE70148C}"/>
                </a:ext>
              </a:extLst>
            </p:cNvPr>
            <p:cNvSpPr/>
            <p:nvPr/>
          </p:nvSpPr>
          <p:spPr>
            <a:xfrm>
              <a:off x="8213972" y="4708515"/>
              <a:ext cx="426673" cy="284449"/>
            </a:xfrm>
            <a:custGeom>
              <a:avLst/>
              <a:gdLst>
                <a:gd name="connsiteX0" fmla="*/ 431168 w 426673"/>
                <a:gd name="connsiteY0" fmla="*/ 243545 h 284449"/>
                <a:gd name="connsiteX1" fmla="*/ 388500 w 426673"/>
                <a:gd name="connsiteY1" fmla="*/ 286213 h 284449"/>
                <a:gd name="connsiteX2" fmla="*/ 42660 w 426673"/>
                <a:gd name="connsiteY2" fmla="*/ 286213 h 284449"/>
                <a:gd name="connsiteX3" fmla="*/ 0 w 426673"/>
                <a:gd name="connsiteY3" fmla="*/ 243545 h 284449"/>
                <a:gd name="connsiteX4" fmla="*/ 0 w 426673"/>
                <a:gd name="connsiteY4" fmla="*/ 42667 h 284449"/>
                <a:gd name="connsiteX5" fmla="*/ 42660 w 426673"/>
                <a:gd name="connsiteY5" fmla="*/ 0 h 284449"/>
                <a:gd name="connsiteX6" fmla="*/ 388500 w 426673"/>
                <a:gd name="connsiteY6" fmla="*/ 0 h 284449"/>
                <a:gd name="connsiteX7" fmla="*/ 431168 w 426673"/>
                <a:gd name="connsiteY7" fmla="*/ 42667 h 284449"/>
                <a:gd name="connsiteX8" fmla="*/ 431168 w 426673"/>
                <a:gd name="connsiteY8" fmla="*/ 243545 h 284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6673" h="284449">
                  <a:moveTo>
                    <a:pt x="431168" y="243545"/>
                  </a:moveTo>
                  <a:cubicBezTo>
                    <a:pt x="431168" y="267112"/>
                    <a:pt x="412060" y="286213"/>
                    <a:pt x="388500" y="286213"/>
                  </a:cubicBezTo>
                  <a:lnTo>
                    <a:pt x="42660" y="286213"/>
                  </a:lnTo>
                  <a:cubicBezTo>
                    <a:pt x="19108" y="286213"/>
                    <a:pt x="0" y="267112"/>
                    <a:pt x="0" y="243545"/>
                  </a:cubicBezTo>
                  <a:lnTo>
                    <a:pt x="0" y="42667"/>
                  </a:lnTo>
                  <a:cubicBezTo>
                    <a:pt x="0" y="19101"/>
                    <a:pt x="19108" y="0"/>
                    <a:pt x="42660" y="0"/>
                  </a:cubicBezTo>
                  <a:lnTo>
                    <a:pt x="388500" y="0"/>
                  </a:lnTo>
                  <a:cubicBezTo>
                    <a:pt x="412060" y="0"/>
                    <a:pt x="431168" y="19101"/>
                    <a:pt x="431168" y="42667"/>
                  </a:cubicBezTo>
                  <a:lnTo>
                    <a:pt x="431168" y="243545"/>
                  </a:lnTo>
                  <a:close/>
                </a:path>
              </a:pathLst>
            </a:custGeom>
            <a:solidFill>
              <a:schemeClr val="accent1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9" name="Freeform: Shape 408">
              <a:extLst>
                <a:ext uri="{FF2B5EF4-FFF2-40B4-BE49-F238E27FC236}">
                  <a16:creationId xmlns:a16="http://schemas.microsoft.com/office/drawing/2014/main" id="{7572C744-A48B-26DA-6089-B41C00AB881C}"/>
                </a:ext>
              </a:extLst>
            </p:cNvPr>
            <p:cNvSpPr/>
            <p:nvPr/>
          </p:nvSpPr>
          <p:spPr>
            <a:xfrm>
              <a:off x="8213972" y="4907152"/>
              <a:ext cx="426673" cy="35556"/>
            </a:xfrm>
            <a:custGeom>
              <a:avLst/>
              <a:gdLst>
                <a:gd name="connsiteX0" fmla="*/ 0 w 426673"/>
                <a:gd name="connsiteY0" fmla="*/ 0 h 35556"/>
                <a:gd name="connsiteX1" fmla="*/ 431168 w 426673"/>
                <a:gd name="connsiteY1" fmla="*/ 0 h 35556"/>
                <a:gd name="connsiteX2" fmla="*/ 431168 w 426673"/>
                <a:gd name="connsiteY2" fmla="*/ 35563 h 35556"/>
                <a:gd name="connsiteX3" fmla="*/ 0 w 426673"/>
                <a:gd name="connsiteY3" fmla="*/ 35563 h 35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6673" h="35556">
                  <a:moveTo>
                    <a:pt x="0" y="0"/>
                  </a:moveTo>
                  <a:lnTo>
                    <a:pt x="431168" y="0"/>
                  </a:lnTo>
                  <a:lnTo>
                    <a:pt x="431168" y="35563"/>
                  </a:lnTo>
                  <a:lnTo>
                    <a:pt x="0" y="35563"/>
                  </a:lnTo>
                  <a:close/>
                </a:path>
              </a:pathLst>
            </a:custGeom>
            <a:solidFill>
              <a:schemeClr val="accent3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0" name="Freeform: Shape 409">
              <a:extLst>
                <a:ext uri="{FF2B5EF4-FFF2-40B4-BE49-F238E27FC236}">
                  <a16:creationId xmlns:a16="http://schemas.microsoft.com/office/drawing/2014/main" id="{7FE524A3-C667-F445-D5A4-56B9481D5E0F}"/>
                </a:ext>
              </a:extLst>
            </p:cNvPr>
            <p:cNvSpPr/>
            <p:nvPr/>
          </p:nvSpPr>
          <p:spPr>
            <a:xfrm>
              <a:off x="8869271" y="4742961"/>
              <a:ext cx="234670" cy="163558"/>
            </a:xfrm>
            <a:custGeom>
              <a:avLst/>
              <a:gdLst>
                <a:gd name="connsiteX0" fmla="*/ 215698 w 234670"/>
                <a:gd name="connsiteY0" fmla="*/ 125897 h 163558"/>
                <a:gd name="connsiteX1" fmla="*/ 173030 w 234670"/>
                <a:gd name="connsiteY1" fmla="*/ 168565 h 163558"/>
                <a:gd name="connsiteX2" fmla="*/ 64001 w 234670"/>
                <a:gd name="connsiteY2" fmla="*/ 168565 h 163558"/>
                <a:gd name="connsiteX3" fmla="*/ 21334 w 234670"/>
                <a:gd name="connsiteY3" fmla="*/ 125897 h 163558"/>
                <a:gd name="connsiteX4" fmla="*/ 0 w 234670"/>
                <a:gd name="connsiteY4" fmla="*/ 42667 h 163558"/>
                <a:gd name="connsiteX5" fmla="*/ 42667 w 234670"/>
                <a:gd name="connsiteY5" fmla="*/ 0 h 163558"/>
                <a:gd name="connsiteX6" fmla="*/ 194364 w 234670"/>
                <a:gd name="connsiteY6" fmla="*/ 0 h 163558"/>
                <a:gd name="connsiteX7" fmla="*/ 237031 w 234670"/>
                <a:gd name="connsiteY7" fmla="*/ 42667 h 163558"/>
                <a:gd name="connsiteX8" fmla="*/ 215698 w 234670"/>
                <a:gd name="connsiteY8" fmla="*/ 125897 h 16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4670" h="163558">
                  <a:moveTo>
                    <a:pt x="215698" y="125897"/>
                  </a:moveTo>
                  <a:cubicBezTo>
                    <a:pt x="215698" y="149457"/>
                    <a:pt x="196597" y="168565"/>
                    <a:pt x="173030" y="168565"/>
                  </a:cubicBezTo>
                  <a:lnTo>
                    <a:pt x="64001" y="168565"/>
                  </a:lnTo>
                  <a:cubicBezTo>
                    <a:pt x="40427" y="168565"/>
                    <a:pt x="21334" y="149457"/>
                    <a:pt x="21334" y="125897"/>
                  </a:cubicBezTo>
                  <a:lnTo>
                    <a:pt x="0" y="42667"/>
                  </a:lnTo>
                  <a:cubicBezTo>
                    <a:pt x="0" y="19101"/>
                    <a:pt x="19094" y="0"/>
                    <a:pt x="42667" y="0"/>
                  </a:cubicBezTo>
                  <a:lnTo>
                    <a:pt x="194364" y="0"/>
                  </a:lnTo>
                  <a:cubicBezTo>
                    <a:pt x="217931" y="0"/>
                    <a:pt x="237031" y="19101"/>
                    <a:pt x="237031" y="42667"/>
                  </a:cubicBezTo>
                  <a:lnTo>
                    <a:pt x="215698" y="125897"/>
                  </a:lnTo>
                  <a:close/>
                </a:path>
              </a:pathLst>
            </a:custGeom>
            <a:solidFill>
              <a:schemeClr val="accent1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1" name="Freeform: Shape 410">
              <a:extLst>
                <a:ext uri="{FF2B5EF4-FFF2-40B4-BE49-F238E27FC236}">
                  <a16:creationId xmlns:a16="http://schemas.microsoft.com/office/drawing/2014/main" id="{55C206D0-9C27-F86C-AABF-634296374DA8}"/>
                </a:ext>
              </a:extLst>
            </p:cNvPr>
            <p:cNvSpPr/>
            <p:nvPr/>
          </p:nvSpPr>
          <p:spPr>
            <a:xfrm>
              <a:off x="8907522" y="4638860"/>
              <a:ext cx="156447" cy="99557"/>
            </a:xfrm>
            <a:custGeom>
              <a:avLst/>
              <a:gdLst>
                <a:gd name="connsiteX0" fmla="*/ 100083 w 156446"/>
                <a:gd name="connsiteY0" fmla="*/ 0 h 99557"/>
                <a:gd name="connsiteX1" fmla="*/ 60445 w 156446"/>
                <a:gd name="connsiteY1" fmla="*/ 0 h 99557"/>
                <a:gd name="connsiteX2" fmla="*/ 0 w 156446"/>
                <a:gd name="connsiteY2" fmla="*/ 104101 h 99557"/>
                <a:gd name="connsiteX3" fmla="*/ 160529 w 156446"/>
                <a:gd name="connsiteY3" fmla="*/ 104101 h 99557"/>
                <a:gd name="connsiteX4" fmla="*/ 100083 w 156446"/>
                <a:gd name="connsiteY4" fmla="*/ 0 h 99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446" h="99557">
                  <a:moveTo>
                    <a:pt x="100083" y="0"/>
                  </a:moveTo>
                  <a:lnTo>
                    <a:pt x="60445" y="0"/>
                  </a:lnTo>
                  <a:cubicBezTo>
                    <a:pt x="60445" y="88371"/>
                    <a:pt x="0" y="104101"/>
                    <a:pt x="0" y="104101"/>
                  </a:cubicBezTo>
                  <a:lnTo>
                    <a:pt x="160529" y="104101"/>
                  </a:lnTo>
                  <a:cubicBezTo>
                    <a:pt x="160529" y="104101"/>
                    <a:pt x="100083" y="88371"/>
                    <a:pt x="100083" y="0"/>
                  </a:cubicBezTo>
                  <a:close/>
                </a:path>
              </a:pathLst>
            </a:custGeom>
            <a:solidFill>
              <a:srgbClr val="B3B3B3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2" name="Freeform: Shape 411">
              <a:extLst>
                <a:ext uri="{FF2B5EF4-FFF2-40B4-BE49-F238E27FC236}">
                  <a16:creationId xmlns:a16="http://schemas.microsoft.com/office/drawing/2014/main" id="{3928556D-4B60-A58F-DEC8-9F1B6DA50373}"/>
                </a:ext>
              </a:extLst>
            </p:cNvPr>
            <p:cNvSpPr/>
            <p:nvPr/>
          </p:nvSpPr>
          <p:spPr>
            <a:xfrm>
              <a:off x="8886189" y="4851621"/>
              <a:ext cx="199114" cy="21334"/>
            </a:xfrm>
            <a:custGeom>
              <a:avLst/>
              <a:gdLst>
                <a:gd name="connsiteX0" fmla="*/ 0 w 199114"/>
                <a:gd name="connsiteY0" fmla="*/ 0 h 21333"/>
                <a:gd name="connsiteX1" fmla="*/ 4416 w 199114"/>
                <a:gd name="connsiteY1" fmla="*/ 17238 h 21333"/>
                <a:gd name="connsiteX2" fmla="*/ 5333 w 199114"/>
                <a:gd name="connsiteY2" fmla="*/ 26070 h 21333"/>
                <a:gd name="connsiteX3" fmla="*/ 197849 w 199114"/>
                <a:gd name="connsiteY3" fmla="*/ 26070 h 21333"/>
                <a:gd name="connsiteX4" fmla="*/ 198780 w 199114"/>
                <a:gd name="connsiteY4" fmla="*/ 17238 h 21333"/>
                <a:gd name="connsiteX5" fmla="*/ 203196 w 199114"/>
                <a:gd name="connsiteY5" fmla="*/ 0 h 21333"/>
                <a:gd name="connsiteX6" fmla="*/ 0 w 199114"/>
                <a:gd name="connsiteY6" fmla="*/ 0 h 2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9114" h="21333">
                  <a:moveTo>
                    <a:pt x="0" y="0"/>
                  </a:moveTo>
                  <a:lnTo>
                    <a:pt x="4416" y="17238"/>
                  </a:lnTo>
                  <a:cubicBezTo>
                    <a:pt x="4416" y="20267"/>
                    <a:pt x="4736" y="23218"/>
                    <a:pt x="5333" y="26070"/>
                  </a:cubicBezTo>
                  <a:lnTo>
                    <a:pt x="197849" y="26070"/>
                  </a:lnTo>
                  <a:cubicBezTo>
                    <a:pt x="198460" y="23218"/>
                    <a:pt x="198780" y="20267"/>
                    <a:pt x="198780" y="17238"/>
                  </a:cubicBezTo>
                  <a:lnTo>
                    <a:pt x="20319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3" name="Freeform: Shape 412">
              <a:extLst>
                <a:ext uri="{FF2B5EF4-FFF2-40B4-BE49-F238E27FC236}">
                  <a16:creationId xmlns:a16="http://schemas.microsoft.com/office/drawing/2014/main" id="{C1102769-5937-3137-5F88-77E1D41C83FA}"/>
                </a:ext>
              </a:extLst>
            </p:cNvPr>
            <p:cNvSpPr/>
            <p:nvPr/>
          </p:nvSpPr>
          <p:spPr>
            <a:xfrm>
              <a:off x="7752802" y="4742961"/>
              <a:ext cx="234670" cy="163558"/>
            </a:xfrm>
            <a:custGeom>
              <a:avLst/>
              <a:gdLst>
                <a:gd name="connsiteX0" fmla="*/ 215698 w 234670"/>
                <a:gd name="connsiteY0" fmla="*/ 125897 h 163558"/>
                <a:gd name="connsiteX1" fmla="*/ 173030 w 234670"/>
                <a:gd name="connsiteY1" fmla="*/ 168565 h 163558"/>
                <a:gd name="connsiteX2" fmla="*/ 64001 w 234670"/>
                <a:gd name="connsiteY2" fmla="*/ 168565 h 163558"/>
                <a:gd name="connsiteX3" fmla="*/ 21334 w 234670"/>
                <a:gd name="connsiteY3" fmla="*/ 125897 h 163558"/>
                <a:gd name="connsiteX4" fmla="*/ 0 w 234670"/>
                <a:gd name="connsiteY4" fmla="*/ 42667 h 163558"/>
                <a:gd name="connsiteX5" fmla="*/ 42667 w 234670"/>
                <a:gd name="connsiteY5" fmla="*/ 0 h 163558"/>
                <a:gd name="connsiteX6" fmla="*/ 194364 w 234670"/>
                <a:gd name="connsiteY6" fmla="*/ 0 h 163558"/>
                <a:gd name="connsiteX7" fmla="*/ 237031 w 234670"/>
                <a:gd name="connsiteY7" fmla="*/ 42667 h 163558"/>
                <a:gd name="connsiteX8" fmla="*/ 215698 w 234670"/>
                <a:gd name="connsiteY8" fmla="*/ 125897 h 16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4670" h="163558">
                  <a:moveTo>
                    <a:pt x="215698" y="125897"/>
                  </a:moveTo>
                  <a:cubicBezTo>
                    <a:pt x="215698" y="149457"/>
                    <a:pt x="196604" y="168565"/>
                    <a:pt x="173030" y="168565"/>
                  </a:cubicBezTo>
                  <a:lnTo>
                    <a:pt x="64001" y="168565"/>
                  </a:lnTo>
                  <a:cubicBezTo>
                    <a:pt x="40434" y="168565"/>
                    <a:pt x="21334" y="149457"/>
                    <a:pt x="21334" y="125897"/>
                  </a:cubicBezTo>
                  <a:lnTo>
                    <a:pt x="0" y="42667"/>
                  </a:lnTo>
                  <a:cubicBezTo>
                    <a:pt x="0" y="19101"/>
                    <a:pt x="19101" y="0"/>
                    <a:pt x="42667" y="0"/>
                  </a:cubicBezTo>
                  <a:lnTo>
                    <a:pt x="194364" y="0"/>
                  </a:lnTo>
                  <a:cubicBezTo>
                    <a:pt x="217938" y="0"/>
                    <a:pt x="237031" y="19101"/>
                    <a:pt x="237031" y="42667"/>
                  </a:cubicBezTo>
                  <a:lnTo>
                    <a:pt x="215698" y="125897"/>
                  </a:lnTo>
                  <a:close/>
                </a:path>
              </a:pathLst>
            </a:custGeom>
            <a:solidFill>
              <a:schemeClr val="accent1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4" name="Freeform: Shape 413">
              <a:extLst>
                <a:ext uri="{FF2B5EF4-FFF2-40B4-BE49-F238E27FC236}">
                  <a16:creationId xmlns:a16="http://schemas.microsoft.com/office/drawing/2014/main" id="{780C2B1E-1635-AD11-2DDF-F46C711BC28E}"/>
                </a:ext>
              </a:extLst>
            </p:cNvPr>
            <p:cNvSpPr/>
            <p:nvPr/>
          </p:nvSpPr>
          <p:spPr>
            <a:xfrm>
              <a:off x="7791053" y="4638860"/>
              <a:ext cx="156447" cy="99557"/>
            </a:xfrm>
            <a:custGeom>
              <a:avLst/>
              <a:gdLst>
                <a:gd name="connsiteX0" fmla="*/ 100090 w 156446"/>
                <a:gd name="connsiteY0" fmla="*/ 0 h 99557"/>
                <a:gd name="connsiteX1" fmla="*/ 60445 w 156446"/>
                <a:gd name="connsiteY1" fmla="*/ 0 h 99557"/>
                <a:gd name="connsiteX2" fmla="*/ 0 w 156446"/>
                <a:gd name="connsiteY2" fmla="*/ 104101 h 99557"/>
                <a:gd name="connsiteX3" fmla="*/ 160536 w 156446"/>
                <a:gd name="connsiteY3" fmla="*/ 104101 h 99557"/>
                <a:gd name="connsiteX4" fmla="*/ 100090 w 156446"/>
                <a:gd name="connsiteY4" fmla="*/ 0 h 99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446" h="99557">
                  <a:moveTo>
                    <a:pt x="100090" y="0"/>
                  </a:moveTo>
                  <a:lnTo>
                    <a:pt x="60445" y="0"/>
                  </a:lnTo>
                  <a:cubicBezTo>
                    <a:pt x="60445" y="88371"/>
                    <a:pt x="0" y="104101"/>
                    <a:pt x="0" y="104101"/>
                  </a:cubicBezTo>
                  <a:lnTo>
                    <a:pt x="160536" y="104101"/>
                  </a:lnTo>
                  <a:cubicBezTo>
                    <a:pt x="160536" y="104101"/>
                    <a:pt x="100090" y="88371"/>
                    <a:pt x="100090" y="0"/>
                  </a:cubicBezTo>
                  <a:close/>
                </a:path>
              </a:pathLst>
            </a:custGeom>
            <a:solidFill>
              <a:srgbClr val="B3B3B3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5" name="Freeform: Shape 414">
              <a:extLst>
                <a:ext uri="{FF2B5EF4-FFF2-40B4-BE49-F238E27FC236}">
                  <a16:creationId xmlns:a16="http://schemas.microsoft.com/office/drawing/2014/main" id="{C13AC053-1244-B681-52F2-03E5AAB6E2EC}"/>
                </a:ext>
              </a:extLst>
            </p:cNvPr>
            <p:cNvSpPr/>
            <p:nvPr/>
          </p:nvSpPr>
          <p:spPr>
            <a:xfrm>
              <a:off x="7769705" y="4851621"/>
              <a:ext cx="199114" cy="21334"/>
            </a:xfrm>
            <a:custGeom>
              <a:avLst/>
              <a:gdLst>
                <a:gd name="connsiteX0" fmla="*/ 0 w 199114"/>
                <a:gd name="connsiteY0" fmla="*/ 0 h 21333"/>
                <a:gd name="connsiteX1" fmla="*/ 4416 w 199114"/>
                <a:gd name="connsiteY1" fmla="*/ 17238 h 21333"/>
                <a:gd name="connsiteX2" fmla="*/ 5348 w 199114"/>
                <a:gd name="connsiteY2" fmla="*/ 26070 h 21333"/>
                <a:gd name="connsiteX3" fmla="*/ 197870 w 199114"/>
                <a:gd name="connsiteY3" fmla="*/ 26070 h 21333"/>
                <a:gd name="connsiteX4" fmla="*/ 198794 w 199114"/>
                <a:gd name="connsiteY4" fmla="*/ 17238 h 21333"/>
                <a:gd name="connsiteX5" fmla="*/ 203217 w 199114"/>
                <a:gd name="connsiteY5" fmla="*/ 0 h 21333"/>
                <a:gd name="connsiteX6" fmla="*/ 0 w 199114"/>
                <a:gd name="connsiteY6" fmla="*/ 0 h 2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9114" h="21333">
                  <a:moveTo>
                    <a:pt x="0" y="0"/>
                  </a:moveTo>
                  <a:lnTo>
                    <a:pt x="4416" y="17238"/>
                  </a:lnTo>
                  <a:cubicBezTo>
                    <a:pt x="4416" y="20267"/>
                    <a:pt x="4750" y="23218"/>
                    <a:pt x="5348" y="26070"/>
                  </a:cubicBezTo>
                  <a:lnTo>
                    <a:pt x="197870" y="26070"/>
                  </a:lnTo>
                  <a:cubicBezTo>
                    <a:pt x="198460" y="23218"/>
                    <a:pt x="198794" y="20267"/>
                    <a:pt x="198794" y="17238"/>
                  </a:cubicBezTo>
                  <a:lnTo>
                    <a:pt x="2032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6" name="Freeform: Shape 415">
              <a:extLst>
                <a:ext uri="{FF2B5EF4-FFF2-40B4-BE49-F238E27FC236}">
                  <a16:creationId xmlns:a16="http://schemas.microsoft.com/office/drawing/2014/main" id="{4D67D336-7195-50E4-888F-FC36124D5067}"/>
                </a:ext>
              </a:extLst>
            </p:cNvPr>
            <p:cNvSpPr/>
            <p:nvPr/>
          </p:nvSpPr>
          <p:spPr>
            <a:xfrm>
              <a:off x="8267334" y="5066828"/>
              <a:ext cx="320005" cy="241782"/>
            </a:xfrm>
            <a:custGeom>
              <a:avLst/>
              <a:gdLst>
                <a:gd name="connsiteX0" fmla="*/ 324834 w 320005"/>
                <a:gd name="connsiteY0" fmla="*/ 203850 h 241781"/>
                <a:gd name="connsiteX1" fmla="*/ 282166 w 320005"/>
                <a:gd name="connsiteY1" fmla="*/ 246518 h 241781"/>
                <a:gd name="connsiteX2" fmla="*/ 42667 w 320005"/>
                <a:gd name="connsiteY2" fmla="*/ 246518 h 241781"/>
                <a:gd name="connsiteX3" fmla="*/ 0 w 320005"/>
                <a:gd name="connsiteY3" fmla="*/ 203850 h 241781"/>
                <a:gd name="connsiteX4" fmla="*/ 0 w 320005"/>
                <a:gd name="connsiteY4" fmla="*/ 42667 h 241781"/>
                <a:gd name="connsiteX5" fmla="*/ 42667 w 320005"/>
                <a:gd name="connsiteY5" fmla="*/ 0 h 241781"/>
                <a:gd name="connsiteX6" fmla="*/ 282166 w 320005"/>
                <a:gd name="connsiteY6" fmla="*/ 0 h 241781"/>
                <a:gd name="connsiteX7" fmla="*/ 324834 w 320005"/>
                <a:gd name="connsiteY7" fmla="*/ 42667 h 241781"/>
                <a:gd name="connsiteX8" fmla="*/ 324834 w 320005"/>
                <a:gd name="connsiteY8" fmla="*/ 203850 h 241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0005" h="241781">
                  <a:moveTo>
                    <a:pt x="324834" y="203850"/>
                  </a:moveTo>
                  <a:cubicBezTo>
                    <a:pt x="324834" y="227424"/>
                    <a:pt x="305726" y="246518"/>
                    <a:pt x="282166" y="246518"/>
                  </a:cubicBezTo>
                  <a:lnTo>
                    <a:pt x="42667" y="246518"/>
                  </a:lnTo>
                  <a:cubicBezTo>
                    <a:pt x="19108" y="246518"/>
                    <a:pt x="0" y="227424"/>
                    <a:pt x="0" y="203850"/>
                  </a:cubicBezTo>
                  <a:lnTo>
                    <a:pt x="0" y="42667"/>
                  </a:lnTo>
                  <a:cubicBezTo>
                    <a:pt x="0" y="19101"/>
                    <a:pt x="19108" y="0"/>
                    <a:pt x="42667" y="0"/>
                  </a:cubicBezTo>
                  <a:lnTo>
                    <a:pt x="282166" y="0"/>
                  </a:lnTo>
                  <a:cubicBezTo>
                    <a:pt x="305726" y="0"/>
                    <a:pt x="324834" y="19101"/>
                    <a:pt x="324834" y="42667"/>
                  </a:cubicBezTo>
                  <a:lnTo>
                    <a:pt x="324834" y="203850"/>
                  </a:lnTo>
                  <a:close/>
                </a:path>
              </a:pathLst>
            </a:custGeom>
            <a:solidFill>
              <a:schemeClr val="accent1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7" name="Freeform: Shape 416">
              <a:extLst>
                <a:ext uri="{FF2B5EF4-FFF2-40B4-BE49-F238E27FC236}">
                  <a16:creationId xmlns:a16="http://schemas.microsoft.com/office/drawing/2014/main" id="{3FADDF9A-A378-7FF8-D87E-462755BBEED9}"/>
                </a:ext>
              </a:extLst>
            </p:cNvPr>
            <p:cNvSpPr/>
            <p:nvPr/>
          </p:nvSpPr>
          <p:spPr>
            <a:xfrm>
              <a:off x="8531360" y="4708515"/>
              <a:ext cx="113780" cy="284449"/>
            </a:xfrm>
            <a:custGeom>
              <a:avLst/>
              <a:gdLst>
                <a:gd name="connsiteX0" fmla="*/ 71112 w 113779"/>
                <a:gd name="connsiteY0" fmla="*/ 286213 h 284449"/>
                <a:gd name="connsiteX1" fmla="*/ 0 w 113779"/>
                <a:gd name="connsiteY1" fmla="*/ 286213 h 284449"/>
                <a:gd name="connsiteX2" fmla="*/ 42667 w 113779"/>
                <a:gd name="connsiteY2" fmla="*/ 243545 h 284449"/>
                <a:gd name="connsiteX3" fmla="*/ 42667 w 113779"/>
                <a:gd name="connsiteY3" fmla="*/ 234201 h 284449"/>
                <a:gd name="connsiteX4" fmla="*/ 113780 w 113779"/>
                <a:gd name="connsiteY4" fmla="*/ 234201 h 284449"/>
                <a:gd name="connsiteX5" fmla="*/ 113780 w 113779"/>
                <a:gd name="connsiteY5" fmla="*/ 243545 h 284449"/>
                <a:gd name="connsiteX6" fmla="*/ 71112 w 113779"/>
                <a:gd name="connsiteY6" fmla="*/ 286213 h 284449"/>
                <a:gd name="connsiteX7" fmla="*/ 113780 w 113779"/>
                <a:gd name="connsiteY7" fmla="*/ 198638 h 284449"/>
                <a:gd name="connsiteX8" fmla="*/ 42667 w 113779"/>
                <a:gd name="connsiteY8" fmla="*/ 198638 h 284449"/>
                <a:gd name="connsiteX9" fmla="*/ 42667 w 113779"/>
                <a:gd name="connsiteY9" fmla="*/ 42667 h 284449"/>
                <a:gd name="connsiteX10" fmla="*/ 0 w 113779"/>
                <a:gd name="connsiteY10" fmla="*/ 0 h 284449"/>
                <a:gd name="connsiteX11" fmla="*/ 71112 w 113779"/>
                <a:gd name="connsiteY11" fmla="*/ 0 h 284449"/>
                <a:gd name="connsiteX12" fmla="*/ 113780 w 113779"/>
                <a:gd name="connsiteY12" fmla="*/ 42667 h 284449"/>
                <a:gd name="connsiteX13" fmla="*/ 113780 w 113779"/>
                <a:gd name="connsiteY13" fmla="*/ 198638 h 284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3779" h="284449">
                  <a:moveTo>
                    <a:pt x="71112" y="286213"/>
                  </a:moveTo>
                  <a:lnTo>
                    <a:pt x="0" y="286213"/>
                  </a:lnTo>
                  <a:cubicBezTo>
                    <a:pt x="23559" y="286213"/>
                    <a:pt x="42667" y="267112"/>
                    <a:pt x="42667" y="243545"/>
                  </a:cubicBezTo>
                  <a:lnTo>
                    <a:pt x="42667" y="234201"/>
                  </a:lnTo>
                  <a:lnTo>
                    <a:pt x="113780" y="234201"/>
                  </a:lnTo>
                  <a:lnTo>
                    <a:pt x="113780" y="243545"/>
                  </a:lnTo>
                  <a:cubicBezTo>
                    <a:pt x="113780" y="267112"/>
                    <a:pt x="94672" y="286213"/>
                    <a:pt x="71112" y="286213"/>
                  </a:cubicBezTo>
                  <a:close/>
                  <a:moveTo>
                    <a:pt x="113780" y="198638"/>
                  </a:moveTo>
                  <a:lnTo>
                    <a:pt x="42667" y="198638"/>
                  </a:lnTo>
                  <a:lnTo>
                    <a:pt x="42667" y="42667"/>
                  </a:lnTo>
                  <a:cubicBezTo>
                    <a:pt x="42667" y="19101"/>
                    <a:pt x="23559" y="0"/>
                    <a:pt x="0" y="0"/>
                  </a:cubicBezTo>
                  <a:lnTo>
                    <a:pt x="71112" y="0"/>
                  </a:lnTo>
                  <a:cubicBezTo>
                    <a:pt x="94672" y="0"/>
                    <a:pt x="113780" y="19101"/>
                    <a:pt x="113780" y="42667"/>
                  </a:cubicBezTo>
                  <a:lnTo>
                    <a:pt x="113780" y="198638"/>
                  </a:lnTo>
                  <a:close/>
                </a:path>
              </a:pathLst>
            </a:custGeom>
            <a:solidFill>
              <a:schemeClr val="accent1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8" name="Freeform: Shape 417">
              <a:extLst>
                <a:ext uri="{FF2B5EF4-FFF2-40B4-BE49-F238E27FC236}">
                  <a16:creationId xmlns:a16="http://schemas.microsoft.com/office/drawing/2014/main" id="{C9C1852D-8281-1B72-7AD5-13EB84F20D9C}"/>
                </a:ext>
              </a:extLst>
            </p:cNvPr>
            <p:cNvSpPr/>
            <p:nvPr/>
          </p:nvSpPr>
          <p:spPr>
            <a:xfrm>
              <a:off x="8574027" y="4907152"/>
              <a:ext cx="71112" cy="35556"/>
            </a:xfrm>
            <a:custGeom>
              <a:avLst/>
              <a:gdLst>
                <a:gd name="connsiteX0" fmla="*/ 0 w 71112"/>
                <a:gd name="connsiteY0" fmla="*/ 0 h 35556"/>
                <a:gd name="connsiteX1" fmla="*/ 71112 w 71112"/>
                <a:gd name="connsiteY1" fmla="*/ 0 h 35556"/>
                <a:gd name="connsiteX2" fmla="*/ 71112 w 71112"/>
                <a:gd name="connsiteY2" fmla="*/ 35563 h 35556"/>
                <a:gd name="connsiteX3" fmla="*/ 0 w 71112"/>
                <a:gd name="connsiteY3" fmla="*/ 35563 h 35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12" h="35556">
                  <a:moveTo>
                    <a:pt x="0" y="0"/>
                  </a:moveTo>
                  <a:lnTo>
                    <a:pt x="71112" y="0"/>
                  </a:lnTo>
                  <a:lnTo>
                    <a:pt x="71112" y="35563"/>
                  </a:lnTo>
                  <a:lnTo>
                    <a:pt x="0" y="35563"/>
                  </a:lnTo>
                  <a:close/>
                </a:path>
              </a:pathLst>
            </a:custGeom>
            <a:solidFill>
              <a:schemeClr val="accent3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9" name="Freeform: Shape 418">
              <a:extLst>
                <a:ext uri="{FF2B5EF4-FFF2-40B4-BE49-F238E27FC236}">
                  <a16:creationId xmlns:a16="http://schemas.microsoft.com/office/drawing/2014/main" id="{CA7CF95E-CD2B-CB38-59EC-EA8289B6CABA}"/>
                </a:ext>
              </a:extLst>
            </p:cNvPr>
            <p:cNvSpPr/>
            <p:nvPr/>
          </p:nvSpPr>
          <p:spPr>
            <a:xfrm>
              <a:off x="8999634" y="4869008"/>
              <a:ext cx="85335" cy="35556"/>
            </a:xfrm>
            <a:custGeom>
              <a:avLst/>
              <a:gdLst>
                <a:gd name="connsiteX0" fmla="*/ 42667 w 85334"/>
                <a:gd name="connsiteY0" fmla="*/ 42518 h 35556"/>
                <a:gd name="connsiteX1" fmla="*/ 0 w 85334"/>
                <a:gd name="connsiteY1" fmla="*/ 42518 h 35556"/>
                <a:gd name="connsiteX2" fmla="*/ 41750 w 85334"/>
                <a:gd name="connsiteY2" fmla="*/ 8683 h 35556"/>
                <a:gd name="connsiteX3" fmla="*/ 84403 w 85334"/>
                <a:gd name="connsiteY3" fmla="*/ 8683 h 35556"/>
                <a:gd name="connsiteX4" fmla="*/ 85335 w 85334"/>
                <a:gd name="connsiteY4" fmla="*/ 0 h 35556"/>
                <a:gd name="connsiteX5" fmla="*/ 42667 w 85334"/>
                <a:gd name="connsiteY5" fmla="*/ 42518 h 35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5334" h="35556">
                  <a:moveTo>
                    <a:pt x="42667" y="42518"/>
                  </a:moveTo>
                  <a:lnTo>
                    <a:pt x="0" y="42518"/>
                  </a:lnTo>
                  <a:cubicBezTo>
                    <a:pt x="20537" y="42518"/>
                    <a:pt x="37682" y="28004"/>
                    <a:pt x="41750" y="8683"/>
                  </a:cubicBezTo>
                  <a:lnTo>
                    <a:pt x="84403" y="8683"/>
                  </a:lnTo>
                  <a:cubicBezTo>
                    <a:pt x="85000" y="5874"/>
                    <a:pt x="85320" y="2972"/>
                    <a:pt x="85335" y="0"/>
                  </a:cubicBezTo>
                  <a:cubicBezTo>
                    <a:pt x="85249" y="23495"/>
                    <a:pt x="66184" y="42518"/>
                    <a:pt x="42667" y="42518"/>
                  </a:cubicBezTo>
                  <a:close/>
                </a:path>
              </a:pathLst>
            </a:custGeom>
            <a:solidFill>
              <a:schemeClr val="accent1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0" name="Freeform: Shape 419">
              <a:extLst>
                <a:ext uri="{FF2B5EF4-FFF2-40B4-BE49-F238E27FC236}">
                  <a16:creationId xmlns:a16="http://schemas.microsoft.com/office/drawing/2014/main" id="{541714EF-907A-77C3-5DC7-79A6D5AAEBB5}"/>
                </a:ext>
              </a:extLst>
            </p:cNvPr>
            <p:cNvSpPr/>
            <p:nvPr/>
          </p:nvSpPr>
          <p:spPr>
            <a:xfrm>
              <a:off x="9013856" y="4742961"/>
              <a:ext cx="92446" cy="120891"/>
            </a:xfrm>
            <a:custGeom>
              <a:avLst/>
              <a:gdLst>
                <a:gd name="connsiteX0" fmla="*/ 71112 w 92445"/>
                <a:gd name="connsiteY0" fmla="*/ 126039 h 120890"/>
                <a:gd name="connsiteX1" fmla="*/ 71112 w 92445"/>
                <a:gd name="connsiteY1" fmla="*/ 125897 h 120890"/>
                <a:gd name="connsiteX2" fmla="*/ 71112 w 92445"/>
                <a:gd name="connsiteY2" fmla="*/ 126039 h 120890"/>
                <a:gd name="connsiteX3" fmla="*/ 71112 w 92445"/>
                <a:gd name="connsiteY3" fmla="*/ 125897 h 120890"/>
                <a:gd name="connsiteX4" fmla="*/ 75528 w 92445"/>
                <a:gd name="connsiteY4" fmla="*/ 108660 h 120890"/>
                <a:gd name="connsiteX5" fmla="*/ 31389 w 92445"/>
                <a:gd name="connsiteY5" fmla="*/ 108660 h 120890"/>
                <a:gd name="connsiteX6" fmla="*/ 42667 w 92445"/>
                <a:gd name="connsiteY6" fmla="*/ 42667 h 120890"/>
                <a:gd name="connsiteX7" fmla="*/ 0 w 92445"/>
                <a:gd name="connsiteY7" fmla="*/ 0 h 120890"/>
                <a:gd name="connsiteX8" fmla="*/ 49779 w 92445"/>
                <a:gd name="connsiteY8" fmla="*/ 0 h 120890"/>
                <a:gd name="connsiteX9" fmla="*/ 92446 w 92445"/>
                <a:gd name="connsiteY9" fmla="*/ 42667 h 120890"/>
                <a:gd name="connsiteX10" fmla="*/ 71112 w 92445"/>
                <a:gd name="connsiteY10" fmla="*/ 125897 h 120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2445" h="120890">
                  <a:moveTo>
                    <a:pt x="71112" y="126039"/>
                  </a:moveTo>
                  <a:lnTo>
                    <a:pt x="71112" y="125897"/>
                  </a:lnTo>
                  <a:lnTo>
                    <a:pt x="71112" y="126039"/>
                  </a:lnTo>
                  <a:close/>
                  <a:moveTo>
                    <a:pt x="71112" y="125897"/>
                  </a:moveTo>
                  <a:lnTo>
                    <a:pt x="75528" y="108660"/>
                  </a:lnTo>
                  <a:lnTo>
                    <a:pt x="31389" y="108660"/>
                  </a:lnTo>
                  <a:lnTo>
                    <a:pt x="42667" y="42667"/>
                  </a:lnTo>
                  <a:cubicBezTo>
                    <a:pt x="42667" y="19101"/>
                    <a:pt x="23567" y="0"/>
                    <a:pt x="0" y="0"/>
                  </a:cubicBezTo>
                  <a:lnTo>
                    <a:pt x="49779" y="0"/>
                  </a:lnTo>
                  <a:cubicBezTo>
                    <a:pt x="73345" y="0"/>
                    <a:pt x="92446" y="19101"/>
                    <a:pt x="92446" y="42667"/>
                  </a:cubicBezTo>
                  <a:lnTo>
                    <a:pt x="71112" y="125897"/>
                  </a:lnTo>
                  <a:close/>
                </a:path>
              </a:pathLst>
            </a:custGeom>
            <a:solidFill>
              <a:schemeClr val="accent1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1" name="Freeform: Shape 420">
              <a:extLst>
                <a:ext uri="{FF2B5EF4-FFF2-40B4-BE49-F238E27FC236}">
                  <a16:creationId xmlns:a16="http://schemas.microsoft.com/office/drawing/2014/main" id="{7F34F41C-4DDB-0BB6-5887-0807C1D4E744}"/>
                </a:ext>
              </a:extLst>
            </p:cNvPr>
            <p:cNvSpPr/>
            <p:nvPr/>
          </p:nvSpPr>
          <p:spPr>
            <a:xfrm>
              <a:off x="9041384" y="4851621"/>
              <a:ext cx="42667" cy="21334"/>
            </a:xfrm>
            <a:custGeom>
              <a:avLst/>
              <a:gdLst>
                <a:gd name="connsiteX0" fmla="*/ 42653 w 42667"/>
                <a:gd name="connsiteY0" fmla="*/ 26070 h 21333"/>
                <a:gd name="connsiteX1" fmla="*/ 0 w 42667"/>
                <a:gd name="connsiteY1" fmla="*/ 26070 h 21333"/>
                <a:gd name="connsiteX2" fmla="*/ 917 w 42667"/>
                <a:gd name="connsiteY2" fmla="*/ 17238 h 21333"/>
                <a:gd name="connsiteX3" fmla="*/ 3861 w 42667"/>
                <a:gd name="connsiteY3" fmla="*/ 0 h 21333"/>
                <a:gd name="connsiteX4" fmla="*/ 48001 w 42667"/>
                <a:gd name="connsiteY4" fmla="*/ 0 h 21333"/>
                <a:gd name="connsiteX5" fmla="*/ 43585 w 42667"/>
                <a:gd name="connsiteY5" fmla="*/ 17238 h 21333"/>
                <a:gd name="connsiteX6" fmla="*/ 43585 w 42667"/>
                <a:gd name="connsiteY6" fmla="*/ 17387 h 21333"/>
                <a:gd name="connsiteX7" fmla="*/ 42653 w 42667"/>
                <a:gd name="connsiteY7" fmla="*/ 26070 h 2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667" h="21333">
                  <a:moveTo>
                    <a:pt x="42653" y="26070"/>
                  </a:moveTo>
                  <a:lnTo>
                    <a:pt x="0" y="26070"/>
                  </a:lnTo>
                  <a:cubicBezTo>
                    <a:pt x="605" y="23218"/>
                    <a:pt x="917" y="20267"/>
                    <a:pt x="917" y="17238"/>
                  </a:cubicBezTo>
                  <a:lnTo>
                    <a:pt x="3861" y="0"/>
                  </a:lnTo>
                  <a:lnTo>
                    <a:pt x="48001" y="0"/>
                  </a:lnTo>
                  <a:lnTo>
                    <a:pt x="43585" y="17238"/>
                  </a:lnTo>
                  <a:lnTo>
                    <a:pt x="43585" y="17387"/>
                  </a:lnTo>
                  <a:cubicBezTo>
                    <a:pt x="43570" y="20359"/>
                    <a:pt x="43250" y="23261"/>
                    <a:pt x="42653" y="26070"/>
                  </a:cubicBezTo>
                  <a:close/>
                </a:path>
              </a:pathLst>
            </a:custGeom>
            <a:solidFill>
              <a:schemeClr val="accent3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2" name="Freeform: Shape 421">
              <a:extLst>
                <a:ext uri="{FF2B5EF4-FFF2-40B4-BE49-F238E27FC236}">
                  <a16:creationId xmlns:a16="http://schemas.microsoft.com/office/drawing/2014/main" id="{2513247C-0A43-E6E3-6330-11E6FC347695}"/>
                </a:ext>
              </a:extLst>
            </p:cNvPr>
            <p:cNvSpPr/>
            <p:nvPr/>
          </p:nvSpPr>
          <p:spPr>
            <a:xfrm>
              <a:off x="7883165" y="4742961"/>
              <a:ext cx="106668" cy="163558"/>
            </a:xfrm>
            <a:custGeom>
              <a:avLst/>
              <a:gdLst>
                <a:gd name="connsiteX0" fmla="*/ 42667 w 106668"/>
                <a:gd name="connsiteY0" fmla="*/ 168565 h 163558"/>
                <a:gd name="connsiteX1" fmla="*/ 0 w 106668"/>
                <a:gd name="connsiteY1" fmla="*/ 168565 h 163558"/>
                <a:gd name="connsiteX2" fmla="*/ 41757 w 106668"/>
                <a:gd name="connsiteY2" fmla="*/ 134729 h 163558"/>
                <a:gd name="connsiteX3" fmla="*/ 84410 w 106668"/>
                <a:gd name="connsiteY3" fmla="*/ 134729 h 163558"/>
                <a:gd name="connsiteX4" fmla="*/ 85335 w 106668"/>
                <a:gd name="connsiteY4" fmla="*/ 125897 h 163558"/>
                <a:gd name="connsiteX5" fmla="*/ 42667 w 106668"/>
                <a:gd name="connsiteY5" fmla="*/ 168565 h 163558"/>
                <a:gd name="connsiteX6" fmla="*/ 85335 w 106668"/>
                <a:gd name="connsiteY6" fmla="*/ 125897 h 163558"/>
                <a:gd name="connsiteX7" fmla="*/ 89758 w 106668"/>
                <a:gd name="connsiteY7" fmla="*/ 108660 h 163558"/>
                <a:gd name="connsiteX8" fmla="*/ 45619 w 106668"/>
                <a:gd name="connsiteY8" fmla="*/ 108660 h 163558"/>
                <a:gd name="connsiteX9" fmla="*/ 56890 w 106668"/>
                <a:gd name="connsiteY9" fmla="*/ 42667 h 163558"/>
                <a:gd name="connsiteX10" fmla="*/ 14222 w 106668"/>
                <a:gd name="connsiteY10" fmla="*/ 0 h 163558"/>
                <a:gd name="connsiteX11" fmla="*/ 64001 w 106668"/>
                <a:gd name="connsiteY11" fmla="*/ 0 h 163558"/>
                <a:gd name="connsiteX12" fmla="*/ 106668 w 106668"/>
                <a:gd name="connsiteY12" fmla="*/ 42667 h 163558"/>
                <a:gd name="connsiteX13" fmla="*/ 105730 w 106668"/>
                <a:gd name="connsiteY13" fmla="*/ 46330 h 163558"/>
                <a:gd name="connsiteX14" fmla="*/ 89530 w 106668"/>
                <a:gd name="connsiteY14" fmla="*/ 109541 h 163558"/>
                <a:gd name="connsiteX15" fmla="*/ 85335 w 106668"/>
                <a:gd name="connsiteY15" fmla="*/ 125897 h 16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668" h="163558">
                  <a:moveTo>
                    <a:pt x="42667" y="168565"/>
                  </a:moveTo>
                  <a:lnTo>
                    <a:pt x="0" y="168565"/>
                  </a:lnTo>
                  <a:cubicBezTo>
                    <a:pt x="20544" y="168565"/>
                    <a:pt x="37690" y="154050"/>
                    <a:pt x="41757" y="134729"/>
                  </a:cubicBezTo>
                  <a:lnTo>
                    <a:pt x="84410" y="134729"/>
                  </a:lnTo>
                  <a:cubicBezTo>
                    <a:pt x="85000" y="131878"/>
                    <a:pt x="85335" y="128927"/>
                    <a:pt x="85335" y="125897"/>
                  </a:cubicBezTo>
                  <a:cubicBezTo>
                    <a:pt x="85335" y="149457"/>
                    <a:pt x="66241" y="168565"/>
                    <a:pt x="42667" y="168565"/>
                  </a:cubicBezTo>
                  <a:close/>
                  <a:moveTo>
                    <a:pt x="85335" y="125897"/>
                  </a:moveTo>
                  <a:lnTo>
                    <a:pt x="89758" y="108660"/>
                  </a:lnTo>
                  <a:lnTo>
                    <a:pt x="45619" y="108660"/>
                  </a:lnTo>
                  <a:lnTo>
                    <a:pt x="56890" y="42667"/>
                  </a:lnTo>
                  <a:cubicBezTo>
                    <a:pt x="56890" y="19101"/>
                    <a:pt x="37796" y="0"/>
                    <a:pt x="14222" y="0"/>
                  </a:cubicBezTo>
                  <a:lnTo>
                    <a:pt x="64001" y="0"/>
                  </a:lnTo>
                  <a:cubicBezTo>
                    <a:pt x="87575" y="0"/>
                    <a:pt x="106668" y="19101"/>
                    <a:pt x="106668" y="42667"/>
                  </a:cubicBezTo>
                  <a:lnTo>
                    <a:pt x="105730" y="46330"/>
                  </a:lnTo>
                  <a:lnTo>
                    <a:pt x="89530" y="109541"/>
                  </a:lnTo>
                  <a:lnTo>
                    <a:pt x="85335" y="125897"/>
                  </a:lnTo>
                  <a:close/>
                </a:path>
              </a:pathLst>
            </a:custGeom>
            <a:solidFill>
              <a:schemeClr val="accent1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3" name="Freeform: Shape 422">
              <a:extLst>
                <a:ext uri="{FF2B5EF4-FFF2-40B4-BE49-F238E27FC236}">
                  <a16:creationId xmlns:a16="http://schemas.microsoft.com/office/drawing/2014/main" id="{0790EAF9-5039-937B-9317-B6066DC282F5}"/>
                </a:ext>
              </a:extLst>
            </p:cNvPr>
            <p:cNvSpPr/>
            <p:nvPr/>
          </p:nvSpPr>
          <p:spPr>
            <a:xfrm>
              <a:off x="7924922" y="4851621"/>
              <a:ext cx="42667" cy="21334"/>
            </a:xfrm>
            <a:custGeom>
              <a:avLst/>
              <a:gdLst>
                <a:gd name="connsiteX0" fmla="*/ 42653 w 42667"/>
                <a:gd name="connsiteY0" fmla="*/ 26070 h 21333"/>
                <a:gd name="connsiteX1" fmla="*/ 0 w 42667"/>
                <a:gd name="connsiteY1" fmla="*/ 26070 h 21333"/>
                <a:gd name="connsiteX2" fmla="*/ 910 w 42667"/>
                <a:gd name="connsiteY2" fmla="*/ 17238 h 21333"/>
                <a:gd name="connsiteX3" fmla="*/ 3861 w 42667"/>
                <a:gd name="connsiteY3" fmla="*/ 0 h 21333"/>
                <a:gd name="connsiteX4" fmla="*/ 48001 w 42667"/>
                <a:gd name="connsiteY4" fmla="*/ 0 h 21333"/>
                <a:gd name="connsiteX5" fmla="*/ 43578 w 42667"/>
                <a:gd name="connsiteY5" fmla="*/ 17238 h 21333"/>
                <a:gd name="connsiteX6" fmla="*/ 42653 w 42667"/>
                <a:gd name="connsiteY6" fmla="*/ 26070 h 2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67" h="21333">
                  <a:moveTo>
                    <a:pt x="42653" y="26070"/>
                  </a:moveTo>
                  <a:lnTo>
                    <a:pt x="0" y="26070"/>
                  </a:lnTo>
                  <a:cubicBezTo>
                    <a:pt x="597" y="23218"/>
                    <a:pt x="910" y="20267"/>
                    <a:pt x="910" y="17238"/>
                  </a:cubicBezTo>
                  <a:lnTo>
                    <a:pt x="3861" y="0"/>
                  </a:lnTo>
                  <a:lnTo>
                    <a:pt x="48001" y="0"/>
                  </a:lnTo>
                  <a:lnTo>
                    <a:pt x="43578" y="17238"/>
                  </a:lnTo>
                  <a:cubicBezTo>
                    <a:pt x="43578" y="20267"/>
                    <a:pt x="43243" y="23218"/>
                    <a:pt x="42653" y="26070"/>
                  </a:cubicBezTo>
                  <a:close/>
                </a:path>
              </a:pathLst>
            </a:custGeom>
            <a:solidFill>
              <a:schemeClr val="accent3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4" name="Freeform: Shape 423">
              <a:extLst>
                <a:ext uri="{FF2B5EF4-FFF2-40B4-BE49-F238E27FC236}">
                  <a16:creationId xmlns:a16="http://schemas.microsoft.com/office/drawing/2014/main" id="{6A662A3A-6F68-B40D-1AA4-9484E68705E5}"/>
                </a:ext>
              </a:extLst>
            </p:cNvPr>
            <p:cNvSpPr/>
            <p:nvPr/>
          </p:nvSpPr>
          <p:spPr>
            <a:xfrm>
              <a:off x="8986272" y="4638860"/>
              <a:ext cx="78223" cy="99557"/>
            </a:xfrm>
            <a:custGeom>
              <a:avLst/>
              <a:gdLst>
                <a:gd name="connsiteX0" fmla="*/ 21334 w 78223"/>
                <a:gd name="connsiteY0" fmla="*/ 0 h 99557"/>
                <a:gd name="connsiteX1" fmla="*/ 0 w 78223"/>
                <a:gd name="connsiteY1" fmla="*/ 0 h 99557"/>
                <a:gd name="connsiteX2" fmla="*/ 46223 w 78223"/>
                <a:gd name="connsiteY2" fmla="*/ 104101 h 99557"/>
                <a:gd name="connsiteX3" fmla="*/ 81779 w 78223"/>
                <a:gd name="connsiteY3" fmla="*/ 104101 h 99557"/>
                <a:gd name="connsiteX4" fmla="*/ 21334 w 78223"/>
                <a:gd name="connsiteY4" fmla="*/ 0 h 99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223" h="99557">
                  <a:moveTo>
                    <a:pt x="21334" y="0"/>
                  </a:moveTo>
                  <a:lnTo>
                    <a:pt x="0" y="0"/>
                  </a:lnTo>
                  <a:cubicBezTo>
                    <a:pt x="0" y="88371"/>
                    <a:pt x="46223" y="104101"/>
                    <a:pt x="46223" y="104101"/>
                  </a:cubicBezTo>
                  <a:lnTo>
                    <a:pt x="81779" y="104101"/>
                  </a:lnTo>
                  <a:cubicBezTo>
                    <a:pt x="81779" y="104101"/>
                    <a:pt x="21334" y="88371"/>
                    <a:pt x="21334" y="0"/>
                  </a:cubicBezTo>
                  <a:close/>
                </a:path>
              </a:pathLst>
            </a:custGeom>
            <a:solidFill>
              <a:srgbClr val="7F7F7F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5" name="Freeform: Shape 424">
              <a:extLst>
                <a:ext uri="{FF2B5EF4-FFF2-40B4-BE49-F238E27FC236}">
                  <a16:creationId xmlns:a16="http://schemas.microsoft.com/office/drawing/2014/main" id="{AD38C387-BEB2-A2D9-A295-C66124010180}"/>
                </a:ext>
              </a:extLst>
            </p:cNvPr>
            <p:cNvSpPr/>
            <p:nvPr/>
          </p:nvSpPr>
          <p:spPr>
            <a:xfrm>
              <a:off x="7869810" y="4638860"/>
              <a:ext cx="78223" cy="99557"/>
            </a:xfrm>
            <a:custGeom>
              <a:avLst/>
              <a:gdLst>
                <a:gd name="connsiteX0" fmla="*/ 21334 w 78223"/>
                <a:gd name="connsiteY0" fmla="*/ 0 h 99557"/>
                <a:gd name="connsiteX1" fmla="*/ 0 w 78223"/>
                <a:gd name="connsiteY1" fmla="*/ 0 h 99557"/>
                <a:gd name="connsiteX2" fmla="*/ 46223 w 78223"/>
                <a:gd name="connsiteY2" fmla="*/ 104101 h 99557"/>
                <a:gd name="connsiteX3" fmla="*/ 81779 w 78223"/>
                <a:gd name="connsiteY3" fmla="*/ 104101 h 99557"/>
                <a:gd name="connsiteX4" fmla="*/ 21334 w 78223"/>
                <a:gd name="connsiteY4" fmla="*/ 0 h 99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223" h="99557">
                  <a:moveTo>
                    <a:pt x="21334" y="0"/>
                  </a:moveTo>
                  <a:lnTo>
                    <a:pt x="0" y="0"/>
                  </a:lnTo>
                  <a:cubicBezTo>
                    <a:pt x="0" y="88371"/>
                    <a:pt x="46223" y="104101"/>
                    <a:pt x="46223" y="104101"/>
                  </a:cubicBezTo>
                  <a:lnTo>
                    <a:pt x="81779" y="104101"/>
                  </a:lnTo>
                  <a:cubicBezTo>
                    <a:pt x="81779" y="104101"/>
                    <a:pt x="21334" y="88371"/>
                    <a:pt x="21334" y="0"/>
                  </a:cubicBezTo>
                  <a:close/>
                </a:path>
              </a:pathLst>
            </a:custGeom>
            <a:solidFill>
              <a:srgbClr val="7F7F7F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6" name="Freeform: Shape 425">
              <a:extLst>
                <a:ext uri="{FF2B5EF4-FFF2-40B4-BE49-F238E27FC236}">
                  <a16:creationId xmlns:a16="http://schemas.microsoft.com/office/drawing/2014/main" id="{014116D9-5B73-3847-8BB4-B58459591D94}"/>
                </a:ext>
              </a:extLst>
            </p:cNvPr>
            <p:cNvSpPr/>
            <p:nvPr/>
          </p:nvSpPr>
          <p:spPr>
            <a:xfrm>
              <a:off x="8998091" y="4583862"/>
              <a:ext cx="341339" cy="56890"/>
            </a:xfrm>
            <a:custGeom>
              <a:avLst/>
              <a:gdLst>
                <a:gd name="connsiteX0" fmla="*/ 0 w 341338"/>
                <a:gd name="connsiteY0" fmla="*/ 29000 h 56889"/>
                <a:gd name="connsiteX1" fmla="*/ 208181 w 341338"/>
                <a:gd name="connsiteY1" fmla="*/ 57999 h 56889"/>
                <a:gd name="connsiteX2" fmla="*/ 345257 w 341338"/>
                <a:gd name="connsiteY2" fmla="*/ 29000 h 56889"/>
                <a:gd name="connsiteX3" fmla="*/ 208181 w 341338"/>
                <a:gd name="connsiteY3" fmla="*/ 0 h 56889"/>
                <a:gd name="connsiteX4" fmla="*/ 0 w 341338"/>
                <a:gd name="connsiteY4" fmla="*/ 29000 h 56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1338" h="56889">
                  <a:moveTo>
                    <a:pt x="0" y="29000"/>
                  </a:moveTo>
                  <a:cubicBezTo>
                    <a:pt x="0" y="45014"/>
                    <a:pt x="112848" y="57999"/>
                    <a:pt x="208181" y="57999"/>
                  </a:cubicBezTo>
                  <a:cubicBezTo>
                    <a:pt x="303536" y="57999"/>
                    <a:pt x="345257" y="45014"/>
                    <a:pt x="345257" y="29000"/>
                  </a:cubicBezTo>
                  <a:cubicBezTo>
                    <a:pt x="345257" y="12985"/>
                    <a:pt x="303536" y="0"/>
                    <a:pt x="208181" y="0"/>
                  </a:cubicBezTo>
                  <a:cubicBezTo>
                    <a:pt x="112848" y="0"/>
                    <a:pt x="0" y="12985"/>
                    <a:pt x="0" y="29000"/>
                  </a:cubicBezTo>
                  <a:close/>
                </a:path>
              </a:pathLst>
            </a:custGeom>
            <a:solidFill>
              <a:srgbClr val="B3B3B3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7" name="Freeform: Shape 426">
              <a:extLst>
                <a:ext uri="{FF2B5EF4-FFF2-40B4-BE49-F238E27FC236}">
                  <a16:creationId xmlns:a16="http://schemas.microsoft.com/office/drawing/2014/main" id="{ACD45C75-F0DA-C3DD-93B6-82F4B39037F5}"/>
                </a:ext>
              </a:extLst>
            </p:cNvPr>
            <p:cNvSpPr/>
            <p:nvPr/>
          </p:nvSpPr>
          <p:spPr>
            <a:xfrm>
              <a:off x="8998091" y="4583862"/>
              <a:ext cx="341339" cy="35556"/>
            </a:xfrm>
            <a:custGeom>
              <a:avLst/>
              <a:gdLst>
                <a:gd name="connsiteX0" fmla="*/ 191256 w 341338"/>
                <a:gd name="connsiteY0" fmla="*/ 21334 h 35556"/>
                <a:gd name="connsiteX1" fmla="*/ 342142 w 341338"/>
                <a:gd name="connsiteY1" fmla="*/ 36111 h 35556"/>
                <a:gd name="connsiteX2" fmla="*/ 345257 w 341338"/>
                <a:gd name="connsiteY2" fmla="*/ 29000 h 35556"/>
                <a:gd name="connsiteX3" fmla="*/ 208181 w 341338"/>
                <a:gd name="connsiteY3" fmla="*/ 0 h 35556"/>
                <a:gd name="connsiteX4" fmla="*/ 0 w 341338"/>
                <a:gd name="connsiteY4" fmla="*/ 29000 h 35556"/>
                <a:gd name="connsiteX5" fmla="*/ 191256 w 341338"/>
                <a:gd name="connsiteY5" fmla="*/ 21334 h 35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1338" h="35556">
                  <a:moveTo>
                    <a:pt x="191256" y="21334"/>
                  </a:moveTo>
                  <a:cubicBezTo>
                    <a:pt x="271962" y="21334"/>
                    <a:pt x="331063" y="23538"/>
                    <a:pt x="342142" y="36111"/>
                  </a:cubicBezTo>
                  <a:cubicBezTo>
                    <a:pt x="344148" y="33828"/>
                    <a:pt x="345257" y="31460"/>
                    <a:pt x="345257" y="29000"/>
                  </a:cubicBezTo>
                  <a:cubicBezTo>
                    <a:pt x="345257" y="12985"/>
                    <a:pt x="303536" y="0"/>
                    <a:pt x="208181" y="0"/>
                  </a:cubicBezTo>
                  <a:cubicBezTo>
                    <a:pt x="112848" y="0"/>
                    <a:pt x="0" y="12985"/>
                    <a:pt x="0" y="29000"/>
                  </a:cubicBezTo>
                  <a:cubicBezTo>
                    <a:pt x="0" y="29000"/>
                    <a:pt x="33017" y="21334"/>
                    <a:pt x="191256" y="21334"/>
                  </a:cubicBezTo>
                  <a:close/>
                </a:path>
              </a:pathLst>
            </a:custGeom>
            <a:solidFill>
              <a:srgbClr val="7F7F7F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8" name="Freeform: Shape 427">
              <a:extLst>
                <a:ext uri="{FF2B5EF4-FFF2-40B4-BE49-F238E27FC236}">
                  <a16:creationId xmlns:a16="http://schemas.microsoft.com/office/drawing/2014/main" id="{183BCBD8-26BA-B115-592C-149527402848}"/>
                </a:ext>
              </a:extLst>
            </p:cNvPr>
            <p:cNvSpPr/>
            <p:nvPr/>
          </p:nvSpPr>
          <p:spPr>
            <a:xfrm>
              <a:off x="8934908" y="4580740"/>
              <a:ext cx="99557" cy="64001"/>
            </a:xfrm>
            <a:custGeom>
              <a:avLst/>
              <a:gdLst>
                <a:gd name="connsiteX0" fmla="*/ 105737 w 99557"/>
                <a:gd name="connsiteY0" fmla="*/ 40747 h 64001"/>
                <a:gd name="connsiteX1" fmla="*/ 82255 w 99557"/>
                <a:gd name="connsiteY1" fmla="*/ 64236 h 64001"/>
                <a:gd name="connsiteX2" fmla="*/ 23503 w 99557"/>
                <a:gd name="connsiteY2" fmla="*/ 64236 h 64001"/>
                <a:gd name="connsiteX3" fmla="*/ 0 w 99557"/>
                <a:gd name="connsiteY3" fmla="*/ 40747 h 64001"/>
                <a:gd name="connsiteX4" fmla="*/ 0 w 99557"/>
                <a:gd name="connsiteY4" fmla="*/ 23503 h 64001"/>
                <a:gd name="connsiteX5" fmla="*/ 23503 w 99557"/>
                <a:gd name="connsiteY5" fmla="*/ 0 h 64001"/>
                <a:gd name="connsiteX6" fmla="*/ 82255 w 99557"/>
                <a:gd name="connsiteY6" fmla="*/ 0 h 64001"/>
                <a:gd name="connsiteX7" fmla="*/ 105737 w 99557"/>
                <a:gd name="connsiteY7" fmla="*/ 23503 h 64001"/>
                <a:gd name="connsiteX8" fmla="*/ 105737 w 99557"/>
                <a:gd name="connsiteY8" fmla="*/ 40747 h 64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557" h="64001">
                  <a:moveTo>
                    <a:pt x="105737" y="40747"/>
                  </a:moveTo>
                  <a:cubicBezTo>
                    <a:pt x="105737" y="53718"/>
                    <a:pt x="95226" y="64236"/>
                    <a:pt x="82255" y="64236"/>
                  </a:cubicBezTo>
                  <a:lnTo>
                    <a:pt x="23503" y="64236"/>
                  </a:lnTo>
                  <a:cubicBezTo>
                    <a:pt x="10517" y="64236"/>
                    <a:pt x="0" y="53718"/>
                    <a:pt x="0" y="40747"/>
                  </a:cubicBezTo>
                  <a:lnTo>
                    <a:pt x="0" y="23503"/>
                  </a:lnTo>
                  <a:cubicBezTo>
                    <a:pt x="0" y="10525"/>
                    <a:pt x="10517" y="0"/>
                    <a:pt x="23503" y="0"/>
                  </a:cubicBezTo>
                  <a:lnTo>
                    <a:pt x="82255" y="0"/>
                  </a:lnTo>
                  <a:cubicBezTo>
                    <a:pt x="95226" y="0"/>
                    <a:pt x="105737" y="10525"/>
                    <a:pt x="105737" y="23503"/>
                  </a:cubicBezTo>
                  <a:lnTo>
                    <a:pt x="105737" y="40747"/>
                  </a:lnTo>
                  <a:close/>
                </a:path>
              </a:pathLst>
            </a:custGeom>
            <a:solidFill>
              <a:schemeClr val="accent1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9" name="Freeform: Shape 428">
              <a:extLst>
                <a:ext uri="{FF2B5EF4-FFF2-40B4-BE49-F238E27FC236}">
                  <a16:creationId xmlns:a16="http://schemas.microsoft.com/office/drawing/2014/main" id="{34CC3B59-43A4-0AEA-F20D-D6FACD163780}"/>
                </a:ext>
              </a:extLst>
            </p:cNvPr>
            <p:cNvSpPr/>
            <p:nvPr/>
          </p:nvSpPr>
          <p:spPr>
            <a:xfrm>
              <a:off x="8632225" y="4583862"/>
              <a:ext cx="341339" cy="56890"/>
            </a:xfrm>
            <a:custGeom>
              <a:avLst/>
              <a:gdLst>
                <a:gd name="connsiteX0" fmla="*/ 345257 w 341338"/>
                <a:gd name="connsiteY0" fmla="*/ 29000 h 56889"/>
                <a:gd name="connsiteX1" fmla="*/ 137069 w 341338"/>
                <a:gd name="connsiteY1" fmla="*/ 0 h 56889"/>
                <a:gd name="connsiteX2" fmla="*/ 0 w 341338"/>
                <a:gd name="connsiteY2" fmla="*/ 29000 h 56889"/>
                <a:gd name="connsiteX3" fmla="*/ 137069 w 341338"/>
                <a:gd name="connsiteY3" fmla="*/ 57999 h 56889"/>
                <a:gd name="connsiteX4" fmla="*/ 345257 w 341338"/>
                <a:gd name="connsiteY4" fmla="*/ 29000 h 56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1338" h="56889">
                  <a:moveTo>
                    <a:pt x="345257" y="29000"/>
                  </a:moveTo>
                  <a:cubicBezTo>
                    <a:pt x="345257" y="12985"/>
                    <a:pt x="232409" y="0"/>
                    <a:pt x="137069" y="0"/>
                  </a:cubicBezTo>
                  <a:cubicBezTo>
                    <a:pt x="41722" y="0"/>
                    <a:pt x="0" y="12985"/>
                    <a:pt x="0" y="29000"/>
                  </a:cubicBezTo>
                  <a:cubicBezTo>
                    <a:pt x="0" y="45014"/>
                    <a:pt x="41722" y="57999"/>
                    <a:pt x="137069" y="57999"/>
                  </a:cubicBezTo>
                  <a:cubicBezTo>
                    <a:pt x="232409" y="57999"/>
                    <a:pt x="345257" y="45014"/>
                    <a:pt x="345257" y="29000"/>
                  </a:cubicBezTo>
                  <a:close/>
                </a:path>
              </a:pathLst>
            </a:custGeom>
            <a:solidFill>
              <a:srgbClr val="B3B3B3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0" name="Freeform: Shape 429">
              <a:extLst>
                <a:ext uri="{FF2B5EF4-FFF2-40B4-BE49-F238E27FC236}">
                  <a16:creationId xmlns:a16="http://schemas.microsoft.com/office/drawing/2014/main" id="{F5272001-A7E0-0D66-38AC-69A6339FE912}"/>
                </a:ext>
              </a:extLst>
            </p:cNvPr>
            <p:cNvSpPr/>
            <p:nvPr/>
          </p:nvSpPr>
          <p:spPr>
            <a:xfrm>
              <a:off x="8632225" y="4605750"/>
              <a:ext cx="341339" cy="35556"/>
            </a:xfrm>
            <a:custGeom>
              <a:avLst/>
              <a:gdLst>
                <a:gd name="connsiteX0" fmla="*/ 154015 w 341338"/>
                <a:gd name="connsiteY0" fmla="*/ 14777 h 35556"/>
                <a:gd name="connsiteX1" fmla="*/ 3108 w 341338"/>
                <a:gd name="connsiteY1" fmla="*/ 0 h 35556"/>
                <a:gd name="connsiteX2" fmla="*/ 0 w 341338"/>
                <a:gd name="connsiteY2" fmla="*/ 7111 h 35556"/>
                <a:gd name="connsiteX3" fmla="*/ 137069 w 341338"/>
                <a:gd name="connsiteY3" fmla="*/ 36111 h 35556"/>
                <a:gd name="connsiteX4" fmla="*/ 345257 w 341338"/>
                <a:gd name="connsiteY4" fmla="*/ 7111 h 35556"/>
                <a:gd name="connsiteX5" fmla="*/ 154015 w 341338"/>
                <a:gd name="connsiteY5" fmla="*/ 14777 h 35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1338" h="35556">
                  <a:moveTo>
                    <a:pt x="154015" y="14777"/>
                  </a:moveTo>
                  <a:cubicBezTo>
                    <a:pt x="73295" y="14777"/>
                    <a:pt x="14194" y="12566"/>
                    <a:pt x="3108" y="0"/>
                  </a:cubicBezTo>
                  <a:cubicBezTo>
                    <a:pt x="1109" y="2276"/>
                    <a:pt x="0" y="4651"/>
                    <a:pt x="0" y="7111"/>
                  </a:cubicBezTo>
                  <a:cubicBezTo>
                    <a:pt x="0" y="23126"/>
                    <a:pt x="41722" y="36111"/>
                    <a:pt x="137069" y="36111"/>
                  </a:cubicBezTo>
                  <a:cubicBezTo>
                    <a:pt x="232409" y="36111"/>
                    <a:pt x="345257" y="23126"/>
                    <a:pt x="345257" y="7111"/>
                  </a:cubicBezTo>
                  <a:cubicBezTo>
                    <a:pt x="345257" y="7111"/>
                    <a:pt x="312240" y="14777"/>
                    <a:pt x="154015" y="14777"/>
                  </a:cubicBezTo>
                  <a:close/>
                </a:path>
              </a:pathLst>
            </a:custGeom>
            <a:solidFill>
              <a:srgbClr val="7F7F7F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1" name="Freeform: Shape 430">
              <a:extLst>
                <a:ext uri="{FF2B5EF4-FFF2-40B4-BE49-F238E27FC236}">
                  <a16:creationId xmlns:a16="http://schemas.microsoft.com/office/drawing/2014/main" id="{7C3667E3-A5FB-0059-9B80-128CEBFBBE46}"/>
                </a:ext>
              </a:extLst>
            </p:cNvPr>
            <p:cNvSpPr/>
            <p:nvPr/>
          </p:nvSpPr>
          <p:spPr>
            <a:xfrm>
              <a:off x="7881629" y="4583862"/>
              <a:ext cx="341339" cy="56890"/>
            </a:xfrm>
            <a:custGeom>
              <a:avLst/>
              <a:gdLst>
                <a:gd name="connsiteX0" fmla="*/ 0 w 341338"/>
                <a:gd name="connsiteY0" fmla="*/ 29000 h 56889"/>
                <a:gd name="connsiteX1" fmla="*/ 208181 w 341338"/>
                <a:gd name="connsiteY1" fmla="*/ 57999 h 56889"/>
                <a:gd name="connsiteX2" fmla="*/ 345257 w 341338"/>
                <a:gd name="connsiteY2" fmla="*/ 29000 h 56889"/>
                <a:gd name="connsiteX3" fmla="*/ 208181 w 341338"/>
                <a:gd name="connsiteY3" fmla="*/ 0 h 56889"/>
                <a:gd name="connsiteX4" fmla="*/ 0 w 341338"/>
                <a:gd name="connsiteY4" fmla="*/ 29000 h 56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1338" h="56889">
                  <a:moveTo>
                    <a:pt x="0" y="29000"/>
                  </a:moveTo>
                  <a:cubicBezTo>
                    <a:pt x="0" y="45014"/>
                    <a:pt x="112848" y="57999"/>
                    <a:pt x="208181" y="57999"/>
                  </a:cubicBezTo>
                  <a:cubicBezTo>
                    <a:pt x="303536" y="57999"/>
                    <a:pt x="345257" y="45014"/>
                    <a:pt x="345257" y="29000"/>
                  </a:cubicBezTo>
                  <a:cubicBezTo>
                    <a:pt x="345257" y="12985"/>
                    <a:pt x="303536" y="0"/>
                    <a:pt x="208181" y="0"/>
                  </a:cubicBezTo>
                  <a:cubicBezTo>
                    <a:pt x="112848" y="0"/>
                    <a:pt x="0" y="12985"/>
                    <a:pt x="0" y="29000"/>
                  </a:cubicBezTo>
                  <a:close/>
                </a:path>
              </a:pathLst>
            </a:custGeom>
            <a:solidFill>
              <a:srgbClr val="B3B3B3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2" name="Freeform: Shape 431">
              <a:extLst>
                <a:ext uri="{FF2B5EF4-FFF2-40B4-BE49-F238E27FC236}">
                  <a16:creationId xmlns:a16="http://schemas.microsoft.com/office/drawing/2014/main" id="{6C0FFE54-A052-00A6-9D6E-B620844E80BB}"/>
                </a:ext>
              </a:extLst>
            </p:cNvPr>
            <p:cNvSpPr/>
            <p:nvPr/>
          </p:nvSpPr>
          <p:spPr>
            <a:xfrm>
              <a:off x="7881629" y="4583862"/>
              <a:ext cx="341339" cy="35556"/>
            </a:xfrm>
            <a:custGeom>
              <a:avLst/>
              <a:gdLst>
                <a:gd name="connsiteX0" fmla="*/ 191249 w 341338"/>
                <a:gd name="connsiteY0" fmla="*/ 21334 h 35556"/>
                <a:gd name="connsiteX1" fmla="*/ 342135 w 341338"/>
                <a:gd name="connsiteY1" fmla="*/ 36111 h 35556"/>
                <a:gd name="connsiteX2" fmla="*/ 345257 w 341338"/>
                <a:gd name="connsiteY2" fmla="*/ 29000 h 35556"/>
                <a:gd name="connsiteX3" fmla="*/ 208181 w 341338"/>
                <a:gd name="connsiteY3" fmla="*/ 0 h 35556"/>
                <a:gd name="connsiteX4" fmla="*/ 0 w 341338"/>
                <a:gd name="connsiteY4" fmla="*/ 29000 h 35556"/>
                <a:gd name="connsiteX5" fmla="*/ 191249 w 341338"/>
                <a:gd name="connsiteY5" fmla="*/ 21334 h 35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1338" h="35556">
                  <a:moveTo>
                    <a:pt x="191249" y="21334"/>
                  </a:moveTo>
                  <a:cubicBezTo>
                    <a:pt x="271962" y="21334"/>
                    <a:pt x="331063" y="23538"/>
                    <a:pt x="342135" y="36111"/>
                  </a:cubicBezTo>
                  <a:cubicBezTo>
                    <a:pt x="344148" y="33828"/>
                    <a:pt x="345257" y="31460"/>
                    <a:pt x="345257" y="29000"/>
                  </a:cubicBezTo>
                  <a:cubicBezTo>
                    <a:pt x="345257" y="12985"/>
                    <a:pt x="303536" y="0"/>
                    <a:pt x="208181" y="0"/>
                  </a:cubicBezTo>
                  <a:cubicBezTo>
                    <a:pt x="112848" y="0"/>
                    <a:pt x="0" y="12985"/>
                    <a:pt x="0" y="29000"/>
                  </a:cubicBezTo>
                  <a:cubicBezTo>
                    <a:pt x="0" y="29000"/>
                    <a:pt x="33010" y="21334"/>
                    <a:pt x="191249" y="21334"/>
                  </a:cubicBezTo>
                  <a:close/>
                </a:path>
              </a:pathLst>
            </a:custGeom>
            <a:solidFill>
              <a:srgbClr val="7F7F7F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3" name="Freeform: Shape 432">
              <a:extLst>
                <a:ext uri="{FF2B5EF4-FFF2-40B4-BE49-F238E27FC236}">
                  <a16:creationId xmlns:a16="http://schemas.microsoft.com/office/drawing/2014/main" id="{57D6FD41-507B-CD08-6128-5D6575AA4069}"/>
                </a:ext>
              </a:extLst>
            </p:cNvPr>
            <p:cNvSpPr/>
            <p:nvPr/>
          </p:nvSpPr>
          <p:spPr>
            <a:xfrm>
              <a:off x="7818445" y="4580740"/>
              <a:ext cx="99557" cy="64001"/>
            </a:xfrm>
            <a:custGeom>
              <a:avLst/>
              <a:gdLst>
                <a:gd name="connsiteX0" fmla="*/ 105737 w 99557"/>
                <a:gd name="connsiteY0" fmla="*/ 40747 h 64001"/>
                <a:gd name="connsiteX1" fmla="*/ 82248 w 99557"/>
                <a:gd name="connsiteY1" fmla="*/ 64236 h 64001"/>
                <a:gd name="connsiteX2" fmla="*/ 23503 w 99557"/>
                <a:gd name="connsiteY2" fmla="*/ 64236 h 64001"/>
                <a:gd name="connsiteX3" fmla="*/ 0 w 99557"/>
                <a:gd name="connsiteY3" fmla="*/ 40747 h 64001"/>
                <a:gd name="connsiteX4" fmla="*/ 0 w 99557"/>
                <a:gd name="connsiteY4" fmla="*/ 23503 h 64001"/>
                <a:gd name="connsiteX5" fmla="*/ 23503 w 99557"/>
                <a:gd name="connsiteY5" fmla="*/ 0 h 64001"/>
                <a:gd name="connsiteX6" fmla="*/ 82248 w 99557"/>
                <a:gd name="connsiteY6" fmla="*/ 0 h 64001"/>
                <a:gd name="connsiteX7" fmla="*/ 105737 w 99557"/>
                <a:gd name="connsiteY7" fmla="*/ 23503 h 64001"/>
                <a:gd name="connsiteX8" fmla="*/ 105737 w 99557"/>
                <a:gd name="connsiteY8" fmla="*/ 40747 h 64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557" h="64001">
                  <a:moveTo>
                    <a:pt x="105737" y="40747"/>
                  </a:moveTo>
                  <a:cubicBezTo>
                    <a:pt x="105737" y="53718"/>
                    <a:pt x="95219" y="64236"/>
                    <a:pt x="82248" y="64236"/>
                  </a:cubicBezTo>
                  <a:lnTo>
                    <a:pt x="23503" y="64236"/>
                  </a:lnTo>
                  <a:cubicBezTo>
                    <a:pt x="10510" y="64236"/>
                    <a:pt x="0" y="53718"/>
                    <a:pt x="0" y="40747"/>
                  </a:cubicBezTo>
                  <a:lnTo>
                    <a:pt x="0" y="23503"/>
                  </a:lnTo>
                  <a:cubicBezTo>
                    <a:pt x="0" y="10525"/>
                    <a:pt x="10510" y="0"/>
                    <a:pt x="23503" y="0"/>
                  </a:cubicBezTo>
                  <a:lnTo>
                    <a:pt x="82248" y="0"/>
                  </a:lnTo>
                  <a:cubicBezTo>
                    <a:pt x="95219" y="0"/>
                    <a:pt x="105737" y="10525"/>
                    <a:pt x="105737" y="23503"/>
                  </a:cubicBezTo>
                  <a:lnTo>
                    <a:pt x="105737" y="40747"/>
                  </a:lnTo>
                  <a:close/>
                </a:path>
              </a:pathLst>
            </a:custGeom>
            <a:solidFill>
              <a:schemeClr val="accent1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4" name="Freeform: Shape 433">
              <a:extLst>
                <a:ext uri="{FF2B5EF4-FFF2-40B4-BE49-F238E27FC236}">
                  <a16:creationId xmlns:a16="http://schemas.microsoft.com/office/drawing/2014/main" id="{7C92B28F-A127-806A-581A-B4D7C497EBFB}"/>
                </a:ext>
              </a:extLst>
            </p:cNvPr>
            <p:cNvSpPr/>
            <p:nvPr/>
          </p:nvSpPr>
          <p:spPr>
            <a:xfrm>
              <a:off x="7515756" y="4583862"/>
              <a:ext cx="341339" cy="56890"/>
            </a:xfrm>
            <a:custGeom>
              <a:avLst/>
              <a:gdLst>
                <a:gd name="connsiteX0" fmla="*/ 345257 w 341338"/>
                <a:gd name="connsiteY0" fmla="*/ 29000 h 56889"/>
                <a:gd name="connsiteX1" fmla="*/ 137076 w 341338"/>
                <a:gd name="connsiteY1" fmla="*/ 0 h 56889"/>
                <a:gd name="connsiteX2" fmla="*/ 0 w 341338"/>
                <a:gd name="connsiteY2" fmla="*/ 29000 h 56889"/>
                <a:gd name="connsiteX3" fmla="*/ 137076 w 341338"/>
                <a:gd name="connsiteY3" fmla="*/ 57999 h 56889"/>
                <a:gd name="connsiteX4" fmla="*/ 345257 w 341338"/>
                <a:gd name="connsiteY4" fmla="*/ 29000 h 56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1338" h="56889">
                  <a:moveTo>
                    <a:pt x="345257" y="29000"/>
                  </a:moveTo>
                  <a:cubicBezTo>
                    <a:pt x="345257" y="12985"/>
                    <a:pt x="232409" y="0"/>
                    <a:pt x="137076" y="0"/>
                  </a:cubicBezTo>
                  <a:cubicBezTo>
                    <a:pt x="41729" y="0"/>
                    <a:pt x="0" y="12985"/>
                    <a:pt x="0" y="29000"/>
                  </a:cubicBezTo>
                  <a:cubicBezTo>
                    <a:pt x="0" y="45014"/>
                    <a:pt x="41729" y="57999"/>
                    <a:pt x="137076" y="57999"/>
                  </a:cubicBezTo>
                  <a:cubicBezTo>
                    <a:pt x="232409" y="57999"/>
                    <a:pt x="345257" y="45014"/>
                    <a:pt x="345257" y="29000"/>
                  </a:cubicBezTo>
                  <a:close/>
                </a:path>
              </a:pathLst>
            </a:custGeom>
            <a:solidFill>
              <a:srgbClr val="B3B3B3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5" name="Freeform: Shape 434">
              <a:extLst>
                <a:ext uri="{FF2B5EF4-FFF2-40B4-BE49-F238E27FC236}">
                  <a16:creationId xmlns:a16="http://schemas.microsoft.com/office/drawing/2014/main" id="{C33B143E-6422-FECC-19D3-1F7D0937E034}"/>
                </a:ext>
              </a:extLst>
            </p:cNvPr>
            <p:cNvSpPr/>
            <p:nvPr/>
          </p:nvSpPr>
          <p:spPr>
            <a:xfrm>
              <a:off x="7515756" y="4605750"/>
              <a:ext cx="341339" cy="35556"/>
            </a:xfrm>
            <a:custGeom>
              <a:avLst/>
              <a:gdLst>
                <a:gd name="connsiteX0" fmla="*/ 154015 w 341338"/>
                <a:gd name="connsiteY0" fmla="*/ 14777 h 35556"/>
                <a:gd name="connsiteX1" fmla="*/ 3115 w 341338"/>
                <a:gd name="connsiteY1" fmla="*/ 0 h 35556"/>
                <a:gd name="connsiteX2" fmla="*/ 0 w 341338"/>
                <a:gd name="connsiteY2" fmla="*/ 7111 h 35556"/>
                <a:gd name="connsiteX3" fmla="*/ 137076 w 341338"/>
                <a:gd name="connsiteY3" fmla="*/ 36111 h 35556"/>
                <a:gd name="connsiteX4" fmla="*/ 345257 w 341338"/>
                <a:gd name="connsiteY4" fmla="*/ 7111 h 35556"/>
                <a:gd name="connsiteX5" fmla="*/ 154015 w 341338"/>
                <a:gd name="connsiteY5" fmla="*/ 14777 h 35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1338" h="35556">
                  <a:moveTo>
                    <a:pt x="154015" y="14777"/>
                  </a:moveTo>
                  <a:cubicBezTo>
                    <a:pt x="73295" y="14777"/>
                    <a:pt x="14201" y="12566"/>
                    <a:pt x="3115" y="0"/>
                  </a:cubicBezTo>
                  <a:cubicBezTo>
                    <a:pt x="1116" y="2276"/>
                    <a:pt x="0" y="4651"/>
                    <a:pt x="0" y="7111"/>
                  </a:cubicBezTo>
                  <a:cubicBezTo>
                    <a:pt x="0" y="23126"/>
                    <a:pt x="41729" y="36111"/>
                    <a:pt x="137076" y="36111"/>
                  </a:cubicBezTo>
                  <a:cubicBezTo>
                    <a:pt x="232409" y="36111"/>
                    <a:pt x="345257" y="23126"/>
                    <a:pt x="345257" y="7111"/>
                  </a:cubicBezTo>
                  <a:cubicBezTo>
                    <a:pt x="345257" y="7111"/>
                    <a:pt x="312247" y="14777"/>
                    <a:pt x="154015" y="14777"/>
                  </a:cubicBezTo>
                  <a:close/>
                </a:path>
              </a:pathLst>
            </a:custGeom>
            <a:solidFill>
              <a:srgbClr val="7F7F7F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6" name="Freeform: Shape 435">
              <a:extLst>
                <a:ext uri="{FF2B5EF4-FFF2-40B4-BE49-F238E27FC236}">
                  <a16:creationId xmlns:a16="http://schemas.microsoft.com/office/drawing/2014/main" id="{11DE7526-B16A-65CB-59FA-89AFF57EC19B}"/>
                </a:ext>
              </a:extLst>
            </p:cNvPr>
            <p:cNvSpPr/>
            <p:nvPr/>
          </p:nvSpPr>
          <p:spPr>
            <a:xfrm>
              <a:off x="8462566" y="5066828"/>
              <a:ext cx="128002" cy="241782"/>
            </a:xfrm>
            <a:custGeom>
              <a:avLst/>
              <a:gdLst>
                <a:gd name="connsiteX0" fmla="*/ 86935 w 128002"/>
                <a:gd name="connsiteY0" fmla="*/ 0 h 241781"/>
                <a:gd name="connsiteX1" fmla="*/ 0 w 128002"/>
                <a:gd name="connsiteY1" fmla="*/ 0 h 241781"/>
                <a:gd name="connsiteX2" fmla="*/ 42667 w 128002"/>
                <a:gd name="connsiteY2" fmla="*/ 42667 h 241781"/>
                <a:gd name="connsiteX3" fmla="*/ 42667 w 128002"/>
                <a:gd name="connsiteY3" fmla="*/ 203850 h 241781"/>
                <a:gd name="connsiteX4" fmla="*/ 0 w 128002"/>
                <a:gd name="connsiteY4" fmla="*/ 246518 h 241781"/>
                <a:gd name="connsiteX5" fmla="*/ 86935 w 128002"/>
                <a:gd name="connsiteY5" fmla="*/ 246518 h 241781"/>
                <a:gd name="connsiteX6" fmla="*/ 129602 w 128002"/>
                <a:gd name="connsiteY6" fmla="*/ 203850 h 241781"/>
                <a:gd name="connsiteX7" fmla="*/ 129602 w 128002"/>
                <a:gd name="connsiteY7" fmla="*/ 42667 h 241781"/>
                <a:gd name="connsiteX8" fmla="*/ 86935 w 128002"/>
                <a:gd name="connsiteY8" fmla="*/ 0 h 241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8002" h="241781">
                  <a:moveTo>
                    <a:pt x="86935" y="0"/>
                  </a:moveTo>
                  <a:lnTo>
                    <a:pt x="0" y="0"/>
                  </a:lnTo>
                  <a:cubicBezTo>
                    <a:pt x="23574" y="0"/>
                    <a:pt x="42667" y="19101"/>
                    <a:pt x="42667" y="42667"/>
                  </a:cubicBezTo>
                  <a:lnTo>
                    <a:pt x="42667" y="203850"/>
                  </a:lnTo>
                  <a:cubicBezTo>
                    <a:pt x="42667" y="227424"/>
                    <a:pt x="23574" y="246518"/>
                    <a:pt x="0" y="246518"/>
                  </a:cubicBezTo>
                  <a:lnTo>
                    <a:pt x="86935" y="246518"/>
                  </a:lnTo>
                  <a:cubicBezTo>
                    <a:pt x="110494" y="246518"/>
                    <a:pt x="129602" y="227424"/>
                    <a:pt x="129602" y="203850"/>
                  </a:cubicBezTo>
                  <a:lnTo>
                    <a:pt x="129602" y="42667"/>
                  </a:lnTo>
                  <a:cubicBezTo>
                    <a:pt x="129602" y="19101"/>
                    <a:pt x="110494" y="0"/>
                    <a:pt x="86935" y="0"/>
                  </a:cubicBezTo>
                  <a:close/>
                </a:path>
              </a:pathLst>
            </a:custGeom>
            <a:solidFill>
              <a:schemeClr val="accent1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7" name="Freeform: Shape 436">
              <a:extLst>
                <a:ext uri="{FF2B5EF4-FFF2-40B4-BE49-F238E27FC236}">
                  <a16:creationId xmlns:a16="http://schemas.microsoft.com/office/drawing/2014/main" id="{6CF6C72F-92ED-1558-5CA3-066CF8773094}"/>
                </a:ext>
              </a:extLst>
            </p:cNvPr>
            <p:cNvSpPr/>
            <p:nvPr/>
          </p:nvSpPr>
          <p:spPr>
            <a:xfrm>
              <a:off x="8297223" y="5101189"/>
              <a:ext cx="177781" cy="177781"/>
            </a:xfrm>
            <a:custGeom>
              <a:avLst/>
              <a:gdLst>
                <a:gd name="connsiteX0" fmla="*/ 177788 w 177780"/>
                <a:gd name="connsiteY0" fmla="*/ 88890 h 177780"/>
                <a:gd name="connsiteX1" fmla="*/ 88890 w 177780"/>
                <a:gd name="connsiteY1" fmla="*/ 177781 h 177780"/>
                <a:gd name="connsiteX2" fmla="*/ 0 w 177780"/>
                <a:gd name="connsiteY2" fmla="*/ 88890 h 177780"/>
                <a:gd name="connsiteX3" fmla="*/ 88890 w 177780"/>
                <a:gd name="connsiteY3" fmla="*/ 0 h 177780"/>
                <a:gd name="connsiteX4" fmla="*/ 177788 w 177780"/>
                <a:gd name="connsiteY4" fmla="*/ 88890 h 177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780" h="177780">
                  <a:moveTo>
                    <a:pt x="177788" y="88890"/>
                  </a:moveTo>
                  <a:cubicBezTo>
                    <a:pt x="177788" y="137993"/>
                    <a:pt x="137986" y="177781"/>
                    <a:pt x="88890" y="177781"/>
                  </a:cubicBezTo>
                  <a:cubicBezTo>
                    <a:pt x="39802" y="177781"/>
                    <a:pt x="0" y="137993"/>
                    <a:pt x="0" y="88890"/>
                  </a:cubicBezTo>
                  <a:cubicBezTo>
                    <a:pt x="0" y="39794"/>
                    <a:pt x="39802" y="0"/>
                    <a:pt x="88890" y="0"/>
                  </a:cubicBezTo>
                  <a:cubicBezTo>
                    <a:pt x="137986" y="0"/>
                    <a:pt x="177788" y="39794"/>
                    <a:pt x="177788" y="88890"/>
                  </a:cubicBezTo>
                  <a:close/>
                </a:path>
              </a:pathLst>
            </a:custGeom>
            <a:solidFill>
              <a:schemeClr val="accent3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8" name="Freeform: Shape 437">
              <a:extLst>
                <a:ext uri="{FF2B5EF4-FFF2-40B4-BE49-F238E27FC236}">
                  <a16:creationId xmlns:a16="http://schemas.microsoft.com/office/drawing/2014/main" id="{09764CDB-0AF1-99F9-75F9-9A698877468B}"/>
                </a:ext>
              </a:extLst>
            </p:cNvPr>
            <p:cNvSpPr/>
            <p:nvPr/>
          </p:nvSpPr>
          <p:spPr>
            <a:xfrm>
              <a:off x="8315001" y="5118967"/>
              <a:ext cx="142224" cy="142225"/>
            </a:xfrm>
            <a:custGeom>
              <a:avLst/>
              <a:gdLst>
                <a:gd name="connsiteX0" fmla="*/ 142232 w 142224"/>
                <a:gd name="connsiteY0" fmla="*/ 71112 h 142224"/>
                <a:gd name="connsiteX1" fmla="*/ 71112 w 142224"/>
                <a:gd name="connsiteY1" fmla="*/ 142225 h 142224"/>
                <a:gd name="connsiteX2" fmla="*/ 0 w 142224"/>
                <a:gd name="connsiteY2" fmla="*/ 71112 h 142224"/>
                <a:gd name="connsiteX3" fmla="*/ 71112 w 142224"/>
                <a:gd name="connsiteY3" fmla="*/ 0 h 142224"/>
                <a:gd name="connsiteX4" fmla="*/ 142232 w 142224"/>
                <a:gd name="connsiteY4" fmla="*/ 71112 h 142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224" h="142224">
                  <a:moveTo>
                    <a:pt x="142232" y="71112"/>
                  </a:moveTo>
                  <a:cubicBezTo>
                    <a:pt x="142232" y="110395"/>
                    <a:pt x="110388" y="142225"/>
                    <a:pt x="71112" y="142225"/>
                  </a:cubicBezTo>
                  <a:cubicBezTo>
                    <a:pt x="31844" y="142225"/>
                    <a:pt x="0" y="110395"/>
                    <a:pt x="0" y="71112"/>
                  </a:cubicBezTo>
                  <a:cubicBezTo>
                    <a:pt x="0" y="31851"/>
                    <a:pt x="31844" y="0"/>
                    <a:pt x="71112" y="0"/>
                  </a:cubicBezTo>
                  <a:cubicBezTo>
                    <a:pt x="110388" y="0"/>
                    <a:pt x="142232" y="31851"/>
                    <a:pt x="142232" y="71112"/>
                  </a:cubicBezTo>
                  <a:close/>
                </a:path>
              </a:pathLst>
            </a:custGeom>
            <a:solidFill>
              <a:srgbClr val="7F7F7F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9" name="Freeform: Shape 438">
              <a:extLst>
                <a:ext uri="{FF2B5EF4-FFF2-40B4-BE49-F238E27FC236}">
                  <a16:creationId xmlns:a16="http://schemas.microsoft.com/office/drawing/2014/main" id="{2E19F82A-D969-FC39-46D2-941692133639}"/>
                </a:ext>
              </a:extLst>
            </p:cNvPr>
            <p:cNvSpPr/>
            <p:nvPr/>
          </p:nvSpPr>
          <p:spPr>
            <a:xfrm>
              <a:off x="8329223" y="5133190"/>
              <a:ext cx="113780" cy="113780"/>
            </a:xfrm>
            <a:custGeom>
              <a:avLst/>
              <a:gdLst>
                <a:gd name="connsiteX0" fmla="*/ 113787 w 113779"/>
                <a:gd name="connsiteY0" fmla="*/ 56890 h 113779"/>
                <a:gd name="connsiteX1" fmla="*/ 56890 w 113779"/>
                <a:gd name="connsiteY1" fmla="*/ 113780 h 113779"/>
                <a:gd name="connsiteX2" fmla="*/ 0 w 113779"/>
                <a:gd name="connsiteY2" fmla="*/ 56890 h 113779"/>
                <a:gd name="connsiteX3" fmla="*/ 56890 w 113779"/>
                <a:gd name="connsiteY3" fmla="*/ 0 h 113779"/>
                <a:gd name="connsiteX4" fmla="*/ 113787 w 113779"/>
                <a:gd name="connsiteY4" fmla="*/ 56890 h 113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779" h="113779">
                  <a:moveTo>
                    <a:pt x="113787" y="56890"/>
                  </a:moveTo>
                  <a:cubicBezTo>
                    <a:pt x="113787" y="88321"/>
                    <a:pt x="88307" y="113780"/>
                    <a:pt x="56890" y="113780"/>
                  </a:cubicBezTo>
                  <a:cubicBezTo>
                    <a:pt x="25472" y="113780"/>
                    <a:pt x="0" y="88321"/>
                    <a:pt x="0" y="56890"/>
                  </a:cubicBezTo>
                  <a:cubicBezTo>
                    <a:pt x="0" y="25472"/>
                    <a:pt x="25472" y="0"/>
                    <a:pt x="56890" y="0"/>
                  </a:cubicBezTo>
                  <a:cubicBezTo>
                    <a:pt x="88307" y="0"/>
                    <a:pt x="113787" y="25472"/>
                    <a:pt x="113787" y="56890"/>
                  </a:cubicBezTo>
                  <a:close/>
                </a:path>
              </a:pathLst>
            </a:custGeom>
            <a:solidFill>
              <a:srgbClr val="E6E6E6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0" name="Freeform: Shape 439">
              <a:extLst>
                <a:ext uri="{FF2B5EF4-FFF2-40B4-BE49-F238E27FC236}">
                  <a16:creationId xmlns:a16="http://schemas.microsoft.com/office/drawing/2014/main" id="{1C617B9D-FC7C-39AA-4172-E69B4EF37777}"/>
                </a:ext>
              </a:extLst>
            </p:cNvPr>
            <p:cNvSpPr/>
            <p:nvPr/>
          </p:nvSpPr>
          <p:spPr>
            <a:xfrm>
              <a:off x="8350557" y="5154524"/>
              <a:ext cx="71112" cy="71112"/>
            </a:xfrm>
            <a:custGeom>
              <a:avLst/>
              <a:gdLst>
                <a:gd name="connsiteX0" fmla="*/ 71112 w 71112"/>
                <a:gd name="connsiteY0" fmla="*/ 35556 h 71112"/>
                <a:gd name="connsiteX1" fmla="*/ 35556 w 71112"/>
                <a:gd name="connsiteY1" fmla="*/ 71112 h 71112"/>
                <a:gd name="connsiteX2" fmla="*/ 0 w 71112"/>
                <a:gd name="connsiteY2" fmla="*/ 35556 h 71112"/>
                <a:gd name="connsiteX3" fmla="*/ 35556 w 71112"/>
                <a:gd name="connsiteY3" fmla="*/ 0 h 71112"/>
                <a:gd name="connsiteX4" fmla="*/ 71112 w 71112"/>
                <a:gd name="connsiteY4" fmla="*/ 35556 h 71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112" h="71112">
                  <a:moveTo>
                    <a:pt x="71112" y="35556"/>
                  </a:moveTo>
                  <a:cubicBezTo>
                    <a:pt x="71112" y="55197"/>
                    <a:pt x="55190" y="71112"/>
                    <a:pt x="35556" y="71112"/>
                  </a:cubicBezTo>
                  <a:cubicBezTo>
                    <a:pt x="15929" y="71112"/>
                    <a:pt x="0" y="55197"/>
                    <a:pt x="0" y="35556"/>
                  </a:cubicBezTo>
                  <a:cubicBezTo>
                    <a:pt x="0" y="15929"/>
                    <a:pt x="15929" y="0"/>
                    <a:pt x="35556" y="0"/>
                  </a:cubicBezTo>
                  <a:cubicBezTo>
                    <a:pt x="55190" y="0"/>
                    <a:pt x="71112" y="15929"/>
                    <a:pt x="71112" y="35556"/>
                  </a:cubicBezTo>
                  <a:close/>
                </a:path>
              </a:pathLst>
            </a:custGeom>
            <a:solidFill>
              <a:schemeClr val="accent1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1" name="Freeform: Shape 440">
              <a:extLst>
                <a:ext uri="{FF2B5EF4-FFF2-40B4-BE49-F238E27FC236}">
                  <a16:creationId xmlns:a16="http://schemas.microsoft.com/office/drawing/2014/main" id="{4F88820D-72F1-D98E-F147-CFA4A306745D}"/>
                </a:ext>
              </a:extLst>
            </p:cNvPr>
            <p:cNvSpPr/>
            <p:nvPr/>
          </p:nvSpPr>
          <p:spPr>
            <a:xfrm>
              <a:off x="8335552" y="5139512"/>
              <a:ext cx="49779" cy="49779"/>
            </a:xfrm>
            <a:custGeom>
              <a:avLst/>
              <a:gdLst>
                <a:gd name="connsiteX0" fmla="*/ 49779 w 49778"/>
                <a:gd name="connsiteY0" fmla="*/ 24889 h 49778"/>
                <a:gd name="connsiteX1" fmla="*/ 24889 w 49778"/>
                <a:gd name="connsiteY1" fmla="*/ 49779 h 49778"/>
                <a:gd name="connsiteX2" fmla="*/ 0 w 49778"/>
                <a:gd name="connsiteY2" fmla="*/ 24889 h 49778"/>
                <a:gd name="connsiteX3" fmla="*/ 24889 w 49778"/>
                <a:gd name="connsiteY3" fmla="*/ 0 h 49778"/>
                <a:gd name="connsiteX4" fmla="*/ 49779 w 49778"/>
                <a:gd name="connsiteY4" fmla="*/ 24889 h 49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78" h="49778">
                  <a:moveTo>
                    <a:pt x="49779" y="24889"/>
                  </a:moveTo>
                  <a:cubicBezTo>
                    <a:pt x="49779" y="38635"/>
                    <a:pt x="38628" y="49779"/>
                    <a:pt x="24889" y="49779"/>
                  </a:cubicBezTo>
                  <a:cubicBezTo>
                    <a:pt x="11143" y="49779"/>
                    <a:pt x="0" y="38635"/>
                    <a:pt x="0" y="24889"/>
                  </a:cubicBezTo>
                  <a:cubicBezTo>
                    <a:pt x="0" y="11150"/>
                    <a:pt x="11143" y="0"/>
                    <a:pt x="24889" y="0"/>
                  </a:cubicBezTo>
                  <a:cubicBezTo>
                    <a:pt x="38628" y="0"/>
                    <a:pt x="49779" y="11150"/>
                    <a:pt x="49779" y="24889"/>
                  </a:cubicBezTo>
                  <a:close/>
                </a:path>
              </a:pathLst>
            </a:custGeom>
            <a:solidFill>
              <a:srgbClr val="E6E6E6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2" name="Freeform: Shape 441">
              <a:extLst>
                <a:ext uri="{FF2B5EF4-FFF2-40B4-BE49-F238E27FC236}">
                  <a16:creationId xmlns:a16="http://schemas.microsoft.com/office/drawing/2014/main" id="{0EEEF6DB-81A9-CF9B-8953-8AB6A5EBB3AF}"/>
                </a:ext>
              </a:extLst>
            </p:cNvPr>
            <p:cNvSpPr/>
            <p:nvPr/>
          </p:nvSpPr>
          <p:spPr>
            <a:xfrm>
              <a:off x="8527363" y="5095166"/>
              <a:ext cx="35556" cy="35556"/>
            </a:xfrm>
            <a:custGeom>
              <a:avLst/>
              <a:gdLst>
                <a:gd name="connsiteX0" fmla="*/ 35556 w 35556"/>
                <a:gd name="connsiteY0" fmla="*/ 17778 h 35556"/>
                <a:gd name="connsiteX1" fmla="*/ 17778 w 35556"/>
                <a:gd name="connsiteY1" fmla="*/ 35556 h 35556"/>
                <a:gd name="connsiteX2" fmla="*/ 0 w 35556"/>
                <a:gd name="connsiteY2" fmla="*/ 17778 h 35556"/>
                <a:gd name="connsiteX3" fmla="*/ 17778 w 35556"/>
                <a:gd name="connsiteY3" fmla="*/ 0 h 35556"/>
                <a:gd name="connsiteX4" fmla="*/ 35556 w 35556"/>
                <a:gd name="connsiteY4" fmla="*/ 17778 h 35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556" h="35556">
                  <a:moveTo>
                    <a:pt x="35556" y="17778"/>
                  </a:moveTo>
                  <a:cubicBezTo>
                    <a:pt x="35556" y="27606"/>
                    <a:pt x="27613" y="35556"/>
                    <a:pt x="17778" y="35556"/>
                  </a:cubicBezTo>
                  <a:cubicBezTo>
                    <a:pt x="7957" y="35556"/>
                    <a:pt x="0" y="27606"/>
                    <a:pt x="0" y="17778"/>
                  </a:cubicBezTo>
                  <a:cubicBezTo>
                    <a:pt x="0" y="7958"/>
                    <a:pt x="7957" y="0"/>
                    <a:pt x="17778" y="0"/>
                  </a:cubicBezTo>
                  <a:cubicBezTo>
                    <a:pt x="27613" y="0"/>
                    <a:pt x="35556" y="7958"/>
                    <a:pt x="35556" y="17778"/>
                  </a:cubicBezTo>
                  <a:close/>
                </a:path>
              </a:pathLst>
            </a:custGeom>
            <a:solidFill>
              <a:schemeClr val="accent2"/>
            </a:solidFill>
            <a:ln w="7104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43" name="TextBox 442">
            <a:extLst>
              <a:ext uri="{FF2B5EF4-FFF2-40B4-BE49-F238E27FC236}">
                <a16:creationId xmlns:a16="http://schemas.microsoft.com/office/drawing/2014/main" id="{ABD32A54-E81B-7A6A-5F97-02E3E58B3E6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7403832" y="3074825"/>
            <a:ext cx="1877992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rone Surveillance</a:t>
            </a:r>
          </a:p>
        </p:txBody>
      </p:sp>
      <p:pic>
        <p:nvPicPr>
          <p:cNvPr id="444" name="Picture 443">
            <a:extLst>
              <a:ext uri="{FF2B5EF4-FFF2-40B4-BE49-F238E27FC236}">
                <a16:creationId xmlns:a16="http://schemas.microsoft.com/office/drawing/2014/main" id="{F2CCBCFA-B0B2-38AA-58BA-BDFEBEA9504A}"/>
              </a:ext>
            </a:extLst>
          </p:cNvPr>
          <p:cNvPicPr>
            <a:picLocks noChangeAspect="1"/>
          </p:cNvPicPr>
          <p:nvPr/>
        </p:nvPicPr>
        <p:blipFill>
          <a:blip r:embed="rId14" cstate="hq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0852" y="4165834"/>
            <a:ext cx="1085024" cy="182249"/>
          </a:xfrm>
          <a:prstGeom prst="rect">
            <a:avLst/>
          </a:prstGeom>
        </p:spPr>
      </p:pic>
      <p:pic>
        <p:nvPicPr>
          <p:cNvPr id="445" name="Picture 444">
            <a:extLst>
              <a:ext uri="{FF2B5EF4-FFF2-40B4-BE49-F238E27FC236}">
                <a16:creationId xmlns:a16="http://schemas.microsoft.com/office/drawing/2014/main" id="{454A1FFF-2EB8-4358-1B97-833F73D1CB23}"/>
              </a:ext>
            </a:extLst>
          </p:cNvPr>
          <p:cNvPicPr>
            <a:picLocks noChangeAspect="1"/>
          </p:cNvPicPr>
          <p:nvPr/>
        </p:nvPicPr>
        <p:blipFill>
          <a:blip r:embed="rId16" cstate="hq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8552" y="4453251"/>
            <a:ext cx="1238499" cy="340612"/>
          </a:xfrm>
          <a:prstGeom prst="rect">
            <a:avLst/>
          </a:prstGeom>
        </p:spPr>
      </p:pic>
      <p:pic>
        <p:nvPicPr>
          <p:cNvPr id="446" name="Picture 2">
            <a:extLst>
              <a:ext uri="{FF2B5EF4-FFF2-40B4-BE49-F238E27FC236}">
                <a16:creationId xmlns:a16="http://schemas.microsoft.com/office/drawing/2014/main" id="{AD140F08-D833-D084-4658-8016BC7E8B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2997" y="3641637"/>
            <a:ext cx="1322879" cy="204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7" name="Picture 4">
            <a:extLst>
              <a:ext uri="{FF2B5EF4-FFF2-40B4-BE49-F238E27FC236}">
                <a16:creationId xmlns:a16="http://schemas.microsoft.com/office/drawing/2014/main" id="{16B59F73-725C-0148-1C2B-9F6F7FC008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9778" y="3907871"/>
            <a:ext cx="480015" cy="288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8" name="TextBox 447">
            <a:extLst>
              <a:ext uri="{FF2B5EF4-FFF2-40B4-BE49-F238E27FC236}">
                <a16:creationId xmlns:a16="http://schemas.microsoft.com/office/drawing/2014/main" id="{19C51C0E-D2D5-2DCC-00ED-1918CA8AF634}"/>
              </a:ext>
            </a:extLst>
          </p:cNvPr>
          <p:cNvSpPr txBox="1">
            <a:spLocks/>
          </p:cNvSpPr>
          <p:nvPr/>
        </p:nvSpPr>
        <p:spPr>
          <a:xfrm>
            <a:off x="7403832" y="4999511"/>
            <a:ext cx="1877992" cy="707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  <a:sym typeface=""/>
              </a:rPr>
              <a:t>70%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fewer bird strikes through drone usage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"/>
            </a:endParaRPr>
          </a:p>
        </p:txBody>
      </p:sp>
      <p:grpSp>
        <p:nvGrpSpPr>
          <p:cNvPr id="449" name="Group 448">
            <a:extLst>
              <a:ext uri="{FF2B5EF4-FFF2-40B4-BE49-F238E27FC236}">
                <a16:creationId xmlns:a16="http://schemas.microsoft.com/office/drawing/2014/main" id="{8388A7F6-BFD0-55E8-A501-B5E9EAD518CD}"/>
              </a:ext>
            </a:extLst>
          </p:cNvPr>
          <p:cNvGrpSpPr/>
          <p:nvPr/>
        </p:nvGrpSpPr>
        <p:grpSpPr>
          <a:xfrm>
            <a:off x="5827675" y="2208514"/>
            <a:ext cx="536651" cy="843128"/>
            <a:chOff x="1729993" y="167740"/>
            <a:chExt cx="1172227" cy="1841678"/>
          </a:xfrm>
        </p:grpSpPr>
        <p:sp>
          <p:nvSpPr>
            <p:cNvPr id="450" name="Freeform: Shape 449">
              <a:extLst>
                <a:ext uri="{FF2B5EF4-FFF2-40B4-BE49-F238E27FC236}">
                  <a16:creationId xmlns:a16="http://schemas.microsoft.com/office/drawing/2014/main" id="{A519B6AB-49A4-8E93-8231-45B43BC9D93C}"/>
                </a:ext>
              </a:extLst>
            </p:cNvPr>
            <p:cNvSpPr/>
            <p:nvPr/>
          </p:nvSpPr>
          <p:spPr>
            <a:xfrm>
              <a:off x="1753763" y="1335076"/>
              <a:ext cx="1148412" cy="674342"/>
            </a:xfrm>
            <a:custGeom>
              <a:avLst/>
              <a:gdLst>
                <a:gd name="connsiteX0" fmla="*/ 1129661 w 1148412"/>
                <a:gd name="connsiteY0" fmla="*/ 293522 h 674342"/>
                <a:gd name="connsiteX1" fmla="*/ 1127668 w 1148412"/>
                <a:gd name="connsiteY1" fmla="*/ 291990 h 674342"/>
                <a:gd name="connsiteX2" fmla="*/ 627593 w 1148412"/>
                <a:gd name="connsiteY2" fmla="*/ 11277 h 674342"/>
                <a:gd name="connsiteX3" fmla="*/ 544436 w 1148412"/>
                <a:gd name="connsiteY3" fmla="*/ 10915 h 674342"/>
                <a:gd name="connsiteX4" fmla="*/ 30180 w 1148412"/>
                <a:gd name="connsiteY4" fmla="*/ 304903 h 674342"/>
                <a:gd name="connsiteX5" fmla="*/ -25 w 1148412"/>
                <a:gd name="connsiteY5" fmla="*/ 314159 h 674342"/>
                <a:gd name="connsiteX6" fmla="*/ -25 w 1148412"/>
                <a:gd name="connsiteY6" fmla="*/ 346258 h 674342"/>
                <a:gd name="connsiteX7" fmla="*/ 20941 w 1148412"/>
                <a:gd name="connsiteY7" fmla="*/ 382476 h 674342"/>
                <a:gd name="connsiteX8" fmla="*/ 530289 w 1148412"/>
                <a:gd name="connsiteY8" fmla="*/ 663353 h 674342"/>
                <a:gd name="connsiteX9" fmla="*/ 613264 w 1148412"/>
                <a:gd name="connsiteY9" fmla="*/ 663189 h 674342"/>
                <a:gd name="connsiteX10" fmla="*/ 1127668 w 1148412"/>
                <a:gd name="connsiteY10" fmla="*/ 364013 h 674342"/>
                <a:gd name="connsiteX11" fmla="*/ 1136084 w 1148412"/>
                <a:gd name="connsiteY11" fmla="*/ 357524 h 674342"/>
                <a:gd name="connsiteX12" fmla="*/ 1148387 w 1148412"/>
                <a:gd name="connsiteY12" fmla="*/ 325358 h 674342"/>
                <a:gd name="connsiteX13" fmla="*/ 1148387 w 1148412"/>
                <a:gd name="connsiteY13" fmla="*/ 294000 h 674342"/>
                <a:gd name="connsiteX14" fmla="*/ 1129661 w 1148412"/>
                <a:gd name="connsiteY14" fmla="*/ 293522 h 674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48412" h="674342">
                  <a:moveTo>
                    <a:pt x="1129661" y="293522"/>
                  </a:moveTo>
                  <a:lnTo>
                    <a:pt x="1127668" y="291990"/>
                  </a:lnTo>
                  <a:lnTo>
                    <a:pt x="627593" y="11277"/>
                  </a:lnTo>
                  <a:cubicBezTo>
                    <a:pt x="601933" y="-3677"/>
                    <a:pt x="570327" y="-3776"/>
                    <a:pt x="544436" y="10915"/>
                  </a:cubicBezTo>
                  <a:lnTo>
                    <a:pt x="30180" y="304903"/>
                  </a:lnTo>
                  <a:lnTo>
                    <a:pt x="-25" y="314159"/>
                  </a:lnTo>
                  <a:lnTo>
                    <a:pt x="-25" y="346258"/>
                  </a:lnTo>
                  <a:cubicBezTo>
                    <a:pt x="-42" y="360357"/>
                    <a:pt x="6941" y="374488"/>
                    <a:pt x="20941" y="382476"/>
                  </a:cubicBezTo>
                  <a:lnTo>
                    <a:pt x="530289" y="663353"/>
                  </a:lnTo>
                  <a:cubicBezTo>
                    <a:pt x="556015" y="678045"/>
                    <a:pt x="587703" y="677962"/>
                    <a:pt x="613264" y="663189"/>
                  </a:cubicBezTo>
                  <a:lnTo>
                    <a:pt x="1127668" y="364013"/>
                  </a:lnTo>
                  <a:cubicBezTo>
                    <a:pt x="1130765" y="362218"/>
                    <a:pt x="1133581" y="360011"/>
                    <a:pt x="1136084" y="357524"/>
                  </a:cubicBezTo>
                  <a:cubicBezTo>
                    <a:pt x="1144517" y="349157"/>
                    <a:pt x="1148387" y="337233"/>
                    <a:pt x="1148387" y="325358"/>
                  </a:cubicBezTo>
                  <a:lnTo>
                    <a:pt x="1148387" y="294000"/>
                  </a:lnTo>
                  <a:lnTo>
                    <a:pt x="1129661" y="293522"/>
                  </a:lnTo>
                  <a:close/>
                </a:path>
              </a:pathLst>
            </a:custGeom>
            <a:solidFill>
              <a:srgbClr val="051C2C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1" name="Freeform: Shape 450">
              <a:extLst>
                <a:ext uri="{FF2B5EF4-FFF2-40B4-BE49-F238E27FC236}">
                  <a16:creationId xmlns:a16="http://schemas.microsoft.com/office/drawing/2014/main" id="{871DDB5D-2DCB-AF9D-ED20-ADC70F978FF9}"/>
                </a:ext>
              </a:extLst>
            </p:cNvPr>
            <p:cNvSpPr/>
            <p:nvPr/>
          </p:nvSpPr>
          <p:spPr>
            <a:xfrm>
              <a:off x="1753767" y="1302828"/>
              <a:ext cx="1148453" cy="674342"/>
            </a:xfrm>
            <a:custGeom>
              <a:avLst/>
              <a:gdLst>
                <a:gd name="connsiteX0" fmla="*/ 1127664 w 1148453"/>
                <a:gd name="connsiteY0" fmla="*/ 364013 h 674342"/>
                <a:gd name="connsiteX1" fmla="*/ 613260 w 1148453"/>
                <a:gd name="connsiteY1" fmla="*/ 663189 h 674342"/>
                <a:gd name="connsiteX2" fmla="*/ 530285 w 1148453"/>
                <a:gd name="connsiteY2" fmla="*/ 663353 h 674342"/>
                <a:gd name="connsiteX3" fmla="*/ 20937 w 1148453"/>
                <a:gd name="connsiteY3" fmla="*/ 382459 h 674342"/>
                <a:gd name="connsiteX4" fmla="*/ 20937 w 1148453"/>
                <a:gd name="connsiteY4" fmla="*/ 310173 h 674342"/>
                <a:gd name="connsiteX5" fmla="*/ 544432 w 1148453"/>
                <a:gd name="connsiteY5" fmla="*/ 10915 h 674342"/>
                <a:gd name="connsiteX6" fmla="*/ 627589 w 1148453"/>
                <a:gd name="connsiteY6" fmla="*/ 11277 h 674342"/>
                <a:gd name="connsiteX7" fmla="*/ 1127664 w 1148453"/>
                <a:gd name="connsiteY7" fmla="*/ 291990 h 674342"/>
                <a:gd name="connsiteX8" fmla="*/ 1127664 w 1148453"/>
                <a:gd name="connsiteY8" fmla="*/ 364013 h 674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8453" h="674342">
                  <a:moveTo>
                    <a:pt x="1127664" y="364013"/>
                  </a:moveTo>
                  <a:lnTo>
                    <a:pt x="613260" y="663189"/>
                  </a:lnTo>
                  <a:cubicBezTo>
                    <a:pt x="587699" y="677962"/>
                    <a:pt x="556010" y="678044"/>
                    <a:pt x="530285" y="663353"/>
                  </a:cubicBezTo>
                  <a:lnTo>
                    <a:pt x="20937" y="382459"/>
                  </a:lnTo>
                  <a:cubicBezTo>
                    <a:pt x="-7013" y="366533"/>
                    <a:pt x="-7013" y="326116"/>
                    <a:pt x="20937" y="310173"/>
                  </a:cubicBezTo>
                  <a:lnTo>
                    <a:pt x="544432" y="10915"/>
                  </a:lnTo>
                  <a:cubicBezTo>
                    <a:pt x="570323" y="-3776"/>
                    <a:pt x="601929" y="-3677"/>
                    <a:pt x="627589" y="11277"/>
                  </a:cubicBezTo>
                  <a:lnTo>
                    <a:pt x="1127664" y="291990"/>
                  </a:lnTo>
                  <a:cubicBezTo>
                    <a:pt x="1155350" y="307999"/>
                    <a:pt x="1155350" y="347971"/>
                    <a:pt x="1127664" y="364013"/>
                  </a:cubicBezTo>
                  <a:close/>
                </a:path>
              </a:pathLst>
            </a:custGeom>
            <a:solidFill>
              <a:srgbClr val="051C2C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2" name="Freeform: Shape 451">
              <a:extLst>
                <a:ext uri="{FF2B5EF4-FFF2-40B4-BE49-F238E27FC236}">
                  <a16:creationId xmlns:a16="http://schemas.microsoft.com/office/drawing/2014/main" id="{ACB8AA68-46F3-D2B5-D96B-A35BB5EBEBE6}"/>
                </a:ext>
              </a:extLst>
            </p:cNvPr>
            <p:cNvSpPr/>
            <p:nvPr/>
          </p:nvSpPr>
          <p:spPr>
            <a:xfrm>
              <a:off x="2802945" y="1614390"/>
              <a:ext cx="58649" cy="32758"/>
            </a:xfrm>
            <a:custGeom>
              <a:avLst/>
              <a:gdLst>
                <a:gd name="connsiteX0" fmla="*/ -25 w 58649"/>
                <a:gd name="connsiteY0" fmla="*/ 16349 h 32758"/>
                <a:gd name="connsiteX1" fmla="*/ 29291 w 58649"/>
                <a:gd name="connsiteY1" fmla="*/ 32737 h 32758"/>
                <a:gd name="connsiteX2" fmla="*/ 58624 w 58649"/>
                <a:gd name="connsiteY2" fmla="*/ 16349 h 32758"/>
                <a:gd name="connsiteX3" fmla="*/ 29291 w 58649"/>
                <a:gd name="connsiteY3" fmla="*/ -22 h 32758"/>
                <a:gd name="connsiteX4" fmla="*/ -25 w 58649"/>
                <a:gd name="connsiteY4" fmla="*/ 16349 h 32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649" h="32758">
                  <a:moveTo>
                    <a:pt x="-25" y="16349"/>
                  </a:moveTo>
                  <a:cubicBezTo>
                    <a:pt x="-25" y="25391"/>
                    <a:pt x="13117" y="32737"/>
                    <a:pt x="29291" y="32737"/>
                  </a:cubicBezTo>
                  <a:cubicBezTo>
                    <a:pt x="45481" y="32737"/>
                    <a:pt x="58624" y="25391"/>
                    <a:pt x="58624" y="16349"/>
                  </a:cubicBezTo>
                  <a:cubicBezTo>
                    <a:pt x="58624" y="7307"/>
                    <a:pt x="45481" y="-22"/>
                    <a:pt x="29291" y="-22"/>
                  </a:cubicBezTo>
                  <a:cubicBezTo>
                    <a:pt x="13117" y="-22"/>
                    <a:pt x="-25" y="7307"/>
                    <a:pt x="-25" y="16349"/>
                  </a:cubicBezTo>
                  <a:close/>
                </a:path>
              </a:pathLst>
            </a:custGeom>
            <a:solidFill>
              <a:srgbClr val="E6E6E6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3" name="Freeform: Shape 452">
              <a:extLst>
                <a:ext uri="{FF2B5EF4-FFF2-40B4-BE49-F238E27FC236}">
                  <a16:creationId xmlns:a16="http://schemas.microsoft.com/office/drawing/2014/main" id="{6A5A6099-7CA9-4D70-26B8-657CF1B2BFBE}"/>
                </a:ext>
              </a:extLst>
            </p:cNvPr>
            <p:cNvSpPr/>
            <p:nvPr/>
          </p:nvSpPr>
          <p:spPr>
            <a:xfrm>
              <a:off x="1958862" y="1404267"/>
              <a:ext cx="728413" cy="406888"/>
            </a:xfrm>
            <a:custGeom>
              <a:avLst/>
              <a:gdLst>
                <a:gd name="connsiteX0" fmla="*/ 602575 w 728413"/>
                <a:gd name="connsiteY0" fmla="*/ 49668 h 406888"/>
                <a:gd name="connsiteX1" fmla="*/ 364173 w 728413"/>
                <a:gd name="connsiteY1" fmla="*/ -22 h 406888"/>
                <a:gd name="connsiteX2" fmla="*/ 125804 w 728413"/>
                <a:gd name="connsiteY2" fmla="*/ 49668 h 406888"/>
                <a:gd name="connsiteX3" fmla="*/ -25 w 728413"/>
                <a:gd name="connsiteY3" fmla="*/ 49668 h 406888"/>
                <a:gd name="connsiteX4" fmla="*/ -25 w 728413"/>
                <a:gd name="connsiteY4" fmla="*/ 203414 h 406888"/>
                <a:gd name="connsiteX5" fmla="*/ 364173 w 728413"/>
                <a:gd name="connsiteY5" fmla="*/ 406867 h 406888"/>
                <a:gd name="connsiteX6" fmla="*/ 728389 w 728413"/>
                <a:gd name="connsiteY6" fmla="*/ 203414 h 406888"/>
                <a:gd name="connsiteX7" fmla="*/ 728389 w 728413"/>
                <a:gd name="connsiteY7" fmla="*/ 49668 h 406888"/>
                <a:gd name="connsiteX8" fmla="*/ 602575 w 728413"/>
                <a:gd name="connsiteY8" fmla="*/ 49668 h 40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8413" h="406888">
                  <a:moveTo>
                    <a:pt x="602575" y="49668"/>
                  </a:moveTo>
                  <a:cubicBezTo>
                    <a:pt x="538672" y="18738"/>
                    <a:pt x="455384" y="-22"/>
                    <a:pt x="364173" y="-22"/>
                  </a:cubicBezTo>
                  <a:cubicBezTo>
                    <a:pt x="272996" y="-22"/>
                    <a:pt x="189691" y="18738"/>
                    <a:pt x="125804" y="49668"/>
                  </a:cubicBezTo>
                  <a:lnTo>
                    <a:pt x="-25" y="49668"/>
                  </a:lnTo>
                  <a:lnTo>
                    <a:pt x="-25" y="203414"/>
                  </a:lnTo>
                  <a:cubicBezTo>
                    <a:pt x="-25" y="315772"/>
                    <a:pt x="163043" y="406867"/>
                    <a:pt x="364173" y="406867"/>
                  </a:cubicBezTo>
                  <a:cubicBezTo>
                    <a:pt x="565320" y="406867"/>
                    <a:pt x="728389" y="315772"/>
                    <a:pt x="728389" y="203414"/>
                  </a:cubicBezTo>
                  <a:lnTo>
                    <a:pt x="728389" y="49668"/>
                  </a:lnTo>
                  <a:lnTo>
                    <a:pt x="602575" y="49668"/>
                  </a:lnTo>
                  <a:close/>
                </a:path>
              </a:pathLst>
            </a:custGeom>
            <a:solidFill>
              <a:srgbClr val="2251FF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4" name="Freeform: Shape 453">
              <a:extLst>
                <a:ext uri="{FF2B5EF4-FFF2-40B4-BE49-F238E27FC236}">
                  <a16:creationId xmlns:a16="http://schemas.microsoft.com/office/drawing/2014/main" id="{DC22ADF3-86C0-580A-F791-22F98535BA5F}"/>
                </a:ext>
              </a:extLst>
            </p:cNvPr>
            <p:cNvSpPr/>
            <p:nvPr/>
          </p:nvSpPr>
          <p:spPr>
            <a:xfrm>
              <a:off x="2031709" y="1238366"/>
              <a:ext cx="582721" cy="325510"/>
            </a:xfrm>
            <a:custGeom>
              <a:avLst/>
              <a:gdLst>
                <a:gd name="connsiteX0" fmla="*/ 482048 w 582721"/>
                <a:gd name="connsiteY0" fmla="*/ 39737 h 325510"/>
                <a:gd name="connsiteX1" fmla="*/ 291327 w 582721"/>
                <a:gd name="connsiteY1" fmla="*/ -22 h 325510"/>
                <a:gd name="connsiteX2" fmla="*/ 100639 w 582721"/>
                <a:gd name="connsiteY2" fmla="*/ 39737 h 325510"/>
                <a:gd name="connsiteX3" fmla="*/ -25 w 582721"/>
                <a:gd name="connsiteY3" fmla="*/ 83299 h 325510"/>
                <a:gd name="connsiteX4" fmla="*/ -25 w 582721"/>
                <a:gd name="connsiteY4" fmla="*/ 162717 h 325510"/>
                <a:gd name="connsiteX5" fmla="*/ 291327 w 582721"/>
                <a:gd name="connsiteY5" fmla="*/ 325489 h 325510"/>
                <a:gd name="connsiteX6" fmla="*/ 582696 w 582721"/>
                <a:gd name="connsiteY6" fmla="*/ 162717 h 325510"/>
                <a:gd name="connsiteX7" fmla="*/ 582696 w 582721"/>
                <a:gd name="connsiteY7" fmla="*/ 83299 h 325510"/>
                <a:gd name="connsiteX8" fmla="*/ 482048 w 582721"/>
                <a:gd name="connsiteY8" fmla="*/ 39737 h 32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82721" h="325510">
                  <a:moveTo>
                    <a:pt x="482048" y="39737"/>
                  </a:moveTo>
                  <a:cubicBezTo>
                    <a:pt x="430926" y="14982"/>
                    <a:pt x="364289" y="-22"/>
                    <a:pt x="291327" y="-22"/>
                  </a:cubicBezTo>
                  <a:cubicBezTo>
                    <a:pt x="218382" y="-22"/>
                    <a:pt x="151745" y="14982"/>
                    <a:pt x="100639" y="39737"/>
                  </a:cubicBezTo>
                  <a:lnTo>
                    <a:pt x="-25" y="83299"/>
                  </a:lnTo>
                  <a:lnTo>
                    <a:pt x="-25" y="162717"/>
                  </a:lnTo>
                  <a:cubicBezTo>
                    <a:pt x="-25" y="252610"/>
                    <a:pt x="130416" y="325489"/>
                    <a:pt x="291327" y="325489"/>
                  </a:cubicBezTo>
                  <a:cubicBezTo>
                    <a:pt x="452254" y="325489"/>
                    <a:pt x="582696" y="252610"/>
                    <a:pt x="582696" y="162717"/>
                  </a:cubicBezTo>
                  <a:lnTo>
                    <a:pt x="582696" y="83299"/>
                  </a:lnTo>
                  <a:lnTo>
                    <a:pt x="482048" y="39737"/>
                  </a:lnTo>
                  <a:close/>
                </a:path>
              </a:pathLst>
            </a:custGeom>
            <a:solidFill>
              <a:srgbClr val="051C2C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5" name="Freeform: Shape 454">
              <a:extLst>
                <a:ext uri="{FF2B5EF4-FFF2-40B4-BE49-F238E27FC236}">
                  <a16:creationId xmlns:a16="http://schemas.microsoft.com/office/drawing/2014/main" id="{BEB0D568-07F7-2AA0-3E3C-5367D83D62BE}"/>
                </a:ext>
              </a:extLst>
            </p:cNvPr>
            <p:cNvSpPr/>
            <p:nvPr/>
          </p:nvSpPr>
          <p:spPr>
            <a:xfrm>
              <a:off x="1819247" y="330587"/>
              <a:ext cx="271012" cy="267396"/>
            </a:xfrm>
            <a:custGeom>
              <a:avLst/>
              <a:gdLst>
                <a:gd name="connsiteX0" fmla="*/ 222911 w 271012"/>
                <a:gd name="connsiteY0" fmla="*/ 27030 h 267396"/>
                <a:gd name="connsiteX1" fmla="*/ 167424 w 271012"/>
                <a:gd name="connsiteY1" fmla="*/ 2918 h 267396"/>
                <a:gd name="connsiteX2" fmla="*/ 157229 w 271012"/>
                <a:gd name="connsiteY2" fmla="*/ 8896 h 267396"/>
                <a:gd name="connsiteX3" fmla="*/ -25 w 271012"/>
                <a:gd name="connsiteY3" fmla="*/ 100568 h 267396"/>
                <a:gd name="connsiteX4" fmla="*/ 65904 w 271012"/>
                <a:gd name="connsiteY4" fmla="*/ 267375 h 267396"/>
                <a:gd name="connsiteX5" fmla="*/ 270987 w 271012"/>
                <a:gd name="connsiteY5" fmla="*/ 149747 h 267396"/>
                <a:gd name="connsiteX6" fmla="*/ 222911 w 271012"/>
                <a:gd name="connsiteY6" fmla="*/ 27030 h 267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012" h="267396">
                  <a:moveTo>
                    <a:pt x="222911" y="27030"/>
                  </a:moveTo>
                  <a:cubicBezTo>
                    <a:pt x="214330" y="5191"/>
                    <a:pt x="189263" y="-5663"/>
                    <a:pt x="167424" y="2918"/>
                  </a:cubicBezTo>
                  <a:cubicBezTo>
                    <a:pt x="163372" y="4532"/>
                    <a:pt x="160144" y="6640"/>
                    <a:pt x="157229" y="8896"/>
                  </a:cubicBezTo>
                  <a:lnTo>
                    <a:pt x="-25" y="100568"/>
                  </a:lnTo>
                  <a:lnTo>
                    <a:pt x="65904" y="267375"/>
                  </a:lnTo>
                  <a:lnTo>
                    <a:pt x="270987" y="149747"/>
                  </a:lnTo>
                  <a:lnTo>
                    <a:pt x="222911" y="27030"/>
                  </a:lnTo>
                  <a:close/>
                </a:path>
              </a:pathLst>
            </a:custGeom>
            <a:solidFill>
              <a:srgbClr val="2251FF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6" name="Freeform: Shape 455">
              <a:extLst>
                <a:ext uri="{FF2B5EF4-FFF2-40B4-BE49-F238E27FC236}">
                  <a16:creationId xmlns:a16="http://schemas.microsoft.com/office/drawing/2014/main" id="{47A9C918-EED9-5B4F-EE3C-4E7D316F3549}"/>
                </a:ext>
              </a:extLst>
            </p:cNvPr>
            <p:cNvSpPr/>
            <p:nvPr/>
          </p:nvSpPr>
          <p:spPr>
            <a:xfrm>
              <a:off x="1797195" y="429817"/>
              <a:ext cx="399657" cy="909966"/>
            </a:xfrm>
            <a:custGeom>
              <a:avLst/>
              <a:gdLst>
                <a:gd name="connsiteX0" fmla="*/ 399632 w 399657"/>
                <a:gd name="connsiteY0" fmla="*/ 867637 h 909966"/>
                <a:gd name="connsiteX1" fmla="*/ 343074 w 399657"/>
                <a:gd name="connsiteY1" fmla="*/ 900017 h 909966"/>
                <a:gd name="connsiteX2" fmla="*/ 308702 w 399657"/>
                <a:gd name="connsiteY2" fmla="*/ 851019 h 909966"/>
                <a:gd name="connsiteX3" fmla="*/ 38793 w 399657"/>
                <a:gd name="connsiteY3" fmla="*/ 161589 h 909966"/>
                <a:gd name="connsiteX4" fmla="*/ 22026 w 399657"/>
                <a:gd name="connsiteY4" fmla="*/ 1337 h 909966"/>
                <a:gd name="connsiteX5" fmla="*/ 109399 w 399657"/>
                <a:gd name="connsiteY5" fmla="*/ 106778 h 909966"/>
                <a:gd name="connsiteX6" fmla="*/ 381614 w 399657"/>
                <a:gd name="connsiteY6" fmla="*/ 802202 h 909966"/>
                <a:gd name="connsiteX7" fmla="*/ 399632 w 399657"/>
                <a:gd name="connsiteY7" fmla="*/ 867637 h 909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9657" h="909966">
                  <a:moveTo>
                    <a:pt x="399632" y="867637"/>
                  </a:moveTo>
                  <a:cubicBezTo>
                    <a:pt x="399632" y="902619"/>
                    <a:pt x="373807" y="923388"/>
                    <a:pt x="343074" y="900017"/>
                  </a:cubicBezTo>
                  <a:cubicBezTo>
                    <a:pt x="326868" y="887681"/>
                    <a:pt x="316278" y="869564"/>
                    <a:pt x="308702" y="851019"/>
                  </a:cubicBezTo>
                  <a:cubicBezTo>
                    <a:pt x="303645" y="838601"/>
                    <a:pt x="99583" y="316868"/>
                    <a:pt x="38793" y="161589"/>
                  </a:cubicBezTo>
                  <a:cubicBezTo>
                    <a:pt x="25090" y="126591"/>
                    <a:pt x="-30282" y="20607"/>
                    <a:pt x="22026" y="1337"/>
                  </a:cubicBezTo>
                  <a:cubicBezTo>
                    <a:pt x="73017" y="-11443"/>
                    <a:pt x="94692" y="69177"/>
                    <a:pt x="109399" y="106778"/>
                  </a:cubicBezTo>
                  <a:cubicBezTo>
                    <a:pt x="132787" y="166497"/>
                    <a:pt x="372769" y="779622"/>
                    <a:pt x="381614" y="802202"/>
                  </a:cubicBezTo>
                  <a:cubicBezTo>
                    <a:pt x="389931" y="823416"/>
                    <a:pt x="399632" y="844316"/>
                    <a:pt x="399632" y="867637"/>
                  </a:cubicBezTo>
                  <a:close/>
                </a:path>
              </a:pathLst>
            </a:custGeom>
            <a:solidFill>
              <a:srgbClr val="00A9F4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7" name="Freeform: Shape 456">
              <a:extLst>
                <a:ext uri="{FF2B5EF4-FFF2-40B4-BE49-F238E27FC236}">
                  <a16:creationId xmlns:a16="http://schemas.microsoft.com/office/drawing/2014/main" id="{229249CE-B6BB-542F-4FA5-2B1A08EDD574}"/>
                </a:ext>
              </a:extLst>
            </p:cNvPr>
            <p:cNvSpPr/>
            <p:nvPr/>
          </p:nvSpPr>
          <p:spPr>
            <a:xfrm>
              <a:off x="1729993" y="167740"/>
              <a:ext cx="362844" cy="214259"/>
            </a:xfrm>
            <a:custGeom>
              <a:avLst/>
              <a:gdLst>
                <a:gd name="connsiteX0" fmla="*/ 355630 w 362844"/>
                <a:gd name="connsiteY0" fmla="*/ 106835 h 214259"/>
                <a:gd name="connsiteX1" fmla="*/ 177590 w 362844"/>
                <a:gd name="connsiteY1" fmla="*/ 210381 h 214259"/>
                <a:gd name="connsiteX2" fmla="*/ 148866 w 362844"/>
                <a:gd name="connsiteY2" fmla="*/ 210447 h 214259"/>
                <a:gd name="connsiteX3" fmla="*/ 7225 w 362844"/>
                <a:gd name="connsiteY3" fmla="*/ 132380 h 214259"/>
                <a:gd name="connsiteX4" fmla="*/ 7225 w 362844"/>
                <a:gd name="connsiteY4" fmla="*/ 107362 h 214259"/>
                <a:gd name="connsiteX5" fmla="*/ 188427 w 362844"/>
                <a:gd name="connsiteY5" fmla="*/ 3767 h 214259"/>
                <a:gd name="connsiteX6" fmla="*/ 217217 w 362844"/>
                <a:gd name="connsiteY6" fmla="*/ 3898 h 214259"/>
                <a:gd name="connsiteX7" fmla="*/ 355630 w 362844"/>
                <a:gd name="connsiteY7" fmla="*/ 81900 h 214259"/>
                <a:gd name="connsiteX8" fmla="*/ 355630 w 362844"/>
                <a:gd name="connsiteY8" fmla="*/ 106835 h 214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2844" h="214259">
                  <a:moveTo>
                    <a:pt x="355630" y="106835"/>
                  </a:moveTo>
                  <a:lnTo>
                    <a:pt x="177590" y="210381"/>
                  </a:lnTo>
                  <a:cubicBezTo>
                    <a:pt x="168746" y="215504"/>
                    <a:pt x="157777" y="215520"/>
                    <a:pt x="148866" y="210447"/>
                  </a:cubicBezTo>
                  <a:lnTo>
                    <a:pt x="7225" y="132380"/>
                  </a:lnTo>
                  <a:cubicBezTo>
                    <a:pt x="-2442" y="126863"/>
                    <a:pt x="-2442" y="112880"/>
                    <a:pt x="7225" y="107362"/>
                  </a:cubicBezTo>
                  <a:lnTo>
                    <a:pt x="188427" y="3767"/>
                  </a:lnTo>
                  <a:cubicBezTo>
                    <a:pt x="197387" y="-1323"/>
                    <a:pt x="208339" y="-1290"/>
                    <a:pt x="217217" y="3898"/>
                  </a:cubicBezTo>
                  <a:lnTo>
                    <a:pt x="355630" y="81900"/>
                  </a:lnTo>
                  <a:cubicBezTo>
                    <a:pt x="365215" y="87450"/>
                    <a:pt x="365215" y="101285"/>
                    <a:pt x="355630" y="106835"/>
                  </a:cubicBezTo>
                  <a:close/>
                </a:path>
              </a:pathLst>
            </a:custGeom>
            <a:solidFill>
              <a:srgbClr val="00A9F4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8" name="Freeform: Shape 457">
              <a:extLst>
                <a:ext uri="{FF2B5EF4-FFF2-40B4-BE49-F238E27FC236}">
                  <a16:creationId xmlns:a16="http://schemas.microsoft.com/office/drawing/2014/main" id="{4A53C8AB-53FC-F591-A101-8CE95C392499}"/>
                </a:ext>
              </a:extLst>
            </p:cNvPr>
            <p:cNvSpPr/>
            <p:nvPr/>
          </p:nvSpPr>
          <p:spPr>
            <a:xfrm>
              <a:off x="1885176" y="480355"/>
              <a:ext cx="435282" cy="856697"/>
            </a:xfrm>
            <a:custGeom>
              <a:avLst/>
              <a:gdLst>
                <a:gd name="connsiteX0" fmla="*/ 430580 w 435282"/>
                <a:gd name="connsiteY0" fmla="*/ 722447 h 856697"/>
                <a:gd name="connsiteX1" fmla="*/ 428142 w 435282"/>
                <a:gd name="connsiteY1" fmla="*/ 715661 h 856697"/>
                <a:gd name="connsiteX2" fmla="*/ 393358 w 435282"/>
                <a:gd name="connsiteY2" fmla="*/ 624731 h 856697"/>
                <a:gd name="connsiteX3" fmla="*/ 404920 w 435282"/>
                <a:gd name="connsiteY3" fmla="*/ 618077 h 856697"/>
                <a:gd name="connsiteX4" fmla="*/ 426858 w 435282"/>
                <a:gd name="connsiteY4" fmla="*/ 582271 h 856697"/>
                <a:gd name="connsiteX5" fmla="*/ 422164 w 435282"/>
                <a:gd name="connsiteY5" fmla="*/ 554190 h 856697"/>
                <a:gd name="connsiteX6" fmla="*/ 420698 w 435282"/>
                <a:gd name="connsiteY6" fmla="*/ 550468 h 856697"/>
                <a:gd name="connsiteX7" fmla="*/ 418277 w 435282"/>
                <a:gd name="connsiteY7" fmla="*/ 544325 h 856697"/>
                <a:gd name="connsiteX8" fmla="*/ 205058 w 435282"/>
                <a:gd name="connsiteY8" fmla="*/ -22 h 856697"/>
                <a:gd name="connsiteX9" fmla="*/ -25 w 435282"/>
                <a:gd name="connsiteY9" fmla="*/ 117606 h 856697"/>
                <a:gd name="connsiteX10" fmla="*/ 292249 w 435282"/>
                <a:gd name="connsiteY10" fmla="*/ 856676 h 856697"/>
                <a:gd name="connsiteX11" fmla="*/ 421027 w 435282"/>
                <a:gd name="connsiteY11" fmla="*/ 782150 h 856697"/>
                <a:gd name="connsiteX12" fmla="*/ 435257 w 435282"/>
                <a:gd name="connsiteY12" fmla="*/ 750116 h 856697"/>
                <a:gd name="connsiteX13" fmla="*/ 430580 w 435282"/>
                <a:gd name="connsiteY13" fmla="*/ 722447 h 856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282" h="856697">
                  <a:moveTo>
                    <a:pt x="430580" y="722447"/>
                  </a:moveTo>
                  <a:cubicBezTo>
                    <a:pt x="429756" y="720026"/>
                    <a:pt x="428949" y="717917"/>
                    <a:pt x="428142" y="715661"/>
                  </a:cubicBezTo>
                  <a:lnTo>
                    <a:pt x="393358" y="624731"/>
                  </a:lnTo>
                  <a:cubicBezTo>
                    <a:pt x="393358" y="624731"/>
                    <a:pt x="399155" y="621387"/>
                    <a:pt x="404920" y="618077"/>
                  </a:cubicBezTo>
                  <a:cubicBezTo>
                    <a:pt x="417849" y="610632"/>
                    <a:pt x="426759" y="597177"/>
                    <a:pt x="426858" y="582271"/>
                  </a:cubicBezTo>
                  <a:cubicBezTo>
                    <a:pt x="426858" y="572801"/>
                    <a:pt x="425079" y="563249"/>
                    <a:pt x="422164" y="554190"/>
                  </a:cubicBezTo>
                  <a:lnTo>
                    <a:pt x="420698" y="550468"/>
                  </a:lnTo>
                  <a:lnTo>
                    <a:pt x="418277" y="544325"/>
                  </a:lnTo>
                  <a:lnTo>
                    <a:pt x="205058" y="-22"/>
                  </a:lnTo>
                  <a:lnTo>
                    <a:pt x="-25" y="117606"/>
                  </a:lnTo>
                  <a:lnTo>
                    <a:pt x="292249" y="856676"/>
                  </a:lnTo>
                  <a:lnTo>
                    <a:pt x="421027" y="782150"/>
                  </a:lnTo>
                  <a:cubicBezTo>
                    <a:pt x="430086" y="777143"/>
                    <a:pt x="435257" y="765977"/>
                    <a:pt x="435257" y="750116"/>
                  </a:cubicBezTo>
                  <a:cubicBezTo>
                    <a:pt x="435257" y="741058"/>
                    <a:pt x="433479" y="731505"/>
                    <a:pt x="430580" y="722447"/>
                  </a:cubicBezTo>
                  <a:close/>
                </a:path>
              </a:pathLst>
            </a:custGeom>
            <a:solidFill>
              <a:srgbClr val="00A9F4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9" name="Freeform: Shape 458">
              <a:extLst>
                <a:ext uri="{FF2B5EF4-FFF2-40B4-BE49-F238E27FC236}">
                  <a16:creationId xmlns:a16="http://schemas.microsoft.com/office/drawing/2014/main" id="{7FA1E597-0E1B-5555-BB0F-AED7EE8C7B07}"/>
                </a:ext>
              </a:extLst>
            </p:cNvPr>
            <p:cNvSpPr/>
            <p:nvPr/>
          </p:nvSpPr>
          <p:spPr>
            <a:xfrm>
              <a:off x="1729997" y="180008"/>
              <a:ext cx="362831" cy="369059"/>
            </a:xfrm>
            <a:custGeom>
              <a:avLst/>
              <a:gdLst>
                <a:gd name="connsiteX0" fmla="*/ 356317 w 362831"/>
                <a:gd name="connsiteY0" fmla="*/ 82429 h 369059"/>
                <a:gd name="connsiteX1" fmla="*/ 355625 w 362831"/>
                <a:gd name="connsiteY1" fmla="*/ 81902 h 369059"/>
                <a:gd name="connsiteX2" fmla="*/ 217212 w 362831"/>
                <a:gd name="connsiteY2" fmla="*/ 3884 h 369059"/>
                <a:gd name="connsiteX3" fmla="*/ 188423 w 362831"/>
                <a:gd name="connsiteY3" fmla="*/ 3769 h 369059"/>
                <a:gd name="connsiteX4" fmla="*/ 10416 w 362831"/>
                <a:gd name="connsiteY4" fmla="*/ 105520 h 369059"/>
                <a:gd name="connsiteX5" fmla="*/ -25 w 362831"/>
                <a:gd name="connsiteY5" fmla="*/ 108731 h 369059"/>
                <a:gd name="connsiteX6" fmla="*/ -25 w 362831"/>
                <a:gd name="connsiteY6" fmla="*/ 274632 h 369059"/>
                <a:gd name="connsiteX7" fmla="*/ 7221 w 362831"/>
                <a:gd name="connsiteY7" fmla="*/ 287183 h 369059"/>
                <a:gd name="connsiteX8" fmla="*/ 148862 w 362831"/>
                <a:gd name="connsiteY8" fmla="*/ 365233 h 369059"/>
                <a:gd name="connsiteX9" fmla="*/ 177586 w 362831"/>
                <a:gd name="connsiteY9" fmla="*/ 365184 h 369059"/>
                <a:gd name="connsiteX10" fmla="*/ 355625 w 362831"/>
                <a:gd name="connsiteY10" fmla="*/ 261621 h 369059"/>
                <a:gd name="connsiteX11" fmla="*/ 358557 w 362831"/>
                <a:gd name="connsiteY11" fmla="*/ 259381 h 369059"/>
                <a:gd name="connsiteX12" fmla="*/ 362806 w 362831"/>
                <a:gd name="connsiteY12" fmla="*/ 248248 h 369059"/>
                <a:gd name="connsiteX13" fmla="*/ 362806 w 362831"/>
                <a:gd name="connsiteY13" fmla="*/ 82594 h 369059"/>
                <a:gd name="connsiteX14" fmla="*/ 356317 w 362831"/>
                <a:gd name="connsiteY14" fmla="*/ 82429 h 369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62831" h="369059">
                  <a:moveTo>
                    <a:pt x="356317" y="82429"/>
                  </a:moveTo>
                  <a:lnTo>
                    <a:pt x="355625" y="81902"/>
                  </a:lnTo>
                  <a:lnTo>
                    <a:pt x="217212" y="3884"/>
                  </a:lnTo>
                  <a:cubicBezTo>
                    <a:pt x="208335" y="-1288"/>
                    <a:pt x="197383" y="-1321"/>
                    <a:pt x="188423" y="3769"/>
                  </a:cubicBezTo>
                  <a:lnTo>
                    <a:pt x="10416" y="105520"/>
                  </a:lnTo>
                  <a:lnTo>
                    <a:pt x="-25" y="108731"/>
                  </a:lnTo>
                  <a:lnTo>
                    <a:pt x="-25" y="274632"/>
                  </a:lnTo>
                  <a:cubicBezTo>
                    <a:pt x="-42" y="279524"/>
                    <a:pt x="2379" y="284416"/>
                    <a:pt x="7221" y="287183"/>
                  </a:cubicBezTo>
                  <a:lnTo>
                    <a:pt x="148862" y="365233"/>
                  </a:lnTo>
                  <a:cubicBezTo>
                    <a:pt x="157773" y="370323"/>
                    <a:pt x="168742" y="370306"/>
                    <a:pt x="177586" y="365184"/>
                  </a:cubicBezTo>
                  <a:lnTo>
                    <a:pt x="355625" y="261621"/>
                  </a:lnTo>
                  <a:lnTo>
                    <a:pt x="358557" y="259381"/>
                  </a:lnTo>
                  <a:cubicBezTo>
                    <a:pt x="361456" y="256483"/>
                    <a:pt x="362806" y="252365"/>
                    <a:pt x="362806" y="248248"/>
                  </a:cubicBezTo>
                  <a:lnTo>
                    <a:pt x="362806" y="82594"/>
                  </a:lnTo>
                  <a:lnTo>
                    <a:pt x="356317" y="82429"/>
                  </a:lnTo>
                  <a:close/>
                </a:path>
              </a:pathLst>
            </a:custGeom>
            <a:solidFill>
              <a:srgbClr val="00A9F4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0" name="Freeform: Shape 459">
              <a:extLst>
                <a:ext uri="{FF2B5EF4-FFF2-40B4-BE49-F238E27FC236}">
                  <a16:creationId xmlns:a16="http://schemas.microsoft.com/office/drawing/2014/main" id="{727CAAF9-CE61-89CD-DD77-921D98F012DD}"/>
                </a:ext>
              </a:extLst>
            </p:cNvPr>
            <p:cNvSpPr/>
            <p:nvPr/>
          </p:nvSpPr>
          <p:spPr>
            <a:xfrm>
              <a:off x="1958862" y="1250520"/>
              <a:ext cx="728413" cy="406888"/>
            </a:xfrm>
            <a:custGeom>
              <a:avLst/>
              <a:gdLst>
                <a:gd name="connsiteX0" fmla="*/ -25 w 728413"/>
                <a:gd name="connsiteY0" fmla="*/ 203414 h 406888"/>
                <a:gd name="connsiteX1" fmla="*/ 364173 w 728413"/>
                <a:gd name="connsiteY1" fmla="*/ 406867 h 406888"/>
                <a:gd name="connsiteX2" fmla="*/ 728389 w 728413"/>
                <a:gd name="connsiteY2" fmla="*/ 203414 h 406888"/>
                <a:gd name="connsiteX3" fmla="*/ 364173 w 728413"/>
                <a:gd name="connsiteY3" fmla="*/ -22 h 406888"/>
                <a:gd name="connsiteX4" fmla="*/ -25 w 728413"/>
                <a:gd name="connsiteY4" fmla="*/ 203414 h 40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8413" h="406888">
                  <a:moveTo>
                    <a:pt x="-25" y="203414"/>
                  </a:moveTo>
                  <a:cubicBezTo>
                    <a:pt x="-25" y="315788"/>
                    <a:pt x="163043" y="406867"/>
                    <a:pt x="364173" y="406867"/>
                  </a:cubicBezTo>
                  <a:cubicBezTo>
                    <a:pt x="565320" y="406867"/>
                    <a:pt x="728389" y="315788"/>
                    <a:pt x="728389" y="203414"/>
                  </a:cubicBezTo>
                  <a:cubicBezTo>
                    <a:pt x="728389" y="91057"/>
                    <a:pt x="565320" y="-22"/>
                    <a:pt x="364173" y="-22"/>
                  </a:cubicBezTo>
                  <a:cubicBezTo>
                    <a:pt x="163043" y="-22"/>
                    <a:pt x="-25" y="91057"/>
                    <a:pt x="-25" y="203414"/>
                  </a:cubicBezTo>
                  <a:close/>
                </a:path>
              </a:pathLst>
            </a:custGeom>
            <a:solidFill>
              <a:srgbClr val="051C2C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1" name="Freeform: Shape 460">
              <a:extLst>
                <a:ext uri="{FF2B5EF4-FFF2-40B4-BE49-F238E27FC236}">
                  <a16:creationId xmlns:a16="http://schemas.microsoft.com/office/drawing/2014/main" id="{DD2F13DE-FAFC-C529-CE89-352424A5FC6C}"/>
                </a:ext>
              </a:extLst>
            </p:cNvPr>
            <p:cNvSpPr/>
            <p:nvPr/>
          </p:nvSpPr>
          <p:spPr>
            <a:xfrm>
              <a:off x="2031709" y="1158931"/>
              <a:ext cx="582721" cy="325510"/>
            </a:xfrm>
            <a:custGeom>
              <a:avLst/>
              <a:gdLst>
                <a:gd name="connsiteX0" fmla="*/ -25 w 582721"/>
                <a:gd name="connsiteY0" fmla="*/ 162734 h 325510"/>
                <a:gd name="connsiteX1" fmla="*/ 291327 w 582721"/>
                <a:gd name="connsiteY1" fmla="*/ 325489 h 325510"/>
                <a:gd name="connsiteX2" fmla="*/ 582696 w 582721"/>
                <a:gd name="connsiteY2" fmla="*/ 162734 h 325510"/>
                <a:gd name="connsiteX3" fmla="*/ 291327 w 582721"/>
                <a:gd name="connsiteY3" fmla="*/ -22 h 325510"/>
                <a:gd name="connsiteX4" fmla="*/ -25 w 582721"/>
                <a:gd name="connsiteY4" fmla="*/ 162734 h 32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2721" h="325510">
                  <a:moveTo>
                    <a:pt x="-25" y="162734"/>
                  </a:moveTo>
                  <a:cubicBezTo>
                    <a:pt x="-25" y="252627"/>
                    <a:pt x="130416" y="325489"/>
                    <a:pt x="291327" y="325489"/>
                  </a:cubicBezTo>
                  <a:cubicBezTo>
                    <a:pt x="452254" y="325489"/>
                    <a:pt x="582696" y="252627"/>
                    <a:pt x="582696" y="162734"/>
                  </a:cubicBezTo>
                  <a:cubicBezTo>
                    <a:pt x="582696" y="72841"/>
                    <a:pt x="452254" y="-22"/>
                    <a:pt x="291327" y="-22"/>
                  </a:cubicBezTo>
                  <a:cubicBezTo>
                    <a:pt x="130416" y="-22"/>
                    <a:pt x="-25" y="72841"/>
                    <a:pt x="-25" y="162734"/>
                  </a:cubicBezTo>
                  <a:close/>
                </a:path>
              </a:pathLst>
            </a:custGeom>
            <a:solidFill>
              <a:srgbClr val="051C2C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2" name="Freeform: Shape 461">
              <a:extLst>
                <a:ext uri="{FF2B5EF4-FFF2-40B4-BE49-F238E27FC236}">
                  <a16:creationId xmlns:a16="http://schemas.microsoft.com/office/drawing/2014/main" id="{E213F762-0BF9-8F09-0402-109AA59AD3A7}"/>
                </a:ext>
              </a:extLst>
            </p:cNvPr>
            <p:cNvSpPr/>
            <p:nvPr/>
          </p:nvSpPr>
          <p:spPr>
            <a:xfrm>
              <a:off x="1979887" y="521728"/>
              <a:ext cx="81884" cy="52917"/>
            </a:xfrm>
            <a:custGeom>
              <a:avLst/>
              <a:gdLst>
                <a:gd name="connsiteX0" fmla="*/ 5632 w 81884"/>
                <a:gd name="connsiteY0" fmla="*/ 52895 h 52917"/>
                <a:gd name="connsiteX1" fmla="*/ 757 w 81884"/>
                <a:gd name="connsiteY1" fmla="*/ 50129 h 52917"/>
                <a:gd name="connsiteX2" fmla="*/ 2766 w 81884"/>
                <a:gd name="connsiteY2" fmla="*/ 42388 h 52917"/>
                <a:gd name="connsiteX3" fmla="*/ 73339 w 81884"/>
                <a:gd name="connsiteY3" fmla="*/ 768 h 52917"/>
                <a:gd name="connsiteX4" fmla="*/ 81080 w 81884"/>
                <a:gd name="connsiteY4" fmla="*/ 2761 h 52917"/>
                <a:gd name="connsiteX5" fmla="*/ 79071 w 81884"/>
                <a:gd name="connsiteY5" fmla="*/ 10502 h 52917"/>
                <a:gd name="connsiteX6" fmla="*/ 8497 w 81884"/>
                <a:gd name="connsiteY6" fmla="*/ 52121 h 52917"/>
                <a:gd name="connsiteX7" fmla="*/ 5632 w 81884"/>
                <a:gd name="connsiteY7" fmla="*/ 52895 h 52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884" h="52917">
                  <a:moveTo>
                    <a:pt x="5632" y="52895"/>
                  </a:moveTo>
                  <a:cubicBezTo>
                    <a:pt x="3705" y="52895"/>
                    <a:pt x="1811" y="51907"/>
                    <a:pt x="757" y="50129"/>
                  </a:cubicBezTo>
                  <a:cubicBezTo>
                    <a:pt x="-825" y="47444"/>
                    <a:pt x="65" y="43969"/>
                    <a:pt x="2766" y="42388"/>
                  </a:cubicBezTo>
                  <a:lnTo>
                    <a:pt x="73339" y="768"/>
                  </a:lnTo>
                  <a:cubicBezTo>
                    <a:pt x="76007" y="-829"/>
                    <a:pt x="79466" y="77"/>
                    <a:pt x="81080" y="2761"/>
                  </a:cubicBezTo>
                  <a:cubicBezTo>
                    <a:pt x="82661" y="5446"/>
                    <a:pt x="81755" y="8921"/>
                    <a:pt x="79071" y="10502"/>
                  </a:cubicBezTo>
                  <a:lnTo>
                    <a:pt x="8497" y="52121"/>
                  </a:lnTo>
                  <a:lnTo>
                    <a:pt x="5632" y="52895"/>
                  </a:lnTo>
                  <a:close/>
                </a:path>
              </a:pathLst>
            </a:custGeom>
            <a:solidFill>
              <a:srgbClr val="051C2C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3" name="Freeform: Shape 462">
              <a:extLst>
                <a:ext uri="{FF2B5EF4-FFF2-40B4-BE49-F238E27FC236}">
                  <a16:creationId xmlns:a16="http://schemas.microsoft.com/office/drawing/2014/main" id="{D85A76DF-C4CC-0854-14E0-24792CBAEDE3}"/>
                </a:ext>
              </a:extLst>
            </p:cNvPr>
            <p:cNvSpPr/>
            <p:nvPr/>
          </p:nvSpPr>
          <p:spPr>
            <a:xfrm>
              <a:off x="1989019" y="545231"/>
              <a:ext cx="81879" cy="52917"/>
            </a:xfrm>
            <a:custGeom>
              <a:avLst/>
              <a:gdLst>
                <a:gd name="connsiteX0" fmla="*/ 5640 w 81879"/>
                <a:gd name="connsiteY0" fmla="*/ 52896 h 52917"/>
                <a:gd name="connsiteX1" fmla="*/ 764 w 81879"/>
                <a:gd name="connsiteY1" fmla="*/ 50129 h 52917"/>
                <a:gd name="connsiteX2" fmla="*/ 2757 w 81879"/>
                <a:gd name="connsiteY2" fmla="*/ 42388 h 52917"/>
                <a:gd name="connsiteX3" fmla="*/ 73331 w 81879"/>
                <a:gd name="connsiteY3" fmla="*/ 768 h 52917"/>
                <a:gd name="connsiteX4" fmla="*/ 81072 w 81879"/>
                <a:gd name="connsiteY4" fmla="*/ 2761 h 52917"/>
                <a:gd name="connsiteX5" fmla="*/ 79079 w 81879"/>
                <a:gd name="connsiteY5" fmla="*/ 10502 h 52917"/>
                <a:gd name="connsiteX6" fmla="*/ 8489 w 81879"/>
                <a:gd name="connsiteY6" fmla="*/ 52121 h 52917"/>
                <a:gd name="connsiteX7" fmla="*/ 5640 w 81879"/>
                <a:gd name="connsiteY7" fmla="*/ 52896 h 52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879" h="52917">
                  <a:moveTo>
                    <a:pt x="5640" y="52896"/>
                  </a:moveTo>
                  <a:cubicBezTo>
                    <a:pt x="3696" y="52896"/>
                    <a:pt x="1819" y="51907"/>
                    <a:pt x="764" y="50129"/>
                  </a:cubicBezTo>
                  <a:cubicBezTo>
                    <a:pt x="-833" y="47444"/>
                    <a:pt x="73" y="43969"/>
                    <a:pt x="2757" y="42388"/>
                  </a:cubicBezTo>
                  <a:lnTo>
                    <a:pt x="73331" y="768"/>
                  </a:lnTo>
                  <a:cubicBezTo>
                    <a:pt x="76015" y="-829"/>
                    <a:pt x="79490" y="77"/>
                    <a:pt x="81072" y="2761"/>
                  </a:cubicBezTo>
                  <a:cubicBezTo>
                    <a:pt x="82653" y="5446"/>
                    <a:pt x="81763" y="8904"/>
                    <a:pt x="79079" y="10502"/>
                  </a:cubicBezTo>
                  <a:lnTo>
                    <a:pt x="8489" y="52121"/>
                  </a:lnTo>
                  <a:lnTo>
                    <a:pt x="5640" y="52896"/>
                  </a:lnTo>
                  <a:close/>
                </a:path>
              </a:pathLst>
            </a:custGeom>
            <a:solidFill>
              <a:srgbClr val="051C2C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4" name="Freeform: Shape 463">
              <a:extLst>
                <a:ext uri="{FF2B5EF4-FFF2-40B4-BE49-F238E27FC236}">
                  <a16:creationId xmlns:a16="http://schemas.microsoft.com/office/drawing/2014/main" id="{AD4610E2-7EE7-AF80-0669-9B1EE61E9949}"/>
                </a:ext>
              </a:extLst>
            </p:cNvPr>
            <p:cNvSpPr/>
            <p:nvPr/>
          </p:nvSpPr>
          <p:spPr>
            <a:xfrm>
              <a:off x="1998168" y="568733"/>
              <a:ext cx="81872" cy="52933"/>
            </a:xfrm>
            <a:custGeom>
              <a:avLst/>
              <a:gdLst>
                <a:gd name="connsiteX0" fmla="*/ 5632 w 81872"/>
                <a:gd name="connsiteY0" fmla="*/ 52912 h 52933"/>
                <a:gd name="connsiteX1" fmla="*/ 757 w 81872"/>
                <a:gd name="connsiteY1" fmla="*/ 50129 h 52933"/>
                <a:gd name="connsiteX2" fmla="*/ 2750 w 81872"/>
                <a:gd name="connsiteY2" fmla="*/ 42388 h 52933"/>
                <a:gd name="connsiteX3" fmla="*/ 73340 w 81872"/>
                <a:gd name="connsiteY3" fmla="*/ 768 h 52933"/>
                <a:gd name="connsiteX4" fmla="*/ 81064 w 81872"/>
                <a:gd name="connsiteY4" fmla="*/ 2761 h 52933"/>
                <a:gd name="connsiteX5" fmla="*/ 79072 w 81872"/>
                <a:gd name="connsiteY5" fmla="*/ 10502 h 52933"/>
                <a:gd name="connsiteX6" fmla="*/ 8498 w 81872"/>
                <a:gd name="connsiteY6" fmla="*/ 52121 h 52933"/>
                <a:gd name="connsiteX7" fmla="*/ 5632 w 81872"/>
                <a:gd name="connsiteY7" fmla="*/ 52912 h 52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872" h="52933">
                  <a:moveTo>
                    <a:pt x="5632" y="52912"/>
                  </a:moveTo>
                  <a:cubicBezTo>
                    <a:pt x="3689" y="52912"/>
                    <a:pt x="1811" y="51924"/>
                    <a:pt x="757" y="50129"/>
                  </a:cubicBezTo>
                  <a:cubicBezTo>
                    <a:pt x="-824" y="47444"/>
                    <a:pt x="65" y="43985"/>
                    <a:pt x="2750" y="42388"/>
                  </a:cubicBezTo>
                  <a:lnTo>
                    <a:pt x="73340" y="768"/>
                  </a:lnTo>
                  <a:cubicBezTo>
                    <a:pt x="76008" y="-829"/>
                    <a:pt x="79483" y="77"/>
                    <a:pt x="81064" y="2761"/>
                  </a:cubicBezTo>
                  <a:cubicBezTo>
                    <a:pt x="82645" y="5446"/>
                    <a:pt x="81756" y="8904"/>
                    <a:pt x="79072" y="10502"/>
                  </a:cubicBezTo>
                  <a:lnTo>
                    <a:pt x="8498" y="52121"/>
                  </a:lnTo>
                  <a:lnTo>
                    <a:pt x="5632" y="52912"/>
                  </a:lnTo>
                  <a:close/>
                </a:path>
              </a:pathLst>
            </a:custGeom>
            <a:solidFill>
              <a:srgbClr val="051C2C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5" name="Freeform: Shape 464">
              <a:extLst>
                <a:ext uri="{FF2B5EF4-FFF2-40B4-BE49-F238E27FC236}">
                  <a16:creationId xmlns:a16="http://schemas.microsoft.com/office/drawing/2014/main" id="{D525CD08-96F5-75B4-0B7D-1B846243B886}"/>
                </a:ext>
              </a:extLst>
            </p:cNvPr>
            <p:cNvSpPr/>
            <p:nvPr/>
          </p:nvSpPr>
          <p:spPr>
            <a:xfrm>
              <a:off x="2007303" y="592232"/>
              <a:ext cx="81884" cy="52920"/>
            </a:xfrm>
            <a:custGeom>
              <a:avLst/>
              <a:gdLst>
                <a:gd name="connsiteX0" fmla="*/ 5637 w 81884"/>
                <a:gd name="connsiteY0" fmla="*/ 52899 h 52920"/>
                <a:gd name="connsiteX1" fmla="*/ 746 w 81884"/>
                <a:gd name="connsiteY1" fmla="*/ 50116 h 52920"/>
                <a:gd name="connsiteX2" fmla="*/ 2755 w 81884"/>
                <a:gd name="connsiteY2" fmla="*/ 42391 h 52920"/>
                <a:gd name="connsiteX3" fmla="*/ 73345 w 81884"/>
                <a:gd name="connsiteY3" fmla="*/ 772 h 52920"/>
                <a:gd name="connsiteX4" fmla="*/ 81069 w 81884"/>
                <a:gd name="connsiteY4" fmla="*/ 2765 h 52920"/>
                <a:gd name="connsiteX5" fmla="*/ 79076 w 81884"/>
                <a:gd name="connsiteY5" fmla="*/ 10506 h 52920"/>
                <a:gd name="connsiteX6" fmla="*/ 8503 w 81884"/>
                <a:gd name="connsiteY6" fmla="*/ 52125 h 52920"/>
                <a:gd name="connsiteX7" fmla="*/ 5637 w 81884"/>
                <a:gd name="connsiteY7" fmla="*/ 52899 h 52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884" h="52920">
                  <a:moveTo>
                    <a:pt x="5637" y="52899"/>
                  </a:moveTo>
                  <a:cubicBezTo>
                    <a:pt x="3694" y="52899"/>
                    <a:pt x="1816" y="51911"/>
                    <a:pt x="746" y="50116"/>
                  </a:cubicBezTo>
                  <a:cubicBezTo>
                    <a:pt x="-819" y="47431"/>
                    <a:pt x="70" y="43973"/>
                    <a:pt x="2755" y="42391"/>
                  </a:cubicBezTo>
                  <a:lnTo>
                    <a:pt x="73345" y="772"/>
                  </a:lnTo>
                  <a:cubicBezTo>
                    <a:pt x="76013" y="-826"/>
                    <a:pt x="79472" y="64"/>
                    <a:pt x="81069" y="2765"/>
                  </a:cubicBezTo>
                  <a:cubicBezTo>
                    <a:pt x="82667" y="5449"/>
                    <a:pt x="81761" y="8908"/>
                    <a:pt x="79076" y="10506"/>
                  </a:cubicBezTo>
                  <a:lnTo>
                    <a:pt x="8503" y="52125"/>
                  </a:lnTo>
                  <a:lnTo>
                    <a:pt x="5637" y="52899"/>
                  </a:lnTo>
                  <a:close/>
                </a:path>
              </a:pathLst>
            </a:custGeom>
            <a:solidFill>
              <a:srgbClr val="051C2C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6" name="Freeform: Shape 465">
              <a:extLst>
                <a:ext uri="{FF2B5EF4-FFF2-40B4-BE49-F238E27FC236}">
                  <a16:creationId xmlns:a16="http://schemas.microsoft.com/office/drawing/2014/main" id="{8B4FDC70-05F6-D68E-A3F8-D6689274EB93}"/>
                </a:ext>
              </a:extLst>
            </p:cNvPr>
            <p:cNvSpPr/>
            <p:nvPr/>
          </p:nvSpPr>
          <p:spPr>
            <a:xfrm>
              <a:off x="2016449" y="615739"/>
              <a:ext cx="81872" cy="52933"/>
            </a:xfrm>
            <a:custGeom>
              <a:avLst/>
              <a:gdLst>
                <a:gd name="connsiteX0" fmla="*/ 5632 w 81872"/>
                <a:gd name="connsiteY0" fmla="*/ 52911 h 52933"/>
                <a:gd name="connsiteX1" fmla="*/ 757 w 81872"/>
                <a:gd name="connsiteY1" fmla="*/ 50128 h 52933"/>
                <a:gd name="connsiteX2" fmla="*/ 2750 w 81872"/>
                <a:gd name="connsiteY2" fmla="*/ 42387 h 52933"/>
                <a:gd name="connsiteX3" fmla="*/ 73323 w 81872"/>
                <a:gd name="connsiteY3" fmla="*/ 768 h 52933"/>
                <a:gd name="connsiteX4" fmla="*/ 81064 w 81872"/>
                <a:gd name="connsiteY4" fmla="*/ 2777 h 52933"/>
                <a:gd name="connsiteX5" fmla="*/ 79072 w 81872"/>
                <a:gd name="connsiteY5" fmla="*/ 10501 h 52933"/>
                <a:gd name="connsiteX6" fmla="*/ 8482 w 81872"/>
                <a:gd name="connsiteY6" fmla="*/ 52121 h 52933"/>
                <a:gd name="connsiteX7" fmla="*/ 5632 w 81872"/>
                <a:gd name="connsiteY7" fmla="*/ 52911 h 52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872" h="52933">
                  <a:moveTo>
                    <a:pt x="5632" y="52911"/>
                  </a:moveTo>
                  <a:cubicBezTo>
                    <a:pt x="3689" y="52911"/>
                    <a:pt x="1811" y="51907"/>
                    <a:pt x="757" y="50128"/>
                  </a:cubicBezTo>
                  <a:cubicBezTo>
                    <a:pt x="-824" y="47443"/>
                    <a:pt x="65" y="43985"/>
                    <a:pt x="2750" y="42387"/>
                  </a:cubicBezTo>
                  <a:lnTo>
                    <a:pt x="73323" y="768"/>
                  </a:lnTo>
                  <a:cubicBezTo>
                    <a:pt x="75992" y="-830"/>
                    <a:pt x="79467" y="76"/>
                    <a:pt x="81064" y="2777"/>
                  </a:cubicBezTo>
                  <a:cubicBezTo>
                    <a:pt x="82645" y="5445"/>
                    <a:pt x="81756" y="8920"/>
                    <a:pt x="79072" y="10501"/>
                  </a:cubicBezTo>
                  <a:lnTo>
                    <a:pt x="8482" y="52121"/>
                  </a:lnTo>
                  <a:lnTo>
                    <a:pt x="5632" y="52911"/>
                  </a:lnTo>
                  <a:close/>
                </a:path>
              </a:pathLst>
            </a:custGeom>
            <a:solidFill>
              <a:srgbClr val="051C2C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7" name="Freeform: Shape 466">
              <a:extLst>
                <a:ext uri="{FF2B5EF4-FFF2-40B4-BE49-F238E27FC236}">
                  <a16:creationId xmlns:a16="http://schemas.microsoft.com/office/drawing/2014/main" id="{867C20A0-4C95-0555-5D09-5144766E42FD}"/>
                </a:ext>
              </a:extLst>
            </p:cNvPr>
            <p:cNvSpPr/>
            <p:nvPr/>
          </p:nvSpPr>
          <p:spPr>
            <a:xfrm>
              <a:off x="1792796" y="1636229"/>
              <a:ext cx="58632" cy="32758"/>
            </a:xfrm>
            <a:custGeom>
              <a:avLst/>
              <a:gdLst>
                <a:gd name="connsiteX0" fmla="*/ -25 w 58632"/>
                <a:gd name="connsiteY0" fmla="*/ 16349 h 32758"/>
                <a:gd name="connsiteX1" fmla="*/ 29291 w 58632"/>
                <a:gd name="connsiteY1" fmla="*/ 32737 h 32758"/>
                <a:gd name="connsiteX2" fmla="*/ 58607 w 58632"/>
                <a:gd name="connsiteY2" fmla="*/ 16349 h 32758"/>
                <a:gd name="connsiteX3" fmla="*/ 29291 w 58632"/>
                <a:gd name="connsiteY3" fmla="*/ -22 h 32758"/>
                <a:gd name="connsiteX4" fmla="*/ -25 w 58632"/>
                <a:gd name="connsiteY4" fmla="*/ 16349 h 32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632" h="32758">
                  <a:moveTo>
                    <a:pt x="-25" y="16349"/>
                  </a:moveTo>
                  <a:cubicBezTo>
                    <a:pt x="-25" y="25408"/>
                    <a:pt x="13101" y="32737"/>
                    <a:pt x="29291" y="32737"/>
                  </a:cubicBezTo>
                  <a:cubicBezTo>
                    <a:pt x="45481" y="32737"/>
                    <a:pt x="58607" y="25408"/>
                    <a:pt x="58607" y="16349"/>
                  </a:cubicBezTo>
                  <a:cubicBezTo>
                    <a:pt x="58607" y="7307"/>
                    <a:pt x="45481" y="-22"/>
                    <a:pt x="29291" y="-22"/>
                  </a:cubicBezTo>
                  <a:cubicBezTo>
                    <a:pt x="13101" y="-22"/>
                    <a:pt x="-25" y="7307"/>
                    <a:pt x="-25" y="16349"/>
                  </a:cubicBezTo>
                  <a:close/>
                </a:path>
              </a:pathLst>
            </a:custGeom>
            <a:solidFill>
              <a:srgbClr val="E6E6E6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8" name="Freeform: Shape 467">
              <a:extLst>
                <a:ext uri="{FF2B5EF4-FFF2-40B4-BE49-F238E27FC236}">
                  <a16:creationId xmlns:a16="http://schemas.microsoft.com/office/drawing/2014/main" id="{9C0AA8E0-1E93-3902-4F24-702F4A831511}"/>
                </a:ext>
              </a:extLst>
            </p:cNvPr>
            <p:cNvSpPr/>
            <p:nvPr/>
          </p:nvSpPr>
          <p:spPr>
            <a:xfrm>
              <a:off x="1975975" y="339972"/>
              <a:ext cx="498362" cy="358312"/>
            </a:xfrm>
            <a:custGeom>
              <a:avLst/>
              <a:gdLst>
                <a:gd name="connsiteX0" fmla="*/ -25 w 498362"/>
                <a:gd name="connsiteY0" fmla="*/ 76754 h 358312"/>
                <a:gd name="connsiteX1" fmla="*/ 37723 w 498362"/>
                <a:gd name="connsiteY1" fmla="*/ 4616 h 358312"/>
                <a:gd name="connsiteX2" fmla="*/ 61984 w 498362"/>
                <a:gd name="connsiteY2" fmla="*/ 2195 h 358312"/>
                <a:gd name="connsiteX3" fmla="*/ 498337 w 498362"/>
                <a:gd name="connsiteY3" fmla="*/ 252966 h 358312"/>
                <a:gd name="connsiteX4" fmla="*/ 488356 w 498362"/>
                <a:gd name="connsiteY4" fmla="*/ 255733 h 358312"/>
                <a:gd name="connsiteX5" fmla="*/ 490530 w 498362"/>
                <a:gd name="connsiteY5" fmla="*/ 271313 h 358312"/>
                <a:gd name="connsiteX6" fmla="*/ 452765 w 498362"/>
                <a:gd name="connsiteY6" fmla="*/ 343468 h 358312"/>
                <a:gd name="connsiteX7" fmla="*/ 449191 w 498362"/>
                <a:gd name="connsiteY7" fmla="*/ 345296 h 358312"/>
                <a:gd name="connsiteX8" fmla="*/ 450261 w 498362"/>
                <a:gd name="connsiteY8" fmla="*/ 358291 h 358312"/>
                <a:gd name="connsiteX9" fmla="*/ 12459 w 498362"/>
                <a:gd name="connsiteY9" fmla="*/ 106960 h 358312"/>
                <a:gd name="connsiteX10" fmla="*/ -25 w 498362"/>
                <a:gd name="connsiteY10" fmla="*/ 76754 h 358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98362" h="358312">
                  <a:moveTo>
                    <a:pt x="-25" y="76754"/>
                  </a:moveTo>
                  <a:cubicBezTo>
                    <a:pt x="-25" y="48953"/>
                    <a:pt x="16873" y="16656"/>
                    <a:pt x="37723" y="4616"/>
                  </a:cubicBezTo>
                  <a:cubicBezTo>
                    <a:pt x="46963" y="-720"/>
                    <a:pt x="55412" y="-1346"/>
                    <a:pt x="61984" y="2195"/>
                  </a:cubicBezTo>
                  <a:lnTo>
                    <a:pt x="498337" y="252966"/>
                  </a:lnTo>
                  <a:lnTo>
                    <a:pt x="488356" y="255733"/>
                  </a:lnTo>
                  <a:cubicBezTo>
                    <a:pt x="489756" y="260179"/>
                    <a:pt x="490530" y="265417"/>
                    <a:pt x="490530" y="271313"/>
                  </a:cubicBezTo>
                  <a:cubicBezTo>
                    <a:pt x="490530" y="299131"/>
                    <a:pt x="473632" y="331428"/>
                    <a:pt x="452765" y="343468"/>
                  </a:cubicBezTo>
                  <a:lnTo>
                    <a:pt x="449191" y="345296"/>
                  </a:lnTo>
                  <a:lnTo>
                    <a:pt x="450261" y="358291"/>
                  </a:lnTo>
                  <a:lnTo>
                    <a:pt x="12459" y="106960"/>
                  </a:lnTo>
                  <a:cubicBezTo>
                    <a:pt x="4784" y="102167"/>
                    <a:pt x="-25" y="91610"/>
                    <a:pt x="-25" y="76754"/>
                  </a:cubicBezTo>
                  <a:close/>
                </a:path>
              </a:pathLst>
            </a:custGeom>
            <a:solidFill>
              <a:srgbClr val="2251FF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9" name="Freeform: Shape 468">
              <a:extLst>
                <a:ext uri="{FF2B5EF4-FFF2-40B4-BE49-F238E27FC236}">
                  <a16:creationId xmlns:a16="http://schemas.microsoft.com/office/drawing/2014/main" id="{5D9BD333-A21D-8CF3-75EE-D274D3947A1C}"/>
                </a:ext>
              </a:extLst>
            </p:cNvPr>
            <p:cNvSpPr/>
            <p:nvPr/>
          </p:nvSpPr>
          <p:spPr>
            <a:xfrm>
              <a:off x="2719673" y="966530"/>
              <a:ext cx="41174" cy="183128"/>
            </a:xfrm>
            <a:custGeom>
              <a:avLst/>
              <a:gdLst>
                <a:gd name="connsiteX0" fmla="*/ 23988 w 41174"/>
                <a:gd name="connsiteY0" fmla="*/ 703 h 183128"/>
                <a:gd name="connsiteX1" fmla="*/ 20562 w 41174"/>
                <a:gd name="connsiteY1" fmla="*/ -22 h 183128"/>
                <a:gd name="connsiteX2" fmla="*/ 17120 w 41174"/>
                <a:gd name="connsiteY2" fmla="*/ 703 h 183128"/>
                <a:gd name="connsiteX3" fmla="*/ -25 w 41174"/>
                <a:gd name="connsiteY3" fmla="*/ 1477 h 183128"/>
                <a:gd name="connsiteX4" fmla="*/ 15308 w 41174"/>
                <a:gd name="connsiteY4" fmla="*/ 180175 h 183128"/>
                <a:gd name="connsiteX5" fmla="*/ 20562 w 41174"/>
                <a:gd name="connsiteY5" fmla="*/ 183107 h 183128"/>
                <a:gd name="connsiteX6" fmla="*/ 25816 w 41174"/>
                <a:gd name="connsiteY6" fmla="*/ 180175 h 183128"/>
                <a:gd name="connsiteX7" fmla="*/ 41149 w 41174"/>
                <a:gd name="connsiteY7" fmla="*/ 1477 h 183128"/>
                <a:gd name="connsiteX8" fmla="*/ 23988 w 41174"/>
                <a:gd name="connsiteY8" fmla="*/ 703 h 183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174" h="183128">
                  <a:moveTo>
                    <a:pt x="23988" y="703"/>
                  </a:moveTo>
                  <a:lnTo>
                    <a:pt x="20562" y="-22"/>
                  </a:lnTo>
                  <a:lnTo>
                    <a:pt x="17120" y="703"/>
                  </a:lnTo>
                  <a:lnTo>
                    <a:pt x="-25" y="1477"/>
                  </a:lnTo>
                  <a:lnTo>
                    <a:pt x="15308" y="180175"/>
                  </a:lnTo>
                  <a:cubicBezTo>
                    <a:pt x="15308" y="181789"/>
                    <a:pt x="17663" y="183107"/>
                    <a:pt x="20562" y="183107"/>
                  </a:cubicBezTo>
                  <a:cubicBezTo>
                    <a:pt x="23461" y="183107"/>
                    <a:pt x="25816" y="181789"/>
                    <a:pt x="25816" y="180175"/>
                  </a:cubicBezTo>
                  <a:lnTo>
                    <a:pt x="41149" y="1477"/>
                  </a:lnTo>
                  <a:lnTo>
                    <a:pt x="23988" y="703"/>
                  </a:lnTo>
                  <a:close/>
                </a:path>
              </a:pathLst>
            </a:custGeom>
            <a:solidFill>
              <a:srgbClr val="051C2C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0" name="Freeform: Shape 469">
              <a:extLst>
                <a:ext uri="{FF2B5EF4-FFF2-40B4-BE49-F238E27FC236}">
                  <a16:creationId xmlns:a16="http://schemas.microsoft.com/office/drawing/2014/main" id="{4415018D-8F80-AFEE-E06E-BFBF00BB0B25}"/>
                </a:ext>
              </a:extLst>
            </p:cNvPr>
            <p:cNvSpPr/>
            <p:nvPr/>
          </p:nvSpPr>
          <p:spPr>
            <a:xfrm>
              <a:off x="2790740" y="1009154"/>
              <a:ext cx="41158" cy="183145"/>
            </a:xfrm>
            <a:custGeom>
              <a:avLst/>
              <a:gdLst>
                <a:gd name="connsiteX0" fmla="*/ 23988 w 41158"/>
                <a:gd name="connsiteY0" fmla="*/ 703 h 183145"/>
                <a:gd name="connsiteX1" fmla="*/ 20545 w 41158"/>
                <a:gd name="connsiteY1" fmla="*/ -22 h 183145"/>
                <a:gd name="connsiteX2" fmla="*/ 17103 w 41158"/>
                <a:gd name="connsiteY2" fmla="*/ 703 h 183145"/>
                <a:gd name="connsiteX3" fmla="*/ -25 w 41158"/>
                <a:gd name="connsiteY3" fmla="*/ 1493 h 183145"/>
                <a:gd name="connsiteX4" fmla="*/ 15292 w 41158"/>
                <a:gd name="connsiteY4" fmla="*/ 180175 h 183145"/>
                <a:gd name="connsiteX5" fmla="*/ 20545 w 41158"/>
                <a:gd name="connsiteY5" fmla="*/ 183123 h 183145"/>
                <a:gd name="connsiteX6" fmla="*/ 25816 w 41158"/>
                <a:gd name="connsiteY6" fmla="*/ 180175 h 183145"/>
                <a:gd name="connsiteX7" fmla="*/ 41133 w 41158"/>
                <a:gd name="connsiteY7" fmla="*/ 1493 h 183145"/>
                <a:gd name="connsiteX8" fmla="*/ 23988 w 41158"/>
                <a:gd name="connsiteY8" fmla="*/ 703 h 183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158" h="183145">
                  <a:moveTo>
                    <a:pt x="23988" y="703"/>
                  </a:moveTo>
                  <a:lnTo>
                    <a:pt x="20545" y="-22"/>
                  </a:lnTo>
                  <a:lnTo>
                    <a:pt x="17103" y="703"/>
                  </a:lnTo>
                  <a:lnTo>
                    <a:pt x="-25" y="1493"/>
                  </a:lnTo>
                  <a:lnTo>
                    <a:pt x="15292" y="180175"/>
                  </a:lnTo>
                  <a:cubicBezTo>
                    <a:pt x="15292" y="181806"/>
                    <a:pt x="17647" y="183123"/>
                    <a:pt x="20545" y="183123"/>
                  </a:cubicBezTo>
                  <a:cubicBezTo>
                    <a:pt x="23460" y="183123"/>
                    <a:pt x="25816" y="181806"/>
                    <a:pt x="25816" y="180175"/>
                  </a:cubicBezTo>
                  <a:lnTo>
                    <a:pt x="41133" y="1493"/>
                  </a:lnTo>
                  <a:lnTo>
                    <a:pt x="23988" y="703"/>
                  </a:lnTo>
                  <a:close/>
                </a:path>
              </a:pathLst>
            </a:custGeom>
            <a:solidFill>
              <a:srgbClr val="051C2C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1" name="Freeform: Shape 470">
              <a:extLst>
                <a:ext uri="{FF2B5EF4-FFF2-40B4-BE49-F238E27FC236}">
                  <a16:creationId xmlns:a16="http://schemas.microsoft.com/office/drawing/2014/main" id="{50E7CF9B-9657-D859-9481-8B969AAAB6D7}"/>
                </a:ext>
              </a:extLst>
            </p:cNvPr>
            <p:cNvSpPr/>
            <p:nvPr/>
          </p:nvSpPr>
          <p:spPr>
            <a:xfrm>
              <a:off x="2725371" y="745883"/>
              <a:ext cx="83370" cy="43217"/>
            </a:xfrm>
            <a:custGeom>
              <a:avLst/>
              <a:gdLst>
                <a:gd name="connsiteX0" fmla="*/ 83345 w 83370"/>
                <a:gd name="connsiteY0" fmla="*/ 25276 h 43217"/>
                <a:gd name="connsiteX1" fmla="*/ 40326 w 83370"/>
                <a:gd name="connsiteY1" fmla="*/ -22 h 43217"/>
                <a:gd name="connsiteX2" fmla="*/ -25 w 83370"/>
                <a:gd name="connsiteY2" fmla="*/ 23481 h 43217"/>
                <a:gd name="connsiteX3" fmla="*/ -25 w 83370"/>
                <a:gd name="connsiteY3" fmla="*/ 43195 h 43217"/>
                <a:gd name="connsiteX4" fmla="*/ 2939 w 83370"/>
                <a:gd name="connsiteY4" fmla="*/ 40280 h 43217"/>
                <a:gd name="connsiteX5" fmla="*/ 11306 w 83370"/>
                <a:gd name="connsiteY5" fmla="*/ 35553 h 43217"/>
                <a:gd name="connsiteX6" fmla="*/ 83345 w 83370"/>
                <a:gd name="connsiteY6" fmla="*/ 25276 h 43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370" h="43217">
                  <a:moveTo>
                    <a:pt x="83345" y="25276"/>
                  </a:moveTo>
                  <a:lnTo>
                    <a:pt x="40326" y="-22"/>
                  </a:lnTo>
                  <a:lnTo>
                    <a:pt x="-25" y="23481"/>
                  </a:lnTo>
                  <a:lnTo>
                    <a:pt x="-25" y="43195"/>
                  </a:lnTo>
                  <a:lnTo>
                    <a:pt x="2939" y="40280"/>
                  </a:lnTo>
                  <a:lnTo>
                    <a:pt x="11306" y="35553"/>
                  </a:lnTo>
                  <a:lnTo>
                    <a:pt x="83345" y="25276"/>
                  </a:lnTo>
                  <a:close/>
                </a:path>
              </a:pathLst>
            </a:custGeom>
            <a:solidFill>
              <a:srgbClr val="051C2C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2" name="Freeform: Shape 471">
              <a:extLst>
                <a:ext uri="{FF2B5EF4-FFF2-40B4-BE49-F238E27FC236}">
                  <a16:creationId xmlns:a16="http://schemas.microsoft.com/office/drawing/2014/main" id="{F46B820F-EAD6-3FAD-5646-1EE118A45699}"/>
                </a:ext>
              </a:extLst>
            </p:cNvPr>
            <p:cNvSpPr/>
            <p:nvPr/>
          </p:nvSpPr>
          <p:spPr>
            <a:xfrm>
              <a:off x="2570785" y="612610"/>
              <a:ext cx="253866" cy="321259"/>
            </a:xfrm>
            <a:custGeom>
              <a:avLst/>
              <a:gdLst>
                <a:gd name="connsiteX0" fmla="*/ 44789 w 253866"/>
                <a:gd name="connsiteY0" fmla="*/ 321238 h 321259"/>
                <a:gd name="connsiteX1" fmla="*/ 11602 w 253866"/>
                <a:gd name="connsiteY1" fmla="*/ 268567 h 321259"/>
                <a:gd name="connsiteX2" fmla="*/ 11602 w 253866"/>
                <a:gd name="connsiteY2" fmla="*/ 187667 h 321259"/>
                <a:gd name="connsiteX3" fmla="*/ 69675 w 253866"/>
                <a:gd name="connsiteY3" fmla="*/ 86723 h 321259"/>
                <a:gd name="connsiteX4" fmla="*/ 194830 w 253866"/>
                <a:gd name="connsiteY4" fmla="*/ 14585 h 321259"/>
                <a:gd name="connsiteX5" fmla="*/ 253841 w 253866"/>
                <a:gd name="connsiteY5" fmla="*/ 15046 h 321259"/>
                <a:gd name="connsiteX6" fmla="*/ 242197 w 253866"/>
                <a:gd name="connsiteY6" fmla="*/ 8360 h 321259"/>
                <a:gd name="connsiteX7" fmla="*/ 183202 w 253866"/>
                <a:gd name="connsiteY7" fmla="*/ 7898 h 321259"/>
                <a:gd name="connsiteX8" fmla="*/ 58047 w 253866"/>
                <a:gd name="connsiteY8" fmla="*/ 80037 h 321259"/>
                <a:gd name="connsiteX9" fmla="*/ -25 w 253866"/>
                <a:gd name="connsiteY9" fmla="*/ 180981 h 321259"/>
                <a:gd name="connsiteX10" fmla="*/ -25 w 253866"/>
                <a:gd name="connsiteY10" fmla="*/ 261881 h 321259"/>
                <a:gd name="connsiteX11" fmla="*/ 33161 w 253866"/>
                <a:gd name="connsiteY11" fmla="*/ 314420 h 321259"/>
                <a:gd name="connsiteX12" fmla="*/ 44789 w 253866"/>
                <a:gd name="connsiteY12" fmla="*/ 321238 h 321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3866" h="321259">
                  <a:moveTo>
                    <a:pt x="44789" y="321238"/>
                  </a:moveTo>
                  <a:cubicBezTo>
                    <a:pt x="25667" y="312246"/>
                    <a:pt x="11602" y="292762"/>
                    <a:pt x="11602" y="268567"/>
                  </a:cubicBezTo>
                  <a:lnTo>
                    <a:pt x="11602" y="187667"/>
                  </a:lnTo>
                  <a:cubicBezTo>
                    <a:pt x="11602" y="145949"/>
                    <a:pt x="33721" y="107459"/>
                    <a:pt x="69675" y="86723"/>
                  </a:cubicBezTo>
                  <a:lnTo>
                    <a:pt x="194830" y="14585"/>
                  </a:lnTo>
                  <a:cubicBezTo>
                    <a:pt x="214660" y="3056"/>
                    <a:pt x="236779" y="4917"/>
                    <a:pt x="253841" y="15046"/>
                  </a:cubicBezTo>
                  <a:lnTo>
                    <a:pt x="242197" y="8360"/>
                  </a:lnTo>
                  <a:cubicBezTo>
                    <a:pt x="225151" y="-1786"/>
                    <a:pt x="203032" y="-3630"/>
                    <a:pt x="183202" y="7898"/>
                  </a:cubicBezTo>
                  <a:lnTo>
                    <a:pt x="58047" y="80037"/>
                  </a:lnTo>
                  <a:cubicBezTo>
                    <a:pt x="22094" y="100772"/>
                    <a:pt x="-25" y="139262"/>
                    <a:pt x="-25" y="180981"/>
                  </a:cubicBezTo>
                  <a:lnTo>
                    <a:pt x="-25" y="261881"/>
                  </a:lnTo>
                  <a:cubicBezTo>
                    <a:pt x="-25" y="286075"/>
                    <a:pt x="14040" y="305427"/>
                    <a:pt x="33161" y="314420"/>
                  </a:cubicBezTo>
                  <a:lnTo>
                    <a:pt x="44789" y="321238"/>
                  </a:lnTo>
                  <a:close/>
                </a:path>
              </a:pathLst>
            </a:custGeom>
            <a:solidFill>
              <a:srgbClr val="00A9F4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3" name="Freeform: Shape 472">
              <a:extLst>
                <a:ext uri="{FF2B5EF4-FFF2-40B4-BE49-F238E27FC236}">
                  <a16:creationId xmlns:a16="http://schemas.microsoft.com/office/drawing/2014/main" id="{4ABADC83-F7F8-8EC6-962B-D93B3378BAC7}"/>
                </a:ext>
              </a:extLst>
            </p:cNvPr>
            <p:cNvSpPr/>
            <p:nvPr/>
          </p:nvSpPr>
          <p:spPr>
            <a:xfrm>
              <a:off x="2612668" y="636956"/>
              <a:ext cx="270814" cy="320169"/>
            </a:xfrm>
            <a:custGeom>
              <a:avLst/>
              <a:gdLst>
                <a:gd name="connsiteX0" fmla="*/ 270789 w 270814"/>
                <a:gd name="connsiteY0" fmla="*/ 58425 h 320169"/>
                <a:gd name="connsiteX1" fmla="*/ 270789 w 270814"/>
                <a:gd name="connsiteY1" fmla="*/ 139309 h 320169"/>
                <a:gd name="connsiteX2" fmla="*/ 240814 w 270814"/>
                <a:gd name="connsiteY2" fmla="*/ 216750 h 320169"/>
                <a:gd name="connsiteX3" fmla="*/ 241209 w 270814"/>
                <a:gd name="connsiteY3" fmla="*/ 211924 h 320169"/>
                <a:gd name="connsiteX4" fmla="*/ 222845 w 270814"/>
                <a:gd name="connsiteY4" fmla="*/ 183794 h 320169"/>
                <a:gd name="connsiteX5" fmla="*/ 212502 w 270814"/>
                <a:gd name="connsiteY5" fmla="*/ 153852 h 320169"/>
                <a:gd name="connsiteX6" fmla="*/ 204580 w 270814"/>
                <a:gd name="connsiteY6" fmla="*/ 142257 h 320169"/>
                <a:gd name="connsiteX7" fmla="*/ 182741 w 270814"/>
                <a:gd name="connsiteY7" fmla="*/ 127566 h 320169"/>
                <a:gd name="connsiteX8" fmla="*/ 182741 w 270814"/>
                <a:gd name="connsiteY8" fmla="*/ 91612 h 320169"/>
                <a:gd name="connsiteX9" fmla="*/ 112678 w 270814"/>
                <a:gd name="connsiteY9" fmla="*/ 132408 h 320169"/>
                <a:gd name="connsiteX10" fmla="*/ 112678 w 270814"/>
                <a:gd name="connsiteY10" fmla="*/ 258699 h 320169"/>
                <a:gd name="connsiteX11" fmla="*/ 85025 w 270814"/>
                <a:gd name="connsiteY11" fmla="*/ 274839 h 320169"/>
                <a:gd name="connsiteX12" fmla="*/ 85025 w 270814"/>
                <a:gd name="connsiteY12" fmla="*/ 307318 h 320169"/>
                <a:gd name="connsiteX13" fmla="*/ 62214 w 270814"/>
                <a:gd name="connsiteY13" fmla="*/ 320000 h 320169"/>
                <a:gd name="connsiteX14" fmla="*/ -25 w 270814"/>
                <a:gd name="connsiteY14" fmla="*/ 261927 h 320169"/>
                <a:gd name="connsiteX15" fmla="*/ -25 w 270814"/>
                <a:gd name="connsiteY15" fmla="*/ 181027 h 320169"/>
                <a:gd name="connsiteX16" fmla="*/ 58278 w 270814"/>
                <a:gd name="connsiteY16" fmla="*/ 80083 h 320169"/>
                <a:gd name="connsiteX17" fmla="*/ 183202 w 270814"/>
                <a:gd name="connsiteY17" fmla="*/ 7945 h 320169"/>
                <a:gd name="connsiteX18" fmla="*/ 270789 w 270814"/>
                <a:gd name="connsiteY18" fmla="*/ 58425 h 32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0814" h="320169">
                  <a:moveTo>
                    <a:pt x="270789" y="58425"/>
                  </a:moveTo>
                  <a:lnTo>
                    <a:pt x="270789" y="139309"/>
                  </a:lnTo>
                  <a:cubicBezTo>
                    <a:pt x="270789" y="168592"/>
                    <a:pt x="259721" y="196015"/>
                    <a:pt x="240814" y="216750"/>
                  </a:cubicBezTo>
                  <a:cubicBezTo>
                    <a:pt x="241061" y="215136"/>
                    <a:pt x="241209" y="213555"/>
                    <a:pt x="241209" y="211924"/>
                  </a:cubicBezTo>
                  <a:cubicBezTo>
                    <a:pt x="241209" y="201334"/>
                    <a:pt x="234358" y="191403"/>
                    <a:pt x="222845" y="183794"/>
                  </a:cubicBezTo>
                  <a:cubicBezTo>
                    <a:pt x="221231" y="173434"/>
                    <a:pt x="217575" y="163075"/>
                    <a:pt x="212502" y="153852"/>
                  </a:cubicBezTo>
                  <a:cubicBezTo>
                    <a:pt x="210657" y="150393"/>
                    <a:pt x="207825" y="146177"/>
                    <a:pt x="204580" y="142257"/>
                  </a:cubicBezTo>
                  <a:cubicBezTo>
                    <a:pt x="198832" y="135125"/>
                    <a:pt x="191042" y="130102"/>
                    <a:pt x="182741" y="127566"/>
                  </a:cubicBezTo>
                  <a:lnTo>
                    <a:pt x="182741" y="91612"/>
                  </a:lnTo>
                  <a:lnTo>
                    <a:pt x="112678" y="132408"/>
                  </a:lnTo>
                  <a:lnTo>
                    <a:pt x="112678" y="258699"/>
                  </a:lnTo>
                  <a:lnTo>
                    <a:pt x="85025" y="274839"/>
                  </a:lnTo>
                  <a:lnTo>
                    <a:pt x="85025" y="307318"/>
                  </a:lnTo>
                  <a:lnTo>
                    <a:pt x="62214" y="320000"/>
                  </a:lnTo>
                  <a:cubicBezTo>
                    <a:pt x="30411" y="322306"/>
                    <a:pt x="-25" y="297420"/>
                    <a:pt x="-25" y="261927"/>
                  </a:cubicBezTo>
                  <a:lnTo>
                    <a:pt x="-25" y="181027"/>
                  </a:lnTo>
                  <a:cubicBezTo>
                    <a:pt x="-25" y="139309"/>
                    <a:pt x="22341" y="100835"/>
                    <a:pt x="58278" y="80083"/>
                  </a:cubicBezTo>
                  <a:lnTo>
                    <a:pt x="183202" y="7945"/>
                  </a:lnTo>
                  <a:cubicBezTo>
                    <a:pt x="222153" y="-14635"/>
                    <a:pt x="270789" y="13479"/>
                    <a:pt x="270789" y="58425"/>
                  </a:cubicBezTo>
                  <a:close/>
                </a:path>
              </a:pathLst>
            </a:custGeom>
            <a:solidFill>
              <a:srgbClr val="00A9F4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4" name="Freeform: Shape 473">
              <a:extLst>
                <a:ext uri="{FF2B5EF4-FFF2-40B4-BE49-F238E27FC236}">
                  <a16:creationId xmlns:a16="http://schemas.microsoft.com/office/drawing/2014/main" id="{EA2BF1AA-E8E3-A969-EED4-F3459933EA41}"/>
                </a:ext>
              </a:extLst>
            </p:cNvPr>
            <p:cNvSpPr/>
            <p:nvPr/>
          </p:nvSpPr>
          <p:spPr>
            <a:xfrm>
              <a:off x="2263654" y="439281"/>
              <a:ext cx="590017" cy="510564"/>
            </a:xfrm>
            <a:custGeom>
              <a:avLst/>
              <a:gdLst>
                <a:gd name="connsiteX0" fmla="*/ 589992 w 590017"/>
                <a:gd name="connsiteY0" fmla="*/ 205175 h 510564"/>
                <a:gd name="connsiteX1" fmla="*/ 378865 w 590017"/>
                <a:gd name="connsiteY1" fmla="*/ 510543 h 510564"/>
                <a:gd name="connsiteX2" fmla="*/ 33161 w 590017"/>
                <a:gd name="connsiteY2" fmla="*/ 314650 h 510564"/>
                <a:gd name="connsiteX3" fmla="*/ -25 w 590017"/>
                <a:gd name="connsiteY3" fmla="*/ 261864 h 510564"/>
                <a:gd name="connsiteX4" fmla="*/ -25 w 590017"/>
                <a:gd name="connsiteY4" fmla="*/ 180981 h 510564"/>
                <a:gd name="connsiteX5" fmla="*/ 58047 w 590017"/>
                <a:gd name="connsiteY5" fmla="*/ 80037 h 510564"/>
                <a:gd name="connsiteX6" fmla="*/ 183202 w 590017"/>
                <a:gd name="connsiteY6" fmla="*/ 7899 h 510564"/>
                <a:gd name="connsiteX7" fmla="*/ 242197 w 590017"/>
                <a:gd name="connsiteY7" fmla="*/ 8360 h 510564"/>
                <a:gd name="connsiteX8" fmla="*/ 589992 w 590017"/>
                <a:gd name="connsiteY8" fmla="*/ 205175 h 510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0017" h="510564">
                  <a:moveTo>
                    <a:pt x="589992" y="205175"/>
                  </a:moveTo>
                  <a:lnTo>
                    <a:pt x="378865" y="510543"/>
                  </a:lnTo>
                  <a:lnTo>
                    <a:pt x="33161" y="314650"/>
                  </a:lnTo>
                  <a:cubicBezTo>
                    <a:pt x="14040" y="305427"/>
                    <a:pt x="-25" y="286075"/>
                    <a:pt x="-25" y="261864"/>
                  </a:cubicBezTo>
                  <a:lnTo>
                    <a:pt x="-25" y="180981"/>
                  </a:lnTo>
                  <a:cubicBezTo>
                    <a:pt x="-25" y="139262"/>
                    <a:pt x="22094" y="100772"/>
                    <a:pt x="58047" y="80037"/>
                  </a:cubicBezTo>
                  <a:lnTo>
                    <a:pt x="183202" y="7899"/>
                  </a:lnTo>
                  <a:cubicBezTo>
                    <a:pt x="203015" y="-3630"/>
                    <a:pt x="225135" y="-1786"/>
                    <a:pt x="242197" y="8360"/>
                  </a:cubicBezTo>
                  <a:lnTo>
                    <a:pt x="589992" y="205175"/>
                  </a:lnTo>
                  <a:close/>
                </a:path>
              </a:pathLst>
            </a:custGeom>
            <a:solidFill>
              <a:srgbClr val="00A9F4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5" name="Freeform: Shape 474">
              <a:extLst>
                <a:ext uri="{FF2B5EF4-FFF2-40B4-BE49-F238E27FC236}">
                  <a16:creationId xmlns:a16="http://schemas.microsoft.com/office/drawing/2014/main" id="{E6F5544A-0629-9668-EB17-D02551B17564}"/>
                </a:ext>
              </a:extLst>
            </p:cNvPr>
            <p:cNvSpPr/>
            <p:nvPr/>
          </p:nvSpPr>
          <p:spPr>
            <a:xfrm>
              <a:off x="2709560" y="910598"/>
              <a:ext cx="132467" cy="135794"/>
            </a:xfrm>
            <a:custGeom>
              <a:avLst/>
              <a:gdLst>
                <a:gd name="connsiteX0" fmla="*/ 109549 w 132467"/>
                <a:gd name="connsiteY0" fmla="*/ 9004 h 135794"/>
                <a:gd name="connsiteX1" fmla="*/ 66200 w 132467"/>
                <a:gd name="connsiteY1" fmla="*/ -22 h 135794"/>
                <a:gd name="connsiteX2" fmla="*/ 22851 w 132467"/>
                <a:gd name="connsiteY2" fmla="*/ 9004 h 135794"/>
                <a:gd name="connsiteX3" fmla="*/ -25 w 132467"/>
                <a:gd name="connsiteY3" fmla="*/ 18902 h 135794"/>
                <a:gd name="connsiteX4" fmla="*/ -25 w 132467"/>
                <a:gd name="connsiteY4" fmla="*/ 98765 h 135794"/>
                <a:gd name="connsiteX5" fmla="*/ 66200 w 132467"/>
                <a:gd name="connsiteY5" fmla="*/ 135772 h 135794"/>
                <a:gd name="connsiteX6" fmla="*/ 132442 w 132467"/>
                <a:gd name="connsiteY6" fmla="*/ 98765 h 135794"/>
                <a:gd name="connsiteX7" fmla="*/ 132442 w 132467"/>
                <a:gd name="connsiteY7" fmla="*/ 18902 h 135794"/>
                <a:gd name="connsiteX8" fmla="*/ 109549 w 132467"/>
                <a:gd name="connsiteY8" fmla="*/ 9004 h 135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2467" h="135794">
                  <a:moveTo>
                    <a:pt x="109549" y="9004"/>
                  </a:moveTo>
                  <a:cubicBezTo>
                    <a:pt x="97937" y="3388"/>
                    <a:pt x="82785" y="-22"/>
                    <a:pt x="66200" y="-22"/>
                  </a:cubicBezTo>
                  <a:cubicBezTo>
                    <a:pt x="49615" y="-22"/>
                    <a:pt x="34462" y="3388"/>
                    <a:pt x="22851" y="9004"/>
                  </a:cubicBezTo>
                  <a:lnTo>
                    <a:pt x="-25" y="18902"/>
                  </a:lnTo>
                  <a:lnTo>
                    <a:pt x="-25" y="98765"/>
                  </a:lnTo>
                  <a:cubicBezTo>
                    <a:pt x="-25" y="119204"/>
                    <a:pt x="29620" y="135772"/>
                    <a:pt x="66200" y="135772"/>
                  </a:cubicBezTo>
                  <a:cubicBezTo>
                    <a:pt x="102780" y="135772"/>
                    <a:pt x="132442" y="119204"/>
                    <a:pt x="132442" y="98765"/>
                  </a:cubicBezTo>
                  <a:lnTo>
                    <a:pt x="132442" y="18902"/>
                  </a:lnTo>
                  <a:lnTo>
                    <a:pt x="109549" y="9004"/>
                  </a:lnTo>
                  <a:close/>
                </a:path>
              </a:pathLst>
            </a:custGeom>
            <a:solidFill>
              <a:srgbClr val="051C2C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6" name="Freeform: Shape 475">
              <a:extLst>
                <a:ext uri="{FF2B5EF4-FFF2-40B4-BE49-F238E27FC236}">
                  <a16:creationId xmlns:a16="http://schemas.microsoft.com/office/drawing/2014/main" id="{DC42FD01-981E-BD73-2F5C-EEB6FB0088B1}"/>
                </a:ext>
              </a:extLst>
            </p:cNvPr>
            <p:cNvSpPr/>
            <p:nvPr/>
          </p:nvSpPr>
          <p:spPr>
            <a:xfrm>
              <a:off x="2725371" y="769385"/>
              <a:ext cx="68630" cy="114943"/>
            </a:xfrm>
            <a:custGeom>
              <a:avLst/>
              <a:gdLst>
                <a:gd name="connsiteX0" fmla="*/ 68605 w 68630"/>
                <a:gd name="connsiteY0" fmla="*/ 89443 h 114943"/>
                <a:gd name="connsiteX1" fmla="*/ 30411 w 68630"/>
                <a:gd name="connsiteY1" fmla="*/ 17107 h 114943"/>
                <a:gd name="connsiteX2" fmla="*/ -25 w 68630"/>
                <a:gd name="connsiteY2" fmla="*/ -22 h 114943"/>
                <a:gd name="connsiteX3" fmla="*/ -25 w 68630"/>
                <a:gd name="connsiteY3" fmla="*/ 75723 h 114943"/>
                <a:gd name="connsiteX4" fmla="*/ 68605 w 68630"/>
                <a:gd name="connsiteY4" fmla="*/ 114922 h 114943"/>
                <a:gd name="connsiteX5" fmla="*/ 68605 w 68630"/>
                <a:gd name="connsiteY5" fmla="*/ 89443 h 114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630" h="114943">
                  <a:moveTo>
                    <a:pt x="68605" y="89443"/>
                  </a:moveTo>
                  <a:cubicBezTo>
                    <a:pt x="68358" y="61460"/>
                    <a:pt x="51344" y="29196"/>
                    <a:pt x="30411" y="17107"/>
                  </a:cubicBezTo>
                  <a:lnTo>
                    <a:pt x="-25" y="-22"/>
                  </a:lnTo>
                  <a:lnTo>
                    <a:pt x="-25" y="75723"/>
                  </a:lnTo>
                  <a:lnTo>
                    <a:pt x="68605" y="114922"/>
                  </a:lnTo>
                  <a:lnTo>
                    <a:pt x="68605" y="89443"/>
                  </a:lnTo>
                  <a:close/>
                </a:path>
              </a:pathLst>
            </a:custGeom>
            <a:solidFill>
              <a:srgbClr val="051C2C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7" name="Freeform: Shape 476">
              <a:extLst>
                <a:ext uri="{FF2B5EF4-FFF2-40B4-BE49-F238E27FC236}">
                  <a16:creationId xmlns:a16="http://schemas.microsoft.com/office/drawing/2014/main" id="{697097FF-B4EC-A4B8-DAC9-98A7951F5BCF}"/>
                </a:ext>
              </a:extLst>
            </p:cNvPr>
            <p:cNvSpPr/>
            <p:nvPr/>
          </p:nvSpPr>
          <p:spPr>
            <a:xfrm>
              <a:off x="2697718" y="728589"/>
              <a:ext cx="125368" cy="215706"/>
            </a:xfrm>
            <a:custGeom>
              <a:avLst/>
              <a:gdLst>
                <a:gd name="connsiteX0" fmla="*/ 97690 w 125368"/>
                <a:gd name="connsiteY0" fmla="*/ 126055 h 215706"/>
                <a:gd name="connsiteX1" fmla="*/ 97690 w 125368"/>
                <a:gd name="connsiteY1" fmla="*/ -22 h 215706"/>
                <a:gd name="connsiteX2" fmla="*/ 27627 w 125368"/>
                <a:gd name="connsiteY2" fmla="*/ 40774 h 215706"/>
                <a:gd name="connsiteX3" fmla="*/ 27627 w 125368"/>
                <a:gd name="connsiteY3" fmla="*/ 167065 h 215706"/>
                <a:gd name="connsiteX4" fmla="*/ -25 w 125368"/>
                <a:gd name="connsiteY4" fmla="*/ 183206 h 215706"/>
                <a:gd name="connsiteX5" fmla="*/ -25 w 125368"/>
                <a:gd name="connsiteY5" fmla="*/ 215684 h 215706"/>
                <a:gd name="connsiteX6" fmla="*/ 125343 w 125368"/>
                <a:gd name="connsiteY6" fmla="*/ 145638 h 215706"/>
                <a:gd name="connsiteX7" fmla="*/ 125343 w 125368"/>
                <a:gd name="connsiteY7" fmla="*/ 109915 h 215706"/>
                <a:gd name="connsiteX8" fmla="*/ 97690 w 125368"/>
                <a:gd name="connsiteY8" fmla="*/ 126055 h 215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368" h="215706">
                  <a:moveTo>
                    <a:pt x="97690" y="126055"/>
                  </a:moveTo>
                  <a:lnTo>
                    <a:pt x="97690" y="-22"/>
                  </a:lnTo>
                  <a:lnTo>
                    <a:pt x="27627" y="40774"/>
                  </a:lnTo>
                  <a:lnTo>
                    <a:pt x="27627" y="167065"/>
                  </a:lnTo>
                  <a:lnTo>
                    <a:pt x="-25" y="183206"/>
                  </a:lnTo>
                  <a:lnTo>
                    <a:pt x="-25" y="215684"/>
                  </a:lnTo>
                  <a:lnTo>
                    <a:pt x="125343" y="145638"/>
                  </a:lnTo>
                  <a:lnTo>
                    <a:pt x="125343" y="109915"/>
                  </a:lnTo>
                  <a:lnTo>
                    <a:pt x="97690" y="126055"/>
                  </a:lnTo>
                  <a:close/>
                </a:path>
              </a:pathLst>
            </a:custGeom>
            <a:solidFill>
              <a:srgbClr val="1F2644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8" name="Freeform: Shape 477">
              <a:extLst>
                <a:ext uri="{FF2B5EF4-FFF2-40B4-BE49-F238E27FC236}">
                  <a16:creationId xmlns:a16="http://schemas.microsoft.com/office/drawing/2014/main" id="{59BBDF83-9095-F861-9C41-C8AD12544E93}"/>
                </a:ext>
              </a:extLst>
            </p:cNvPr>
            <p:cNvSpPr/>
            <p:nvPr/>
          </p:nvSpPr>
          <p:spPr>
            <a:xfrm>
              <a:off x="2263654" y="629161"/>
              <a:ext cx="235074" cy="198890"/>
            </a:xfrm>
            <a:custGeom>
              <a:avLst/>
              <a:gdLst>
                <a:gd name="connsiteX0" fmla="*/ 235049 w 235074"/>
                <a:gd name="connsiteY0" fmla="*/ 137568 h 198890"/>
                <a:gd name="connsiteX1" fmla="*/ 235049 w 235074"/>
                <a:gd name="connsiteY1" fmla="*/ 198869 h 198890"/>
                <a:gd name="connsiteX2" fmla="*/ -25 w 235074"/>
                <a:gd name="connsiteY2" fmla="*/ 61279 h 198890"/>
                <a:gd name="connsiteX3" fmla="*/ -25 w 235074"/>
                <a:gd name="connsiteY3" fmla="*/ -22 h 198890"/>
                <a:gd name="connsiteX4" fmla="*/ 235049 w 235074"/>
                <a:gd name="connsiteY4" fmla="*/ 137568 h 198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074" h="198890">
                  <a:moveTo>
                    <a:pt x="235049" y="137568"/>
                  </a:moveTo>
                  <a:lnTo>
                    <a:pt x="235049" y="198869"/>
                  </a:lnTo>
                  <a:lnTo>
                    <a:pt x="-25" y="61279"/>
                  </a:lnTo>
                  <a:lnTo>
                    <a:pt x="-25" y="-22"/>
                  </a:lnTo>
                  <a:lnTo>
                    <a:pt x="235049" y="137568"/>
                  </a:lnTo>
                  <a:close/>
                </a:path>
              </a:pathLst>
            </a:custGeom>
            <a:solidFill>
              <a:srgbClr val="2251FF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9" name="Freeform: Shape 478">
              <a:extLst>
                <a:ext uri="{FF2B5EF4-FFF2-40B4-BE49-F238E27FC236}">
                  <a16:creationId xmlns:a16="http://schemas.microsoft.com/office/drawing/2014/main" id="{916D7D92-6D4A-5094-50BD-79827438C400}"/>
                </a:ext>
              </a:extLst>
            </p:cNvPr>
            <p:cNvSpPr/>
            <p:nvPr/>
          </p:nvSpPr>
          <p:spPr>
            <a:xfrm>
              <a:off x="2697718" y="805306"/>
              <a:ext cx="156184" cy="87224"/>
            </a:xfrm>
            <a:custGeom>
              <a:avLst/>
              <a:gdLst>
                <a:gd name="connsiteX0" fmla="*/ -25 w 156184"/>
                <a:gd name="connsiteY0" fmla="*/ 43591 h 87224"/>
                <a:gd name="connsiteX1" fmla="*/ 78042 w 156184"/>
                <a:gd name="connsiteY1" fmla="*/ 87203 h 87224"/>
                <a:gd name="connsiteX2" fmla="*/ 156159 w 156184"/>
                <a:gd name="connsiteY2" fmla="*/ 43574 h 87224"/>
                <a:gd name="connsiteX3" fmla="*/ 78042 w 156184"/>
                <a:gd name="connsiteY3" fmla="*/ -22 h 87224"/>
                <a:gd name="connsiteX4" fmla="*/ -25 w 156184"/>
                <a:gd name="connsiteY4" fmla="*/ 43591 h 8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184" h="87224">
                  <a:moveTo>
                    <a:pt x="-25" y="43591"/>
                  </a:moveTo>
                  <a:cubicBezTo>
                    <a:pt x="-25" y="67686"/>
                    <a:pt x="34924" y="87203"/>
                    <a:pt x="78042" y="87203"/>
                  </a:cubicBezTo>
                  <a:cubicBezTo>
                    <a:pt x="121160" y="87203"/>
                    <a:pt x="156159" y="67670"/>
                    <a:pt x="156159" y="43574"/>
                  </a:cubicBezTo>
                  <a:cubicBezTo>
                    <a:pt x="156159" y="19495"/>
                    <a:pt x="121160" y="-22"/>
                    <a:pt x="78042" y="-22"/>
                  </a:cubicBezTo>
                  <a:cubicBezTo>
                    <a:pt x="34924" y="-22"/>
                    <a:pt x="-25" y="19512"/>
                    <a:pt x="-25" y="43591"/>
                  </a:cubicBezTo>
                  <a:close/>
                </a:path>
              </a:pathLst>
            </a:custGeom>
            <a:solidFill>
              <a:srgbClr val="051C2C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0" name="Freeform: Shape 479">
              <a:extLst>
                <a:ext uri="{FF2B5EF4-FFF2-40B4-BE49-F238E27FC236}">
                  <a16:creationId xmlns:a16="http://schemas.microsoft.com/office/drawing/2014/main" id="{F55E7203-6E29-CAEB-F836-A6EA7E8BF406}"/>
                </a:ext>
              </a:extLst>
            </p:cNvPr>
            <p:cNvSpPr/>
            <p:nvPr/>
          </p:nvSpPr>
          <p:spPr>
            <a:xfrm>
              <a:off x="2732388" y="762272"/>
              <a:ext cx="104616" cy="122056"/>
            </a:xfrm>
            <a:custGeom>
              <a:avLst/>
              <a:gdLst>
                <a:gd name="connsiteX0" fmla="*/ 104591 w 104616"/>
                <a:gd name="connsiteY0" fmla="*/ 71440 h 122056"/>
                <a:gd name="connsiteX1" fmla="*/ 92782 w 104616"/>
                <a:gd name="connsiteY1" fmla="*/ 28535 h 122056"/>
                <a:gd name="connsiteX2" fmla="*/ 84860 w 104616"/>
                <a:gd name="connsiteY2" fmla="*/ 16941 h 122056"/>
                <a:gd name="connsiteX3" fmla="*/ 25388 w 104616"/>
                <a:gd name="connsiteY3" fmla="*/ 6416 h 122056"/>
                <a:gd name="connsiteX4" fmla="*/ -25 w 104616"/>
                <a:gd name="connsiteY4" fmla="*/ 21388 h 122056"/>
                <a:gd name="connsiteX5" fmla="*/ 61588 w 104616"/>
                <a:gd name="connsiteY5" fmla="*/ 122035 h 122056"/>
                <a:gd name="connsiteX6" fmla="*/ 104591 w 104616"/>
                <a:gd name="connsiteY6" fmla="*/ 96902 h 122056"/>
                <a:gd name="connsiteX7" fmla="*/ 104591 w 104616"/>
                <a:gd name="connsiteY7" fmla="*/ 71440 h 12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616" h="122056">
                  <a:moveTo>
                    <a:pt x="104591" y="71440"/>
                  </a:moveTo>
                  <a:cubicBezTo>
                    <a:pt x="104459" y="56534"/>
                    <a:pt x="99798" y="41580"/>
                    <a:pt x="92782" y="28535"/>
                  </a:cubicBezTo>
                  <a:cubicBezTo>
                    <a:pt x="90888" y="24995"/>
                    <a:pt x="88187" y="21042"/>
                    <a:pt x="84860" y="16941"/>
                  </a:cubicBezTo>
                  <a:cubicBezTo>
                    <a:pt x="70449" y="-781"/>
                    <a:pt x="45069" y="-5178"/>
                    <a:pt x="25388" y="6416"/>
                  </a:cubicBezTo>
                  <a:cubicBezTo>
                    <a:pt x="15539" y="12214"/>
                    <a:pt x="5475" y="18143"/>
                    <a:pt x="-25" y="21388"/>
                  </a:cubicBezTo>
                  <a:lnTo>
                    <a:pt x="61588" y="122035"/>
                  </a:lnTo>
                  <a:lnTo>
                    <a:pt x="104591" y="96902"/>
                  </a:lnTo>
                  <a:lnTo>
                    <a:pt x="104591" y="71440"/>
                  </a:lnTo>
                  <a:close/>
                </a:path>
              </a:pathLst>
            </a:custGeom>
            <a:solidFill>
              <a:srgbClr val="051C2C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1" name="Freeform: Shape 480">
              <a:extLst>
                <a:ext uri="{FF2B5EF4-FFF2-40B4-BE49-F238E27FC236}">
                  <a16:creationId xmlns:a16="http://schemas.microsoft.com/office/drawing/2014/main" id="{7FEC9117-0B5B-BB16-D7DE-81AF8BFBF073}"/>
                </a:ext>
              </a:extLst>
            </p:cNvPr>
            <p:cNvSpPr/>
            <p:nvPr/>
          </p:nvSpPr>
          <p:spPr>
            <a:xfrm>
              <a:off x="2106350" y="1064633"/>
              <a:ext cx="277385" cy="371783"/>
            </a:xfrm>
            <a:custGeom>
              <a:avLst/>
              <a:gdLst>
                <a:gd name="connsiteX0" fmla="*/ 277360 w 277385"/>
                <a:gd name="connsiteY0" fmla="*/ 279283 h 371783"/>
                <a:gd name="connsiteX1" fmla="*/ 138667 w 277385"/>
                <a:gd name="connsiteY1" fmla="*/ 16621 h 371783"/>
                <a:gd name="connsiteX2" fmla="*/ -25 w 277385"/>
                <a:gd name="connsiteY2" fmla="*/ 121468 h 371783"/>
                <a:gd name="connsiteX3" fmla="*/ 156 w 277385"/>
                <a:gd name="connsiteY3" fmla="*/ 126344 h 371783"/>
                <a:gd name="connsiteX4" fmla="*/ 24 w 277385"/>
                <a:gd name="connsiteY4" fmla="*/ 194792 h 371783"/>
                <a:gd name="connsiteX5" fmla="*/ 24 w 277385"/>
                <a:gd name="connsiteY5" fmla="*/ 213173 h 371783"/>
                <a:gd name="connsiteX6" fmla="*/ 131174 w 277385"/>
                <a:gd name="connsiteY6" fmla="*/ 288885 h 371783"/>
                <a:gd name="connsiteX7" fmla="*/ 138667 w 277385"/>
                <a:gd name="connsiteY7" fmla="*/ 293727 h 371783"/>
                <a:gd name="connsiteX8" fmla="*/ 144959 w 277385"/>
                <a:gd name="connsiteY8" fmla="*/ 296922 h 371783"/>
                <a:gd name="connsiteX9" fmla="*/ 277360 w 277385"/>
                <a:gd name="connsiteY9" fmla="*/ 371761 h 371783"/>
                <a:gd name="connsiteX10" fmla="*/ 277360 w 277385"/>
                <a:gd name="connsiteY10" fmla="*/ 279283 h 371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7385" h="371783">
                  <a:moveTo>
                    <a:pt x="277360" y="279283"/>
                  </a:moveTo>
                  <a:cubicBezTo>
                    <a:pt x="276455" y="177664"/>
                    <a:pt x="214692" y="60513"/>
                    <a:pt x="138667" y="16621"/>
                  </a:cubicBezTo>
                  <a:cubicBezTo>
                    <a:pt x="62066" y="-27600"/>
                    <a:pt x="-25" y="19339"/>
                    <a:pt x="-25" y="121468"/>
                  </a:cubicBezTo>
                  <a:cubicBezTo>
                    <a:pt x="-25" y="123082"/>
                    <a:pt x="123" y="124729"/>
                    <a:pt x="156" y="126344"/>
                  </a:cubicBezTo>
                  <a:lnTo>
                    <a:pt x="24" y="194792"/>
                  </a:lnTo>
                  <a:lnTo>
                    <a:pt x="24" y="213173"/>
                  </a:lnTo>
                  <a:lnTo>
                    <a:pt x="131174" y="288885"/>
                  </a:lnTo>
                  <a:cubicBezTo>
                    <a:pt x="133661" y="290515"/>
                    <a:pt x="136131" y="292261"/>
                    <a:pt x="138667" y="293727"/>
                  </a:cubicBezTo>
                  <a:cubicBezTo>
                    <a:pt x="140792" y="294946"/>
                    <a:pt x="142851" y="295835"/>
                    <a:pt x="144959" y="296922"/>
                  </a:cubicBezTo>
                  <a:lnTo>
                    <a:pt x="277360" y="371761"/>
                  </a:lnTo>
                  <a:lnTo>
                    <a:pt x="277360" y="279283"/>
                  </a:lnTo>
                  <a:close/>
                </a:path>
              </a:pathLst>
            </a:custGeom>
            <a:solidFill>
              <a:srgbClr val="00A9F4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2" name="Freeform: Shape 481">
              <a:extLst>
                <a:ext uri="{FF2B5EF4-FFF2-40B4-BE49-F238E27FC236}">
                  <a16:creationId xmlns:a16="http://schemas.microsoft.com/office/drawing/2014/main" id="{465C48D3-AD84-C715-9449-1585FE4140CC}"/>
                </a:ext>
              </a:extLst>
            </p:cNvPr>
            <p:cNvSpPr/>
            <p:nvPr/>
          </p:nvSpPr>
          <p:spPr>
            <a:xfrm>
              <a:off x="2697718" y="826585"/>
              <a:ext cx="156184" cy="160070"/>
            </a:xfrm>
            <a:custGeom>
              <a:avLst/>
              <a:gdLst>
                <a:gd name="connsiteX0" fmla="*/ 129148 w 156184"/>
                <a:gd name="connsiteY0" fmla="*/ 10634 h 160070"/>
                <a:gd name="connsiteX1" fmla="*/ 78042 w 156184"/>
                <a:gd name="connsiteY1" fmla="*/ -22 h 160070"/>
                <a:gd name="connsiteX2" fmla="*/ 26952 w 156184"/>
                <a:gd name="connsiteY2" fmla="*/ 10634 h 160070"/>
                <a:gd name="connsiteX3" fmla="*/ -25 w 156184"/>
                <a:gd name="connsiteY3" fmla="*/ 22312 h 160070"/>
                <a:gd name="connsiteX4" fmla="*/ -25 w 156184"/>
                <a:gd name="connsiteY4" fmla="*/ 116437 h 160070"/>
                <a:gd name="connsiteX5" fmla="*/ 78042 w 156184"/>
                <a:gd name="connsiteY5" fmla="*/ 160049 h 160070"/>
                <a:gd name="connsiteX6" fmla="*/ 156109 w 156184"/>
                <a:gd name="connsiteY6" fmla="*/ 116437 h 160070"/>
                <a:gd name="connsiteX7" fmla="*/ 156159 w 156184"/>
                <a:gd name="connsiteY7" fmla="*/ 22295 h 160070"/>
                <a:gd name="connsiteX8" fmla="*/ 129148 w 156184"/>
                <a:gd name="connsiteY8" fmla="*/ 10634 h 160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6184" h="160070">
                  <a:moveTo>
                    <a:pt x="129148" y="10634"/>
                  </a:moveTo>
                  <a:cubicBezTo>
                    <a:pt x="115445" y="4013"/>
                    <a:pt x="97592" y="-22"/>
                    <a:pt x="78042" y="-22"/>
                  </a:cubicBezTo>
                  <a:cubicBezTo>
                    <a:pt x="58492" y="-22"/>
                    <a:pt x="40639" y="4013"/>
                    <a:pt x="26952" y="10634"/>
                  </a:cubicBezTo>
                  <a:lnTo>
                    <a:pt x="-25" y="22312"/>
                  </a:lnTo>
                  <a:lnTo>
                    <a:pt x="-25" y="116437"/>
                  </a:lnTo>
                  <a:cubicBezTo>
                    <a:pt x="-25" y="140532"/>
                    <a:pt x="34924" y="160049"/>
                    <a:pt x="78042" y="160049"/>
                  </a:cubicBezTo>
                  <a:cubicBezTo>
                    <a:pt x="121160" y="160049"/>
                    <a:pt x="156109" y="140532"/>
                    <a:pt x="156109" y="116437"/>
                  </a:cubicBezTo>
                  <a:lnTo>
                    <a:pt x="156159" y="22295"/>
                  </a:lnTo>
                  <a:lnTo>
                    <a:pt x="129148" y="10634"/>
                  </a:lnTo>
                  <a:close/>
                </a:path>
              </a:pathLst>
            </a:custGeom>
            <a:solidFill>
              <a:srgbClr val="051C2C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3" name="Freeform: Shape 482">
              <a:extLst>
                <a:ext uri="{FF2B5EF4-FFF2-40B4-BE49-F238E27FC236}">
                  <a16:creationId xmlns:a16="http://schemas.microsoft.com/office/drawing/2014/main" id="{9C05E9D0-1E46-DC55-73DC-494C1A299D54}"/>
                </a:ext>
              </a:extLst>
            </p:cNvPr>
            <p:cNvSpPr/>
            <p:nvPr/>
          </p:nvSpPr>
          <p:spPr>
            <a:xfrm>
              <a:off x="2105757" y="1214822"/>
              <a:ext cx="77260" cy="112275"/>
            </a:xfrm>
            <a:custGeom>
              <a:avLst/>
              <a:gdLst>
                <a:gd name="connsiteX0" fmla="*/ 77235 w 77260"/>
                <a:gd name="connsiteY0" fmla="*/ 78416 h 112275"/>
                <a:gd name="connsiteX1" fmla="*/ 38596 w 77260"/>
                <a:gd name="connsiteY1" fmla="*/ 107617 h 112275"/>
                <a:gd name="connsiteX2" fmla="*/ -25 w 77260"/>
                <a:gd name="connsiteY2" fmla="*/ 33816 h 112275"/>
                <a:gd name="connsiteX3" fmla="*/ 38596 w 77260"/>
                <a:gd name="connsiteY3" fmla="*/ 4615 h 112275"/>
                <a:gd name="connsiteX4" fmla="*/ 77235 w 77260"/>
                <a:gd name="connsiteY4" fmla="*/ 78416 h 112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260" h="112275">
                  <a:moveTo>
                    <a:pt x="77235" y="78416"/>
                  </a:moveTo>
                  <a:cubicBezTo>
                    <a:pt x="77235" y="106860"/>
                    <a:pt x="59925" y="119937"/>
                    <a:pt x="38596" y="107617"/>
                  </a:cubicBezTo>
                  <a:cubicBezTo>
                    <a:pt x="17268" y="95298"/>
                    <a:pt x="-25" y="62259"/>
                    <a:pt x="-25" y="33816"/>
                  </a:cubicBezTo>
                  <a:cubicBezTo>
                    <a:pt x="-25" y="5372"/>
                    <a:pt x="17268" y="-7705"/>
                    <a:pt x="38596" y="4615"/>
                  </a:cubicBezTo>
                  <a:cubicBezTo>
                    <a:pt x="59925" y="16934"/>
                    <a:pt x="77235" y="49973"/>
                    <a:pt x="77235" y="78416"/>
                  </a:cubicBezTo>
                  <a:close/>
                </a:path>
              </a:pathLst>
            </a:custGeom>
            <a:solidFill>
              <a:srgbClr val="2251FF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4" name="Freeform: Shape 483">
              <a:extLst>
                <a:ext uri="{FF2B5EF4-FFF2-40B4-BE49-F238E27FC236}">
                  <a16:creationId xmlns:a16="http://schemas.microsoft.com/office/drawing/2014/main" id="{42CCD263-BF50-5E91-BC02-40055A4C98C9}"/>
                </a:ext>
              </a:extLst>
            </p:cNvPr>
            <p:cNvSpPr/>
            <p:nvPr/>
          </p:nvSpPr>
          <p:spPr>
            <a:xfrm>
              <a:off x="2109974" y="1235350"/>
              <a:ext cx="55964" cy="82433"/>
            </a:xfrm>
            <a:custGeom>
              <a:avLst/>
              <a:gdLst>
                <a:gd name="connsiteX0" fmla="*/ 55939 w 55964"/>
                <a:gd name="connsiteY0" fmla="*/ 54166 h 82433"/>
                <a:gd name="connsiteX1" fmla="*/ 29291 w 55964"/>
                <a:gd name="connsiteY1" fmla="*/ 3258 h 82433"/>
                <a:gd name="connsiteX2" fmla="*/ 12179 w 55964"/>
                <a:gd name="connsiteY2" fmla="*/ 1545 h 82433"/>
                <a:gd name="connsiteX3" fmla="*/ -25 w 55964"/>
                <a:gd name="connsiteY3" fmla="*/ 8363 h 82433"/>
                <a:gd name="connsiteX4" fmla="*/ 34413 w 55964"/>
                <a:gd name="connsiteY4" fmla="*/ 82412 h 82433"/>
                <a:gd name="connsiteX5" fmla="*/ 47128 w 55964"/>
                <a:gd name="connsiteY5" fmla="*/ 75478 h 82433"/>
                <a:gd name="connsiteX6" fmla="*/ 55939 w 55964"/>
                <a:gd name="connsiteY6" fmla="*/ 54166 h 82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964" h="82433">
                  <a:moveTo>
                    <a:pt x="55939" y="54166"/>
                  </a:moveTo>
                  <a:cubicBezTo>
                    <a:pt x="55939" y="34534"/>
                    <a:pt x="44015" y="11740"/>
                    <a:pt x="29291" y="3258"/>
                  </a:cubicBezTo>
                  <a:cubicBezTo>
                    <a:pt x="22785" y="-514"/>
                    <a:pt x="16807" y="-959"/>
                    <a:pt x="12179" y="1545"/>
                  </a:cubicBezTo>
                  <a:lnTo>
                    <a:pt x="-25" y="8363"/>
                  </a:lnTo>
                  <a:lnTo>
                    <a:pt x="34413" y="82412"/>
                  </a:lnTo>
                  <a:lnTo>
                    <a:pt x="47128" y="75478"/>
                  </a:lnTo>
                  <a:cubicBezTo>
                    <a:pt x="52546" y="72102"/>
                    <a:pt x="55939" y="64641"/>
                    <a:pt x="55939" y="54166"/>
                  </a:cubicBezTo>
                  <a:close/>
                </a:path>
              </a:pathLst>
            </a:custGeom>
            <a:solidFill>
              <a:srgbClr val="00A9F4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5" name="Freeform: Shape 484">
              <a:extLst>
                <a:ext uri="{FF2B5EF4-FFF2-40B4-BE49-F238E27FC236}">
                  <a16:creationId xmlns:a16="http://schemas.microsoft.com/office/drawing/2014/main" id="{92759378-6003-A34C-C9C9-3E474F3FB723}"/>
                </a:ext>
              </a:extLst>
            </p:cNvPr>
            <p:cNvSpPr/>
            <p:nvPr/>
          </p:nvSpPr>
          <p:spPr>
            <a:xfrm>
              <a:off x="2101228" y="1241657"/>
              <a:ext cx="53296" cy="77456"/>
            </a:xfrm>
            <a:custGeom>
              <a:avLst/>
              <a:gdLst>
                <a:gd name="connsiteX0" fmla="*/ 53271 w 53296"/>
                <a:gd name="connsiteY0" fmla="*/ 54085 h 77456"/>
                <a:gd name="connsiteX1" fmla="*/ 26623 w 53296"/>
                <a:gd name="connsiteY1" fmla="*/ 74227 h 77456"/>
                <a:gd name="connsiteX2" fmla="*/ -25 w 53296"/>
                <a:gd name="connsiteY2" fmla="*/ 23319 h 77456"/>
                <a:gd name="connsiteX3" fmla="*/ 26623 w 53296"/>
                <a:gd name="connsiteY3" fmla="*/ 3176 h 77456"/>
                <a:gd name="connsiteX4" fmla="*/ 53271 w 53296"/>
                <a:gd name="connsiteY4" fmla="*/ 54085 h 77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6" h="77456">
                  <a:moveTo>
                    <a:pt x="53271" y="54085"/>
                  </a:moveTo>
                  <a:cubicBezTo>
                    <a:pt x="53271" y="73717"/>
                    <a:pt x="41330" y="82742"/>
                    <a:pt x="26623" y="74227"/>
                  </a:cubicBezTo>
                  <a:cubicBezTo>
                    <a:pt x="11899" y="65745"/>
                    <a:pt x="-25" y="42951"/>
                    <a:pt x="-25" y="23319"/>
                  </a:cubicBezTo>
                  <a:cubicBezTo>
                    <a:pt x="-25" y="3703"/>
                    <a:pt x="11899" y="-5322"/>
                    <a:pt x="26623" y="3176"/>
                  </a:cubicBezTo>
                  <a:cubicBezTo>
                    <a:pt x="41330" y="11675"/>
                    <a:pt x="53271" y="34469"/>
                    <a:pt x="53271" y="54085"/>
                  </a:cubicBezTo>
                  <a:close/>
                </a:path>
              </a:pathLst>
            </a:custGeom>
            <a:solidFill>
              <a:srgbClr val="00A9F4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6" name="Freeform: Shape 485">
              <a:extLst>
                <a:ext uri="{FF2B5EF4-FFF2-40B4-BE49-F238E27FC236}">
                  <a16:creationId xmlns:a16="http://schemas.microsoft.com/office/drawing/2014/main" id="{04526580-428C-10FB-F74E-0F6F14659C09}"/>
                </a:ext>
              </a:extLst>
            </p:cNvPr>
            <p:cNvSpPr/>
            <p:nvPr/>
          </p:nvSpPr>
          <p:spPr>
            <a:xfrm>
              <a:off x="2160026" y="993235"/>
              <a:ext cx="379779" cy="443181"/>
            </a:xfrm>
            <a:custGeom>
              <a:avLst/>
              <a:gdLst>
                <a:gd name="connsiteX0" fmla="*/ 379754 w 379779"/>
                <a:gd name="connsiteY0" fmla="*/ 259421 h 443181"/>
                <a:gd name="connsiteX1" fmla="*/ 337031 w 379779"/>
                <a:gd name="connsiteY1" fmla="*/ 103731 h 443181"/>
                <a:gd name="connsiteX2" fmla="*/ 307995 w 379779"/>
                <a:gd name="connsiteY2" fmla="*/ 61486 h 443181"/>
                <a:gd name="connsiteX3" fmla="*/ 92239 w 379779"/>
                <a:gd name="connsiteY3" fmla="*/ 23391 h 443181"/>
                <a:gd name="connsiteX4" fmla="*/ -25 w 379779"/>
                <a:gd name="connsiteY4" fmla="*/ 77775 h 443181"/>
                <a:gd name="connsiteX5" fmla="*/ 223685 w 379779"/>
                <a:gd name="connsiteY5" fmla="*/ 443159 h 443181"/>
                <a:gd name="connsiteX6" fmla="*/ 379754 w 379779"/>
                <a:gd name="connsiteY6" fmla="*/ 351900 h 443181"/>
                <a:gd name="connsiteX7" fmla="*/ 379754 w 379779"/>
                <a:gd name="connsiteY7" fmla="*/ 259421 h 443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9779" h="443181">
                  <a:moveTo>
                    <a:pt x="379754" y="259421"/>
                  </a:moveTo>
                  <a:cubicBezTo>
                    <a:pt x="379293" y="205334"/>
                    <a:pt x="362510" y="151115"/>
                    <a:pt x="337031" y="103731"/>
                  </a:cubicBezTo>
                  <a:cubicBezTo>
                    <a:pt x="330114" y="90868"/>
                    <a:pt x="320051" y="76276"/>
                    <a:pt x="307995" y="61486"/>
                  </a:cubicBezTo>
                  <a:cubicBezTo>
                    <a:pt x="255637" y="-2862"/>
                    <a:pt x="163718" y="-18706"/>
                    <a:pt x="92239" y="23391"/>
                  </a:cubicBezTo>
                  <a:cubicBezTo>
                    <a:pt x="56499" y="44440"/>
                    <a:pt x="19936" y="65966"/>
                    <a:pt x="-25" y="77775"/>
                  </a:cubicBezTo>
                  <a:lnTo>
                    <a:pt x="223685" y="443159"/>
                  </a:lnTo>
                  <a:lnTo>
                    <a:pt x="379754" y="351900"/>
                  </a:lnTo>
                  <a:lnTo>
                    <a:pt x="379754" y="259421"/>
                  </a:lnTo>
                  <a:close/>
                </a:path>
              </a:pathLst>
            </a:custGeom>
            <a:solidFill>
              <a:srgbClr val="00A9F4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7" name="Freeform: Shape 486">
              <a:extLst>
                <a:ext uri="{FF2B5EF4-FFF2-40B4-BE49-F238E27FC236}">
                  <a16:creationId xmlns:a16="http://schemas.microsoft.com/office/drawing/2014/main" id="{23560C4F-73D1-56CC-219F-FD8AC20BFA6A}"/>
                </a:ext>
              </a:extLst>
            </p:cNvPr>
            <p:cNvSpPr/>
            <p:nvPr/>
          </p:nvSpPr>
          <p:spPr>
            <a:xfrm>
              <a:off x="2410699" y="1262012"/>
              <a:ext cx="109209" cy="70034"/>
            </a:xfrm>
            <a:custGeom>
              <a:avLst/>
              <a:gdLst>
                <a:gd name="connsiteX0" fmla="*/ 6051 w 109209"/>
                <a:gd name="connsiteY0" fmla="*/ 70013 h 70034"/>
                <a:gd name="connsiteX1" fmla="*/ 830 w 109209"/>
                <a:gd name="connsiteY1" fmla="*/ 67048 h 70034"/>
                <a:gd name="connsiteX2" fmla="*/ 2938 w 109209"/>
                <a:gd name="connsiteY2" fmla="*/ 58731 h 70034"/>
                <a:gd name="connsiteX3" fmla="*/ 100012 w 109209"/>
                <a:gd name="connsiteY3" fmla="*/ 823 h 70034"/>
                <a:gd name="connsiteX4" fmla="*/ 108329 w 109209"/>
                <a:gd name="connsiteY4" fmla="*/ 2931 h 70034"/>
                <a:gd name="connsiteX5" fmla="*/ 106221 w 109209"/>
                <a:gd name="connsiteY5" fmla="*/ 11265 h 70034"/>
                <a:gd name="connsiteX6" fmla="*/ 9147 w 109209"/>
                <a:gd name="connsiteY6" fmla="*/ 69156 h 70034"/>
                <a:gd name="connsiteX7" fmla="*/ 6051 w 109209"/>
                <a:gd name="connsiteY7" fmla="*/ 70013 h 7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9209" h="70034">
                  <a:moveTo>
                    <a:pt x="6051" y="70013"/>
                  </a:moveTo>
                  <a:cubicBezTo>
                    <a:pt x="3976" y="70013"/>
                    <a:pt x="1966" y="68959"/>
                    <a:pt x="830" y="67048"/>
                  </a:cubicBezTo>
                  <a:cubicBezTo>
                    <a:pt x="-883" y="64166"/>
                    <a:pt x="56" y="60460"/>
                    <a:pt x="2938" y="58731"/>
                  </a:cubicBezTo>
                  <a:lnTo>
                    <a:pt x="100012" y="823"/>
                  </a:lnTo>
                  <a:cubicBezTo>
                    <a:pt x="102894" y="-874"/>
                    <a:pt x="106616" y="65"/>
                    <a:pt x="108329" y="2931"/>
                  </a:cubicBezTo>
                  <a:cubicBezTo>
                    <a:pt x="110042" y="5813"/>
                    <a:pt x="109103" y="9535"/>
                    <a:pt x="106221" y="11265"/>
                  </a:cubicBezTo>
                  <a:lnTo>
                    <a:pt x="9147" y="69156"/>
                  </a:lnTo>
                  <a:lnTo>
                    <a:pt x="6051" y="70013"/>
                  </a:lnTo>
                  <a:close/>
                </a:path>
              </a:pathLst>
            </a:custGeom>
            <a:solidFill>
              <a:srgbClr val="2251FF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8" name="Freeform: Shape 487">
              <a:extLst>
                <a:ext uri="{FF2B5EF4-FFF2-40B4-BE49-F238E27FC236}">
                  <a16:creationId xmlns:a16="http://schemas.microsoft.com/office/drawing/2014/main" id="{2CD3BF4F-8DDD-32F1-39BD-D73C4E599887}"/>
                </a:ext>
              </a:extLst>
            </p:cNvPr>
            <p:cNvSpPr/>
            <p:nvPr/>
          </p:nvSpPr>
          <p:spPr>
            <a:xfrm>
              <a:off x="2410699" y="1291674"/>
              <a:ext cx="109209" cy="70034"/>
            </a:xfrm>
            <a:custGeom>
              <a:avLst/>
              <a:gdLst>
                <a:gd name="connsiteX0" fmla="*/ 6051 w 109209"/>
                <a:gd name="connsiteY0" fmla="*/ 70013 h 70034"/>
                <a:gd name="connsiteX1" fmla="*/ 830 w 109209"/>
                <a:gd name="connsiteY1" fmla="*/ 67048 h 70034"/>
                <a:gd name="connsiteX2" fmla="*/ 2938 w 109209"/>
                <a:gd name="connsiteY2" fmla="*/ 58731 h 70034"/>
                <a:gd name="connsiteX3" fmla="*/ 100012 w 109209"/>
                <a:gd name="connsiteY3" fmla="*/ 823 h 70034"/>
                <a:gd name="connsiteX4" fmla="*/ 108329 w 109209"/>
                <a:gd name="connsiteY4" fmla="*/ 2931 h 70034"/>
                <a:gd name="connsiteX5" fmla="*/ 106221 w 109209"/>
                <a:gd name="connsiteY5" fmla="*/ 11248 h 70034"/>
                <a:gd name="connsiteX6" fmla="*/ 9147 w 109209"/>
                <a:gd name="connsiteY6" fmla="*/ 69156 h 70034"/>
                <a:gd name="connsiteX7" fmla="*/ 6051 w 109209"/>
                <a:gd name="connsiteY7" fmla="*/ 70013 h 7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9209" h="70034">
                  <a:moveTo>
                    <a:pt x="6051" y="70013"/>
                  </a:moveTo>
                  <a:cubicBezTo>
                    <a:pt x="3976" y="70013"/>
                    <a:pt x="1966" y="68959"/>
                    <a:pt x="830" y="67048"/>
                  </a:cubicBezTo>
                  <a:cubicBezTo>
                    <a:pt x="-883" y="64182"/>
                    <a:pt x="56" y="60460"/>
                    <a:pt x="2938" y="58731"/>
                  </a:cubicBezTo>
                  <a:lnTo>
                    <a:pt x="100012" y="823"/>
                  </a:lnTo>
                  <a:cubicBezTo>
                    <a:pt x="102894" y="-874"/>
                    <a:pt x="106616" y="65"/>
                    <a:pt x="108329" y="2931"/>
                  </a:cubicBezTo>
                  <a:cubicBezTo>
                    <a:pt x="110042" y="5813"/>
                    <a:pt x="109103" y="9535"/>
                    <a:pt x="106221" y="11248"/>
                  </a:cubicBezTo>
                  <a:lnTo>
                    <a:pt x="9147" y="69156"/>
                  </a:lnTo>
                  <a:lnTo>
                    <a:pt x="6051" y="70013"/>
                  </a:lnTo>
                  <a:close/>
                </a:path>
              </a:pathLst>
            </a:custGeom>
            <a:solidFill>
              <a:srgbClr val="2251FF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9" name="Freeform: Shape 488">
              <a:extLst>
                <a:ext uri="{FF2B5EF4-FFF2-40B4-BE49-F238E27FC236}">
                  <a16:creationId xmlns:a16="http://schemas.microsoft.com/office/drawing/2014/main" id="{3C22CF38-EF46-4DF0-935D-A3D55C787DA4}"/>
                </a:ext>
              </a:extLst>
            </p:cNvPr>
            <p:cNvSpPr/>
            <p:nvPr/>
          </p:nvSpPr>
          <p:spPr>
            <a:xfrm>
              <a:off x="2410699" y="1321337"/>
              <a:ext cx="109209" cy="70034"/>
            </a:xfrm>
            <a:custGeom>
              <a:avLst/>
              <a:gdLst>
                <a:gd name="connsiteX0" fmla="*/ 6051 w 109209"/>
                <a:gd name="connsiteY0" fmla="*/ 70013 h 70034"/>
                <a:gd name="connsiteX1" fmla="*/ 830 w 109209"/>
                <a:gd name="connsiteY1" fmla="*/ 67048 h 70034"/>
                <a:gd name="connsiteX2" fmla="*/ 2938 w 109209"/>
                <a:gd name="connsiteY2" fmla="*/ 58714 h 70034"/>
                <a:gd name="connsiteX3" fmla="*/ 100012 w 109209"/>
                <a:gd name="connsiteY3" fmla="*/ 823 h 70034"/>
                <a:gd name="connsiteX4" fmla="*/ 108329 w 109209"/>
                <a:gd name="connsiteY4" fmla="*/ 2931 h 70034"/>
                <a:gd name="connsiteX5" fmla="*/ 106221 w 109209"/>
                <a:gd name="connsiteY5" fmla="*/ 11248 h 70034"/>
                <a:gd name="connsiteX6" fmla="*/ 9147 w 109209"/>
                <a:gd name="connsiteY6" fmla="*/ 69156 h 70034"/>
                <a:gd name="connsiteX7" fmla="*/ 6051 w 109209"/>
                <a:gd name="connsiteY7" fmla="*/ 70013 h 7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9209" h="70034">
                  <a:moveTo>
                    <a:pt x="6051" y="70013"/>
                  </a:moveTo>
                  <a:cubicBezTo>
                    <a:pt x="3976" y="70013"/>
                    <a:pt x="1966" y="68942"/>
                    <a:pt x="830" y="67048"/>
                  </a:cubicBezTo>
                  <a:cubicBezTo>
                    <a:pt x="-883" y="64166"/>
                    <a:pt x="56" y="60444"/>
                    <a:pt x="2938" y="58714"/>
                  </a:cubicBezTo>
                  <a:lnTo>
                    <a:pt x="100012" y="823"/>
                  </a:lnTo>
                  <a:cubicBezTo>
                    <a:pt x="102894" y="-874"/>
                    <a:pt x="106616" y="65"/>
                    <a:pt x="108329" y="2931"/>
                  </a:cubicBezTo>
                  <a:cubicBezTo>
                    <a:pt x="110042" y="5813"/>
                    <a:pt x="109103" y="9535"/>
                    <a:pt x="106221" y="11248"/>
                  </a:cubicBezTo>
                  <a:lnTo>
                    <a:pt x="9147" y="69156"/>
                  </a:lnTo>
                  <a:lnTo>
                    <a:pt x="6051" y="70013"/>
                  </a:lnTo>
                  <a:close/>
                </a:path>
              </a:pathLst>
            </a:custGeom>
            <a:solidFill>
              <a:srgbClr val="2251FF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0" name="Freeform: Shape 489">
              <a:extLst>
                <a:ext uri="{FF2B5EF4-FFF2-40B4-BE49-F238E27FC236}">
                  <a16:creationId xmlns:a16="http://schemas.microsoft.com/office/drawing/2014/main" id="{8B8BDC40-7D3D-FDE5-4B43-9D77A694DE81}"/>
                </a:ext>
              </a:extLst>
            </p:cNvPr>
            <p:cNvSpPr/>
            <p:nvPr/>
          </p:nvSpPr>
          <p:spPr>
            <a:xfrm>
              <a:off x="2298669" y="1905380"/>
              <a:ext cx="58649" cy="32742"/>
            </a:xfrm>
            <a:custGeom>
              <a:avLst/>
              <a:gdLst>
                <a:gd name="connsiteX0" fmla="*/ -25 w 58649"/>
                <a:gd name="connsiteY0" fmla="*/ 16349 h 32742"/>
                <a:gd name="connsiteX1" fmla="*/ 29291 w 58649"/>
                <a:gd name="connsiteY1" fmla="*/ 32720 h 32742"/>
                <a:gd name="connsiteX2" fmla="*/ 58624 w 58649"/>
                <a:gd name="connsiteY2" fmla="*/ 16349 h 32742"/>
                <a:gd name="connsiteX3" fmla="*/ 29291 w 58649"/>
                <a:gd name="connsiteY3" fmla="*/ -22 h 32742"/>
                <a:gd name="connsiteX4" fmla="*/ -25 w 58649"/>
                <a:gd name="connsiteY4" fmla="*/ 16349 h 32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649" h="32742">
                  <a:moveTo>
                    <a:pt x="-25" y="16349"/>
                  </a:moveTo>
                  <a:cubicBezTo>
                    <a:pt x="-25" y="25391"/>
                    <a:pt x="13101" y="32720"/>
                    <a:pt x="29291" y="32720"/>
                  </a:cubicBezTo>
                  <a:cubicBezTo>
                    <a:pt x="45481" y="32720"/>
                    <a:pt x="58624" y="25391"/>
                    <a:pt x="58624" y="16349"/>
                  </a:cubicBezTo>
                  <a:cubicBezTo>
                    <a:pt x="58624" y="7307"/>
                    <a:pt x="45481" y="-22"/>
                    <a:pt x="29291" y="-22"/>
                  </a:cubicBezTo>
                  <a:cubicBezTo>
                    <a:pt x="13101" y="-22"/>
                    <a:pt x="-25" y="7307"/>
                    <a:pt x="-25" y="16349"/>
                  </a:cubicBezTo>
                  <a:close/>
                </a:path>
              </a:pathLst>
            </a:custGeom>
            <a:solidFill>
              <a:srgbClr val="E6E6E6"/>
            </a:solidFill>
            <a:ln w="1646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91" name="TextBox 490">
            <a:extLst>
              <a:ext uri="{FF2B5EF4-FFF2-40B4-BE49-F238E27FC236}">
                <a16:creationId xmlns:a16="http://schemas.microsoft.com/office/drawing/2014/main" id="{0688B1E8-43AB-33AA-CED6-0D8BD17CF4D7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157004" y="3074825"/>
            <a:ext cx="1877992" cy="49244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utomated Baggage Handling</a:t>
            </a:r>
          </a:p>
        </p:txBody>
      </p:sp>
      <p:sp>
        <p:nvSpPr>
          <p:cNvPr id="495" name="TextBox 494">
            <a:extLst>
              <a:ext uri="{FF2B5EF4-FFF2-40B4-BE49-F238E27FC236}">
                <a16:creationId xmlns:a16="http://schemas.microsoft.com/office/drawing/2014/main" id="{4BA3C8C9-38BF-BA1F-BD1F-00EC2B905980}"/>
              </a:ext>
            </a:extLst>
          </p:cNvPr>
          <p:cNvSpPr txBox="1">
            <a:spLocks/>
          </p:cNvSpPr>
          <p:nvPr/>
        </p:nvSpPr>
        <p:spPr>
          <a:xfrm>
            <a:off x="5157004" y="4999511"/>
            <a:ext cx="1877992" cy="923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  <a:sym typeface=""/>
              </a:rPr>
              <a:t>~35%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reduction in baggage handling time using automated conveyor belts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"/>
            </a:endParaRPr>
          </a:p>
        </p:txBody>
      </p:sp>
      <p:sp>
        <p:nvSpPr>
          <p:cNvPr id="496" name="TextBox 495">
            <a:extLst>
              <a:ext uri="{FF2B5EF4-FFF2-40B4-BE49-F238E27FC236}">
                <a16:creationId xmlns:a16="http://schemas.microsoft.com/office/drawing/2014/main" id="{00649FA8-99DC-F3B9-1352-E9175EA5FC3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910176" y="3074825"/>
            <a:ext cx="1877992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assenger Bridges</a:t>
            </a:r>
          </a:p>
        </p:txBody>
      </p:sp>
      <p:grpSp>
        <p:nvGrpSpPr>
          <p:cNvPr id="497" name="Group 496">
            <a:extLst>
              <a:ext uri="{FF2B5EF4-FFF2-40B4-BE49-F238E27FC236}">
                <a16:creationId xmlns:a16="http://schemas.microsoft.com/office/drawing/2014/main" id="{1782BE5F-0B43-04E5-6E56-D02B7323B14F}"/>
              </a:ext>
            </a:extLst>
          </p:cNvPr>
          <p:cNvGrpSpPr/>
          <p:nvPr/>
        </p:nvGrpSpPr>
        <p:grpSpPr>
          <a:xfrm>
            <a:off x="3377685" y="2375761"/>
            <a:ext cx="942975" cy="508635"/>
            <a:chOff x="554736" y="2809874"/>
            <a:chExt cx="942975" cy="508635"/>
          </a:xfrm>
        </p:grpSpPr>
        <p:sp>
          <p:nvSpPr>
            <p:cNvPr id="498" name="Rectangle: Rounded Corners 497">
              <a:extLst>
                <a:ext uri="{FF2B5EF4-FFF2-40B4-BE49-F238E27FC236}">
                  <a16:creationId xmlns:a16="http://schemas.microsoft.com/office/drawing/2014/main" id="{9EA2409B-13E2-DE4B-5D62-88545896B3B3}"/>
                </a:ext>
              </a:extLst>
            </p:cNvPr>
            <p:cNvSpPr/>
            <p:nvPr/>
          </p:nvSpPr>
          <p:spPr>
            <a:xfrm>
              <a:off x="554736" y="2815375"/>
              <a:ext cx="942975" cy="276999"/>
            </a:xfrm>
            <a:prstGeom prst="roundRect">
              <a:avLst>
                <a:gd name="adj" fmla="val 8070"/>
              </a:avLst>
            </a:prstGeom>
            <a:solidFill>
              <a:srgbClr val="1F40E6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9" name="Rectangle: Rounded Corners 498">
              <a:extLst>
                <a:ext uri="{FF2B5EF4-FFF2-40B4-BE49-F238E27FC236}">
                  <a16:creationId xmlns:a16="http://schemas.microsoft.com/office/drawing/2014/main" id="{85D64847-8331-459D-BE63-2AE8E62B1F84}"/>
                </a:ext>
              </a:extLst>
            </p:cNvPr>
            <p:cNvSpPr/>
            <p:nvPr/>
          </p:nvSpPr>
          <p:spPr>
            <a:xfrm>
              <a:off x="1015343" y="2809874"/>
              <a:ext cx="36000" cy="288000"/>
            </a:xfrm>
            <a:prstGeom prst="round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0" name="Rectangle: Rounded Corners 499">
              <a:extLst>
                <a:ext uri="{FF2B5EF4-FFF2-40B4-BE49-F238E27FC236}">
                  <a16:creationId xmlns:a16="http://schemas.microsoft.com/office/drawing/2014/main" id="{B165ED9B-2E86-88BD-EC23-56F82AE8102A}"/>
                </a:ext>
              </a:extLst>
            </p:cNvPr>
            <p:cNvSpPr/>
            <p:nvPr/>
          </p:nvSpPr>
          <p:spPr>
            <a:xfrm>
              <a:off x="834452" y="2809874"/>
              <a:ext cx="36000" cy="288000"/>
            </a:xfrm>
            <a:prstGeom prst="round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1" name="Rectangle: Rounded Corners 500">
              <a:extLst>
                <a:ext uri="{FF2B5EF4-FFF2-40B4-BE49-F238E27FC236}">
                  <a16:creationId xmlns:a16="http://schemas.microsoft.com/office/drawing/2014/main" id="{F3B248C0-9F9A-A88E-8DBA-D06276104158}"/>
                </a:ext>
              </a:extLst>
            </p:cNvPr>
            <p:cNvSpPr/>
            <p:nvPr/>
          </p:nvSpPr>
          <p:spPr>
            <a:xfrm>
              <a:off x="653561" y="2809874"/>
              <a:ext cx="36000" cy="288000"/>
            </a:xfrm>
            <a:prstGeom prst="round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2" name="Rectangle: Rounded Corners 501">
              <a:extLst>
                <a:ext uri="{FF2B5EF4-FFF2-40B4-BE49-F238E27FC236}">
                  <a16:creationId xmlns:a16="http://schemas.microsoft.com/office/drawing/2014/main" id="{189C06B4-B3CD-4ED2-2807-4332FE32BDA5}"/>
                </a:ext>
              </a:extLst>
            </p:cNvPr>
            <p:cNvSpPr/>
            <p:nvPr/>
          </p:nvSpPr>
          <p:spPr>
            <a:xfrm>
              <a:off x="1196234" y="2809874"/>
              <a:ext cx="36000" cy="288000"/>
            </a:xfrm>
            <a:prstGeom prst="round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3" name="Rectangle: Rounded Corners 502">
              <a:extLst>
                <a:ext uri="{FF2B5EF4-FFF2-40B4-BE49-F238E27FC236}">
                  <a16:creationId xmlns:a16="http://schemas.microsoft.com/office/drawing/2014/main" id="{7E1A09BE-0435-7180-1C7C-5D22C37C53E5}"/>
                </a:ext>
              </a:extLst>
            </p:cNvPr>
            <p:cNvSpPr/>
            <p:nvPr/>
          </p:nvSpPr>
          <p:spPr>
            <a:xfrm>
              <a:off x="1377124" y="2809874"/>
              <a:ext cx="36000" cy="288000"/>
            </a:xfrm>
            <a:prstGeom prst="round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4" name="Rectangle: Rounded Corners 503">
              <a:extLst>
                <a:ext uri="{FF2B5EF4-FFF2-40B4-BE49-F238E27FC236}">
                  <a16:creationId xmlns:a16="http://schemas.microsoft.com/office/drawing/2014/main" id="{A9CB0B84-6C17-9E53-558E-34118F998915}"/>
                </a:ext>
              </a:extLst>
            </p:cNvPr>
            <p:cNvSpPr/>
            <p:nvPr/>
          </p:nvSpPr>
          <p:spPr>
            <a:xfrm>
              <a:off x="648604" y="3052763"/>
              <a:ext cx="45719" cy="242887"/>
            </a:xfrm>
            <a:prstGeom prst="roundRect">
              <a:avLst/>
            </a:prstGeom>
            <a:solidFill>
              <a:schemeClr val="tx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5" name="Rectangle: Rounded Corners 504">
              <a:extLst>
                <a:ext uri="{FF2B5EF4-FFF2-40B4-BE49-F238E27FC236}">
                  <a16:creationId xmlns:a16="http://schemas.microsoft.com/office/drawing/2014/main" id="{53987A8A-492B-3B93-248B-C552526D3ACA}"/>
                </a:ext>
              </a:extLst>
            </p:cNvPr>
            <p:cNvSpPr/>
            <p:nvPr/>
          </p:nvSpPr>
          <p:spPr>
            <a:xfrm rot="16200000">
              <a:off x="648604" y="3233260"/>
              <a:ext cx="45719" cy="124778"/>
            </a:xfrm>
            <a:prstGeom prst="roundRect">
              <a:avLst/>
            </a:prstGeom>
            <a:solidFill>
              <a:schemeClr val="tx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6" name="Rectangle: Rounded Corners 505">
              <a:extLst>
                <a:ext uri="{FF2B5EF4-FFF2-40B4-BE49-F238E27FC236}">
                  <a16:creationId xmlns:a16="http://schemas.microsoft.com/office/drawing/2014/main" id="{7D4B19FE-D332-7D30-CFDE-57C02C5A110D}"/>
                </a:ext>
              </a:extLst>
            </p:cNvPr>
            <p:cNvSpPr/>
            <p:nvPr/>
          </p:nvSpPr>
          <p:spPr>
            <a:xfrm>
              <a:off x="1373125" y="3052763"/>
              <a:ext cx="45719" cy="242887"/>
            </a:xfrm>
            <a:prstGeom prst="roundRect">
              <a:avLst/>
            </a:prstGeom>
            <a:solidFill>
              <a:srgbClr val="00A9F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7" name="Oval 506">
              <a:extLst>
                <a:ext uri="{FF2B5EF4-FFF2-40B4-BE49-F238E27FC236}">
                  <a16:creationId xmlns:a16="http://schemas.microsoft.com/office/drawing/2014/main" id="{4AC8E7E4-DF7A-8A98-09C5-3036D696B96D}"/>
                </a:ext>
              </a:extLst>
            </p:cNvPr>
            <p:cNvSpPr/>
            <p:nvPr/>
          </p:nvSpPr>
          <p:spPr>
            <a:xfrm>
              <a:off x="1359124" y="3246509"/>
              <a:ext cx="72000" cy="72000"/>
            </a:xfrm>
            <a:prstGeom prst="ellipse">
              <a:avLst/>
            </a:prstGeom>
            <a:solidFill>
              <a:srgbClr val="00A9F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508" name="Picture 5">
            <a:extLst>
              <a:ext uri="{FF2B5EF4-FFF2-40B4-BE49-F238E27FC236}">
                <a16:creationId xmlns:a16="http://schemas.microsoft.com/office/drawing/2014/main" id="{1369A782-12FF-20E8-A013-12AECEF131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35345" y="4564541"/>
            <a:ext cx="868438" cy="229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9" name="Picture 508">
            <a:extLst>
              <a:ext uri="{FF2B5EF4-FFF2-40B4-BE49-F238E27FC236}">
                <a16:creationId xmlns:a16="http://schemas.microsoft.com/office/drawing/2014/main" id="{B3A25868-80CC-51F5-E686-936C8C56EB74}"/>
              </a:ext>
            </a:extLst>
          </p:cNvPr>
          <p:cNvPicPr>
            <a:picLocks noChangeAspect="1"/>
          </p:cNvPicPr>
          <p:nvPr/>
        </p:nvPicPr>
        <p:blipFill>
          <a:blip r:embed="rId24" cstate="hqprint"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6603" y="3968878"/>
            <a:ext cx="656396" cy="383444"/>
          </a:xfrm>
          <a:prstGeom prst="rect">
            <a:avLst/>
          </a:prstGeom>
        </p:spPr>
      </p:pic>
      <p:pic>
        <p:nvPicPr>
          <p:cNvPr id="510" name="Picture 509">
            <a:extLst>
              <a:ext uri="{FF2B5EF4-FFF2-40B4-BE49-F238E27FC236}">
                <a16:creationId xmlns:a16="http://schemas.microsoft.com/office/drawing/2014/main" id="{87906EB1-631D-86A4-B5BD-F1503365538E}"/>
              </a:ext>
            </a:extLst>
          </p:cNvPr>
          <p:cNvPicPr>
            <a:picLocks/>
          </p:cNvPicPr>
          <p:nvPr/>
        </p:nvPicPr>
        <p:blipFill>
          <a:blip r:embed="rId26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92554" y="3903719"/>
            <a:ext cx="663508" cy="255967"/>
          </a:xfrm>
          <a:prstGeom prst="rect">
            <a:avLst/>
          </a:prstGeom>
        </p:spPr>
      </p:pic>
      <p:sp>
        <p:nvSpPr>
          <p:cNvPr id="511" name="TextBox 510">
            <a:extLst>
              <a:ext uri="{FF2B5EF4-FFF2-40B4-BE49-F238E27FC236}">
                <a16:creationId xmlns:a16="http://schemas.microsoft.com/office/drawing/2014/main" id="{C4F05CB2-7A5C-4361-83D5-4B65F64ABACE}"/>
              </a:ext>
            </a:extLst>
          </p:cNvPr>
          <p:cNvSpPr txBox="1">
            <a:spLocks/>
          </p:cNvSpPr>
          <p:nvPr/>
        </p:nvSpPr>
        <p:spPr>
          <a:xfrm>
            <a:off x="2910176" y="4999511"/>
            <a:ext cx="1877992" cy="923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  <a:sym typeface=""/>
              </a:rPr>
              <a:t>&gt;20%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  <a:sym typeface=""/>
              </a:rPr>
              <a:t>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reduction in docking time using semi-/fully-automated PBB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"/>
            </a:endParaRPr>
          </a:p>
        </p:txBody>
      </p:sp>
      <p:sp>
        <p:nvSpPr>
          <p:cNvPr id="512" name="TextBox 511">
            <a:extLst>
              <a:ext uri="{FF2B5EF4-FFF2-40B4-BE49-F238E27FC236}">
                <a16:creationId xmlns:a16="http://schemas.microsoft.com/office/drawing/2014/main" id="{496D5A20-E5A6-717C-F485-0FB253AA2784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9650660" y="3074825"/>
            <a:ext cx="1877992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igitalization</a:t>
            </a:r>
          </a:p>
        </p:txBody>
      </p:sp>
      <p:pic>
        <p:nvPicPr>
          <p:cNvPr id="513" name="Graphic 512">
            <a:extLst>
              <a:ext uri="{FF2B5EF4-FFF2-40B4-BE49-F238E27FC236}">
                <a16:creationId xmlns:a16="http://schemas.microsoft.com/office/drawing/2014/main" id="{851D30BC-A83D-C7A2-7C85-79F62700A1E9}"/>
              </a:ext>
            </a:extLst>
          </p:cNvPr>
          <p:cNvPicPr>
            <a:picLocks/>
          </p:cNvPicPr>
          <p:nvPr/>
        </p:nvPicPr>
        <p:blipFill>
          <a:blip cstate="screen">
            <a:lum bright="10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0454640" y="4447297"/>
            <a:ext cx="1002915" cy="346566"/>
          </a:xfrm>
          <a:prstGeom prst="rect">
            <a:avLst/>
          </a:prstGeom>
        </p:spPr>
      </p:pic>
      <p:pic>
        <p:nvPicPr>
          <p:cNvPr id="514" name="Picture 2">
            <a:extLst>
              <a:ext uri="{FF2B5EF4-FFF2-40B4-BE49-F238E27FC236}">
                <a16:creationId xmlns:a16="http://schemas.microsoft.com/office/drawing/2014/main" id="{2D6A0950-C03B-6645-1E7B-219B1618D5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1757" y="4057237"/>
            <a:ext cx="1375922" cy="212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5" name="Picture 6">
            <a:extLst>
              <a:ext uri="{FF2B5EF4-FFF2-40B4-BE49-F238E27FC236}">
                <a16:creationId xmlns:a16="http://schemas.microsoft.com/office/drawing/2014/main" id="{524A603A-4CD0-D2DF-8E31-4974E75D5F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BEBA8EAE-BF5A-486C-A8C5-ECC9F3942E4B}">
                <a14:imgProps xmlns:a14="http://schemas.microsoft.com/office/drawing/2010/main">
                  <a14:imgLayer r:embed="rId2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8481" y="3580349"/>
            <a:ext cx="843368" cy="369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16" name="Group 515">
            <a:extLst>
              <a:ext uri="{FF2B5EF4-FFF2-40B4-BE49-F238E27FC236}">
                <a16:creationId xmlns:a16="http://schemas.microsoft.com/office/drawing/2014/main" id="{2C0928FC-4DC6-687C-5868-A5A6035A1C3C}"/>
              </a:ext>
            </a:extLst>
          </p:cNvPr>
          <p:cNvGrpSpPr/>
          <p:nvPr/>
        </p:nvGrpSpPr>
        <p:grpSpPr>
          <a:xfrm>
            <a:off x="10006235" y="2332300"/>
            <a:ext cx="1166842" cy="595556"/>
            <a:chOff x="683597" y="5640516"/>
            <a:chExt cx="1166842" cy="595556"/>
          </a:xfrm>
        </p:grpSpPr>
        <p:sp>
          <p:nvSpPr>
            <p:cNvPr id="517" name="Freeform: Shape 516">
              <a:extLst>
                <a:ext uri="{FF2B5EF4-FFF2-40B4-BE49-F238E27FC236}">
                  <a16:creationId xmlns:a16="http://schemas.microsoft.com/office/drawing/2014/main" id="{E912C384-08CF-27F8-E220-E0D1400F6C8B}"/>
                </a:ext>
              </a:extLst>
            </p:cNvPr>
            <p:cNvSpPr/>
            <p:nvPr/>
          </p:nvSpPr>
          <p:spPr>
            <a:xfrm>
              <a:off x="1292255" y="6036278"/>
              <a:ext cx="6791" cy="6763"/>
            </a:xfrm>
            <a:custGeom>
              <a:avLst/>
              <a:gdLst>
                <a:gd name="connsiteX0" fmla="*/ 53965 w 70951"/>
                <a:gd name="connsiteY0" fmla="*/ 5440 h 70655"/>
                <a:gd name="connsiteX1" fmla="*/ 5452 w 70951"/>
                <a:gd name="connsiteY1" fmla="*/ 16363 h 70655"/>
                <a:gd name="connsiteX2" fmla="*/ 16374 w 70951"/>
                <a:gd name="connsiteY2" fmla="*/ 64876 h 70655"/>
                <a:gd name="connsiteX3" fmla="*/ 17557 w 70951"/>
                <a:gd name="connsiteY3" fmla="*/ 65604 h 70655"/>
                <a:gd name="connsiteX4" fmla="*/ 35715 w 70951"/>
                <a:gd name="connsiteY4" fmla="*/ 70656 h 70655"/>
                <a:gd name="connsiteX5" fmla="*/ 65888 w 70951"/>
                <a:gd name="connsiteY5" fmla="*/ 53635 h 70655"/>
                <a:gd name="connsiteX6" fmla="*/ 53965 w 70951"/>
                <a:gd name="connsiteY6" fmla="*/ 5486 h 70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51" h="70655">
                  <a:moveTo>
                    <a:pt x="53965" y="5440"/>
                  </a:moveTo>
                  <a:cubicBezTo>
                    <a:pt x="37536" y="-4936"/>
                    <a:pt x="15828" y="-21"/>
                    <a:pt x="5452" y="16363"/>
                  </a:cubicBezTo>
                  <a:cubicBezTo>
                    <a:pt x="-4925" y="32792"/>
                    <a:pt x="-55" y="54500"/>
                    <a:pt x="16374" y="64876"/>
                  </a:cubicBezTo>
                  <a:lnTo>
                    <a:pt x="17557" y="65604"/>
                  </a:lnTo>
                  <a:cubicBezTo>
                    <a:pt x="23246" y="69017"/>
                    <a:pt x="29526" y="70656"/>
                    <a:pt x="35715" y="70656"/>
                  </a:cubicBezTo>
                  <a:cubicBezTo>
                    <a:pt x="47685" y="70656"/>
                    <a:pt x="59335" y="64603"/>
                    <a:pt x="65888" y="53635"/>
                  </a:cubicBezTo>
                  <a:cubicBezTo>
                    <a:pt x="75900" y="36979"/>
                    <a:pt x="70621" y="15453"/>
                    <a:pt x="53965" y="5486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8" name="Freeform: Shape 517">
              <a:extLst>
                <a:ext uri="{FF2B5EF4-FFF2-40B4-BE49-F238E27FC236}">
                  <a16:creationId xmlns:a16="http://schemas.microsoft.com/office/drawing/2014/main" id="{DCF46C90-FDBF-9362-EC65-C439AA5888F9}"/>
                </a:ext>
              </a:extLst>
            </p:cNvPr>
            <p:cNvSpPr/>
            <p:nvPr/>
          </p:nvSpPr>
          <p:spPr>
            <a:xfrm>
              <a:off x="1290991" y="5672135"/>
              <a:ext cx="6782" cy="6771"/>
            </a:xfrm>
            <a:custGeom>
              <a:avLst/>
              <a:gdLst>
                <a:gd name="connsiteX0" fmla="*/ 53789 w 70855"/>
                <a:gd name="connsiteY0" fmla="*/ 65327 h 70742"/>
                <a:gd name="connsiteX1" fmla="*/ 65849 w 70855"/>
                <a:gd name="connsiteY1" fmla="*/ 17087 h 70742"/>
                <a:gd name="connsiteX2" fmla="*/ 17609 w 70855"/>
                <a:gd name="connsiteY2" fmla="*/ 5027 h 70742"/>
                <a:gd name="connsiteX3" fmla="*/ 16471 w 70855"/>
                <a:gd name="connsiteY3" fmla="*/ 5755 h 70742"/>
                <a:gd name="connsiteX4" fmla="*/ 5412 w 70855"/>
                <a:gd name="connsiteY4" fmla="*/ 54313 h 70742"/>
                <a:gd name="connsiteX5" fmla="*/ 35130 w 70855"/>
                <a:gd name="connsiteY5" fmla="*/ 70742 h 70742"/>
                <a:gd name="connsiteX6" fmla="*/ 53789 w 70855"/>
                <a:gd name="connsiteY6" fmla="*/ 65327 h 70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855" h="70742">
                  <a:moveTo>
                    <a:pt x="53789" y="65327"/>
                  </a:moveTo>
                  <a:cubicBezTo>
                    <a:pt x="70445" y="55360"/>
                    <a:pt x="75816" y="33743"/>
                    <a:pt x="65849" y="17087"/>
                  </a:cubicBezTo>
                  <a:cubicBezTo>
                    <a:pt x="55882" y="430"/>
                    <a:pt x="34265" y="-4986"/>
                    <a:pt x="17609" y="5027"/>
                  </a:cubicBezTo>
                  <a:lnTo>
                    <a:pt x="16471" y="5755"/>
                  </a:lnTo>
                  <a:cubicBezTo>
                    <a:pt x="42" y="16131"/>
                    <a:pt x="-4964" y="37930"/>
                    <a:pt x="5412" y="54313"/>
                  </a:cubicBezTo>
                  <a:cubicBezTo>
                    <a:pt x="12102" y="64917"/>
                    <a:pt x="23480" y="70742"/>
                    <a:pt x="35130" y="70742"/>
                  </a:cubicBezTo>
                  <a:cubicBezTo>
                    <a:pt x="41501" y="70742"/>
                    <a:pt x="47964" y="69013"/>
                    <a:pt x="53789" y="65327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9" name="Freeform: Shape 518">
              <a:extLst>
                <a:ext uri="{FF2B5EF4-FFF2-40B4-BE49-F238E27FC236}">
                  <a16:creationId xmlns:a16="http://schemas.microsoft.com/office/drawing/2014/main" id="{E3E3CC82-317D-7A27-99AB-D94920D4F0AD}"/>
                </a:ext>
              </a:extLst>
            </p:cNvPr>
            <p:cNvSpPr/>
            <p:nvPr/>
          </p:nvSpPr>
          <p:spPr>
            <a:xfrm>
              <a:off x="1304527" y="5664433"/>
              <a:ext cx="6787" cy="6772"/>
            </a:xfrm>
            <a:custGeom>
              <a:avLst/>
              <a:gdLst>
                <a:gd name="connsiteX0" fmla="*/ 51220 w 70910"/>
                <a:gd name="connsiteY0" fmla="*/ 66834 h 70747"/>
                <a:gd name="connsiteX1" fmla="*/ 52404 w 70910"/>
                <a:gd name="connsiteY1" fmla="*/ 66197 h 70747"/>
                <a:gd name="connsiteX2" fmla="*/ 66694 w 70910"/>
                <a:gd name="connsiteY2" fmla="*/ 18457 h 70747"/>
                <a:gd name="connsiteX3" fmla="*/ 19182 w 70910"/>
                <a:gd name="connsiteY3" fmla="*/ 4258 h 70747"/>
                <a:gd name="connsiteX4" fmla="*/ 35155 w 70910"/>
                <a:gd name="connsiteY4" fmla="*/ 35569 h 70747"/>
                <a:gd name="connsiteX5" fmla="*/ 19091 w 70910"/>
                <a:gd name="connsiteY5" fmla="*/ 4304 h 70747"/>
                <a:gd name="connsiteX6" fmla="*/ 3890 w 70910"/>
                <a:gd name="connsiteY6" fmla="*/ 51634 h 70747"/>
                <a:gd name="connsiteX7" fmla="*/ 35201 w 70910"/>
                <a:gd name="connsiteY7" fmla="*/ 70747 h 70747"/>
                <a:gd name="connsiteX8" fmla="*/ 51220 w 70910"/>
                <a:gd name="connsiteY8" fmla="*/ 66834 h 70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910" h="70747">
                  <a:moveTo>
                    <a:pt x="51220" y="66834"/>
                  </a:moveTo>
                  <a:lnTo>
                    <a:pt x="52404" y="66197"/>
                  </a:lnTo>
                  <a:cubicBezTo>
                    <a:pt x="69470" y="56913"/>
                    <a:pt x="75932" y="35523"/>
                    <a:pt x="66694" y="18457"/>
                  </a:cubicBezTo>
                  <a:cubicBezTo>
                    <a:pt x="57455" y="1391"/>
                    <a:pt x="36248" y="-5026"/>
                    <a:pt x="19182" y="4258"/>
                  </a:cubicBezTo>
                  <a:lnTo>
                    <a:pt x="35155" y="35569"/>
                  </a:lnTo>
                  <a:lnTo>
                    <a:pt x="19091" y="4304"/>
                  </a:lnTo>
                  <a:cubicBezTo>
                    <a:pt x="1843" y="13178"/>
                    <a:pt x="-4984" y="34385"/>
                    <a:pt x="3890" y="51634"/>
                  </a:cubicBezTo>
                  <a:cubicBezTo>
                    <a:pt x="10125" y="63739"/>
                    <a:pt x="22413" y="70747"/>
                    <a:pt x="35201" y="70747"/>
                  </a:cubicBezTo>
                  <a:cubicBezTo>
                    <a:pt x="40617" y="70747"/>
                    <a:pt x="46078" y="69519"/>
                    <a:pt x="51220" y="66834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0" name="Freeform: Shape 519">
              <a:extLst>
                <a:ext uri="{FF2B5EF4-FFF2-40B4-BE49-F238E27FC236}">
                  <a16:creationId xmlns:a16="http://schemas.microsoft.com/office/drawing/2014/main" id="{6534A75F-D511-BC7B-3F5B-F2CDFD12E076}"/>
                </a:ext>
              </a:extLst>
            </p:cNvPr>
            <p:cNvSpPr/>
            <p:nvPr/>
          </p:nvSpPr>
          <p:spPr>
            <a:xfrm>
              <a:off x="1305859" y="6043893"/>
              <a:ext cx="6770" cy="6753"/>
            </a:xfrm>
            <a:custGeom>
              <a:avLst/>
              <a:gdLst>
                <a:gd name="connsiteX0" fmla="*/ 51638 w 70729"/>
                <a:gd name="connsiteY0" fmla="*/ 4114 h 70557"/>
                <a:gd name="connsiteX1" fmla="*/ 50819 w 70729"/>
                <a:gd name="connsiteY1" fmla="*/ 3704 h 70557"/>
                <a:gd name="connsiteX2" fmla="*/ 3762 w 70729"/>
                <a:gd name="connsiteY2" fmla="*/ 19359 h 70557"/>
                <a:gd name="connsiteX3" fmla="*/ 19327 w 70729"/>
                <a:gd name="connsiteY3" fmla="*/ 66552 h 70557"/>
                <a:gd name="connsiteX4" fmla="*/ 35573 w 70729"/>
                <a:gd name="connsiteY4" fmla="*/ 35379 h 70557"/>
                <a:gd name="connsiteX5" fmla="*/ 19509 w 70729"/>
                <a:gd name="connsiteY5" fmla="*/ 66644 h 70557"/>
                <a:gd name="connsiteX6" fmla="*/ 35528 w 70729"/>
                <a:gd name="connsiteY6" fmla="*/ 70557 h 70557"/>
                <a:gd name="connsiteX7" fmla="*/ 66839 w 70729"/>
                <a:gd name="connsiteY7" fmla="*/ 51444 h 70557"/>
                <a:gd name="connsiteX8" fmla="*/ 51638 w 70729"/>
                <a:gd name="connsiteY8" fmla="*/ 4114 h 70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729" h="70557">
                  <a:moveTo>
                    <a:pt x="51638" y="4114"/>
                  </a:moveTo>
                  <a:lnTo>
                    <a:pt x="50819" y="3704"/>
                  </a:lnTo>
                  <a:cubicBezTo>
                    <a:pt x="33480" y="-4943"/>
                    <a:pt x="12500" y="2066"/>
                    <a:pt x="3762" y="19359"/>
                  </a:cubicBezTo>
                  <a:cubicBezTo>
                    <a:pt x="-4975" y="36653"/>
                    <a:pt x="2033" y="57815"/>
                    <a:pt x="19327" y="66552"/>
                  </a:cubicBezTo>
                  <a:lnTo>
                    <a:pt x="35573" y="35379"/>
                  </a:lnTo>
                  <a:lnTo>
                    <a:pt x="19509" y="66644"/>
                  </a:lnTo>
                  <a:cubicBezTo>
                    <a:pt x="24651" y="69283"/>
                    <a:pt x="30113" y="70557"/>
                    <a:pt x="35528" y="70557"/>
                  </a:cubicBezTo>
                  <a:cubicBezTo>
                    <a:pt x="48271" y="70557"/>
                    <a:pt x="60604" y="63594"/>
                    <a:pt x="66839" y="51444"/>
                  </a:cubicBezTo>
                  <a:cubicBezTo>
                    <a:pt x="75713" y="34195"/>
                    <a:pt x="68887" y="12988"/>
                    <a:pt x="51638" y="4114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1" name="Freeform: Shape 520">
              <a:extLst>
                <a:ext uri="{FF2B5EF4-FFF2-40B4-BE49-F238E27FC236}">
                  <a16:creationId xmlns:a16="http://schemas.microsoft.com/office/drawing/2014/main" id="{7E68A668-5CD2-E222-A03F-5B1C9F50FA0A}"/>
                </a:ext>
              </a:extLst>
            </p:cNvPr>
            <p:cNvSpPr/>
            <p:nvPr/>
          </p:nvSpPr>
          <p:spPr>
            <a:xfrm>
              <a:off x="1255273" y="6007822"/>
              <a:ext cx="6770" cy="6766"/>
            </a:xfrm>
            <a:custGeom>
              <a:avLst/>
              <a:gdLst>
                <a:gd name="connsiteX0" fmla="*/ 59232 w 70734"/>
                <a:gd name="connsiteY0" fmla="*/ 9474 h 70684"/>
                <a:gd name="connsiteX1" fmla="*/ 9490 w 70734"/>
                <a:gd name="connsiteY1" fmla="*/ 11112 h 70684"/>
                <a:gd name="connsiteX2" fmla="*/ 11128 w 70734"/>
                <a:gd name="connsiteY2" fmla="*/ 60717 h 70684"/>
                <a:gd name="connsiteX3" fmla="*/ 35613 w 70734"/>
                <a:gd name="connsiteY3" fmla="*/ 35505 h 70684"/>
                <a:gd name="connsiteX4" fmla="*/ 11174 w 70734"/>
                <a:gd name="connsiteY4" fmla="*/ 60809 h 70684"/>
                <a:gd name="connsiteX5" fmla="*/ 35567 w 70734"/>
                <a:gd name="connsiteY5" fmla="*/ 70684 h 70684"/>
                <a:gd name="connsiteX6" fmla="*/ 60871 w 70734"/>
                <a:gd name="connsiteY6" fmla="*/ 59944 h 70684"/>
                <a:gd name="connsiteX7" fmla="*/ 60006 w 70734"/>
                <a:gd name="connsiteY7" fmla="*/ 10247 h 70684"/>
                <a:gd name="connsiteX8" fmla="*/ 59187 w 70734"/>
                <a:gd name="connsiteY8" fmla="*/ 9474 h 70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734" h="70684">
                  <a:moveTo>
                    <a:pt x="59232" y="9474"/>
                  </a:moveTo>
                  <a:cubicBezTo>
                    <a:pt x="45033" y="-3769"/>
                    <a:pt x="22734" y="-3041"/>
                    <a:pt x="9490" y="11112"/>
                  </a:cubicBezTo>
                  <a:cubicBezTo>
                    <a:pt x="-3753" y="25311"/>
                    <a:pt x="-3071" y="47474"/>
                    <a:pt x="11128" y="60717"/>
                  </a:cubicBezTo>
                  <a:lnTo>
                    <a:pt x="35613" y="35505"/>
                  </a:lnTo>
                  <a:lnTo>
                    <a:pt x="11174" y="60809"/>
                  </a:lnTo>
                  <a:cubicBezTo>
                    <a:pt x="18000" y="67407"/>
                    <a:pt x="26784" y="70684"/>
                    <a:pt x="35567" y="70684"/>
                  </a:cubicBezTo>
                  <a:cubicBezTo>
                    <a:pt x="44351" y="70684"/>
                    <a:pt x="53953" y="67089"/>
                    <a:pt x="60871" y="59944"/>
                  </a:cubicBezTo>
                  <a:cubicBezTo>
                    <a:pt x="74341" y="45972"/>
                    <a:pt x="73977" y="23718"/>
                    <a:pt x="60006" y="10247"/>
                  </a:cubicBezTo>
                  <a:lnTo>
                    <a:pt x="59187" y="947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2" name="Freeform: Shape 521">
              <a:extLst>
                <a:ext uri="{FF2B5EF4-FFF2-40B4-BE49-F238E27FC236}">
                  <a16:creationId xmlns:a16="http://schemas.microsoft.com/office/drawing/2014/main" id="{C404AF7C-7B1D-FEB9-E050-30ADEB189D46}"/>
                </a:ext>
              </a:extLst>
            </p:cNvPr>
            <p:cNvSpPr/>
            <p:nvPr/>
          </p:nvSpPr>
          <p:spPr>
            <a:xfrm>
              <a:off x="1254251" y="5700821"/>
              <a:ext cx="6760" cy="6757"/>
            </a:xfrm>
            <a:custGeom>
              <a:avLst/>
              <a:gdLst>
                <a:gd name="connsiteX0" fmla="*/ 59897 w 70625"/>
                <a:gd name="connsiteY0" fmla="*/ 60442 h 70590"/>
                <a:gd name="connsiteX1" fmla="*/ 60762 w 70625"/>
                <a:gd name="connsiteY1" fmla="*/ 10746 h 70590"/>
                <a:gd name="connsiteX2" fmla="*/ 11065 w 70625"/>
                <a:gd name="connsiteY2" fmla="*/ 9881 h 70590"/>
                <a:gd name="connsiteX3" fmla="*/ 10473 w 70625"/>
                <a:gd name="connsiteY3" fmla="*/ 10473 h 70590"/>
                <a:gd name="connsiteX4" fmla="*/ 10110 w 70625"/>
                <a:gd name="connsiteY4" fmla="*/ 60124 h 70590"/>
                <a:gd name="connsiteX5" fmla="*/ 35140 w 70625"/>
                <a:gd name="connsiteY5" fmla="*/ 70591 h 70590"/>
                <a:gd name="connsiteX6" fmla="*/ 59897 w 70625"/>
                <a:gd name="connsiteY6" fmla="*/ 60488 h 70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625" h="70590">
                  <a:moveTo>
                    <a:pt x="59897" y="60442"/>
                  </a:moveTo>
                  <a:cubicBezTo>
                    <a:pt x="73868" y="46971"/>
                    <a:pt x="74232" y="24717"/>
                    <a:pt x="60762" y="10746"/>
                  </a:cubicBezTo>
                  <a:cubicBezTo>
                    <a:pt x="47291" y="-3226"/>
                    <a:pt x="25037" y="-3635"/>
                    <a:pt x="11065" y="9881"/>
                  </a:cubicBezTo>
                  <a:lnTo>
                    <a:pt x="10473" y="10473"/>
                  </a:lnTo>
                  <a:cubicBezTo>
                    <a:pt x="-3361" y="24080"/>
                    <a:pt x="-3498" y="46243"/>
                    <a:pt x="10110" y="60124"/>
                  </a:cubicBezTo>
                  <a:cubicBezTo>
                    <a:pt x="16982" y="67087"/>
                    <a:pt x="26038" y="70591"/>
                    <a:pt x="35140" y="70591"/>
                  </a:cubicBezTo>
                  <a:cubicBezTo>
                    <a:pt x="44242" y="70591"/>
                    <a:pt x="53025" y="67223"/>
                    <a:pt x="59897" y="60488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3" name="Freeform: Shape 522">
              <a:extLst>
                <a:ext uri="{FF2B5EF4-FFF2-40B4-BE49-F238E27FC236}">
                  <a16:creationId xmlns:a16="http://schemas.microsoft.com/office/drawing/2014/main" id="{84C054B2-0F75-9080-6241-935EA6FD96BA}"/>
                </a:ext>
              </a:extLst>
            </p:cNvPr>
            <p:cNvSpPr/>
            <p:nvPr/>
          </p:nvSpPr>
          <p:spPr>
            <a:xfrm>
              <a:off x="1266884" y="6018192"/>
              <a:ext cx="6793" cy="6772"/>
            </a:xfrm>
            <a:custGeom>
              <a:avLst/>
              <a:gdLst>
                <a:gd name="connsiteX0" fmla="*/ 58389 w 70970"/>
                <a:gd name="connsiteY0" fmla="*/ 8629 h 70749"/>
                <a:gd name="connsiteX1" fmla="*/ 57297 w 70970"/>
                <a:gd name="connsiteY1" fmla="*/ 7719 h 70749"/>
                <a:gd name="connsiteX2" fmla="*/ 7737 w 70970"/>
                <a:gd name="connsiteY2" fmla="*/ 13180 h 70749"/>
                <a:gd name="connsiteX3" fmla="*/ 13152 w 70970"/>
                <a:gd name="connsiteY3" fmla="*/ 62467 h 70749"/>
                <a:gd name="connsiteX4" fmla="*/ 35816 w 70970"/>
                <a:gd name="connsiteY4" fmla="*/ 35571 h 70749"/>
                <a:gd name="connsiteX5" fmla="*/ 13243 w 70970"/>
                <a:gd name="connsiteY5" fmla="*/ 62512 h 70749"/>
                <a:gd name="connsiteX6" fmla="*/ 35816 w 70970"/>
                <a:gd name="connsiteY6" fmla="*/ 70750 h 70749"/>
                <a:gd name="connsiteX7" fmla="*/ 62758 w 70970"/>
                <a:gd name="connsiteY7" fmla="*/ 58189 h 70749"/>
                <a:gd name="connsiteX8" fmla="*/ 58435 w 70970"/>
                <a:gd name="connsiteY8" fmla="*/ 8675 h 70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970" h="70749">
                  <a:moveTo>
                    <a:pt x="58389" y="8629"/>
                  </a:moveTo>
                  <a:lnTo>
                    <a:pt x="57297" y="7719"/>
                  </a:lnTo>
                  <a:cubicBezTo>
                    <a:pt x="42097" y="-4387"/>
                    <a:pt x="19843" y="-2020"/>
                    <a:pt x="7737" y="13180"/>
                  </a:cubicBezTo>
                  <a:cubicBezTo>
                    <a:pt x="-4369" y="28380"/>
                    <a:pt x="-2048" y="50361"/>
                    <a:pt x="13152" y="62467"/>
                  </a:cubicBezTo>
                  <a:lnTo>
                    <a:pt x="35816" y="35571"/>
                  </a:lnTo>
                  <a:lnTo>
                    <a:pt x="13243" y="62512"/>
                  </a:lnTo>
                  <a:cubicBezTo>
                    <a:pt x="19843" y="68019"/>
                    <a:pt x="27852" y="70750"/>
                    <a:pt x="35816" y="70750"/>
                  </a:cubicBezTo>
                  <a:cubicBezTo>
                    <a:pt x="45828" y="70750"/>
                    <a:pt x="55795" y="66472"/>
                    <a:pt x="62758" y="58189"/>
                  </a:cubicBezTo>
                  <a:cubicBezTo>
                    <a:pt x="75227" y="43307"/>
                    <a:pt x="73271" y="21144"/>
                    <a:pt x="58435" y="8675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4" name="Freeform: Shape 523">
              <a:extLst>
                <a:ext uri="{FF2B5EF4-FFF2-40B4-BE49-F238E27FC236}">
                  <a16:creationId xmlns:a16="http://schemas.microsoft.com/office/drawing/2014/main" id="{3B78315B-A72E-F877-A37A-8B523A66A50A}"/>
                </a:ext>
              </a:extLst>
            </p:cNvPr>
            <p:cNvSpPr/>
            <p:nvPr/>
          </p:nvSpPr>
          <p:spPr>
            <a:xfrm>
              <a:off x="1278060" y="5680781"/>
              <a:ext cx="6785" cy="6776"/>
            </a:xfrm>
            <a:custGeom>
              <a:avLst/>
              <a:gdLst>
                <a:gd name="connsiteX0" fmla="*/ 55587 w 70887"/>
                <a:gd name="connsiteY0" fmla="*/ 64285 h 70792"/>
                <a:gd name="connsiteX1" fmla="*/ 56725 w 70887"/>
                <a:gd name="connsiteY1" fmla="*/ 63466 h 70792"/>
                <a:gd name="connsiteX2" fmla="*/ 63915 w 70887"/>
                <a:gd name="connsiteY2" fmla="*/ 14133 h 70792"/>
                <a:gd name="connsiteX3" fmla="*/ 14856 w 70887"/>
                <a:gd name="connsiteY3" fmla="*/ 6988 h 70792"/>
                <a:gd name="connsiteX4" fmla="*/ 35153 w 70887"/>
                <a:gd name="connsiteY4" fmla="*/ 35659 h 70792"/>
                <a:gd name="connsiteX5" fmla="*/ 14765 w 70887"/>
                <a:gd name="connsiteY5" fmla="*/ 7034 h 70792"/>
                <a:gd name="connsiteX6" fmla="*/ 6528 w 70887"/>
                <a:gd name="connsiteY6" fmla="*/ 56048 h 70792"/>
                <a:gd name="connsiteX7" fmla="*/ 35198 w 70887"/>
                <a:gd name="connsiteY7" fmla="*/ 70793 h 70792"/>
                <a:gd name="connsiteX8" fmla="*/ 55542 w 70887"/>
                <a:gd name="connsiteY8" fmla="*/ 64285 h 7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887" h="70792">
                  <a:moveTo>
                    <a:pt x="55587" y="64285"/>
                  </a:moveTo>
                  <a:lnTo>
                    <a:pt x="56725" y="63466"/>
                  </a:lnTo>
                  <a:cubicBezTo>
                    <a:pt x="72243" y="51815"/>
                    <a:pt x="75566" y="29652"/>
                    <a:pt x="63915" y="14133"/>
                  </a:cubicBezTo>
                  <a:cubicBezTo>
                    <a:pt x="52265" y="-1385"/>
                    <a:pt x="30420" y="-4662"/>
                    <a:pt x="14856" y="6988"/>
                  </a:cubicBezTo>
                  <a:lnTo>
                    <a:pt x="35153" y="35659"/>
                  </a:lnTo>
                  <a:lnTo>
                    <a:pt x="14765" y="7034"/>
                  </a:lnTo>
                  <a:cubicBezTo>
                    <a:pt x="-1027" y="18275"/>
                    <a:pt x="-4758" y="40256"/>
                    <a:pt x="6528" y="56048"/>
                  </a:cubicBezTo>
                  <a:cubicBezTo>
                    <a:pt x="13400" y="65696"/>
                    <a:pt x="24186" y="70793"/>
                    <a:pt x="35198" y="70793"/>
                  </a:cubicBezTo>
                  <a:cubicBezTo>
                    <a:pt x="42253" y="70793"/>
                    <a:pt x="49398" y="68654"/>
                    <a:pt x="55542" y="64285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5" name="Freeform: Shape 524">
              <a:extLst>
                <a:ext uri="{FF2B5EF4-FFF2-40B4-BE49-F238E27FC236}">
                  <a16:creationId xmlns:a16="http://schemas.microsoft.com/office/drawing/2014/main" id="{E923AD6E-D281-C240-0F9F-AB198123BBBD}"/>
                </a:ext>
              </a:extLst>
            </p:cNvPr>
            <p:cNvSpPr/>
            <p:nvPr/>
          </p:nvSpPr>
          <p:spPr>
            <a:xfrm>
              <a:off x="1279251" y="6027697"/>
              <a:ext cx="6769" cy="6758"/>
            </a:xfrm>
            <a:custGeom>
              <a:avLst/>
              <a:gdLst>
                <a:gd name="connsiteX0" fmla="*/ 55977 w 70722"/>
                <a:gd name="connsiteY0" fmla="*/ 6846 h 70605"/>
                <a:gd name="connsiteX1" fmla="*/ 55522 w 70722"/>
                <a:gd name="connsiteY1" fmla="*/ 6528 h 70605"/>
                <a:gd name="connsiteX2" fmla="*/ 6508 w 70722"/>
                <a:gd name="connsiteY2" fmla="*/ 14765 h 70605"/>
                <a:gd name="connsiteX3" fmla="*/ 14745 w 70722"/>
                <a:gd name="connsiteY3" fmla="*/ 63779 h 70605"/>
                <a:gd name="connsiteX4" fmla="*/ 15200 w 70722"/>
                <a:gd name="connsiteY4" fmla="*/ 64097 h 70605"/>
                <a:gd name="connsiteX5" fmla="*/ 35543 w 70722"/>
                <a:gd name="connsiteY5" fmla="*/ 70605 h 70605"/>
                <a:gd name="connsiteX6" fmla="*/ 64214 w 70722"/>
                <a:gd name="connsiteY6" fmla="*/ 55860 h 70605"/>
                <a:gd name="connsiteX7" fmla="*/ 55977 w 70722"/>
                <a:gd name="connsiteY7" fmla="*/ 6846 h 70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722" h="70605">
                  <a:moveTo>
                    <a:pt x="55977" y="6846"/>
                  </a:moveTo>
                  <a:lnTo>
                    <a:pt x="55522" y="6528"/>
                  </a:lnTo>
                  <a:cubicBezTo>
                    <a:pt x="39685" y="-4759"/>
                    <a:pt x="17749" y="-1027"/>
                    <a:pt x="6508" y="14765"/>
                  </a:cubicBezTo>
                  <a:cubicBezTo>
                    <a:pt x="-4733" y="30602"/>
                    <a:pt x="-1047" y="52538"/>
                    <a:pt x="14745" y="63779"/>
                  </a:cubicBezTo>
                  <a:lnTo>
                    <a:pt x="15200" y="64097"/>
                  </a:lnTo>
                  <a:cubicBezTo>
                    <a:pt x="21390" y="68512"/>
                    <a:pt x="28489" y="70605"/>
                    <a:pt x="35543" y="70605"/>
                  </a:cubicBezTo>
                  <a:cubicBezTo>
                    <a:pt x="46511" y="70605"/>
                    <a:pt x="57342" y="65463"/>
                    <a:pt x="64214" y="55860"/>
                  </a:cubicBezTo>
                  <a:cubicBezTo>
                    <a:pt x="75455" y="40068"/>
                    <a:pt x="71768" y="18087"/>
                    <a:pt x="55977" y="6846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6" name="Freeform: Shape 525">
              <a:extLst>
                <a:ext uri="{FF2B5EF4-FFF2-40B4-BE49-F238E27FC236}">
                  <a16:creationId xmlns:a16="http://schemas.microsoft.com/office/drawing/2014/main" id="{CF41452F-4AF8-636F-99FD-E5C14DAAC20A}"/>
                </a:ext>
              </a:extLst>
            </p:cNvPr>
            <p:cNvSpPr/>
            <p:nvPr/>
          </p:nvSpPr>
          <p:spPr>
            <a:xfrm>
              <a:off x="1265790" y="5690375"/>
              <a:ext cx="6771" cy="6766"/>
            </a:xfrm>
            <a:custGeom>
              <a:avLst/>
              <a:gdLst>
                <a:gd name="connsiteX0" fmla="*/ 57761 w 70740"/>
                <a:gd name="connsiteY0" fmla="*/ 62449 h 70685"/>
                <a:gd name="connsiteX1" fmla="*/ 58170 w 70740"/>
                <a:gd name="connsiteY1" fmla="*/ 62085 h 70685"/>
                <a:gd name="connsiteX2" fmla="*/ 62494 w 70740"/>
                <a:gd name="connsiteY2" fmla="*/ 12570 h 70685"/>
                <a:gd name="connsiteX3" fmla="*/ 12980 w 70740"/>
                <a:gd name="connsiteY3" fmla="*/ 8247 h 70685"/>
                <a:gd name="connsiteX4" fmla="*/ 12570 w 70740"/>
                <a:gd name="connsiteY4" fmla="*/ 8611 h 70685"/>
                <a:gd name="connsiteX5" fmla="*/ 8247 w 70740"/>
                <a:gd name="connsiteY5" fmla="*/ 58125 h 70685"/>
                <a:gd name="connsiteX6" fmla="*/ 35188 w 70740"/>
                <a:gd name="connsiteY6" fmla="*/ 70686 h 70685"/>
                <a:gd name="connsiteX7" fmla="*/ 57761 w 70740"/>
                <a:gd name="connsiteY7" fmla="*/ 62449 h 70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740" h="70685">
                  <a:moveTo>
                    <a:pt x="57761" y="62449"/>
                  </a:moveTo>
                  <a:lnTo>
                    <a:pt x="58170" y="62085"/>
                  </a:lnTo>
                  <a:cubicBezTo>
                    <a:pt x="73052" y="49615"/>
                    <a:pt x="75009" y="27452"/>
                    <a:pt x="62494" y="12570"/>
                  </a:cubicBezTo>
                  <a:cubicBezTo>
                    <a:pt x="50025" y="-2311"/>
                    <a:pt x="27862" y="-4268"/>
                    <a:pt x="12980" y="8247"/>
                  </a:cubicBezTo>
                  <a:lnTo>
                    <a:pt x="12570" y="8611"/>
                  </a:lnTo>
                  <a:cubicBezTo>
                    <a:pt x="-2311" y="21080"/>
                    <a:pt x="-4268" y="43244"/>
                    <a:pt x="8247" y="58125"/>
                  </a:cubicBezTo>
                  <a:cubicBezTo>
                    <a:pt x="15210" y="66408"/>
                    <a:pt x="25176" y="70686"/>
                    <a:pt x="35188" y="70686"/>
                  </a:cubicBezTo>
                  <a:cubicBezTo>
                    <a:pt x="43153" y="70686"/>
                    <a:pt x="51162" y="68001"/>
                    <a:pt x="57761" y="62449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7" name="Freeform: Shape 526">
              <a:extLst>
                <a:ext uri="{FF2B5EF4-FFF2-40B4-BE49-F238E27FC236}">
                  <a16:creationId xmlns:a16="http://schemas.microsoft.com/office/drawing/2014/main" id="{5AAE679C-D140-E759-220E-1A3583EE5688}"/>
                </a:ext>
              </a:extLst>
            </p:cNvPr>
            <p:cNvSpPr/>
            <p:nvPr/>
          </p:nvSpPr>
          <p:spPr>
            <a:xfrm>
              <a:off x="1601916" y="5776162"/>
              <a:ext cx="6753" cy="6787"/>
            </a:xfrm>
            <a:custGeom>
              <a:avLst/>
              <a:gdLst>
                <a:gd name="connsiteX0" fmla="*/ 2426 w 70548"/>
                <a:gd name="connsiteY0" fmla="*/ 48066 h 70911"/>
                <a:gd name="connsiteX1" fmla="*/ 35375 w 70548"/>
                <a:gd name="connsiteY1" fmla="*/ 70912 h 70911"/>
                <a:gd name="connsiteX2" fmla="*/ 47663 w 70548"/>
                <a:gd name="connsiteY2" fmla="*/ 68682 h 70911"/>
                <a:gd name="connsiteX3" fmla="*/ 68324 w 70548"/>
                <a:gd name="connsiteY3" fmla="*/ 23445 h 70911"/>
                <a:gd name="connsiteX4" fmla="*/ 67915 w 70548"/>
                <a:gd name="connsiteY4" fmla="*/ 22308 h 70911"/>
                <a:gd name="connsiteX5" fmla="*/ 22269 w 70548"/>
                <a:gd name="connsiteY5" fmla="*/ 2466 h 70911"/>
                <a:gd name="connsiteX6" fmla="*/ 2472 w 70548"/>
                <a:gd name="connsiteY6" fmla="*/ 48020 h 70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548" h="70911">
                  <a:moveTo>
                    <a:pt x="2426" y="48066"/>
                  </a:moveTo>
                  <a:cubicBezTo>
                    <a:pt x="7706" y="62219"/>
                    <a:pt x="21131" y="70912"/>
                    <a:pt x="35375" y="70912"/>
                  </a:cubicBezTo>
                  <a:cubicBezTo>
                    <a:pt x="39472" y="70912"/>
                    <a:pt x="43613" y="70184"/>
                    <a:pt x="47663" y="68682"/>
                  </a:cubicBezTo>
                  <a:cubicBezTo>
                    <a:pt x="65866" y="61901"/>
                    <a:pt x="75105" y="41649"/>
                    <a:pt x="68324" y="23445"/>
                  </a:cubicBezTo>
                  <a:lnTo>
                    <a:pt x="67915" y="22308"/>
                  </a:lnTo>
                  <a:cubicBezTo>
                    <a:pt x="60770" y="4240"/>
                    <a:pt x="40336" y="-4680"/>
                    <a:pt x="22269" y="2466"/>
                  </a:cubicBezTo>
                  <a:cubicBezTo>
                    <a:pt x="4202" y="9610"/>
                    <a:pt x="-4673" y="29953"/>
                    <a:pt x="2472" y="48020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8" name="Freeform: Shape 527">
              <a:extLst>
                <a:ext uri="{FF2B5EF4-FFF2-40B4-BE49-F238E27FC236}">
                  <a16:creationId xmlns:a16="http://schemas.microsoft.com/office/drawing/2014/main" id="{9D2D4C89-2C64-4354-FA37-816AB3D4D4A8}"/>
                </a:ext>
              </a:extLst>
            </p:cNvPr>
            <p:cNvSpPr/>
            <p:nvPr/>
          </p:nvSpPr>
          <p:spPr>
            <a:xfrm>
              <a:off x="1611081" y="5805913"/>
              <a:ext cx="6745" cy="6783"/>
            </a:xfrm>
            <a:custGeom>
              <a:avLst/>
              <a:gdLst>
                <a:gd name="connsiteX0" fmla="*/ 920 w 70468"/>
                <a:gd name="connsiteY0" fmla="*/ 42971 h 70867"/>
                <a:gd name="connsiteX1" fmla="*/ 1056 w 70468"/>
                <a:gd name="connsiteY1" fmla="*/ 43517 h 70867"/>
                <a:gd name="connsiteX2" fmla="*/ 35280 w 70468"/>
                <a:gd name="connsiteY2" fmla="*/ 70868 h 70867"/>
                <a:gd name="connsiteX3" fmla="*/ 43107 w 70468"/>
                <a:gd name="connsiteY3" fmla="*/ 70003 h 70867"/>
                <a:gd name="connsiteX4" fmla="*/ 69594 w 70468"/>
                <a:gd name="connsiteY4" fmla="*/ 27907 h 70867"/>
                <a:gd name="connsiteX5" fmla="*/ 69457 w 70468"/>
                <a:gd name="connsiteY5" fmla="*/ 27361 h 70867"/>
                <a:gd name="connsiteX6" fmla="*/ 27361 w 70468"/>
                <a:gd name="connsiteY6" fmla="*/ 874 h 70867"/>
                <a:gd name="connsiteX7" fmla="*/ 874 w 70468"/>
                <a:gd name="connsiteY7" fmla="*/ 42971 h 70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468" h="70867">
                  <a:moveTo>
                    <a:pt x="920" y="42971"/>
                  </a:moveTo>
                  <a:lnTo>
                    <a:pt x="1056" y="43517"/>
                  </a:lnTo>
                  <a:cubicBezTo>
                    <a:pt x="4789" y="59809"/>
                    <a:pt x="19260" y="70868"/>
                    <a:pt x="35280" y="70868"/>
                  </a:cubicBezTo>
                  <a:cubicBezTo>
                    <a:pt x="37874" y="70868"/>
                    <a:pt x="40514" y="70595"/>
                    <a:pt x="43107" y="70003"/>
                  </a:cubicBezTo>
                  <a:cubicBezTo>
                    <a:pt x="62040" y="65680"/>
                    <a:pt x="73872" y="46839"/>
                    <a:pt x="69594" y="27907"/>
                  </a:cubicBezTo>
                  <a:lnTo>
                    <a:pt x="69457" y="27361"/>
                  </a:lnTo>
                  <a:cubicBezTo>
                    <a:pt x="65134" y="8429"/>
                    <a:pt x="46293" y="-3404"/>
                    <a:pt x="27361" y="874"/>
                  </a:cubicBezTo>
                  <a:cubicBezTo>
                    <a:pt x="8429" y="5198"/>
                    <a:pt x="-3403" y="24039"/>
                    <a:pt x="874" y="42971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9" name="Freeform: Shape 528">
              <a:extLst>
                <a:ext uri="{FF2B5EF4-FFF2-40B4-BE49-F238E27FC236}">
                  <a16:creationId xmlns:a16="http://schemas.microsoft.com/office/drawing/2014/main" id="{F185620B-1A41-C22D-E5F4-926832B68E79}"/>
                </a:ext>
              </a:extLst>
            </p:cNvPr>
            <p:cNvSpPr/>
            <p:nvPr/>
          </p:nvSpPr>
          <p:spPr>
            <a:xfrm>
              <a:off x="1607046" y="5790874"/>
              <a:ext cx="6745" cy="6780"/>
            </a:xfrm>
            <a:custGeom>
              <a:avLst/>
              <a:gdLst>
                <a:gd name="connsiteX0" fmla="*/ 1574 w 70466"/>
                <a:gd name="connsiteY0" fmla="*/ 45491 h 70839"/>
                <a:gd name="connsiteX1" fmla="*/ 1757 w 70466"/>
                <a:gd name="connsiteY1" fmla="*/ 46128 h 70839"/>
                <a:gd name="connsiteX2" fmla="*/ 35297 w 70466"/>
                <a:gd name="connsiteY2" fmla="*/ 70840 h 70839"/>
                <a:gd name="connsiteX3" fmla="*/ 45764 w 70466"/>
                <a:gd name="connsiteY3" fmla="*/ 69247 h 70839"/>
                <a:gd name="connsiteX4" fmla="*/ 68883 w 70466"/>
                <a:gd name="connsiteY4" fmla="*/ 25239 h 70839"/>
                <a:gd name="connsiteX5" fmla="*/ 68747 w 70466"/>
                <a:gd name="connsiteY5" fmla="*/ 24830 h 70839"/>
                <a:gd name="connsiteX6" fmla="*/ 24829 w 70466"/>
                <a:gd name="connsiteY6" fmla="*/ 1574 h 70839"/>
                <a:gd name="connsiteX7" fmla="*/ 1574 w 70466"/>
                <a:gd name="connsiteY7" fmla="*/ 45491 h 70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466" h="70839">
                  <a:moveTo>
                    <a:pt x="1574" y="45491"/>
                  </a:moveTo>
                  <a:lnTo>
                    <a:pt x="1757" y="46128"/>
                  </a:lnTo>
                  <a:cubicBezTo>
                    <a:pt x="6444" y="61192"/>
                    <a:pt x="20324" y="70840"/>
                    <a:pt x="35297" y="70840"/>
                  </a:cubicBezTo>
                  <a:cubicBezTo>
                    <a:pt x="38755" y="70840"/>
                    <a:pt x="42305" y="70339"/>
                    <a:pt x="45764" y="69247"/>
                  </a:cubicBezTo>
                  <a:cubicBezTo>
                    <a:pt x="64287" y="63467"/>
                    <a:pt x="74617" y="43762"/>
                    <a:pt x="68883" y="25239"/>
                  </a:cubicBezTo>
                  <a:lnTo>
                    <a:pt x="68747" y="24830"/>
                  </a:lnTo>
                  <a:cubicBezTo>
                    <a:pt x="63012" y="6262"/>
                    <a:pt x="43352" y="-4160"/>
                    <a:pt x="24829" y="1574"/>
                  </a:cubicBezTo>
                  <a:cubicBezTo>
                    <a:pt x="6262" y="7263"/>
                    <a:pt x="-4160" y="26969"/>
                    <a:pt x="1574" y="45491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0" name="Freeform: Shape 529">
              <a:extLst>
                <a:ext uri="{FF2B5EF4-FFF2-40B4-BE49-F238E27FC236}">
                  <a16:creationId xmlns:a16="http://schemas.microsoft.com/office/drawing/2014/main" id="{CE8DA372-F851-A07F-5869-78B6E11005B2}"/>
                </a:ext>
              </a:extLst>
            </p:cNvPr>
            <p:cNvSpPr/>
            <p:nvPr/>
          </p:nvSpPr>
          <p:spPr>
            <a:xfrm>
              <a:off x="1347976" y="5647581"/>
              <a:ext cx="6767" cy="6736"/>
            </a:xfrm>
            <a:custGeom>
              <a:avLst/>
              <a:gdLst>
                <a:gd name="connsiteX0" fmla="*/ 44463 w 70695"/>
                <a:gd name="connsiteY0" fmla="*/ 69148 h 70376"/>
                <a:gd name="connsiteX1" fmla="*/ 69539 w 70695"/>
                <a:gd name="connsiteY1" fmla="*/ 26233 h 70376"/>
                <a:gd name="connsiteX2" fmla="*/ 26624 w 70695"/>
                <a:gd name="connsiteY2" fmla="*/ 1157 h 70376"/>
                <a:gd name="connsiteX3" fmla="*/ 25895 w 70695"/>
                <a:gd name="connsiteY3" fmla="*/ 1339 h 70376"/>
                <a:gd name="connsiteX4" fmla="*/ 1229 w 70695"/>
                <a:gd name="connsiteY4" fmla="*/ 44391 h 70376"/>
                <a:gd name="connsiteX5" fmla="*/ 35270 w 70695"/>
                <a:gd name="connsiteY5" fmla="*/ 70377 h 70376"/>
                <a:gd name="connsiteX6" fmla="*/ 44463 w 70695"/>
                <a:gd name="connsiteY6" fmla="*/ 69148 h 70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695" h="70376">
                  <a:moveTo>
                    <a:pt x="44463" y="69148"/>
                  </a:moveTo>
                  <a:cubicBezTo>
                    <a:pt x="63259" y="64233"/>
                    <a:pt x="74454" y="44982"/>
                    <a:pt x="69539" y="26233"/>
                  </a:cubicBezTo>
                  <a:cubicBezTo>
                    <a:pt x="64624" y="7437"/>
                    <a:pt x="45419" y="-3758"/>
                    <a:pt x="26624" y="1157"/>
                  </a:cubicBezTo>
                  <a:lnTo>
                    <a:pt x="25895" y="1339"/>
                  </a:lnTo>
                  <a:cubicBezTo>
                    <a:pt x="7146" y="6390"/>
                    <a:pt x="-3822" y="25641"/>
                    <a:pt x="1229" y="44391"/>
                  </a:cubicBezTo>
                  <a:cubicBezTo>
                    <a:pt x="5462" y="60046"/>
                    <a:pt x="19752" y="70377"/>
                    <a:pt x="35270" y="70377"/>
                  </a:cubicBezTo>
                  <a:cubicBezTo>
                    <a:pt x="38319" y="70377"/>
                    <a:pt x="41414" y="69967"/>
                    <a:pt x="44463" y="69148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1" name="Freeform: Shape 530">
              <a:extLst>
                <a:ext uri="{FF2B5EF4-FFF2-40B4-BE49-F238E27FC236}">
                  <a16:creationId xmlns:a16="http://schemas.microsoft.com/office/drawing/2014/main" id="{2FD14516-7CB4-D7BA-EE16-9B5D14A40AE0}"/>
                </a:ext>
              </a:extLst>
            </p:cNvPr>
            <p:cNvSpPr/>
            <p:nvPr/>
          </p:nvSpPr>
          <p:spPr>
            <a:xfrm>
              <a:off x="1349472" y="6060476"/>
              <a:ext cx="6767" cy="6741"/>
            </a:xfrm>
            <a:custGeom>
              <a:avLst/>
              <a:gdLst>
                <a:gd name="connsiteX0" fmla="*/ 44072 w 70702"/>
                <a:gd name="connsiteY0" fmla="*/ 1157 h 70422"/>
                <a:gd name="connsiteX1" fmla="*/ 1157 w 70702"/>
                <a:gd name="connsiteY1" fmla="*/ 26233 h 70422"/>
                <a:gd name="connsiteX2" fmla="*/ 26233 w 70702"/>
                <a:gd name="connsiteY2" fmla="*/ 69148 h 70422"/>
                <a:gd name="connsiteX3" fmla="*/ 26960 w 70702"/>
                <a:gd name="connsiteY3" fmla="*/ 69330 h 70422"/>
                <a:gd name="connsiteX4" fmla="*/ 35699 w 70702"/>
                <a:gd name="connsiteY4" fmla="*/ 70422 h 70422"/>
                <a:gd name="connsiteX5" fmla="*/ 69603 w 70702"/>
                <a:gd name="connsiteY5" fmla="*/ 43936 h 70422"/>
                <a:gd name="connsiteX6" fmla="*/ 44118 w 70702"/>
                <a:gd name="connsiteY6" fmla="*/ 1111 h 70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702" h="70422">
                  <a:moveTo>
                    <a:pt x="44072" y="1157"/>
                  </a:moveTo>
                  <a:cubicBezTo>
                    <a:pt x="25322" y="-3758"/>
                    <a:pt x="6072" y="7437"/>
                    <a:pt x="1157" y="26233"/>
                  </a:cubicBezTo>
                  <a:cubicBezTo>
                    <a:pt x="-3758" y="45028"/>
                    <a:pt x="7437" y="64233"/>
                    <a:pt x="26233" y="69148"/>
                  </a:cubicBezTo>
                  <a:lnTo>
                    <a:pt x="26960" y="69330"/>
                  </a:lnTo>
                  <a:cubicBezTo>
                    <a:pt x="29873" y="70058"/>
                    <a:pt x="32786" y="70422"/>
                    <a:pt x="35699" y="70422"/>
                  </a:cubicBezTo>
                  <a:cubicBezTo>
                    <a:pt x="51354" y="70422"/>
                    <a:pt x="65507" y="59819"/>
                    <a:pt x="69603" y="43936"/>
                  </a:cubicBezTo>
                  <a:cubicBezTo>
                    <a:pt x="74427" y="25140"/>
                    <a:pt x="62913" y="5935"/>
                    <a:pt x="44118" y="1111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2" name="Freeform: Shape 531">
              <a:extLst>
                <a:ext uri="{FF2B5EF4-FFF2-40B4-BE49-F238E27FC236}">
                  <a16:creationId xmlns:a16="http://schemas.microsoft.com/office/drawing/2014/main" id="{F65C57A3-D7B1-C17C-9BFD-DB8ADA10E972}"/>
                </a:ext>
              </a:extLst>
            </p:cNvPr>
            <p:cNvSpPr/>
            <p:nvPr/>
          </p:nvSpPr>
          <p:spPr>
            <a:xfrm>
              <a:off x="1333067" y="5652137"/>
              <a:ext cx="6787" cy="6750"/>
            </a:xfrm>
            <a:custGeom>
              <a:avLst/>
              <a:gdLst>
                <a:gd name="connsiteX0" fmla="*/ 46859 w 70909"/>
                <a:gd name="connsiteY0" fmla="*/ 68514 h 70516"/>
                <a:gd name="connsiteX1" fmla="*/ 69113 w 70909"/>
                <a:gd name="connsiteY1" fmla="*/ 24051 h 70516"/>
                <a:gd name="connsiteX2" fmla="*/ 24650 w 70909"/>
                <a:gd name="connsiteY2" fmla="*/ 1797 h 70516"/>
                <a:gd name="connsiteX3" fmla="*/ 23467 w 70909"/>
                <a:gd name="connsiteY3" fmla="*/ 2206 h 70516"/>
                <a:gd name="connsiteX4" fmla="*/ 2032 w 70909"/>
                <a:gd name="connsiteY4" fmla="*/ 47124 h 70516"/>
                <a:gd name="connsiteX5" fmla="*/ 35117 w 70909"/>
                <a:gd name="connsiteY5" fmla="*/ 70516 h 70516"/>
                <a:gd name="connsiteX6" fmla="*/ 46859 w 70909"/>
                <a:gd name="connsiteY6" fmla="*/ 68468 h 70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09" h="70516">
                  <a:moveTo>
                    <a:pt x="46859" y="68514"/>
                  </a:moveTo>
                  <a:cubicBezTo>
                    <a:pt x="65290" y="62370"/>
                    <a:pt x="75211" y="42482"/>
                    <a:pt x="69113" y="24051"/>
                  </a:cubicBezTo>
                  <a:cubicBezTo>
                    <a:pt x="62969" y="5620"/>
                    <a:pt x="43081" y="-4302"/>
                    <a:pt x="24650" y="1797"/>
                  </a:cubicBezTo>
                  <a:lnTo>
                    <a:pt x="23467" y="2206"/>
                  </a:lnTo>
                  <a:cubicBezTo>
                    <a:pt x="5172" y="8714"/>
                    <a:pt x="-4476" y="28829"/>
                    <a:pt x="2032" y="47124"/>
                  </a:cubicBezTo>
                  <a:cubicBezTo>
                    <a:pt x="7129" y="61551"/>
                    <a:pt x="20646" y="70516"/>
                    <a:pt x="35117" y="70516"/>
                  </a:cubicBezTo>
                  <a:cubicBezTo>
                    <a:pt x="39032" y="70516"/>
                    <a:pt x="42991" y="69879"/>
                    <a:pt x="46859" y="68468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E98D19A8-E96F-C912-46E2-E43A4D00E8B0}"/>
                </a:ext>
              </a:extLst>
            </p:cNvPr>
            <p:cNvSpPr/>
            <p:nvPr/>
          </p:nvSpPr>
          <p:spPr>
            <a:xfrm>
              <a:off x="1318572" y="5657763"/>
              <a:ext cx="6783" cy="6756"/>
            </a:xfrm>
            <a:custGeom>
              <a:avLst/>
              <a:gdLst>
                <a:gd name="connsiteX0" fmla="*/ 49153 w 70864"/>
                <a:gd name="connsiteY0" fmla="*/ 67669 h 70581"/>
                <a:gd name="connsiteX1" fmla="*/ 49654 w 70864"/>
                <a:gd name="connsiteY1" fmla="*/ 67441 h 70581"/>
                <a:gd name="connsiteX2" fmla="*/ 67949 w 70864"/>
                <a:gd name="connsiteY2" fmla="*/ 21204 h 70581"/>
                <a:gd name="connsiteX3" fmla="*/ 21711 w 70864"/>
                <a:gd name="connsiteY3" fmla="*/ 2909 h 70581"/>
                <a:gd name="connsiteX4" fmla="*/ 21210 w 70864"/>
                <a:gd name="connsiteY4" fmla="*/ 3136 h 70581"/>
                <a:gd name="connsiteX5" fmla="*/ 2915 w 70864"/>
                <a:gd name="connsiteY5" fmla="*/ 49374 h 70581"/>
                <a:gd name="connsiteX6" fmla="*/ 35181 w 70864"/>
                <a:gd name="connsiteY6" fmla="*/ 70581 h 70581"/>
                <a:gd name="connsiteX7" fmla="*/ 49108 w 70864"/>
                <a:gd name="connsiteY7" fmla="*/ 67669 h 70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864" h="70581">
                  <a:moveTo>
                    <a:pt x="49153" y="67669"/>
                  </a:moveTo>
                  <a:lnTo>
                    <a:pt x="49654" y="67441"/>
                  </a:lnTo>
                  <a:cubicBezTo>
                    <a:pt x="67494" y="59750"/>
                    <a:pt x="75685" y="39043"/>
                    <a:pt x="67949" y="21204"/>
                  </a:cubicBezTo>
                  <a:cubicBezTo>
                    <a:pt x="60257" y="3409"/>
                    <a:pt x="39551" y="-4828"/>
                    <a:pt x="21711" y="2909"/>
                  </a:cubicBezTo>
                  <a:lnTo>
                    <a:pt x="21210" y="3136"/>
                  </a:lnTo>
                  <a:cubicBezTo>
                    <a:pt x="3370" y="10827"/>
                    <a:pt x="-4821" y="31534"/>
                    <a:pt x="2915" y="49374"/>
                  </a:cubicBezTo>
                  <a:cubicBezTo>
                    <a:pt x="8650" y="62663"/>
                    <a:pt x="21620" y="70581"/>
                    <a:pt x="35181" y="70581"/>
                  </a:cubicBezTo>
                  <a:cubicBezTo>
                    <a:pt x="39824" y="70581"/>
                    <a:pt x="44557" y="69671"/>
                    <a:pt x="49108" y="67669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4" name="Freeform: Shape 533">
              <a:extLst>
                <a:ext uri="{FF2B5EF4-FFF2-40B4-BE49-F238E27FC236}">
                  <a16:creationId xmlns:a16="http://schemas.microsoft.com/office/drawing/2014/main" id="{A7A09BF1-928D-8AD5-973D-0E875E0B79DE}"/>
                </a:ext>
              </a:extLst>
            </p:cNvPr>
            <p:cNvSpPr/>
            <p:nvPr/>
          </p:nvSpPr>
          <p:spPr>
            <a:xfrm>
              <a:off x="1319959" y="6050483"/>
              <a:ext cx="6788" cy="6754"/>
            </a:xfrm>
            <a:custGeom>
              <a:avLst/>
              <a:gdLst>
                <a:gd name="connsiteX0" fmla="*/ 49775 w 70914"/>
                <a:gd name="connsiteY0" fmla="*/ 3121 h 70566"/>
                <a:gd name="connsiteX1" fmla="*/ 48592 w 70914"/>
                <a:gd name="connsiteY1" fmla="*/ 2621 h 70566"/>
                <a:gd name="connsiteX2" fmla="*/ 2627 w 70914"/>
                <a:gd name="connsiteY2" fmla="*/ 21826 h 70566"/>
                <a:gd name="connsiteX3" fmla="*/ 21787 w 70914"/>
                <a:gd name="connsiteY3" fmla="*/ 67608 h 70566"/>
                <a:gd name="connsiteX4" fmla="*/ 35804 w 70914"/>
                <a:gd name="connsiteY4" fmla="*/ 35387 h 70566"/>
                <a:gd name="connsiteX5" fmla="*/ 21832 w 70914"/>
                <a:gd name="connsiteY5" fmla="*/ 67654 h 70566"/>
                <a:gd name="connsiteX6" fmla="*/ 35758 w 70914"/>
                <a:gd name="connsiteY6" fmla="*/ 70566 h 70566"/>
                <a:gd name="connsiteX7" fmla="*/ 68024 w 70914"/>
                <a:gd name="connsiteY7" fmla="*/ 49359 h 70566"/>
                <a:gd name="connsiteX8" fmla="*/ 49730 w 70914"/>
                <a:gd name="connsiteY8" fmla="*/ 3121 h 7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914" h="70566">
                  <a:moveTo>
                    <a:pt x="49775" y="3121"/>
                  </a:moveTo>
                  <a:lnTo>
                    <a:pt x="48592" y="2621"/>
                  </a:lnTo>
                  <a:cubicBezTo>
                    <a:pt x="30616" y="-4706"/>
                    <a:pt x="9954" y="3849"/>
                    <a:pt x="2627" y="21826"/>
                  </a:cubicBezTo>
                  <a:cubicBezTo>
                    <a:pt x="-4700" y="39802"/>
                    <a:pt x="3811" y="60281"/>
                    <a:pt x="21787" y="67608"/>
                  </a:cubicBezTo>
                  <a:lnTo>
                    <a:pt x="35804" y="35387"/>
                  </a:lnTo>
                  <a:lnTo>
                    <a:pt x="21832" y="67654"/>
                  </a:lnTo>
                  <a:cubicBezTo>
                    <a:pt x="26383" y="69611"/>
                    <a:pt x="31116" y="70566"/>
                    <a:pt x="35758" y="70566"/>
                  </a:cubicBezTo>
                  <a:cubicBezTo>
                    <a:pt x="49366" y="70566"/>
                    <a:pt x="62290" y="62648"/>
                    <a:pt x="68024" y="49359"/>
                  </a:cubicBezTo>
                  <a:cubicBezTo>
                    <a:pt x="75716" y="31519"/>
                    <a:pt x="67524" y="10858"/>
                    <a:pt x="49730" y="3121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5" name="Freeform: Shape 534">
              <a:extLst>
                <a:ext uri="{FF2B5EF4-FFF2-40B4-BE49-F238E27FC236}">
                  <a16:creationId xmlns:a16="http://schemas.microsoft.com/office/drawing/2014/main" id="{36E685D4-487E-22FE-692D-C602D3238927}"/>
                </a:ext>
              </a:extLst>
            </p:cNvPr>
            <p:cNvSpPr/>
            <p:nvPr/>
          </p:nvSpPr>
          <p:spPr>
            <a:xfrm>
              <a:off x="1363147" y="5644127"/>
              <a:ext cx="6784" cy="6739"/>
            </a:xfrm>
            <a:custGeom>
              <a:avLst/>
              <a:gdLst>
                <a:gd name="connsiteX0" fmla="*/ 41649 w 70875"/>
                <a:gd name="connsiteY0" fmla="*/ 69820 h 70411"/>
                <a:gd name="connsiteX1" fmla="*/ 42196 w 70875"/>
                <a:gd name="connsiteY1" fmla="*/ 69729 h 70411"/>
                <a:gd name="connsiteX2" fmla="*/ 70275 w 70875"/>
                <a:gd name="connsiteY2" fmla="*/ 28680 h 70411"/>
                <a:gd name="connsiteX3" fmla="*/ 29225 w 70875"/>
                <a:gd name="connsiteY3" fmla="*/ 600 h 70411"/>
                <a:gd name="connsiteX4" fmla="*/ 28679 w 70875"/>
                <a:gd name="connsiteY4" fmla="*/ 691 h 70411"/>
                <a:gd name="connsiteX5" fmla="*/ 600 w 70875"/>
                <a:gd name="connsiteY5" fmla="*/ 41741 h 70411"/>
                <a:gd name="connsiteX6" fmla="*/ 35096 w 70875"/>
                <a:gd name="connsiteY6" fmla="*/ 70412 h 70411"/>
                <a:gd name="connsiteX7" fmla="*/ 41604 w 70875"/>
                <a:gd name="connsiteY7" fmla="*/ 69820 h 70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875" h="70411">
                  <a:moveTo>
                    <a:pt x="41649" y="69820"/>
                  </a:moveTo>
                  <a:lnTo>
                    <a:pt x="42196" y="69729"/>
                  </a:lnTo>
                  <a:cubicBezTo>
                    <a:pt x="61264" y="66134"/>
                    <a:pt x="73825" y="47793"/>
                    <a:pt x="70275" y="28680"/>
                  </a:cubicBezTo>
                  <a:cubicBezTo>
                    <a:pt x="66680" y="9611"/>
                    <a:pt x="48340" y="-2950"/>
                    <a:pt x="29225" y="600"/>
                  </a:cubicBezTo>
                  <a:lnTo>
                    <a:pt x="28679" y="691"/>
                  </a:lnTo>
                  <a:cubicBezTo>
                    <a:pt x="9611" y="4286"/>
                    <a:pt x="-2950" y="22627"/>
                    <a:pt x="600" y="41741"/>
                  </a:cubicBezTo>
                  <a:cubicBezTo>
                    <a:pt x="3786" y="58625"/>
                    <a:pt x="18531" y="70412"/>
                    <a:pt x="35096" y="70412"/>
                  </a:cubicBezTo>
                  <a:cubicBezTo>
                    <a:pt x="37235" y="70412"/>
                    <a:pt x="39419" y="70230"/>
                    <a:pt x="41604" y="69820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6" name="Freeform: Shape 535">
              <a:extLst>
                <a:ext uri="{FF2B5EF4-FFF2-40B4-BE49-F238E27FC236}">
                  <a16:creationId xmlns:a16="http://schemas.microsoft.com/office/drawing/2014/main" id="{B9471ECB-1A43-A9F4-C12C-216F8A066F56}"/>
                </a:ext>
              </a:extLst>
            </p:cNvPr>
            <p:cNvSpPr/>
            <p:nvPr/>
          </p:nvSpPr>
          <p:spPr>
            <a:xfrm>
              <a:off x="1614010" y="5821205"/>
              <a:ext cx="6742" cy="6781"/>
            </a:xfrm>
            <a:custGeom>
              <a:avLst/>
              <a:gdLst>
                <a:gd name="connsiteX0" fmla="*/ 29937 w 70433"/>
                <a:gd name="connsiteY0" fmla="*/ 391 h 70840"/>
                <a:gd name="connsiteX1" fmla="*/ 402 w 70433"/>
                <a:gd name="connsiteY1" fmla="*/ 40349 h 70840"/>
                <a:gd name="connsiteX2" fmla="*/ 493 w 70433"/>
                <a:gd name="connsiteY2" fmla="*/ 40895 h 70840"/>
                <a:gd name="connsiteX3" fmla="*/ 35216 w 70433"/>
                <a:gd name="connsiteY3" fmla="*/ 70840 h 70840"/>
                <a:gd name="connsiteX4" fmla="*/ 40496 w 70433"/>
                <a:gd name="connsiteY4" fmla="*/ 70430 h 70840"/>
                <a:gd name="connsiteX5" fmla="*/ 70032 w 70433"/>
                <a:gd name="connsiteY5" fmla="*/ 30473 h 70840"/>
                <a:gd name="connsiteX6" fmla="*/ 69940 w 70433"/>
                <a:gd name="connsiteY6" fmla="*/ 29927 h 70840"/>
                <a:gd name="connsiteX7" fmla="*/ 29983 w 70433"/>
                <a:gd name="connsiteY7" fmla="*/ 391 h 70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433" h="70840">
                  <a:moveTo>
                    <a:pt x="29937" y="391"/>
                  </a:moveTo>
                  <a:cubicBezTo>
                    <a:pt x="10733" y="3258"/>
                    <a:pt x="-2511" y="21189"/>
                    <a:pt x="402" y="40349"/>
                  </a:cubicBezTo>
                  <a:lnTo>
                    <a:pt x="493" y="40895"/>
                  </a:lnTo>
                  <a:cubicBezTo>
                    <a:pt x="3087" y="58325"/>
                    <a:pt x="18104" y="70840"/>
                    <a:pt x="35216" y="70840"/>
                  </a:cubicBezTo>
                  <a:cubicBezTo>
                    <a:pt x="36946" y="70840"/>
                    <a:pt x="38720" y="70703"/>
                    <a:pt x="40496" y="70430"/>
                  </a:cubicBezTo>
                  <a:cubicBezTo>
                    <a:pt x="59701" y="67563"/>
                    <a:pt x="72944" y="49633"/>
                    <a:pt x="70032" y="30473"/>
                  </a:cubicBezTo>
                  <a:lnTo>
                    <a:pt x="69940" y="29927"/>
                  </a:lnTo>
                  <a:cubicBezTo>
                    <a:pt x="67073" y="10722"/>
                    <a:pt x="49142" y="-2476"/>
                    <a:pt x="29983" y="391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7" name="Freeform: Shape 536">
              <a:extLst>
                <a:ext uri="{FF2B5EF4-FFF2-40B4-BE49-F238E27FC236}">
                  <a16:creationId xmlns:a16="http://schemas.microsoft.com/office/drawing/2014/main" id="{D05DAD30-86DD-33FC-C3B0-D7622B9CB716}"/>
                </a:ext>
              </a:extLst>
            </p:cNvPr>
            <p:cNvSpPr/>
            <p:nvPr/>
          </p:nvSpPr>
          <p:spPr>
            <a:xfrm>
              <a:off x="1615807" y="5836666"/>
              <a:ext cx="6739" cy="6805"/>
            </a:xfrm>
            <a:custGeom>
              <a:avLst/>
              <a:gdLst>
                <a:gd name="connsiteX0" fmla="*/ 32548 w 70410"/>
                <a:gd name="connsiteY0" fmla="*/ 146 h 71095"/>
                <a:gd name="connsiteX1" fmla="*/ 100 w 70410"/>
                <a:gd name="connsiteY1" fmla="*/ 37782 h 71095"/>
                <a:gd name="connsiteX2" fmla="*/ 237 w 70410"/>
                <a:gd name="connsiteY2" fmla="*/ 39239 h 71095"/>
                <a:gd name="connsiteX3" fmla="*/ 35234 w 70410"/>
                <a:gd name="connsiteY3" fmla="*/ 71095 h 71095"/>
                <a:gd name="connsiteX4" fmla="*/ 38738 w 70410"/>
                <a:gd name="connsiteY4" fmla="*/ 70913 h 71095"/>
                <a:gd name="connsiteX5" fmla="*/ 70230 w 70410"/>
                <a:gd name="connsiteY5" fmla="*/ 32640 h 71095"/>
                <a:gd name="connsiteX6" fmla="*/ 35188 w 70410"/>
                <a:gd name="connsiteY6" fmla="*/ 35143 h 71095"/>
                <a:gd name="connsiteX7" fmla="*/ 70230 w 70410"/>
                <a:gd name="connsiteY7" fmla="*/ 32549 h 71095"/>
                <a:gd name="connsiteX8" fmla="*/ 32594 w 70410"/>
                <a:gd name="connsiteY8" fmla="*/ 100 h 71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410" h="71095">
                  <a:moveTo>
                    <a:pt x="32548" y="146"/>
                  </a:moveTo>
                  <a:cubicBezTo>
                    <a:pt x="13207" y="1602"/>
                    <a:pt x="-1356" y="18441"/>
                    <a:pt x="100" y="37782"/>
                  </a:cubicBezTo>
                  <a:lnTo>
                    <a:pt x="237" y="39239"/>
                  </a:lnTo>
                  <a:cubicBezTo>
                    <a:pt x="2057" y="57397"/>
                    <a:pt x="17393" y="71095"/>
                    <a:pt x="35234" y="71095"/>
                  </a:cubicBezTo>
                  <a:cubicBezTo>
                    <a:pt x="36371" y="71095"/>
                    <a:pt x="37555" y="71050"/>
                    <a:pt x="38738" y="70913"/>
                  </a:cubicBezTo>
                  <a:cubicBezTo>
                    <a:pt x="58034" y="69002"/>
                    <a:pt x="72187" y="51981"/>
                    <a:pt x="70230" y="32640"/>
                  </a:cubicBezTo>
                  <a:lnTo>
                    <a:pt x="35188" y="35143"/>
                  </a:lnTo>
                  <a:lnTo>
                    <a:pt x="70230" y="32549"/>
                  </a:lnTo>
                  <a:cubicBezTo>
                    <a:pt x="68819" y="13207"/>
                    <a:pt x="51890" y="-1356"/>
                    <a:pt x="32594" y="100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8" name="Freeform: Shape 537">
              <a:extLst>
                <a:ext uri="{FF2B5EF4-FFF2-40B4-BE49-F238E27FC236}">
                  <a16:creationId xmlns:a16="http://schemas.microsoft.com/office/drawing/2014/main" id="{E973DF22-CCCE-6450-9958-E3861F2A8827}"/>
                </a:ext>
              </a:extLst>
            </p:cNvPr>
            <p:cNvSpPr/>
            <p:nvPr/>
          </p:nvSpPr>
          <p:spPr>
            <a:xfrm>
              <a:off x="1194513" y="5808205"/>
              <a:ext cx="6741" cy="6783"/>
            </a:xfrm>
            <a:custGeom>
              <a:avLst/>
              <a:gdLst>
                <a:gd name="connsiteX0" fmla="*/ 27361 w 70423"/>
                <a:gd name="connsiteY0" fmla="*/ 69999 h 70863"/>
                <a:gd name="connsiteX1" fmla="*/ 35189 w 70423"/>
                <a:gd name="connsiteY1" fmla="*/ 70864 h 70863"/>
                <a:gd name="connsiteX2" fmla="*/ 69412 w 70423"/>
                <a:gd name="connsiteY2" fmla="*/ 43513 h 70863"/>
                <a:gd name="connsiteX3" fmla="*/ 69730 w 70423"/>
                <a:gd name="connsiteY3" fmla="*/ 42056 h 70863"/>
                <a:gd name="connsiteX4" fmla="*/ 42152 w 70423"/>
                <a:gd name="connsiteY4" fmla="*/ 688 h 70863"/>
                <a:gd name="connsiteX5" fmla="*/ 874 w 70423"/>
                <a:gd name="connsiteY5" fmla="*/ 27903 h 70863"/>
                <a:gd name="connsiteX6" fmla="*/ 27361 w 70423"/>
                <a:gd name="connsiteY6" fmla="*/ 69954 h 70863"/>
                <a:gd name="connsiteX7" fmla="*/ 35189 w 70423"/>
                <a:gd name="connsiteY7" fmla="*/ 35730 h 70863"/>
                <a:gd name="connsiteX8" fmla="*/ 25541 w 70423"/>
                <a:gd name="connsiteY8" fmla="*/ 33546 h 70863"/>
                <a:gd name="connsiteX9" fmla="*/ 35189 w 70423"/>
                <a:gd name="connsiteY9" fmla="*/ 35730 h 70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0423" h="70863">
                  <a:moveTo>
                    <a:pt x="27361" y="69999"/>
                  </a:moveTo>
                  <a:cubicBezTo>
                    <a:pt x="30000" y="70591"/>
                    <a:pt x="32594" y="70864"/>
                    <a:pt x="35189" y="70864"/>
                  </a:cubicBezTo>
                  <a:cubicBezTo>
                    <a:pt x="51208" y="70864"/>
                    <a:pt x="65725" y="59805"/>
                    <a:pt x="69412" y="43513"/>
                  </a:cubicBezTo>
                  <a:lnTo>
                    <a:pt x="69730" y="42056"/>
                  </a:lnTo>
                  <a:cubicBezTo>
                    <a:pt x="73553" y="23033"/>
                    <a:pt x="61174" y="4511"/>
                    <a:pt x="42152" y="688"/>
                  </a:cubicBezTo>
                  <a:cubicBezTo>
                    <a:pt x="23220" y="-3089"/>
                    <a:pt x="4834" y="9062"/>
                    <a:pt x="874" y="27903"/>
                  </a:cubicBezTo>
                  <a:cubicBezTo>
                    <a:pt x="-3403" y="46835"/>
                    <a:pt x="8429" y="65630"/>
                    <a:pt x="27361" y="69954"/>
                  </a:cubicBezTo>
                  <a:close/>
                  <a:moveTo>
                    <a:pt x="35189" y="35730"/>
                  </a:moveTo>
                  <a:lnTo>
                    <a:pt x="25541" y="33546"/>
                  </a:lnTo>
                  <a:lnTo>
                    <a:pt x="35189" y="35730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9" name="Freeform: Shape 538">
              <a:extLst>
                <a:ext uri="{FF2B5EF4-FFF2-40B4-BE49-F238E27FC236}">
                  <a16:creationId xmlns:a16="http://schemas.microsoft.com/office/drawing/2014/main" id="{5F2B8812-D111-D6FA-E5D7-282502748C9A}"/>
                </a:ext>
              </a:extLst>
            </p:cNvPr>
            <p:cNvSpPr/>
            <p:nvPr/>
          </p:nvSpPr>
          <p:spPr>
            <a:xfrm>
              <a:off x="1191767" y="5823512"/>
              <a:ext cx="6736" cy="6804"/>
            </a:xfrm>
            <a:custGeom>
              <a:avLst/>
              <a:gdLst>
                <a:gd name="connsiteX0" fmla="*/ 29927 w 70378"/>
                <a:gd name="connsiteY0" fmla="*/ 70673 h 71082"/>
                <a:gd name="connsiteX1" fmla="*/ 35206 w 70378"/>
                <a:gd name="connsiteY1" fmla="*/ 71082 h 71082"/>
                <a:gd name="connsiteX2" fmla="*/ 69930 w 70378"/>
                <a:gd name="connsiteY2" fmla="*/ 41137 h 71082"/>
                <a:gd name="connsiteX3" fmla="*/ 70112 w 70378"/>
                <a:gd name="connsiteY3" fmla="*/ 39681 h 71082"/>
                <a:gd name="connsiteX4" fmla="*/ 39575 w 70378"/>
                <a:gd name="connsiteY4" fmla="*/ 270 h 71082"/>
                <a:gd name="connsiteX5" fmla="*/ 391 w 70378"/>
                <a:gd name="connsiteY5" fmla="*/ 30624 h 71082"/>
                <a:gd name="connsiteX6" fmla="*/ 35160 w 70378"/>
                <a:gd name="connsiteY6" fmla="*/ 35903 h 71082"/>
                <a:gd name="connsiteX7" fmla="*/ 391 w 70378"/>
                <a:gd name="connsiteY7" fmla="*/ 30670 h 71082"/>
                <a:gd name="connsiteX8" fmla="*/ 29927 w 70378"/>
                <a:gd name="connsiteY8" fmla="*/ 70627 h 71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378" h="71082">
                  <a:moveTo>
                    <a:pt x="29927" y="70673"/>
                  </a:moveTo>
                  <a:cubicBezTo>
                    <a:pt x="31702" y="70946"/>
                    <a:pt x="33431" y="71082"/>
                    <a:pt x="35206" y="71082"/>
                  </a:cubicBezTo>
                  <a:cubicBezTo>
                    <a:pt x="52318" y="71082"/>
                    <a:pt x="67290" y="58567"/>
                    <a:pt x="69930" y="41137"/>
                  </a:cubicBezTo>
                  <a:lnTo>
                    <a:pt x="70112" y="39681"/>
                  </a:lnTo>
                  <a:cubicBezTo>
                    <a:pt x="72479" y="20430"/>
                    <a:pt x="58826" y="2636"/>
                    <a:pt x="39575" y="270"/>
                  </a:cubicBezTo>
                  <a:cubicBezTo>
                    <a:pt x="20234" y="-2097"/>
                    <a:pt x="2803" y="11374"/>
                    <a:pt x="391" y="30624"/>
                  </a:cubicBezTo>
                  <a:lnTo>
                    <a:pt x="35160" y="35903"/>
                  </a:lnTo>
                  <a:lnTo>
                    <a:pt x="391" y="30670"/>
                  </a:lnTo>
                  <a:cubicBezTo>
                    <a:pt x="-2475" y="49875"/>
                    <a:pt x="10722" y="67760"/>
                    <a:pt x="29927" y="70627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0" name="Freeform: Shape 539">
              <a:extLst>
                <a:ext uri="{FF2B5EF4-FFF2-40B4-BE49-F238E27FC236}">
                  <a16:creationId xmlns:a16="http://schemas.microsoft.com/office/drawing/2014/main" id="{10EE210E-3B88-A1A2-9ABB-E4BAD44C4F2A}"/>
                </a:ext>
              </a:extLst>
            </p:cNvPr>
            <p:cNvSpPr/>
            <p:nvPr/>
          </p:nvSpPr>
          <p:spPr>
            <a:xfrm>
              <a:off x="1190148" y="5839002"/>
              <a:ext cx="6731" cy="6800"/>
            </a:xfrm>
            <a:custGeom>
              <a:avLst/>
              <a:gdLst>
                <a:gd name="connsiteX0" fmla="*/ 32503 w 70319"/>
                <a:gd name="connsiteY0" fmla="*/ 70952 h 71042"/>
                <a:gd name="connsiteX1" fmla="*/ 35143 w 70319"/>
                <a:gd name="connsiteY1" fmla="*/ 71043 h 71042"/>
                <a:gd name="connsiteX2" fmla="*/ 70185 w 70319"/>
                <a:gd name="connsiteY2" fmla="*/ 38504 h 71042"/>
                <a:gd name="connsiteX3" fmla="*/ 70276 w 70319"/>
                <a:gd name="connsiteY3" fmla="*/ 37093 h 71042"/>
                <a:gd name="connsiteX4" fmla="*/ 36917 w 70319"/>
                <a:gd name="connsiteY4" fmla="*/ 48 h 71042"/>
                <a:gd name="connsiteX5" fmla="*/ 100 w 70319"/>
                <a:gd name="connsiteY5" fmla="*/ 33224 h 71042"/>
                <a:gd name="connsiteX6" fmla="*/ 35143 w 70319"/>
                <a:gd name="connsiteY6" fmla="*/ 35909 h 71042"/>
                <a:gd name="connsiteX7" fmla="*/ 100 w 70319"/>
                <a:gd name="connsiteY7" fmla="*/ 33315 h 71042"/>
                <a:gd name="connsiteX8" fmla="*/ 32549 w 70319"/>
                <a:gd name="connsiteY8" fmla="*/ 70952 h 71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319" h="71042">
                  <a:moveTo>
                    <a:pt x="32503" y="70952"/>
                  </a:moveTo>
                  <a:cubicBezTo>
                    <a:pt x="33368" y="70997"/>
                    <a:pt x="34278" y="71043"/>
                    <a:pt x="35143" y="71043"/>
                  </a:cubicBezTo>
                  <a:cubicBezTo>
                    <a:pt x="53392" y="71043"/>
                    <a:pt x="68774" y="56980"/>
                    <a:pt x="70185" y="38504"/>
                  </a:cubicBezTo>
                  <a:lnTo>
                    <a:pt x="70276" y="37093"/>
                  </a:lnTo>
                  <a:cubicBezTo>
                    <a:pt x="71232" y="17706"/>
                    <a:pt x="56305" y="1004"/>
                    <a:pt x="36917" y="48"/>
                  </a:cubicBezTo>
                  <a:cubicBezTo>
                    <a:pt x="17394" y="-953"/>
                    <a:pt x="1056" y="13837"/>
                    <a:pt x="100" y="33224"/>
                  </a:cubicBezTo>
                  <a:lnTo>
                    <a:pt x="35143" y="35909"/>
                  </a:lnTo>
                  <a:lnTo>
                    <a:pt x="100" y="33315"/>
                  </a:lnTo>
                  <a:cubicBezTo>
                    <a:pt x="-1356" y="52657"/>
                    <a:pt x="13207" y="69541"/>
                    <a:pt x="32549" y="70952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1" name="Freeform: Shape 540">
              <a:extLst>
                <a:ext uri="{FF2B5EF4-FFF2-40B4-BE49-F238E27FC236}">
                  <a16:creationId xmlns:a16="http://schemas.microsoft.com/office/drawing/2014/main" id="{750DF8CE-C62C-5498-C6CA-8AE80785FBF0}"/>
                </a:ext>
              </a:extLst>
            </p:cNvPr>
            <p:cNvSpPr/>
            <p:nvPr/>
          </p:nvSpPr>
          <p:spPr>
            <a:xfrm>
              <a:off x="1190253" y="5870147"/>
              <a:ext cx="6732" cy="6778"/>
            </a:xfrm>
            <a:custGeom>
              <a:avLst/>
              <a:gdLst>
                <a:gd name="connsiteX0" fmla="*/ 37782 w 70331"/>
                <a:gd name="connsiteY0" fmla="*/ 70726 h 70816"/>
                <a:gd name="connsiteX1" fmla="*/ 70231 w 70331"/>
                <a:gd name="connsiteY1" fmla="*/ 33089 h 70816"/>
                <a:gd name="connsiteX2" fmla="*/ 70231 w 70331"/>
                <a:gd name="connsiteY2" fmla="*/ 32543 h 70816"/>
                <a:gd name="connsiteX3" fmla="*/ 32549 w 70331"/>
                <a:gd name="connsiteY3" fmla="*/ 95 h 70816"/>
                <a:gd name="connsiteX4" fmla="*/ 100 w 70331"/>
                <a:gd name="connsiteY4" fmla="*/ 37731 h 70816"/>
                <a:gd name="connsiteX5" fmla="*/ 100 w 70331"/>
                <a:gd name="connsiteY5" fmla="*/ 38277 h 70816"/>
                <a:gd name="connsiteX6" fmla="*/ 35143 w 70331"/>
                <a:gd name="connsiteY6" fmla="*/ 70816 h 70816"/>
                <a:gd name="connsiteX7" fmla="*/ 37782 w 70331"/>
                <a:gd name="connsiteY7" fmla="*/ 70726 h 70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331" h="70816">
                  <a:moveTo>
                    <a:pt x="37782" y="70726"/>
                  </a:moveTo>
                  <a:cubicBezTo>
                    <a:pt x="57124" y="69269"/>
                    <a:pt x="71687" y="52431"/>
                    <a:pt x="70231" y="33089"/>
                  </a:cubicBezTo>
                  <a:lnTo>
                    <a:pt x="70231" y="32543"/>
                  </a:lnTo>
                  <a:cubicBezTo>
                    <a:pt x="68774" y="13201"/>
                    <a:pt x="51799" y="-1316"/>
                    <a:pt x="32549" y="95"/>
                  </a:cubicBezTo>
                  <a:cubicBezTo>
                    <a:pt x="13207" y="1551"/>
                    <a:pt x="-1356" y="18390"/>
                    <a:pt x="100" y="37731"/>
                  </a:cubicBezTo>
                  <a:lnTo>
                    <a:pt x="100" y="38277"/>
                  </a:lnTo>
                  <a:cubicBezTo>
                    <a:pt x="1511" y="56754"/>
                    <a:pt x="16939" y="70816"/>
                    <a:pt x="35143" y="70816"/>
                  </a:cubicBezTo>
                  <a:cubicBezTo>
                    <a:pt x="36007" y="70816"/>
                    <a:pt x="36872" y="70816"/>
                    <a:pt x="37782" y="70726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2" name="Freeform: Shape 541">
              <a:extLst>
                <a:ext uri="{FF2B5EF4-FFF2-40B4-BE49-F238E27FC236}">
                  <a16:creationId xmlns:a16="http://schemas.microsoft.com/office/drawing/2014/main" id="{BC2EC6E9-E456-9142-A5DA-EFBA2F92BE7C}"/>
                </a:ext>
              </a:extLst>
            </p:cNvPr>
            <p:cNvSpPr/>
            <p:nvPr/>
          </p:nvSpPr>
          <p:spPr>
            <a:xfrm>
              <a:off x="1191986" y="5885618"/>
              <a:ext cx="6739" cy="6779"/>
            </a:xfrm>
            <a:custGeom>
              <a:avLst/>
              <a:gdLst>
                <a:gd name="connsiteX0" fmla="*/ 40473 w 70410"/>
                <a:gd name="connsiteY0" fmla="*/ 70418 h 70827"/>
                <a:gd name="connsiteX1" fmla="*/ 70009 w 70410"/>
                <a:gd name="connsiteY1" fmla="*/ 30461 h 70827"/>
                <a:gd name="connsiteX2" fmla="*/ 69917 w 70410"/>
                <a:gd name="connsiteY2" fmla="*/ 30006 h 70827"/>
                <a:gd name="connsiteX3" fmla="*/ 30006 w 70410"/>
                <a:gd name="connsiteY3" fmla="*/ 379 h 70827"/>
                <a:gd name="connsiteX4" fmla="*/ 379 w 70410"/>
                <a:gd name="connsiteY4" fmla="*/ 40290 h 70827"/>
                <a:gd name="connsiteX5" fmla="*/ 470 w 70410"/>
                <a:gd name="connsiteY5" fmla="*/ 40882 h 70827"/>
                <a:gd name="connsiteX6" fmla="*/ 35194 w 70410"/>
                <a:gd name="connsiteY6" fmla="*/ 70827 h 70827"/>
                <a:gd name="connsiteX7" fmla="*/ 40473 w 70410"/>
                <a:gd name="connsiteY7" fmla="*/ 70418 h 70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410" h="70827">
                  <a:moveTo>
                    <a:pt x="40473" y="70418"/>
                  </a:moveTo>
                  <a:cubicBezTo>
                    <a:pt x="59678" y="67551"/>
                    <a:pt x="72921" y="49620"/>
                    <a:pt x="70009" y="30461"/>
                  </a:cubicBezTo>
                  <a:lnTo>
                    <a:pt x="69917" y="30006"/>
                  </a:lnTo>
                  <a:cubicBezTo>
                    <a:pt x="67096" y="10800"/>
                    <a:pt x="49257" y="-2443"/>
                    <a:pt x="30006" y="379"/>
                  </a:cubicBezTo>
                  <a:cubicBezTo>
                    <a:pt x="10801" y="3200"/>
                    <a:pt x="-2443" y="21086"/>
                    <a:pt x="379" y="40290"/>
                  </a:cubicBezTo>
                  <a:lnTo>
                    <a:pt x="470" y="40882"/>
                  </a:lnTo>
                  <a:cubicBezTo>
                    <a:pt x="3064" y="58312"/>
                    <a:pt x="18082" y="70827"/>
                    <a:pt x="35194" y="70827"/>
                  </a:cubicBezTo>
                  <a:cubicBezTo>
                    <a:pt x="36923" y="70827"/>
                    <a:pt x="38698" y="70691"/>
                    <a:pt x="40473" y="70418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3" name="Freeform: Shape 542">
              <a:extLst>
                <a:ext uri="{FF2B5EF4-FFF2-40B4-BE49-F238E27FC236}">
                  <a16:creationId xmlns:a16="http://schemas.microsoft.com/office/drawing/2014/main" id="{ACE51F56-D549-39B5-CE88-FA4989DB3468}"/>
                </a:ext>
              </a:extLst>
            </p:cNvPr>
            <p:cNvSpPr/>
            <p:nvPr/>
          </p:nvSpPr>
          <p:spPr>
            <a:xfrm>
              <a:off x="1189644" y="5854583"/>
              <a:ext cx="6726" cy="6778"/>
            </a:xfrm>
            <a:custGeom>
              <a:avLst/>
              <a:gdLst>
                <a:gd name="connsiteX0" fmla="*/ 35133 w 70266"/>
                <a:gd name="connsiteY0" fmla="*/ 70813 h 70812"/>
                <a:gd name="connsiteX1" fmla="*/ 70267 w 70266"/>
                <a:gd name="connsiteY1" fmla="*/ 35679 h 70812"/>
                <a:gd name="connsiteX2" fmla="*/ 70267 w 70266"/>
                <a:gd name="connsiteY2" fmla="*/ 35133 h 70812"/>
                <a:gd name="connsiteX3" fmla="*/ 35133 w 70266"/>
                <a:gd name="connsiteY3" fmla="*/ 0 h 70812"/>
                <a:gd name="connsiteX4" fmla="*/ 0 w 70266"/>
                <a:gd name="connsiteY4" fmla="*/ 35133 h 70812"/>
                <a:gd name="connsiteX5" fmla="*/ 0 w 70266"/>
                <a:gd name="connsiteY5" fmla="*/ 35679 h 70812"/>
                <a:gd name="connsiteX6" fmla="*/ 35133 w 70266"/>
                <a:gd name="connsiteY6" fmla="*/ 70813 h 70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266" h="70812">
                  <a:moveTo>
                    <a:pt x="35133" y="70813"/>
                  </a:moveTo>
                  <a:cubicBezTo>
                    <a:pt x="54566" y="70813"/>
                    <a:pt x="70267" y="55067"/>
                    <a:pt x="70267" y="35679"/>
                  </a:cubicBezTo>
                  <a:lnTo>
                    <a:pt x="70267" y="35133"/>
                  </a:lnTo>
                  <a:cubicBezTo>
                    <a:pt x="70267" y="15701"/>
                    <a:pt x="54520" y="0"/>
                    <a:pt x="35133" y="0"/>
                  </a:cubicBezTo>
                  <a:cubicBezTo>
                    <a:pt x="15746" y="0"/>
                    <a:pt x="0" y="15746"/>
                    <a:pt x="0" y="35133"/>
                  </a:cubicBezTo>
                  <a:lnTo>
                    <a:pt x="0" y="35679"/>
                  </a:lnTo>
                  <a:cubicBezTo>
                    <a:pt x="0" y="55112"/>
                    <a:pt x="15746" y="70813"/>
                    <a:pt x="35133" y="70813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4" name="Freeform: Shape 543">
              <a:extLst>
                <a:ext uri="{FF2B5EF4-FFF2-40B4-BE49-F238E27FC236}">
                  <a16:creationId xmlns:a16="http://schemas.microsoft.com/office/drawing/2014/main" id="{16F37558-E69D-D9A2-C13B-F91FA529F31C}"/>
                </a:ext>
              </a:extLst>
            </p:cNvPr>
            <p:cNvSpPr/>
            <p:nvPr/>
          </p:nvSpPr>
          <p:spPr>
            <a:xfrm>
              <a:off x="1198385" y="5793111"/>
              <a:ext cx="6744" cy="6791"/>
            </a:xfrm>
            <a:custGeom>
              <a:avLst/>
              <a:gdLst>
                <a:gd name="connsiteX0" fmla="*/ 24813 w 70456"/>
                <a:gd name="connsiteY0" fmla="*/ 69407 h 70954"/>
                <a:gd name="connsiteX1" fmla="*/ 35144 w 70456"/>
                <a:gd name="connsiteY1" fmla="*/ 70954 h 70954"/>
                <a:gd name="connsiteX2" fmla="*/ 68730 w 70456"/>
                <a:gd name="connsiteY2" fmla="*/ 46152 h 70954"/>
                <a:gd name="connsiteX3" fmla="*/ 69094 w 70456"/>
                <a:gd name="connsiteY3" fmla="*/ 44968 h 70954"/>
                <a:gd name="connsiteX4" fmla="*/ 44974 w 70456"/>
                <a:gd name="connsiteY4" fmla="*/ 1370 h 70954"/>
                <a:gd name="connsiteX5" fmla="*/ 1558 w 70456"/>
                <a:gd name="connsiteY5" fmla="*/ 25399 h 70954"/>
                <a:gd name="connsiteX6" fmla="*/ 35144 w 70456"/>
                <a:gd name="connsiteY6" fmla="*/ 35821 h 70954"/>
                <a:gd name="connsiteX7" fmla="*/ 1558 w 70456"/>
                <a:gd name="connsiteY7" fmla="*/ 25490 h 70954"/>
                <a:gd name="connsiteX8" fmla="*/ 24813 w 70456"/>
                <a:gd name="connsiteY8" fmla="*/ 69407 h 7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456" h="70954">
                  <a:moveTo>
                    <a:pt x="24813" y="69407"/>
                  </a:moveTo>
                  <a:cubicBezTo>
                    <a:pt x="28272" y="70454"/>
                    <a:pt x="31730" y="70954"/>
                    <a:pt x="35144" y="70954"/>
                  </a:cubicBezTo>
                  <a:cubicBezTo>
                    <a:pt x="50161" y="70954"/>
                    <a:pt x="64088" y="61261"/>
                    <a:pt x="68730" y="46152"/>
                  </a:cubicBezTo>
                  <a:lnTo>
                    <a:pt x="69094" y="44968"/>
                  </a:lnTo>
                  <a:cubicBezTo>
                    <a:pt x="74418" y="26310"/>
                    <a:pt x="63678" y="6695"/>
                    <a:pt x="44974" y="1370"/>
                  </a:cubicBezTo>
                  <a:cubicBezTo>
                    <a:pt x="26315" y="-3954"/>
                    <a:pt x="6882" y="6695"/>
                    <a:pt x="1558" y="25399"/>
                  </a:cubicBezTo>
                  <a:lnTo>
                    <a:pt x="35144" y="35821"/>
                  </a:lnTo>
                  <a:lnTo>
                    <a:pt x="1558" y="25490"/>
                  </a:lnTo>
                  <a:cubicBezTo>
                    <a:pt x="-4131" y="44058"/>
                    <a:pt x="6245" y="63718"/>
                    <a:pt x="24813" y="69407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5" name="Freeform: Shape 544">
              <a:extLst>
                <a:ext uri="{FF2B5EF4-FFF2-40B4-BE49-F238E27FC236}">
                  <a16:creationId xmlns:a16="http://schemas.microsoft.com/office/drawing/2014/main" id="{02EBBF38-89D6-8087-02DB-EDA77487EB66}"/>
                </a:ext>
              </a:extLst>
            </p:cNvPr>
            <p:cNvSpPr/>
            <p:nvPr/>
          </p:nvSpPr>
          <p:spPr>
            <a:xfrm>
              <a:off x="1209392" y="5763999"/>
              <a:ext cx="6751" cy="6758"/>
            </a:xfrm>
            <a:custGeom>
              <a:avLst/>
              <a:gdLst>
                <a:gd name="connsiteX0" fmla="*/ 20545 w 70533"/>
                <a:gd name="connsiteY0" fmla="*/ 67419 h 70604"/>
                <a:gd name="connsiteX1" fmla="*/ 35109 w 70533"/>
                <a:gd name="connsiteY1" fmla="*/ 70604 h 70604"/>
                <a:gd name="connsiteX2" fmla="*/ 67238 w 70533"/>
                <a:gd name="connsiteY2" fmla="*/ 49989 h 70604"/>
                <a:gd name="connsiteX3" fmla="*/ 50218 w 70533"/>
                <a:gd name="connsiteY3" fmla="*/ 3296 h 70604"/>
                <a:gd name="connsiteX4" fmla="*/ 3525 w 70533"/>
                <a:gd name="connsiteY4" fmla="*/ 20316 h 70604"/>
                <a:gd name="connsiteX5" fmla="*/ 3206 w 70533"/>
                <a:gd name="connsiteY5" fmla="*/ 20953 h 70604"/>
                <a:gd name="connsiteX6" fmla="*/ 20545 w 70533"/>
                <a:gd name="connsiteY6" fmla="*/ 67419 h 70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533" h="70604">
                  <a:moveTo>
                    <a:pt x="20545" y="67419"/>
                  </a:moveTo>
                  <a:cubicBezTo>
                    <a:pt x="25278" y="69603"/>
                    <a:pt x="30193" y="70604"/>
                    <a:pt x="35109" y="70604"/>
                  </a:cubicBezTo>
                  <a:cubicBezTo>
                    <a:pt x="48488" y="70604"/>
                    <a:pt x="61322" y="62913"/>
                    <a:pt x="67238" y="49989"/>
                  </a:cubicBezTo>
                  <a:cubicBezTo>
                    <a:pt x="75430" y="32376"/>
                    <a:pt x="67830" y="11488"/>
                    <a:pt x="50218" y="3296"/>
                  </a:cubicBezTo>
                  <a:cubicBezTo>
                    <a:pt x="32605" y="-4896"/>
                    <a:pt x="11717" y="2704"/>
                    <a:pt x="3525" y="20316"/>
                  </a:cubicBezTo>
                  <a:lnTo>
                    <a:pt x="3206" y="20953"/>
                  </a:lnTo>
                  <a:cubicBezTo>
                    <a:pt x="-4894" y="38611"/>
                    <a:pt x="2888" y="59318"/>
                    <a:pt x="20545" y="67419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6" name="Freeform: Shape 545">
              <a:extLst>
                <a:ext uri="{FF2B5EF4-FFF2-40B4-BE49-F238E27FC236}">
                  <a16:creationId xmlns:a16="http://schemas.microsoft.com/office/drawing/2014/main" id="{C0B4F1B4-8A34-1803-71D1-803A59E71BCF}"/>
                </a:ext>
              </a:extLst>
            </p:cNvPr>
            <p:cNvSpPr/>
            <p:nvPr/>
          </p:nvSpPr>
          <p:spPr>
            <a:xfrm>
              <a:off x="1216471" y="5750100"/>
              <a:ext cx="6757" cy="6792"/>
            </a:xfrm>
            <a:custGeom>
              <a:avLst/>
              <a:gdLst>
                <a:gd name="connsiteX0" fmla="*/ 17905 w 70594"/>
                <a:gd name="connsiteY0" fmla="*/ 66408 h 70958"/>
                <a:gd name="connsiteX1" fmla="*/ 35108 w 70594"/>
                <a:gd name="connsiteY1" fmla="*/ 70959 h 70958"/>
                <a:gd name="connsiteX2" fmla="*/ 65781 w 70594"/>
                <a:gd name="connsiteY2" fmla="*/ 53073 h 70958"/>
                <a:gd name="connsiteX3" fmla="*/ 66419 w 70594"/>
                <a:gd name="connsiteY3" fmla="*/ 51936 h 70958"/>
                <a:gd name="connsiteX4" fmla="*/ 52083 w 70594"/>
                <a:gd name="connsiteY4" fmla="*/ 4196 h 70958"/>
                <a:gd name="connsiteX5" fmla="*/ 4571 w 70594"/>
                <a:gd name="connsiteY5" fmla="*/ 18441 h 70958"/>
                <a:gd name="connsiteX6" fmla="*/ 35154 w 70594"/>
                <a:gd name="connsiteY6" fmla="*/ 35780 h 70958"/>
                <a:gd name="connsiteX7" fmla="*/ 4526 w 70594"/>
                <a:gd name="connsiteY7" fmla="*/ 18532 h 70958"/>
                <a:gd name="connsiteX8" fmla="*/ 17905 w 70594"/>
                <a:gd name="connsiteY8" fmla="*/ 66408 h 70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594" h="70958">
                  <a:moveTo>
                    <a:pt x="17905" y="66408"/>
                  </a:moveTo>
                  <a:cubicBezTo>
                    <a:pt x="23366" y="69502"/>
                    <a:pt x="29283" y="70959"/>
                    <a:pt x="35108" y="70959"/>
                  </a:cubicBezTo>
                  <a:cubicBezTo>
                    <a:pt x="47395" y="70959"/>
                    <a:pt x="59319" y="64496"/>
                    <a:pt x="65781" y="53073"/>
                  </a:cubicBezTo>
                  <a:lnTo>
                    <a:pt x="66419" y="51936"/>
                  </a:lnTo>
                  <a:cubicBezTo>
                    <a:pt x="75566" y="34824"/>
                    <a:pt x="69195" y="13389"/>
                    <a:pt x="52083" y="4196"/>
                  </a:cubicBezTo>
                  <a:cubicBezTo>
                    <a:pt x="34971" y="-4951"/>
                    <a:pt x="13764" y="1329"/>
                    <a:pt x="4571" y="18441"/>
                  </a:cubicBezTo>
                  <a:lnTo>
                    <a:pt x="35154" y="35780"/>
                  </a:lnTo>
                  <a:lnTo>
                    <a:pt x="4526" y="18532"/>
                  </a:lnTo>
                  <a:cubicBezTo>
                    <a:pt x="-4986" y="35461"/>
                    <a:pt x="976" y="56896"/>
                    <a:pt x="17905" y="66408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A1B93308-FF86-B38C-8260-87087B2E47C9}"/>
                </a:ext>
              </a:extLst>
            </p:cNvPr>
            <p:cNvSpPr/>
            <p:nvPr/>
          </p:nvSpPr>
          <p:spPr>
            <a:xfrm>
              <a:off x="1203354" y="5778362"/>
              <a:ext cx="6746" cy="6786"/>
            </a:xfrm>
            <a:custGeom>
              <a:avLst/>
              <a:gdLst>
                <a:gd name="connsiteX0" fmla="*/ 22923 w 70478"/>
                <a:gd name="connsiteY0" fmla="*/ 68717 h 70901"/>
                <a:gd name="connsiteX1" fmla="*/ 35120 w 70478"/>
                <a:gd name="connsiteY1" fmla="*/ 70901 h 70901"/>
                <a:gd name="connsiteX2" fmla="*/ 68069 w 70478"/>
                <a:gd name="connsiteY2" fmla="*/ 47919 h 70901"/>
                <a:gd name="connsiteX3" fmla="*/ 48090 w 70478"/>
                <a:gd name="connsiteY3" fmla="*/ 2409 h 70901"/>
                <a:gd name="connsiteX4" fmla="*/ 2581 w 70478"/>
                <a:gd name="connsiteY4" fmla="*/ 22388 h 70901"/>
                <a:gd name="connsiteX5" fmla="*/ 2171 w 70478"/>
                <a:gd name="connsiteY5" fmla="*/ 23526 h 70901"/>
                <a:gd name="connsiteX6" fmla="*/ 22969 w 70478"/>
                <a:gd name="connsiteY6" fmla="*/ 68717 h 70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478" h="70901">
                  <a:moveTo>
                    <a:pt x="22923" y="68717"/>
                  </a:moveTo>
                  <a:cubicBezTo>
                    <a:pt x="26928" y="70219"/>
                    <a:pt x="31070" y="70901"/>
                    <a:pt x="35120" y="70901"/>
                  </a:cubicBezTo>
                  <a:cubicBezTo>
                    <a:pt x="49410" y="70901"/>
                    <a:pt x="62835" y="62118"/>
                    <a:pt x="68069" y="47919"/>
                  </a:cubicBezTo>
                  <a:cubicBezTo>
                    <a:pt x="75123" y="29806"/>
                    <a:pt x="66157" y="9463"/>
                    <a:pt x="48090" y="2409"/>
                  </a:cubicBezTo>
                  <a:cubicBezTo>
                    <a:pt x="30023" y="-4645"/>
                    <a:pt x="9634" y="4321"/>
                    <a:pt x="2581" y="22388"/>
                  </a:cubicBezTo>
                  <a:lnTo>
                    <a:pt x="2171" y="23526"/>
                  </a:lnTo>
                  <a:cubicBezTo>
                    <a:pt x="-4519" y="41730"/>
                    <a:pt x="4765" y="61981"/>
                    <a:pt x="22969" y="68717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CCDDB1FF-F003-7561-C0F8-67C22C8892BD}"/>
                </a:ext>
              </a:extLst>
            </p:cNvPr>
            <p:cNvSpPr/>
            <p:nvPr/>
          </p:nvSpPr>
          <p:spPr>
            <a:xfrm>
              <a:off x="1198825" y="5915976"/>
              <a:ext cx="6749" cy="6788"/>
            </a:xfrm>
            <a:custGeom>
              <a:avLst/>
              <a:gdLst>
                <a:gd name="connsiteX0" fmla="*/ 68957 w 70510"/>
                <a:gd name="connsiteY0" fmla="*/ 25496 h 70914"/>
                <a:gd name="connsiteX1" fmla="*/ 25496 w 70510"/>
                <a:gd name="connsiteY1" fmla="*/ 1376 h 70914"/>
                <a:gd name="connsiteX2" fmla="*/ 1376 w 70510"/>
                <a:gd name="connsiteY2" fmla="*/ 44837 h 70914"/>
                <a:gd name="connsiteX3" fmla="*/ 1740 w 70510"/>
                <a:gd name="connsiteY3" fmla="*/ 46021 h 70914"/>
                <a:gd name="connsiteX4" fmla="*/ 35371 w 70510"/>
                <a:gd name="connsiteY4" fmla="*/ 70914 h 70914"/>
                <a:gd name="connsiteX5" fmla="*/ 45656 w 70510"/>
                <a:gd name="connsiteY5" fmla="*/ 69367 h 70914"/>
                <a:gd name="connsiteX6" fmla="*/ 68957 w 70510"/>
                <a:gd name="connsiteY6" fmla="*/ 25496 h 7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510" h="70914">
                  <a:moveTo>
                    <a:pt x="68957" y="25496"/>
                  </a:moveTo>
                  <a:cubicBezTo>
                    <a:pt x="63633" y="6837"/>
                    <a:pt x="44155" y="-3994"/>
                    <a:pt x="25496" y="1376"/>
                  </a:cubicBezTo>
                  <a:cubicBezTo>
                    <a:pt x="6837" y="6700"/>
                    <a:pt x="-3994" y="26179"/>
                    <a:pt x="1376" y="44837"/>
                  </a:cubicBezTo>
                  <a:lnTo>
                    <a:pt x="1740" y="46021"/>
                  </a:lnTo>
                  <a:cubicBezTo>
                    <a:pt x="6382" y="61130"/>
                    <a:pt x="20353" y="70914"/>
                    <a:pt x="35371" y="70914"/>
                  </a:cubicBezTo>
                  <a:cubicBezTo>
                    <a:pt x="38784" y="70914"/>
                    <a:pt x="42243" y="70414"/>
                    <a:pt x="45656" y="69367"/>
                  </a:cubicBezTo>
                  <a:cubicBezTo>
                    <a:pt x="64225" y="63678"/>
                    <a:pt x="74646" y="44064"/>
                    <a:pt x="68957" y="25496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68BCD53D-A1BE-072D-FCFB-CDCBC61B6BC3}"/>
                </a:ext>
              </a:extLst>
            </p:cNvPr>
            <p:cNvSpPr/>
            <p:nvPr/>
          </p:nvSpPr>
          <p:spPr>
            <a:xfrm>
              <a:off x="1224538" y="5736786"/>
              <a:ext cx="6760" cy="6785"/>
            </a:xfrm>
            <a:custGeom>
              <a:avLst/>
              <a:gdLst>
                <a:gd name="connsiteX0" fmla="*/ 16035 w 70628"/>
                <a:gd name="connsiteY0" fmla="*/ 65197 h 70886"/>
                <a:gd name="connsiteX1" fmla="*/ 35149 w 70628"/>
                <a:gd name="connsiteY1" fmla="*/ 70886 h 70886"/>
                <a:gd name="connsiteX2" fmla="*/ 64594 w 70628"/>
                <a:gd name="connsiteY2" fmla="*/ 54867 h 70886"/>
                <a:gd name="connsiteX3" fmla="*/ 55173 w 70628"/>
                <a:gd name="connsiteY3" fmla="*/ 6035 h 70886"/>
                <a:gd name="connsiteX4" fmla="*/ 6342 w 70628"/>
                <a:gd name="connsiteY4" fmla="*/ 15455 h 70886"/>
                <a:gd name="connsiteX5" fmla="*/ 5659 w 70628"/>
                <a:gd name="connsiteY5" fmla="*/ 16502 h 70886"/>
                <a:gd name="connsiteX6" fmla="*/ 16035 w 70628"/>
                <a:gd name="connsiteY6" fmla="*/ 65197 h 70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628" h="70886">
                  <a:moveTo>
                    <a:pt x="16035" y="65197"/>
                  </a:moveTo>
                  <a:cubicBezTo>
                    <a:pt x="21952" y="69020"/>
                    <a:pt x="28596" y="70886"/>
                    <a:pt x="35149" y="70886"/>
                  </a:cubicBezTo>
                  <a:cubicBezTo>
                    <a:pt x="46617" y="70886"/>
                    <a:pt x="57859" y="65243"/>
                    <a:pt x="64594" y="54867"/>
                  </a:cubicBezTo>
                  <a:cubicBezTo>
                    <a:pt x="75471" y="38802"/>
                    <a:pt x="71238" y="16912"/>
                    <a:pt x="55173" y="6035"/>
                  </a:cubicBezTo>
                  <a:cubicBezTo>
                    <a:pt x="39063" y="-4842"/>
                    <a:pt x="17218" y="-609"/>
                    <a:pt x="6342" y="15455"/>
                  </a:cubicBezTo>
                  <a:lnTo>
                    <a:pt x="5659" y="16502"/>
                  </a:lnTo>
                  <a:cubicBezTo>
                    <a:pt x="-4899" y="32795"/>
                    <a:pt x="-257" y="54639"/>
                    <a:pt x="16035" y="65197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21BB7B79-8A52-A0B9-5C27-D93F4C2AC72C}"/>
                </a:ext>
              </a:extLst>
            </p:cNvPr>
            <p:cNvSpPr/>
            <p:nvPr/>
          </p:nvSpPr>
          <p:spPr>
            <a:xfrm>
              <a:off x="1225362" y="5972073"/>
              <a:ext cx="6743" cy="6769"/>
            </a:xfrm>
            <a:custGeom>
              <a:avLst/>
              <a:gdLst>
                <a:gd name="connsiteX0" fmla="*/ 64135 w 70451"/>
                <a:gd name="connsiteY0" fmla="*/ 15383 h 70723"/>
                <a:gd name="connsiteX1" fmla="*/ 15531 w 70451"/>
                <a:gd name="connsiteY1" fmla="*/ 5963 h 70723"/>
                <a:gd name="connsiteX2" fmla="*/ 5883 w 70451"/>
                <a:gd name="connsiteY2" fmla="*/ 54704 h 70723"/>
                <a:gd name="connsiteX3" fmla="*/ 35328 w 70451"/>
                <a:gd name="connsiteY3" fmla="*/ 35544 h 70723"/>
                <a:gd name="connsiteX4" fmla="*/ 5929 w 70451"/>
                <a:gd name="connsiteY4" fmla="*/ 54840 h 70723"/>
                <a:gd name="connsiteX5" fmla="*/ 35328 w 70451"/>
                <a:gd name="connsiteY5" fmla="*/ 70723 h 70723"/>
                <a:gd name="connsiteX6" fmla="*/ 54578 w 70451"/>
                <a:gd name="connsiteY6" fmla="*/ 64943 h 70723"/>
                <a:gd name="connsiteX7" fmla="*/ 64681 w 70451"/>
                <a:gd name="connsiteY7" fmla="*/ 16248 h 70723"/>
                <a:gd name="connsiteX8" fmla="*/ 64135 w 70451"/>
                <a:gd name="connsiteY8" fmla="*/ 15383 h 70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451" h="70723">
                  <a:moveTo>
                    <a:pt x="64135" y="15383"/>
                  </a:moveTo>
                  <a:cubicBezTo>
                    <a:pt x="53304" y="-636"/>
                    <a:pt x="31596" y="-4777"/>
                    <a:pt x="15531" y="5963"/>
                  </a:cubicBezTo>
                  <a:cubicBezTo>
                    <a:pt x="-534" y="16749"/>
                    <a:pt x="-4811" y="38548"/>
                    <a:pt x="5883" y="54704"/>
                  </a:cubicBezTo>
                  <a:lnTo>
                    <a:pt x="35328" y="35544"/>
                  </a:lnTo>
                  <a:lnTo>
                    <a:pt x="5929" y="54840"/>
                  </a:lnTo>
                  <a:cubicBezTo>
                    <a:pt x="12664" y="65125"/>
                    <a:pt x="23905" y="70723"/>
                    <a:pt x="35328" y="70723"/>
                  </a:cubicBezTo>
                  <a:cubicBezTo>
                    <a:pt x="41972" y="70723"/>
                    <a:pt x="48662" y="68857"/>
                    <a:pt x="54578" y="64943"/>
                  </a:cubicBezTo>
                  <a:cubicBezTo>
                    <a:pt x="70826" y="54294"/>
                    <a:pt x="75331" y="32495"/>
                    <a:pt x="64681" y="16248"/>
                  </a:cubicBezTo>
                  <a:lnTo>
                    <a:pt x="64135" y="15383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7F1CFDAC-C14A-568B-DAA2-6255B49026FF}"/>
                </a:ext>
              </a:extLst>
            </p:cNvPr>
            <p:cNvSpPr/>
            <p:nvPr/>
          </p:nvSpPr>
          <p:spPr>
            <a:xfrm>
              <a:off x="1233569" y="5724090"/>
              <a:ext cx="6757" cy="6771"/>
            </a:xfrm>
            <a:custGeom>
              <a:avLst/>
              <a:gdLst>
                <a:gd name="connsiteX0" fmla="*/ 13477 w 70593"/>
                <a:gd name="connsiteY0" fmla="*/ 63273 h 70736"/>
                <a:gd name="connsiteX1" fmla="*/ 35094 w 70593"/>
                <a:gd name="connsiteY1" fmla="*/ 70736 h 70736"/>
                <a:gd name="connsiteX2" fmla="*/ 62809 w 70593"/>
                <a:gd name="connsiteY2" fmla="*/ 57220 h 70736"/>
                <a:gd name="connsiteX3" fmla="*/ 63719 w 70593"/>
                <a:gd name="connsiteY3" fmla="*/ 56037 h 70736"/>
                <a:gd name="connsiteX4" fmla="*/ 56346 w 70593"/>
                <a:gd name="connsiteY4" fmla="*/ 6886 h 70736"/>
                <a:gd name="connsiteX5" fmla="*/ 7424 w 70593"/>
                <a:gd name="connsiteY5" fmla="*/ 13986 h 70736"/>
                <a:gd name="connsiteX6" fmla="*/ 13522 w 70593"/>
                <a:gd name="connsiteY6" fmla="*/ 63273 h 70736"/>
                <a:gd name="connsiteX7" fmla="*/ 35094 w 70593"/>
                <a:gd name="connsiteY7" fmla="*/ 35557 h 70736"/>
                <a:gd name="connsiteX8" fmla="*/ 27539 w 70593"/>
                <a:gd name="connsiteY8" fmla="*/ 29687 h 70736"/>
                <a:gd name="connsiteX9" fmla="*/ 35094 w 70593"/>
                <a:gd name="connsiteY9" fmla="*/ 35557 h 70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0593" h="70736">
                  <a:moveTo>
                    <a:pt x="13477" y="63273"/>
                  </a:moveTo>
                  <a:cubicBezTo>
                    <a:pt x="19893" y="68279"/>
                    <a:pt x="27539" y="70736"/>
                    <a:pt x="35094" y="70736"/>
                  </a:cubicBezTo>
                  <a:cubicBezTo>
                    <a:pt x="45561" y="70736"/>
                    <a:pt x="55891" y="66094"/>
                    <a:pt x="62809" y="57220"/>
                  </a:cubicBezTo>
                  <a:lnTo>
                    <a:pt x="63719" y="56037"/>
                  </a:lnTo>
                  <a:cubicBezTo>
                    <a:pt x="75233" y="40427"/>
                    <a:pt x="71956" y="18400"/>
                    <a:pt x="56346" y="6886"/>
                  </a:cubicBezTo>
                  <a:cubicBezTo>
                    <a:pt x="40828" y="-4582"/>
                    <a:pt x="18983" y="-1396"/>
                    <a:pt x="7424" y="13986"/>
                  </a:cubicBezTo>
                  <a:cubicBezTo>
                    <a:pt x="-4500" y="29277"/>
                    <a:pt x="-1769" y="51349"/>
                    <a:pt x="13522" y="63273"/>
                  </a:cubicBezTo>
                  <a:close/>
                  <a:moveTo>
                    <a:pt x="35094" y="35557"/>
                  </a:moveTo>
                  <a:lnTo>
                    <a:pt x="27539" y="29687"/>
                  </a:lnTo>
                  <a:lnTo>
                    <a:pt x="35094" y="35557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ECDB26B7-D617-2ADA-2716-DF9705BB5F0C}"/>
                </a:ext>
              </a:extLst>
            </p:cNvPr>
            <p:cNvSpPr/>
            <p:nvPr/>
          </p:nvSpPr>
          <p:spPr>
            <a:xfrm>
              <a:off x="1234454" y="5984697"/>
              <a:ext cx="6760" cy="6769"/>
            </a:xfrm>
            <a:custGeom>
              <a:avLst/>
              <a:gdLst>
                <a:gd name="connsiteX0" fmla="*/ 62846 w 70624"/>
                <a:gd name="connsiteY0" fmla="*/ 13513 h 70718"/>
                <a:gd name="connsiteX1" fmla="*/ 13513 w 70624"/>
                <a:gd name="connsiteY1" fmla="*/ 7460 h 70718"/>
                <a:gd name="connsiteX2" fmla="*/ 7460 w 70624"/>
                <a:gd name="connsiteY2" fmla="*/ 56793 h 70718"/>
                <a:gd name="connsiteX3" fmla="*/ 7779 w 70624"/>
                <a:gd name="connsiteY3" fmla="*/ 57202 h 70718"/>
                <a:gd name="connsiteX4" fmla="*/ 35494 w 70624"/>
                <a:gd name="connsiteY4" fmla="*/ 70719 h 70718"/>
                <a:gd name="connsiteX5" fmla="*/ 57112 w 70624"/>
                <a:gd name="connsiteY5" fmla="*/ 63255 h 70718"/>
                <a:gd name="connsiteX6" fmla="*/ 63164 w 70624"/>
                <a:gd name="connsiteY6" fmla="*/ 13923 h 70718"/>
                <a:gd name="connsiteX7" fmla="*/ 62846 w 70624"/>
                <a:gd name="connsiteY7" fmla="*/ 13513 h 70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624" h="70718">
                  <a:moveTo>
                    <a:pt x="62846" y="13513"/>
                  </a:moveTo>
                  <a:cubicBezTo>
                    <a:pt x="50922" y="-1778"/>
                    <a:pt x="28805" y="-4509"/>
                    <a:pt x="13513" y="7460"/>
                  </a:cubicBezTo>
                  <a:cubicBezTo>
                    <a:pt x="-1778" y="19429"/>
                    <a:pt x="-4509" y="41501"/>
                    <a:pt x="7460" y="56793"/>
                  </a:cubicBezTo>
                  <a:lnTo>
                    <a:pt x="7779" y="57202"/>
                  </a:lnTo>
                  <a:cubicBezTo>
                    <a:pt x="14696" y="66076"/>
                    <a:pt x="25073" y="70719"/>
                    <a:pt x="35494" y="70719"/>
                  </a:cubicBezTo>
                  <a:cubicBezTo>
                    <a:pt x="43049" y="70719"/>
                    <a:pt x="50695" y="68307"/>
                    <a:pt x="57112" y="63255"/>
                  </a:cubicBezTo>
                  <a:cubicBezTo>
                    <a:pt x="72403" y="51286"/>
                    <a:pt x="75133" y="29214"/>
                    <a:pt x="63164" y="13923"/>
                  </a:cubicBezTo>
                  <a:lnTo>
                    <a:pt x="62846" y="13513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3" name="Freeform: Shape 552">
              <a:extLst>
                <a:ext uri="{FF2B5EF4-FFF2-40B4-BE49-F238E27FC236}">
                  <a16:creationId xmlns:a16="http://schemas.microsoft.com/office/drawing/2014/main" id="{9A6C9F43-50B7-E38E-19E8-7BF947FCACEF}"/>
                </a:ext>
              </a:extLst>
            </p:cNvPr>
            <p:cNvSpPr/>
            <p:nvPr/>
          </p:nvSpPr>
          <p:spPr>
            <a:xfrm>
              <a:off x="1243487" y="5712076"/>
              <a:ext cx="6759" cy="6757"/>
            </a:xfrm>
            <a:custGeom>
              <a:avLst/>
              <a:gdLst>
                <a:gd name="connsiteX0" fmla="*/ 35102 w 70612"/>
                <a:gd name="connsiteY0" fmla="*/ 70599 h 70598"/>
                <a:gd name="connsiteX1" fmla="*/ 61588 w 70612"/>
                <a:gd name="connsiteY1" fmla="*/ 58675 h 70598"/>
                <a:gd name="connsiteX2" fmla="*/ 58995 w 70612"/>
                <a:gd name="connsiteY2" fmla="*/ 9024 h 70598"/>
                <a:gd name="connsiteX3" fmla="*/ 9344 w 70612"/>
                <a:gd name="connsiteY3" fmla="*/ 11618 h 70598"/>
                <a:gd name="connsiteX4" fmla="*/ 8797 w 70612"/>
                <a:gd name="connsiteY4" fmla="*/ 12256 h 70598"/>
                <a:gd name="connsiteX5" fmla="*/ 11892 w 70612"/>
                <a:gd name="connsiteY5" fmla="*/ 61770 h 70598"/>
                <a:gd name="connsiteX6" fmla="*/ 35102 w 70612"/>
                <a:gd name="connsiteY6" fmla="*/ 70553 h 70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612" h="70598">
                  <a:moveTo>
                    <a:pt x="35102" y="70599"/>
                  </a:moveTo>
                  <a:cubicBezTo>
                    <a:pt x="44886" y="70599"/>
                    <a:pt x="54625" y="66548"/>
                    <a:pt x="61588" y="58675"/>
                  </a:cubicBezTo>
                  <a:cubicBezTo>
                    <a:pt x="74558" y="44249"/>
                    <a:pt x="73421" y="22040"/>
                    <a:pt x="58995" y="9024"/>
                  </a:cubicBezTo>
                  <a:cubicBezTo>
                    <a:pt x="44568" y="-3946"/>
                    <a:pt x="22359" y="-2808"/>
                    <a:pt x="9344" y="11618"/>
                  </a:cubicBezTo>
                  <a:lnTo>
                    <a:pt x="8797" y="12256"/>
                  </a:lnTo>
                  <a:cubicBezTo>
                    <a:pt x="-4082" y="26773"/>
                    <a:pt x="-2626" y="48891"/>
                    <a:pt x="11892" y="61770"/>
                  </a:cubicBezTo>
                  <a:cubicBezTo>
                    <a:pt x="18537" y="67686"/>
                    <a:pt x="26865" y="70553"/>
                    <a:pt x="35102" y="70553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4" name="Freeform: Shape 553">
              <a:extLst>
                <a:ext uri="{FF2B5EF4-FFF2-40B4-BE49-F238E27FC236}">
                  <a16:creationId xmlns:a16="http://schemas.microsoft.com/office/drawing/2014/main" id="{97768CA5-CEE9-7FE0-5133-D2344B5A0799}"/>
                </a:ext>
              </a:extLst>
            </p:cNvPr>
            <p:cNvSpPr/>
            <p:nvPr/>
          </p:nvSpPr>
          <p:spPr>
            <a:xfrm>
              <a:off x="1203893" y="5930700"/>
              <a:ext cx="6753" cy="6787"/>
            </a:xfrm>
            <a:custGeom>
              <a:avLst/>
              <a:gdLst>
                <a:gd name="connsiteX0" fmla="*/ 68123 w 70548"/>
                <a:gd name="connsiteY0" fmla="*/ 22846 h 70904"/>
                <a:gd name="connsiteX1" fmla="*/ 22886 w 70548"/>
                <a:gd name="connsiteY1" fmla="*/ 2231 h 70904"/>
                <a:gd name="connsiteX2" fmla="*/ 2225 w 70548"/>
                <a:gd name="connsiteY2" fmla="*/ 47467 h 70904"/>
                <a:gd name="connsiteX3" fmla="*/ 2634 w 70548"/>
                <a:gd name="connsiteY3" fmla="*/ 48605 h 70904"/>
                <a:gd name="connsiteX4" fmla="*/ 35401 w 70548"/>
                <a:gd name="connsiteY4" fmla="*/ 70905 h 70904"/>
                <a:gd name="connsiteX5" fmla="*/ 48281 w 70548"/>
                <a:gd name="connsiteY5" fmla="*/ 68447 h 70904"/>
                <a:gd name="connsiteX6" fmla="*/ 68077 w 70548"/>
                <a:gd name="connsiteY6" fmla="*/ 22892 h 7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548" h="70904">
                  <a:moveTo>
                    <a:pt x="68123" y="22846"/>
                  </a:moveTo>
                  <a:cubicBezTo>
                    <a:pt x="61342" y="4643"/>
                    <a:pt x="41090" y="-4550"/>
                    <a:pt x="22886" y="2231"/>
                  </a:cubicBezTo>
                  <a:cubicBezTo>
                    <a:pt x="4682" y="9011"/>
                    <a:pt x="-4556" y="29263"/>
                    <a:pt x="2225" y="47467"/>
                  </a:cubicBezTo>
                  <a:lnTo>
                    <a:pt x="2634" y="48605"/>
                  </a:lnTo>
                  <a:cubicBezTo>
                    <a:pt x="8095" y="62440"/>
                    <a:pt x="21384" y="70905"/>
                    <a:pt x="35401" y="70905"/>
                  </a:cubicBezTo>
                  <a:cubicBezTo>
                    <a:pt x="39679" y="70905"/>
                    <a:pt x="44048" y="70131"/>
                    <a:pt x="48281" y="68447"/>
                  </a:cubicBezTo>
                  <a:cubicBezTo>
                    <a:pt x="66348" y="61302"/>
                    <a:pt x="75222" y="40959"/>
                    <a:pt x="68077" y="22892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D669F6C8-0165-2873-4D92-7AFA77205410}"/>
                </a:ext>
              </a:extLst>
            </p:cNvPr>
            <p:cNvSpPr/>
            <p:nvPr/>
          </p:nvSpPr>
          <p:spPr>
            <a:xfrm>
              <a:off x="1217194" y="5958807"/>
              <a:ext cx="6740" cy="6767"/>
            </a:xfrm>
            <a:custGeom>
              <a:avLst/>
              <a:gdLst>
                <a:gd name="connsiteX0" fmla="*/ 17906 w 70418"/>
                <a:gd name="connsiteY0" fmla="*/ 4571 h 70696"/>
                <a:gd name="connsiteX1" fmla="*/ 4525 w 70418"/>
                <a:gd name="connsiteY1" fmla="*/ 52447 h 70696"/>
                <a:gd name="connsiteX2" fmla="*/ 4890 w 70418"/>
                <a:gd name="connsiteY2" fmla="*/ 53084 h 70696"/>
                <a:gd name="connsiteX3" fmla="*/ 35244 w 70418"/>
                <a:gd name="connsiteY3" fmla="*/ 70696 h 70696"/>
                <a:gd name="connsiteX4" fmla="*/ 52765 w 70418"/>
                <a:gd name="connsiteY4" fmla="*/ 66009 h 70696"/>
                <a:gd name="connsiteX5" fmla="*/ 65782 w 70418"/>
                <a:gd name="connsiteY5" fmla="*/ 17905 h 70696"/>
                <a:gd name="connsiteX6" fmla="*/ 17906 w 70418"/>
                <a:gd name="connsiteY6" fmla="*/ 4526 h 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418" h="70696">
                  <a:moveTo>
                    <a:pt x="17906" y="4571"/>
                  </a:moveTo>
                  <a:cubicBezTo>
                    <a:pt x="976" y="14083"/>
                    <a:pt x="-4986" y="35518"/>
                    <a:pt x="4525" y="52447"/>
                  </a:cubicBezTo>
                  <a:lnTo>
                    <a:pt x="4890" y="53084"/>
                  </a:lnTo>
                  <a:cubicBezTo>
                    <a:pt x="11352" y="64416"/>
                    <a:pt x="23139" y="70696"/>
                    <a:pt x="35244" y="70696"/>
                  </a:cubicBezTo>
                  <a:cubicBezTo>
                    <a:pt x="41161" y="70696"/>
                    <a:pt x="47213" y="69194"/>
                    <a:pt x="52765" y="66009"/>
                  </a:cubicBezTo>
                  <a:cubicBezTo>
                    <a:pt x="69604" y="56361"/>
                    <a:pt x="75384" y="34744"/>
                    <a:pt x="65782" y="17905"/>
                  </a:cubicBezTo>
                  <a:cubicBezTo>
                    <a:pt x="56270" y="976"/>
                    <a:pt x="34789" y="-4986"/>
                    <a:pt x="17906" y="4526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9F0027D1-D2BD-30CC-D6FA-092F1D32F053}"/>
                </a:ext>
              </a:extLst>
            </p:cNvPr>
            <p:cNvSpPr/>
            <p:nvPr/>
          </p:nvSpPr>
          <p:spPr>
            <a:xfrm>
              <a:off x="1244450" y="5996640"/>
              <a:ext cx="6751" cy="6761"/>
            </a:xfrm>
            <a:custGeom>
              <a:avLst/>
              <a:gdLst>
                <a:gd name="connsiteX0" fmla="*/ 11841 w 70536"/>
                <a:gd name="connsiteY0" fmla="*/ 8792 h 70639"/>
                <a:gd name="connsiteX1" fmla="*/ 8837 w 70536"/>
                <a:gd name="connsiteY1" fmla="*/ 58397 h 70639"/>
                <a:gd name="connsiteX2" fmla="*/ 9383 w 70536"/>
                <a:gd name="connsiteY2" fmla="*/ 59034 h 70639"/>
                <a:gd name="connsiteX3" fmla="*/ 35369 w 70536"/>
                <a:gd name="connsiteY3" fmla="*/ 70639 h 70639"/>
                <a:gd name="connsiteX4" fmla="*/ 58943 w 70536"/>
                <a:gd name="connsiteY4" fmla="*/ 61583 h 70639"/>
                <a:gd name="connsiteX5" fmla="*/ 61492 w 70536"/>
                <a:gd name="connsiteY5" fmla="*/ 11841 h 70639"/>
                <a:gd name="connsiteX6" fmla="*/ 11886 w 70536"/>
                <a:gd name="connsiteY6" fmla="*/ 8837 h 70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536" h="70639">
                  <a:moveTo>
                    <a:pt x="11841" y="8792"/>
                  </a:moveTo>
                  <a:cubicBezTo>
                    <a:pt x="-2677" y="21671"/>
                    <a:pt x="-4042" y="43880"/>
                    <a:pt x="8837" y="58397"/>
                  </a:cubicBezTo>
                  <a:lnTo>
                    <a:pt x="9383" y="59034"/>
                  </a:lnTo>
                  <a:cubicBezTo>
                    <a:pt x="16301" y="66725"/>
                    <a:pt x="25812" y="70639"/>
                    <a:pt x="35369" y="70639"/>
                  </a:cubicBezTo>
                  <a:cubicBezTo>
                    <a:pt x="43743" y="70639"/>
                    <a:pt x="52162" y="67636"/>
                    <a:pt x="58943" y="61583"/>
                  </a:cubicBezTo>
                  <a:cubicBezTo>
                    <a:pt x="73370" y="48613"/>
                    <a:pt x="74462" y="26268"/>
                    <a:pt x="61492" y="11841"/>
                  </a:cubicBezTo>
                  <a:cubicBezTo>
                    <a:pt x="48612" y="-2677"/>
                    <a:pt x="26404" y="-4042"/>
                    <a:pt x="11886" y="8837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85F589F3-4074-6613-91E1-A79B52732FEE}"/>
                </a:ext>
              </a:extLst>
            </p:cNvPr>
            <p:cNvSpPr/>
            <p:nvPr/>
          </p:nvSpPr>
          <p:spPr>
            <a:xfrm>
              <a:off x="1194849" y="5900922"/>
              <a:ext cx="6729" cy="6761"/>
            </a:xfrm>
            <a:custGeom>
              <a:avLst/>
              <a:gdLst>
                <a:gd name="connsiteX0" fmla="*/ 69452 w 70300"/>
                <a:gd name="connsiteY0" fmla="*/ 27447 h 70635"/>
                <a:gd name="connsiteX1" fmla="*/ 27447 w 70300"/>
                <a:gd name="connsiteY1" fmla="*/ 870 h 70635"/>
                <a:gd name="connsiteX2" fmla="*/ 870 w 70300"/>
                <a:gd name="connsiteY2" fmla="*/ 42875 h 70635"/>
                <a:gd name="connsiteX3" fmla="*/ 1006 w 70300"/>
                <a:gd name="connsiteY3" fmla="*/ 43512 h 70635"/>
                <a:gd name="connsiteX4" fmla="*/ 35093 w 70300"/>
                <a:gd name="connsiteY4" fmla="*/ 70636 h 70635"/>
                <a:gd name="connsiteX5" fmla="*/ 43011 w 70300"/>
                <a:gd name="connsiteY5" fmla="*/ 69726 h 70635"/>
                <a:gd name="connsiteX6" fmla="*/ 69407 w 70300"/>
                <a:gd name="connsiteY6" fmla="*/ 27447 h 70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300" h="70635">
                  <a:moveTo>
                    <a:pt x="69452" y="27447"/>
                  </a:moveTo>
                  <a:cubicBezTo>
                    <a:pt x="65174" y="8515"/>
                    <a:pt x="46379" y="-3408"/>
                    <a:pt x="27447" y="870"/>
                  </a:cubicBezTo>
                  <a:cubicBezTo>
                    <a:pt x="8515" y="5148"/>
                    <a:pt x="-3408" y="23943"/>
                    <a:pt x="870" y="42875"/>
                  </a:cubicBezTo>
                  <a:lnTo>
                    <a:pt x="1006" y="43512"/>
                  </a:lnTo>
                  <a:cubicBezTo>
                    <a:pt x="4692" y="59759"/>
                    <a:pt x="19119" y="70636"/>
                    <a:pt x="35093" y="70636"/>
                  </a:cubicBezTo>
                  <a:cubicBezTo>
                    <a:pt x="37732" y="70636"/>
                    <a:pt x="40372" y="70363"/>
                    <a:pt x="43011" y="69726"/>
                  </a:cubicBezTo>
                  <a:cubicBezTo>
                    <a:pt x="61943" y="65402"/>
                    <a:pt x="73730" y="46334"/>
                    <a:pt x="69407" y="27447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083787F7-8A3B-F08C-A439-9FDDE2966CD6}"/>
                </a:ext>
              </a:extLst>
            </p:cNvPr>
            <p:cNvSpPr/>
            <p:nvPr/>
          </p:nvSpPr>
          <p:spPr>
            <a:xfrm>
              <a:off x="1210016" y="5944985"/>
              <a:ext cx="6768" cy="6789"/>
            </a:xfrm>
            <a:custGeom>
              <a:avLst/>
              <a:gdLst>
                <a:gd name="connsiteX0" fmla="*/ 66819 w 70705"/>
                <a:gd name="connsiteY0" fmla="*/ 19727 h 70925"/>
                <a:gd name="connsiteX1" fmla="*/ 19670 w 70705"/>
                <a:gd name="connsiteY1" fmla="*/ 3617 h 70925"/>
                <a:gd name="connsiteX2" fmla="*/ 3606 w 70705"/>
                <a:gd name="connsiteY2" fmla="*/ 50537 h 70925"/>
                <a:gd name="connsiteX3" fmla="*/ 35508 w 70705"/>
                <a:gd name="connsiteY3" fmla="*/ 35792 h 70925"/>
                <a:gd name="connsiteX4" fmla="*/ 3651 w 70705"/>
                <a:gd name="connsiteY4" fmla="*/ 50628 h 70925"/>
                <a:gd name="connsiteX5" fmla="*/ 35554 w 70705"/>
                <a:gd name="connsiteY5" fmla="*/ 70925 h 70925"/>
                <a:gd name="connsiteX6" fmla="*/ 50389 w 70705"/>
                <a:gd name="connsiteY6" fmla="*/ 67649 h 70925"/>
                <a:gd name="connsiteX7" fmla="*/ 67410 w 70705"/>
                <a:gd name="connsiteY7" fmla="*/ 20956 h 70925"/>
                <a:gd name="connsiteX8" fmla="*/ 66864 w 70705"/>
                <a:gd name="connsiteY8" fmla="*/ 19773 h 70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705" h="70925">
                  <a:moveTo>
                    <a:pt x="66819" y="19727"/>
                  </a:moveTo>
                  <a:cubicBezTo>
                    <a:pt x="58217" y="2297"/>
                    <a:pt x="37101" y="-4985"/>
                    <a:pt x="19670" y="3617"/>
                  </a:cubicBezTo>
                  <a:cubicBezTo>
                    <a:pt x="2240" y="12218"/>
                    <a:pt x="-4950" y="33107"/>
                    <a:pt x="3606" y="50537"/>
                  </a:cubicBezTo>
                  <a:lnTo>
                    <a:pt x="35508" y="35792"/>
                  </a:lnTo>
                  <a:lnTo>
                    <a:pt x="3651" y="50628"/>
                  </a:lnTo>
                  <a:cubicBezTo>
                    <a:pt x="9613" y="63416"/>
                    <a:pt x="22310" y="70925"/>
                    <a:pt x="35554" y="70925"/>
                  </a:cubicBezTo>
                  <a:cubicBezTo>
                    <a:pt x="40514" y="70925"/>
                    <a:pt x="45565" y="69879"/>
                    <a:pt x="50389" y="67649"/>
                  </a:cubicBezTo>
                  <a:cubicBezTo>
                    <a:pt x="68001" y="59457"/>
                    <a:pt x="75602" y="38522"/>
                    <a:pt x="67410" y="20956"/>
                  </a:cubicBezTo>
                  <a:lnTo>
                    <a:pt x="66864" y="19773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53594D3A-9D1E-9637-8AFB-4F1A8893FD12}"/>
                </a:ext>
              </a:extLst>
            </p:cNvPr>
            <p:cNvSpPr/>
            <p:nvPr/>
          </p:nvSpPr>
          <p:spPr>
            <a:xfrm>
              <a:off x="1334547" y="6056027"/>
              <a:ext cx="6766" cy="6751"/>
            </a:xfrm>
            <a:custGeom>
              <a:avLst/>
              <a:gdLst>
                <a:gd name="connsiteX0" fmla="*/ 46546 w 70691"/>
                <a:gd name="connsiteY0" fmla="*/ 1901 h 70529"/>
                <a:gd name="connsiteX1" fmla="*/ 1901 w 70691"/>
                <a:gd name="connsiteY1" fmla="*/ 23791 h 70529"/>
                <a:gd name="connsiteX2" fmla="*/ 23791 w 70691"/>
                <a:gd name="connsiteY2" fmla="*/ 68436 h 70529"/>
                <a:gd name="connsiteX3" fmla="*/ 24565 w 70691"/>
                <a:gd name="connsiteY3" fmla="*/ 68709 h 70529"/>
                <a:gd name="connsiteX4" fmla="*/ 35624 w 70691"/>
                <a:gd name="connsiteY4" fmla="*/ 70530 h 70529"/>
                <a:gd name="connsiteX5" fmla="*/ 68891 w 70691"/>
                <a:gd name="connsiteY5" fmla="*/ 46455 h 70529"/>
                <a:gd name="connsiteX6" fmla="*/ 46546 w 70691"/>
                <a:gd name="connsiteY6" fmla="*/ 1947 h 70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691" h="70529">
                  <a:moveTo>
                    <a:pt x="46546" y="1901"/>
                  </a:moveTo>
                  <a:cubicBezTo>
                    <a:pt x="28160" y="-4379"/>
                    <a:pt x="8182" y="5406"/>
                    <a:pt x="1901" y="23791"/>
                  </a:cubicBezTo>
                  <a:cubicBezTo>
                    <a:pt x="-4379" y="42177"/>
                    <a:pt x="5405" y="62156"/>
                    <a:pt x="23791" y="68436"/>
                  </a:cubicBezTo>
                  <a:lnTo>
                    <a:pt x="24565" y="68709"/>
                  </a:lnTo>
                  <a:cubicBezTo>
                    <a:pt x="28251" y="69938"/>
                    <a:pt x="31983" y="70530"/>
                    <a:pt x="35624" y="70530"/>
                  </a:cubicBezTo>
                  <a:cubicBezTo>
                    <a:pt x="50323" y="70530"/>
                    <a:pt x="63976" y="61200"/>
                    <a:pt x="68891" y="46455"/>
                  </a:cubicBezTo>
                  <a:cubicBezTo>
                    <a:pt x="75035" y="28024"/>
                    <a:pt x="64932" y="8091"/>
                    <a:pt x="46546" y="1947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372A409B-D950-4F5F-0EE2-73B039AFC51F}"/>
                </a:ext>
              </a:extLst>
            </p:cNvPr>
            <p:cNvSpPr/>
            <p:nvPr/>
          </p:nvSpPr>
          <p:spPr>
            <a:xfrm>
              <a:off x="1364679" y="6063821"/>
              <a:ext cx="6779" cy="6745"/>
            </a:xfrm>
            <a:custGeom>
              <a:avLst/>
              <a:gdLst>
                <a:gd name="connsiteX0" fmla="*/ 41662 w 70822"/>
                <a:gd name="connsiteY0" fmla="*/ 612 h 70469"/>
                <a:gd name="connsiteX1" fmla="*/ 612 w 70822"/>
                <a:gd name="connsiteY1" fmla="*/ 28692 h 70469"/>
                <a:gd name="connsiteX2" fmla="*/ 28692 w 70822"/>
                <a:gd name="connsiteY2" fmla="*/ 69741 h 70469"/>
                <a:gd name="connsiteX3" fmla="*/ 29647 w 70822"/>
                <a:gd name="connsiteY3" fmla="*/ 69924 h 70469"/>
                <a:gd name="connsiteX4" fmla="*/ 35746 w 70822"/>
                <a:gd name="connsiteY4" fmla="*/ 70470 h 70469"/>
                <a:gd name="connsiteX5" fmla="*/ 70288 w 70822"/>
                <a:gd name="connsiteY5" fmla="*/ 41343 h 70469"/>
                <a:gd name="connsiteX6" fmla="*/ 41662 w 70822"/>
                <a:gd name="connsiteY6" fmla="*/ 658 h 70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822" h="70469">
                  <a:moveTo>
                    <a:pt x="41662" y="612"/>
                  </a:moveTo>
                  <a:cubicBezTo>
                    <a:pt x="22594" y="-2983"/>
                    <a:pt x="4208" y="9623"/>
                    <a:pt x="612" y="28692"/>
                  </a:cubicBezTo>
                  <a:cubicBezTo>
                    <a:pt x="-2983" y="47760"/>
                    <a:pt x="9624" y="66146"/>
                    <a:pt x="28692" y="69741"/>
                  </a:cubicBezTo>
                  <a:lnTo>
                    <a:pt x="29647" y="69924"/>
                  </a:lnTo>
                  <a:cubicBezTo>
                    <a:pt x="31696" y="70287"/>
                    <a:pt x="33743" y="70470"/>
                    <a:pt x="35746" y="70470"/>
                  </a:cubicBezTo>
                  <a:cubicBezTo>
                    <a:pt x="52493" y="70470"/>
                    <a:pt x="67284" y="58455"/>
                    <a:pt x="70288" y="41343"/>
                  </a:cubicBezTo>
                  <a:cubicBezTo>
                    <a:pt x="73655" y="22229"/>
                    <a:pt x="60776" y="3980"/>
                    <a:pt x="41662" y="658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E31E4F8E-C15F-D504-0EE2-29FCAC585D6A}"/>
                </a:ext>
              </a:extLst>
            </p:cNvPr>
            <p:cNvSpPr/>
            <p:nvPr/>
          </p:nvSpPr>
          <p:spPr>
            <a:xfrm>
              <a:off x="1561098" y="5710397"/>
              <a:ext cx="6777" cy="6772"/>
            </a:xfrm>
            <a:custGeom>
              <a:avLst/>
              <a:gdLst>
                <a:gd name="connsiteX0" fmla="*/ 59603 w 70804"/>
                <a:gd name="connsiteY0" fmla="*/ 61333 h 70753"/>
                <a:gd name="connsiteX1" fmla="*/ 61378 w 70804"/>
                <a:gd name="connsiteY1" fmla="*/ 11728 h 70753"/>
                <a:gd name="connsiteX2" fmla="*/ 35165 w 70804"/>
                <a:gd name="connsiteY2" fmla="*/ 35165 h 70753"/>
                <a:gd name="connsiteX3" fmla="*/ 61287 w 70804"/>
                <a:gd name="connsiteY3" fmla="*/ 11637 h 70753"/>
                <a:gd name="connsiteX4" fmla="*/ 11637 w 70804"/>
                <a:gd name="connsiteY4" fmla="*/ 9043 h 70753"/>
                <a:gd name="connsiteX5" fmla="*/ 9042 w 70804"/>
                <a:gd name="connsiteY5" fmla="*/ 58693 h 70753"/>
                <a:gd name="connsiteX6" fmla="*/ 9816 w 70804"/>
                <a:gd name="connsiteY6" fmla="*/ 59558 h 70753"/>
                <a:gd name="connsiteX7" fmla="*/ 35620 w 70804"/>
                <a:gd name="connsiteY7" fmla="*/ 70753 h 70753"/>
                <a:gd name="connsiteX8" fmla="*/ 59558 w 70804"/>
                <a:gd name="connsiteY8" fmla="*/ 61333 h 70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804" h="70753">
                  <a:moveTo>
                    <a:pt x="59603" y="61333"/>
                  </a:moveTo>
                  <a:cubicBezTo>
                    <a:pt x="73802" y="48090"/>
                    <a:pt x="74622" y="25927"/>
                    <a:pt x="61378" y="11728"/>
                  </a:cubicBezTo>
                  <a:lnTo>
                    <a:pt x="35165" y="35165"/>
                  </a:lnTo>
                  <a:lnTo>
                    <a:pt x="61287" y="11637"/>
                  </a:lnTo>
                  <a:cubicBezTo>
                    <a:pt x="48317" y="-2790"/>
                    <a:pt x="26063" y="-3973"/>
                    <a:pt x="11637" y="9043"/>
                  </a:cubicBezTo>
                  <a:cubicBezTo>
                    <a:pt x="-2790" y="22013"/>
                    <a:pt x="-3973" y="44267"/>
                    <a:pt x="9042" y="58693"/>
                  </a:cubicBezTo>
                  <a:lnTo>
                    <a:pt x="9816" y="59558"/>
                  </a:lnTo>
                  <a:cubicBezTo>
                    <a:pt x="16779" y="66976"/>
                    <a:pt x="26200" y="70753"/>
                    <a:pt x="35620" y="70753"/>
                  </a:cubicBezTo>
                  <a:cubicBezTo>
                    <a:pt x="44221" y="70753"/>
                    <a:pt x="52777" y="67659"/>
                    <a:pt x="59558" y="61333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8D962928-CC53-5616-7D03-85F5546EB53F}"/>
                </a:ext>
              </a:extLst>
            </p:cNvPr>
            <p:cNvSpPr/>
            <p:nvPr/>
          </p:nvSpPr>
          <p:spPr>
            <a:xfrm>
              <a:off x="1562067" y="5996169"/>
              <a:ext cx="6767" cy="6766"/>
            </a:xfrm>
            <a:custGeom>
              <a:avLst/>
              <a:gdLst>
                <a:gd name="connsiteX0" fmla="*/ 59034 w 70697"/>
                <a:gd name="connsiteY0" fmla="*/ 9024 h 70689"/>
                <a:gd name="connsiteX1" fmla="*/ 9383 w 70697"/>
                <a:gd name="connsiteY1" fmla="*/ 11619 h 70689"/>
                <a:gd name="connsiteX2" fmla="*/ 8837 w 70697"/>
                <a:gd name="connsiteY2" fmla="*/ 12255 h 70689"/>
                <a:gd name="connsiteX3" fmla="*/ 11841 w 70697"/>
                <a:gd name="connsiteY3" fmla="*/ 61861 h 70689"/>
                <a:gd name="connsiteX4" fmla="*/ 35142 w 70697"/>
                <a:gd name="connsiteY4" fmla="*/ 70690 h 70689"/>
                <a:gd name="connsiteX5" fmla="*/ 61491 w 70697"/>
                <a:gd name="connsiteY5" fmla="*/ 58857 h 70689"/>
                <a:gd name="connsiteX6" fmla="*/ 61674 w 70697"/>
                <a:gd name="connsiteY6" fmla="*/ 58675 h 70689"/>
                <a:gd name="connsiteX7" fmla="*/ 59080 w 70697"/>
                <a:gd name="connsiteY7" fmla="*/ 9024 h 70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697" h="70689">
                  <a:moveTo>
                    <a:pt x="59034" y="9024"/>
                  </a:moveTo>
                  <a:cubicBezTo>
                    <a:pt x="44608" y="-3946"/>
                    <a:pt x="22399" y="-2808"/>
                    <a:pt x="9383" y="11619"/>
                  </a:cubicBezTo>
                  <a:lnTo>
                    <a:pt x="8837" y="12255"/>
                  </a:lnTo>
                  <a:cubicBezTo>
                    <a:pt x="-4042" y="26773"/>
                    <a:pt x="-2677" y="48982"/>
                    <a:pt x="11841" y="61861"/>
                  </a:cubicBezTo>
                  <a:cubicBezTo>
                    <a:pt x="18531" y="67777"/>
                    <a:pt x="26859" y="70690"/>
                    <a:pt x="35142" y="70690"/>
                  </a:cubicBezTo>
                  <a:cubicBezTo>
                    <a:pt x="44835" y="70690"/>
                    <a:pt x="54529" y="66685"/>
                    <a:pt x="61491" y="58857"/>
                  </a:cubicBezTo>
                  <a:lnTo>
                    <a:pt x="61674" y="58675"/>
                  </a:lnTo>
                  <a:cubicBezTo>
                    <a:pt x="74644" y="44249"/>
                    <a:pt x="73506" y="22040"/>
                    <a:pt x="59080" y="9024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66933A04-A26B-1136-D209-45CCB44817E6}"/>
                </a:ext>
              </a:extLst>
            </p:cNvPr>
            <p:cNvSpPr/>
            <p:nvPr/>
          </p:nvSpPr>
          <p:spPr>
            <a:xfrm>
              <a:off x="1572034" y="5984192"/>
              <a:ext cx="6757" cy="6769"/>
            </a:xfrm>
            <a:custGeom>
              <a:avLst/>
              <a:gdLst>
                <a:gd name="connsiteX0" fmla="*/ 57117 w 70593"/>
                <a:gd name="connsiteY0" fmla="*/ 7460 h 70718"/>
                <a:gd name="connsiteX1" fmla="*/ 7785 w 70593"/>
                <a:gd name="connsiteY1" fmla="*/ 13513 h 70718"/>
                <a:gd name="connsiteX2" fmla="*/ 6875 w 70593"/>
                <a:gd name="connsiteY2" fmla="*/ 14696 h 70718"/>
                <a:gd name="connsiteX3" fmla="*/ 14247 w 70593"/>
                <a:gd name="connsiteY3" fmla="*/ 63847 h 70718"/>
                <a:gd name="connsiteX4" fmla="*/ 35091 w 70593"/>
                <a:gd name="connsiteY4" fmla="*/ 70719 h 70718"/>
                <a:gd name="connsiteX5" fmla="*/ 63170 w 70593"/>
                <a:gd name="connsiteY5" fmla="*/ 56702 h 70718"/>
                <a:gd name="connsiteX6" fmla="*/ 57072 w 70593"/>
                <a:gd name="connsiteY6" fmla="*/ 7415 h 70718"/>
                <a:gd name="connsiteX7" fmla="*/ 42099 w 70593"/>
                <a:gd name="connsiteY7" fmla="*/ 40364 h 70718"/>
                <a:gd name="connsiteX8" fmla="*/ 35500 w 70593"/>
                <a:gd name="connsiteY8" fmla="*/ 35176 h 70718"/>
                <a:gd name="connsiteX9" fmla="*/ 43009 w 70593"/>
                <a:gd name="connsiteY9" fmla="*/ 41046 h 70718"/>
                <a:gd name="connsiteX10" fmla="*/ 42099 w 70593"/>
                <a:gd name="connsiteY10" fmla="*/ 40364 h 70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593" h="70718">
                  <a:moveTo>
                    <a:pt x="57117" y="7460"/>
                  </a:moveTo>
                  <a:cubicBezTo>
                    <a:pt x="41826" y="-4509"/>
                    <a:pt x="19754" y="-1778"/>
                    <a:pt x="7785" y="13513"/>
                  </a:cubicBezTo>
                  <a:lnTo>
                    <a:pt x="6875" y="14696"/>
                  </a:lnTo>
                  <a:cubicBezTo>
                    <a:pt x="-4639" y="30306"/>
                    <a:pt x="-1362" y="52333"/>
                    <a:pt x="14247" y="63847"/>
                  </a:cubicBezTo>
                  <a:cubicBezTo>
                    <a:pt x="20527" y="68489"/>
                    <a:pt x="27854" y="70719"/>
                    <a:pt x="35091" y="70719"/>
                  </a:cubicBezTo>
                  <a:cubicBezTo>
                    <a:pt x="45739" y="70719"/>
                    <a:pt x="56298" y="65895"/>
                    <a:pt x="63170" y="56702"/>
                  </a:cubicBezTo>
                  <a:cubicBezTo>
                    <a:pt x="75094" y="41411"/>
                    <a:pt x="72363" y="19338"/>
                    <a:pt x="57072" y="7415"/>
                  </a:cubicBezTo>
                  <a:close/>
                  <a:moveTo>
                    <a:pt x="42099" y="40364"/>
                  </a:moveTo>
                  <a:lnTo>
                    <a:pt x="35500" y="35176"/>
                  </a:lnTo>
                  <a:lnTo>
                    <a:pt x="43009" y="41046"/>
                  </a:lnTo>
                  <a:lnTo>
                    <a:pt x="42099" y="4036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FA4B574C-2484-A16B-E1E7-D3EB18D8B339}"/>
                </a:ext>
              </a:extLst>
            </p:cNvPr>
            <p:cNvSpPr/>
            <p:nvPr/>
          </p:nvSpPr>
          <p:spPr>
            <a:xfrm>
              <a:off x="1581106" y="5971534"/>
              <a:ext cx="6763" cy="6764"/>
            </a:xfrm>
            <a:custGeom>
              <a:avLst/>
              <a:gdLst>
                <a:gd name="connsiteX0" fmla="*/ 54540 w 70653"/>
                <a:gd name="connsiteY0" fmla="*/ 5632 h 70664"/>
                <a:gd name="connsiteX1" fmla="*/ 5982 w 70653"/>
                <a:gd name="connsiteY1" fmla="*/ 15917 h 70664"/>
                <a:gd name="connsiteX2" fmla="*/ 15266 w 70653"/>
                <a:gd name="connsiteY2" fmla="*/ 64476 h 70664"/>
                <a:gd name="connsiteX3" fmla="*/ 35153 w 70653"/>
                <a:gd name="connsiteY3" fmla="*/ 70665 h 70664"/>
                <a:gd name="connsiteX4" fmla="*/ 64189 w 70653"/>
                <a:gd name="connsiteY4" fmla="*/ 55419 h 70664"/>
                <a:gd name="connsiteX5" fmla="*/ 65008 w 70653"/>
                <a:gd name="connsiteY5" fmla="*/ 54191 h 70664"/>
                <a:gd name="connsiteX6" fmla="*/ 54586 w 70653"/>
                <a:gd name="connsiteY6" fmla="*/ 5677 h 7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653" h="70664">
                  <a:moveTo>
                    <a:pt x="54540" y="5632"/>
                  </a:moveTo>
                  <a:cubicBezTo>
                    <a:pt x="38294" y="-4881"/>
                    <a:pt x="16586" y="-239"/>
                    <a:pt x="5982" y="15917"/>
                  </a:cubicBezTo>
                  <a:cubicBezTo>
                    <a:pt x="-4758" y="31891"/>
                    <a:pt x="-662" y="53553"/>
                    <a:pt x="15266" y="64476"/>
                  </a:cubicBezTo>
                  <a:cubicBezTo>
                    <a:pt x="21365" y="68663"/>
                    <a:pt x="28282" y="70665"/>
                    <a:pt x="35153" y="70665"/>
                  </a:cubicBezTo>
                  <a:cubicBezTo>
                    <a:pt x="46349" y="70665"/>
                    <a:pt x="57362" y="65340"/>
                    <a:pt x="64189" y="55419"/>
                  </a:cubicBezTo>
                  <a:lnTo>
                    <a:pt x="65008" y="54191"/>
                  </a:lnTo>
                  <a:cubicBezTo>
                    <a:pt x="75566" y="37898"/>
                    <a:pt x="70879" y="16235"/>
                    <a:pt x="54586" y="5677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C099A05F-5777-5A8B-4BE5-2CBFB0A288AD}"/>
                </a:ext>
              </a:extLst>
            </p:cNvPr>
            <p:cNvSpPr/>
            <p:nvPr/>
          </p:nvSpPr>
          <p:spPr>
            <a:xfrm>
              <a:off x="1580289" y="5734883"/>
              <a:ext cx="6764" cy="6780"/>
            </a:xfrm>
            <a:custGeom>
              <a:avLst/>
              <a:gdLst>
                <a:gd name="connsiteX0" fmla="*/ 35550 w 70672"/>
                <a:gd name="connsiteY0" fmla="*/ 70839 h 70839"/>
                <a:gd name="connsiteX1" fmla="*/ 54800 w 70672"/>
                <a:gd name="connsiteY1" fmla="*/ 65059 h 70839"/>
                <a:gd name="connsiteX2" fmla="*/ 64903 w 70672"/>
                <a:gd name="connsiteY2" fmla="*/ 16364 h 70839"/>
                <a:gd name="connsiteX3" fmla="*/ 64220 w 70672"/>
                <a:gd name="connsiteY3" fmla="*/ 15317 h 70839"/>
                <a:gd name="connsiteX4" fmla="*/ 15297 w 70672"/>
                <a:gd name="connsiteY4" fmla="*/ 6170 h 70839"/>
                <a:gd name="connsiteX5" fmla="*/ 6150 w 70672"/>
                <a:gd name="connsiteY5" fmla="*/ 54956 h 70839"/>
                <a:gd name="connsiteX6" fmla="*/ 35550 w 70672"/>
                <a:gd name="connsiteY6" fmla="*/ 70839 h 70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672" h="70839">
                  <a:moveTo>
                    <a:pt x="35550" y="70839"/>
                  </a:moveTo>
                  <a:cubicBezTo>
                    <a:pt x="42194" y="70839"/>
                    <a:pt x="48884" y="68973"/>
                    <a:pt x="54800" y="65059"/>
                  </a:cubicBezTo>
                  <a:cubicBezTo>
                    <a:pt x="71046" y="54410"/>
                    <a:pt x="75552" y="32611"/>
                    <a:pt x="64903" y="16364"/>
                  </a:cubicBezTo>
                  <a:lnTo>
                    <a:pt x="64220" y="15317"/>
                  </a:lnTo>
                  <a:cubicBezTo>
                    <a:pt x="53207" y="-702"/>
                    <a:pt x="31316" y="-4843"/>
                    <a:pt x="15297" y="6170"/>
                  </a:cubicBezTo>
                  <a:cubicBezTo>
                    <a:pt x="-721" y="17138"/>
                    <a:pt x="-4818" y="38982"/>
                    <a:pt x="6150" y="54956"/>
                  </a:cubicBezTo>
                  <a:cubicBezTo>
                    <a:pt x="12886" y="65241"/>
                    <a:pt x="24127" y="70839"/>
                    <a:pt x="35550" y="70839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C53DE306-F1AF-7F01-8C35-2011B7FBD786}"/>
                </a:ext>
              </a:extLst>
            </p:cNvPr>
            <p:cNvSpPr/>
            <p:nvPr/>
          </p:nvSpPr>
          <p:spPr>
            <a:xfrm>
              <a:off x="1539673" y="6017788"/>
              <a:ext cx="6771" cy="6766"/>
            </a:xfrm>
            <a:custGeom>
              <a:avLst/>
              <a:gdLst>
                <a:gd name="connsiteX0" fmla="*/ 12980 w 70740"/>
                <a:gd name="connsiteY0" fmla="*/ 8247 h 70685"/>
                <a:gd name="connsiteX1" fmla="*/ 12570 w 70740"/>
                <a:gd name="connsiteY1" fmla="*/ 8611 h 70685"/>
                <a:gd name="connsiteX2" fmla="*/ 8247 w 70740"/>
                <a:gd name="connsiteY2" fmla="*/ 58125 h 70685"/>
                <a:gd name="connsiteX3" fmla="*/ 35188 w 70740"/>
                <a:gd name="connsiteY3" fmla="*/ 70686 h 70685"/>
                <a:gd name="connsiteX4" fmla="*/ 57761 w 70740"/>
                <a:gd name="connsiteY4" fmla="*/ 62449 h 70685"/>
                <a:gd name="connsiteX5" fmla="*/ 58170 w 70740"/>
                <a:gd name="connsiteY5" fmla="*/ 62085 h 70685"/>
                <a:gd name="connsiteX6" fmla="*/ 62494 w 70740"/>
                <a:gd name="connsiteY6" fmla="*/ 12570 h 70685"/>
                <a:gd name="connsiteX7" fmla="*/ 12980 w 70740"/>
                <a:gd name="connsiteY7" fmla="*/ 8247 h 70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740" h="70685">
                  <a:moveTo>
                    <a:pt x="12980" y="8247"/>
                  </a:moveTo>
                  <a:lnTo>
                    <a:pt x="12570" y="8611"/>
                  </a:lnTo>
                  <a:cubicBezTo>
                    <a:pt x="-2311" y="21080"/>
                    <a:pt x="-4268" y="43244"/>
                    <a:pt x="8247" y="58125"/>
                  </a:cubicBezTo>
                  <a:cubicBezTo>
                    <a:pt x="15210" y="66408"/>
                    <a:pt x="25176" y="70686"/>
                    <a:pt x="35188" y="70686"/>
                  </a:cubicBezTo>
                  <a:cubicBezTo>
                    <a:pt x="43153" y="70686"/>
                    <a:pt x="51162" y="68001"/>
                    <a:pt x="57761" y="62449"/>
                  </a:cubicBezTo>
                  <a:lnTo>
                    <a:pt x="58170" y="62085"/>
                  </a:lnTo>
                  <a:cubicBezTo>
                    <a:pt x="73052" y="49615"/>
                    <a:pt x="75009" y="27452"/>
                    <a:pt x="62494" y="12570"/>
                  </a:cubicBezTo>
                  <a:cubicBezTo>
                    <a:pt x="50025" y="-2311"/>
                    <a:pt x="27862" y="-4268"/>
                    <a:pt x="12980" y="8247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7" name="Freeform: Shape 566">
              <a:extLst>
                <a:ext uri="{FF2B5EF4-FFF2-40B4-BE49-F238E27FC236}">
                  <a16:creationId xmlns:a16="http://schemas.microsoft.com/office/drawing/2014/main" id="{B994E211-E7F8-1228-C092-6E086A35B8DE}"/>
                </a:ext>
              </a:extLst>
            </p:cNvPr>
            <p:cNvSpPr/>
            <p:nvPr/>
          </p:nvSpPr>
          <p:spPr>
            <a:xfrm>
              <a:off x="1538557" y="5688930"/>
              <a:ext cx="6793" cy="6768"/>
            </a:xfrm>
            <a:custGeom>
              <a:avLst/>
              <a:gdLst>
                <a:gd name="connsiteX0" fmla="*/ 13674 w 70970"/>
                <a:gd name="connsiteY0" fmla="*/ 62976 h 70712"/>
                <a:gd name="connsiteX1" fmla="*/ 35746 w 70970"/>
                <a:gd name="connsiteY1" fmla="*/ 70713 h 70712"/>
                <a:gd name="connsiteX2" fmla="*/ 63234 w 70970"/>
                <a:gd name="connsiteY2" fmla="*/ 57560 h 70712"/>
                <a:gd name="connsiteX3" fmla="*/ 57819 w 70970"/>
                <a:gd name="connsiteY3" fmla="*/ 8274 h 70712"/>
                <a:gd name="connsiteX4" fmla="*/ 35154 w 70970"/>
                <a:gd name="connsiteY4" fmla="*/ 35170 h 70712"/>
                <a:gd name="connsiteX5" fmla="*/ 57728 w 70970"/>
                <a:gd name="connsiteY5" fmla="*/ 8228 h 70712"/>
                <a:gd name="connsiteX6" fmla="*/ 8213 w 70970"/>
                <a:gd name="connsiteY6" fmla="*/ 12551 h 70712"/>
                <a:gd name="connsiteX7" fmla="*/ 12536 w 70970"/>
                <a:gd name="connsiteY7" fmla="*/ 62066 h 70712"/>
                <a:gd name="connsiteX8" fmla="*/ 13629 w 70970"/>
                <a:gd name="connsiteY8" fmla="*/ 62976 h 70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970" h="70712">
                  <a:moveTo>
                    <a:pt x="13674" y="62976"/>
                  </a:moveTo>
                  <a:cubicBezTo>
                    <a:pt x="20182" y="68164"/>
                    <a:pt x="28010" y="70713"/>
                    <a:pt x="35746" y="70713"/>
                  </a:cubicBezTo>
                  <a:cubicBezTo>
                    <a:pt x="46077" y="70713"/>
                    <a:pt x="56316" y="66207"/>
                    <a:pt x="63234" y="57560"/>
                  </a:cubicBezTo>
                  <a:cubicBezTo>
                    <a:pt x="75340" y="42360"/>
                    <a:pt x="73019" y="20379"/>
                    <a:pt x="57819" y="8274"/>
                  </a:cubicBezTo>
                  <a:lnTo>
                    <a:pt x="35154" y="35170"/>
                  </a:lnTo>
                  <a:lnTo>
                    <a:pt x="57728" y="8228"/>
                  </a:lnTo>
                  <a:cubicBezTo>
                    <a:pt x="42846" y="-4242"/>
                    <a:pt x="20683" y="-2330"/>
                    <a:pt x="8213" y="12551"/>
                  </a:cubicBezTo>
                  <a:cubicBezTo>
                    <a:pt x="-4256" y="27433"/>
                    <a:pt x="-2300" y="49596"/>
                    <a:pt x="12536" y="62066"/>
                  </a:cubicBezTo>
                  <a:lnTo>
                    <a:pt x="13629" y="62976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48F4DAE9-FCE1-5B50-8C99-C727C7E6976C}"/>
                </a:ext>
              </a:extLst>
            </p:cNvPr>
            <p:cNvSpPr/>
            <p:nvPr/>
          </p:nvSpPr>
          <p:spPr>
            <a:xfrm>
              <a:off x="1550225" y="5699254"/>
              <a:ext cx="6770" cy="6768"/>
            </a:xfrm>
            <a:custGeom>
              <a:avLst/>
              <a:gdLst>
                <a:gd name="connsiteX0" fmla="*/ 35576 w 70733"/>
                <a:gd name="connsiteY0" fmla="*/ 70710 h 70709"/>
                <a:gd name="connsiteX1" fmla="*/ 61244 w 70733"/>
                <a:gd name="connsiteY1" fmla="*/ 59560 h 70709"/>
                <a:gd name="connsiteX2" fmla="*/ 59605 w 70733"/>
                <a:gd name="connsiteY2" fmla="*/ 9955 h 70709"/>
                <a:gd name="connsiteX3" fmla="*/ 35121 w 70733"/>
                <a:gd name="connsiteY3" fmla="*/ 35167 h 70709"/>
                <a:gd name="connsiteX4" fmla="*/ 59560 w 70733"/>
                <a:gd name="connsiteY4" fmla="*/ 9864 h 70709"/>
                <a:gd name="connsiteX5" fmla="*/ 9864 w 70733"/>
                <a:gd name="connsiteY5" fmla="*/ 10728 h 70709"/>
                <a:gd name="connsiteX6" fmla="*/ 10728 w 70733"/>
                <a:gd name="connsiteY6" fmla="*/ 60425 h 70709"/>
                <a:gd name="connsiteX7" fmla="*/ 11548 w 70733"/>
                <a:gd name="connsiteY7" fmla="*/ 61198 h 70709"/>
                <a:gd name="connsiteX8" fmla="*/ 35622 w 70733"/>
                <a:gd name="connsiteY8" fmla="*/ 70664 h 70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733" h="70709">
                  <a:moveTo>
                    <a:pt x="35576" y="70710"/>
                  </a:moveTo>
                  <a:cubicBezTo>
                    <a:pt x="44997" y="70710"/>
                    <a:pt x="54326" y="66978"/>
                    <a:pt x="61244" y="59560"/>
                  </a:cubicBezTo>
                  <a:cubicBezTo>
                    <a:pt x="74487" y="45361"/>
                    <a:pt x="73804" y="23198"/>
                    <a:pt x="59605" y="9955"/>
                  </a:cubicBezTo>
                  <a:lnTo>
                    <a:pt x="35121" y="35167"/>
                  </a:lnTo>
                  <a:lnTo>
                    <a:pt x="59560" y="9864"/>
                  </a:lnTo>
                  <a:cubicBezTo>
                    <a:pt x="45589" y="-3607"/>
                    <a:pt x="23334" y="-3243"/>
                    <a:pt x="9864" y="10728"/>
                  </a:cubicBezTo>
                  <a:cubicBezTo>
                    <a:pt x="-3607" y="24700"/>
                    <a:pt x="-3243" y="46954"/>
                    <a:pt x="10728" y="60425"/>
                  </a:cubicBezTo>
                  <a:lnTo>
                    <a:pt x="11548" y="61198"/>
                  </a:lnTo>
                  <a:cubicBezTo>
                    <a:pt x="18329" y="67524"/>
                    <a:pt x="26975" y="70664"/>
                    <a:pt x="35622" y="70664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9" name="Freeform: Shape 568">
              <a:extLst>
                <a:ext uri="{FF2B5EF4-FFF2-40B4-BE49-F238E27FC236}">
                  <a16:creationId xmlns:a16="http://schemas.microsoft.com/office/drawing/2014/main" id="{6C7BA7B1-130B-F120-2264-0C91D1010818}"/>
                </a:ext>
              </a:extLst>
            </p:cNvPr>
            <p:cNvSpPr/>
            <p:nvPr/>
          </p:nvSpPr>
          <p:spPr>
            <a:xfrm>
              <a:off x="1551267" y="6007378"/>
              <a:ext cx="6766" cy="6765"/>
            </a:xfrm>
            <a:custGeom>
              <a:avLst/>
              <a:gdLst>
                <a:gd name="connsiteX0" fmla="*/ 11088 w 70693"/>
                <a:gd name="connsiteY0" fmla="*/ 9927 h 70681"/>
                <a:gd name="connsiteX1" fmla="*/ 10497 w 70693"/>
                <a:gd name="connsiteY1" fmla="*/ 10518 h 70681"/>
                <a:gd name="connsiteX2" fmla="*/ 10087 w 70693"/>
                <a:gd name="connsiteY2" fmla="*/ 60169 h 70681"/>
                <a:gd name="connsiteX3" fmla="*/ 35163 w 70693"/>
                <a:gd name="connsiteY3" fmla="*/ 70682 h 70681"/>
                <a:gd name="connsiteX4" fmla="*/ 59784 w 70693"/>
                <a:gd name="connsiteY4" fmla="*/ 60624 h 70681"/>
                <a:gd name="connsiteX5" fmla="*/ 59965 w 70693"/>
                <a:gd name="connsiteY5" fmla="*/ 60442 h 70681"/>
                <a:gd name="connsiteX6" fmla="*/ 60830 w 70693"/>
                <a:gd name="connsiteY6" fmla="*/ 10746 h 70681"/>
                <a:gd name="connsiteX7" fmla="*/ 11134 w 70693"/>
                <a:gd name="connsiteY7" fmla="*/ 9881 h 70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693" h="70681">
                  <a:moveTo>
                    <a:pt x="11088" y="9927"/>
                  </a:moveTo>
                  <a:lnTo>
                    <a:pt x="10497" y="10518"/>
                  </a:lnTo>
                  <a:cubicBezTo>
                    <a:pt x="-3338" y="24126"/>
                    <a:pt x="-3520" y="46334"/>
                    <a:pt x="10087" y="60169"/>
                  </a:cubicBezTo>
                  <a:cubicBezTo>
                    <a:pt x="16959" y="67177"/>
                    <a:pt x="26061" y="70682"/>
                    <a:pt x="35163" y="70682"/>
                  </a:cubicBezTo>
                  <a:cubicBezTo>
                    <a:pt x="44265" y="70682"/>
                    <a:pt x="52957" y="67360"/>
                    <a:pt x="59784" y="60624"/>
                  </a:cubicBezTo>
                  <a:lnTo>
                    <a:pt x="59965" y="60442"/>
                  </a:lnTo>
                  <a:cubicBezTo>
                    <a:pt x="73937" y="46972"/>
                    <a:pt x="74301" y="24717"/>
                    <a:pt x="60830" y="10746"/>
                  </a:cubicBezTo>
                  <a:cubicBezTo>
                    <a:pt x="47360" y="-3226"/>
                    <a:pt x="25106" y="-3635"/>
                    <a:pt x="11134" y="9881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08D07F04-17B1-387A-56CC-3DCB4FE74052}"/>
                </a:ext>
              </a:extLst>
            </p:cNvPr>
            <p:cNvSpPr/>
            <p:nvPr/>
          </p:nvSpPr>
          <p:spPr>
            <a:xfrm>
              <a:off x="1527362" y="6027321"/>
              <a:ext cx="6769" cy="6755"/>
            </a:xfrm>
            <a:custGeom>
              <a:avLst/>
              <a:gdLst>
                <a:gd name="connsiteX0" fmla="*/ 15178 w 70720"/>
                <a:gd name="connsiteY0" fmla="*/ 6540 h 70572"/>
                <a:gd name="connsiteX1" fmla="*/ 14450 w 70720"/>
                <a:gd name="connsiteY1" fmla="*/ 7041 h 70572"/>
                <a:gd name="connsiteX2" fmla="*/ 6714 w 70720"/>
                <a:gd name="connsiteY2" fmla="*/ 56055 h 70572"/>
                <a:gd name="connsiteX3" fmla="*/ 35203 w 70720"/>
                <a:gd name="connsiteY3" fmla="*/ 70572 h 70572"/>
                <a:gd name="connsiteX4" fmla="*/ 55773 w 70720"/>
                <a:gd name="connsiteY4" fmla="*/ 63928 h 70572"/>
                <a:gd name="connsiteX5" fmla="*/ 35567 w 70720"/>
                <a:gd name="connsiteY5" fmla="*/ 35166 h 70572"/>
                <a:gd name="connsiteX6" fmla="*/ 55955 w 70720"/>
                <a:gd name="connsiteY6" fmla="*/ 63791 h 70572"/>
                <a:gd name="connsiteX7" fmla="*/ 64192 w 70720"/>
                <a:gd name="connsiteY7" fmla="*/ 14778 h 70572"/>
                <a:gd name="connsiteX8" fmla="*/ 15178 w 70720"/>
                <a:gd name="connsiteY8" fmla="*/ 6540 h 70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720" h="70572">
                  <a:moveTo>
                    <a:pt x="15178" y="6540"/>
                  </a:moveTo>
                  <a:lnTo>
                    <a:pt x="14450" y="7041"/>
                  </a:lnTo>
                  <a:cubicBezTo>
                    <a:pt x="-1250" y="18464"/>
                    <a:pt x="-4664" y="40354"/>
                    <a:pt x="6714" y="56055"/>
                  </a:cubicBezTo>
                  <a:cubicBezTo>
                    <a:pt x="13586" y="65521"/>
                    <a:pt x="24326" y="70572"/>
                    <a:pt x="35203" y="70572"/>
                  </a:cubicBezTo>
                  <a:cubicBezTo>
                    <a:pt x="42347" y="70572"/>
                    <a:pt x="49584" y="68388"/>
                    <a:pt x="55773" y="63928"/>
                  </a:cubicBezTo>
                  <a:lnTo>
                    <a:pt x="35567" y="35166"/>
                  </a:lnTo>
                  <a:lnTo>
                    <a:pt x="55955" y="63791"/>
                  </a:lnTo>
                  <a:cubicBezTo>
                    <a:pt x="71747" y="52550"/>
                    <a:pt x="75479" y="30570"/>
                    <a:pt x="64192" y="14778"/>
                  </a:cubicBezTo>
                  <a:cubicBezTo>
                    <a:pt x="52952" y="-1060"/>
                    <a:pt x="30970" y="-4746"/>
                    <a:pt x="15178" y="6540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1" name="Freeform: Shape 570">
              <a:extLst>
                <a:ext uri="{FF2B5EF4-FFF2-40B4-BE49-F238E27FC236}">
                  <a16:creationId xmlns:a16="http://schemas.microsoft.com/office/drawing/2014/main" id="{EAFCF83B-4241-0795-4DFE-5B14D5769E07}"/>
                </a:ext>
              </a:extLst>
            </p:cNvPr>
            <p:cNvSpPr/>
            <p:nvPr/>
          </p:nvSpPr>
          <p:spPr>
            <a:xfrm>
              <a:off x="1611425" y="5900194"/>
              <a:ext cx="6741" cy="6783"/>
            </a:xfrm>
            <a:custGeom>
              <a:avLst/>
              <a:gdLst>
                <a:gd name="connsiteX0" fmla="*/ 43108 w 70423"/>
                <a:gd name="connsiteY0" fmla="*/ 874 h 70867"/>
                <a:gd name="connsiteX1" fmla="*/ 1012 w 70423"/>
                <a:gd name="connsiteY1" fmla="*/ 27361 h 70867"/>
                <a:gd name="connsiteX2" fmla="*/ 693 w 70423"/>
                <a:gd name="connsiteY2" fmla="*/ 28817 h 70867"/>
                <a:gd name="connsiteX3" fmla="*/ 28272 w 70423"/>
                <a:gd name="connsiteY3" fmla="*/ 70185 h 70867"/>
                <a:gd name="connsiteX4" fmla="*/ 35189 w 70423"/>
                <a:gd name="connsiteY4" fmla="*/ 70868 h 70867"/>
                <a:gd name="connsiteX5" fmla="*/ 69549 w 70423"/>
                <a:gd name="connsiteY5" fmla="*/ 42971 h 70867"/>
                <a:gd name="connsiteX6" fmla="*/ 43062 w 70423"/>
                <a:gd name="connsiteY6" fmla="*/ 920 h 70867"/>
                <a:gd name="connsiteX7" fmla="*/ 43790 w 70423"/>
                <a:gd name="connsiteY7" fmla="*/ 37100 h 70867"/>
                <a:gd name="connsiteX8" fmla="*/ 35326 w 70423"/>
                <a:gd name="connsiteY8" fmla="*/ 35143 h 70867"/>
                <a:gd name="connsiteX9" fmla="*/ 44974 w 70423"/>
                <a:gd name="connsiteY9" fmla="*/ 37327 h 70867"/>
                <a:gd name="connsiteX10" fmla="*/ 43790 w 70423"/>
                <a:gd name="connsiteY10" fmla="*/ 37054 h 70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423" h="70867">
                  <a:moveTo>
                    <a:pt x="43108" y="874"/>
                  </a:moveTo>
                  <a:cubicBezTo>
                    <a:pt x="24176" y="-3404"/>
                    <a:pt x="5335" y="8429"/>
                    <a:pt x="1012" y="27361"/>
                  </a:cubicBezTo>
                  <a:lnTo>
                    <a:pt x="693" y="28817"/>
                  </a:lnTo>
                  <a:cubicBezTo>
                    <a:pt x="-3129" y="47840"/>
                    <a:pt x="9249" y="66362"/>
                    <a:pt x="28272" y="70185"/>
                  </a:cubicBezTo>
                  <a:cubicBezTo>
                    <a:pt x="30593" y="70640"/>
                    <a:pt x="32914" y="70868"/>
                    <a:pt x="35189" y="70868"/>
                  </a:cubicBezTo>
                  <a:cubicBezTo>
                    <a:pt x="51482" y="70868"/>
                    <a:pt x="66045" y="59490"/>
                    <a:pt x="69549" y="42971"/>
                  </a:cubicBezTo>
                  <a:cubicBezTo>
                    <a:pt x="73827" y="24039"/>
                    <a:pt x="61994" y="5243"/>
                    <a:pt x="43062" y="920"/>
                  </a:cubicBezTo>
                  <a:close/>
                  <a:moveTo>
                    <a:pt x="43790" y="37100"/>
                  </a:moveTo>
                  <a:lnTo>
                    <a:pt x="35326" y="35143"/>
                  </a:lnTo>
                  <a:lnTo>
                    <a:pt x="44974" y="37327"/>
                  </a:lnTo>
                  <a:lnTo>
                    <a:pt x="43790" y="3705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2" name="Freeform: Shape 571">
              <a:extLst>
                <a:ext uri="{FF2B5EF4-FFF2-40B4-BE49-F238E27FC236}">
                  <a16:creationId xmlns:a16="http://schemas.microsoft.com/office/drawing/2014/main" id="{1B628886-223F-307F-F72C-6784BCCAC328}"/>
                </a:ext>
              </a:extLst>
            </p:cNvPr>
            <p:cNvSpPr/>
            <p:nvPr/>
          </p:nvSpPr>
          <p:spPr>
            <a:xfrm>
              <a:off x="1614243" y="5884877"/>
              <a:ext cx="6738" cy="6776"/>
            </a:xfrm>
            <a:custGeom>
              <a:avLst/>
              <a:gdLst>
                <a:gd name="connsiteX0" fmla="*/ 40428 w 70399"/>
                <a:gd name="connsiteY0" fmla="*/ 391 h 70794"/>
                <a:gd name="connsiteX1" fmla="*/ 470 w 70399"/>
                <a:gd name="connsiteY1" fmla="*/ 29927 h 70794"/>
                <a:gd name="connsiteX2" fmla="*/ 379 w 70399"/>
                <a:gd name="connsiteY2" fmla="*/ 30519 h 70794"/>
                <a:gd name="connsiteX3" fmla="*/ 30006 w 70399"/>
                <a:gd name="connsiteY3" fmla="*/ 70430 h 70794"/>
                <a:gd name="connsiteX4" fmla="*/ 35193 w 70399"/>
                <a:gd name="connsiteY4" fmla="*/ 70794 h 70794"/>
                <a:gd name="connsiteX5" fmla="*/ 69918 w 70399"/>
                <a:gd name="connsiteY5" fmla="*/ 40804 h 70794"/>
                <a:gd name="connsiteX6" fmla="*/ 70009 w 70399"/>
                <a:gd name="connsiteY6" fmla="*/ 40348 h 70794"/>
                <a:gd name="connsiteX7" fmla="*/ 40473 w 70399"/>
                <a:gd name="connsiteY7" fmla="*/ 391 h 70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399" h="70794">
                  <a:moveTo>
                    <a:pt x="40428" y="391"/>
                  </a:moveTo>
                  <a:cubicBezTo>
                    <a:pt x="21222" y="-2476"/>
                    <a:pt x="3337" y="10722"/>
                    <a:pt x="470" y="29927"/>
                  </a:cubicBezTo>
                  <a:lnTo>
                    <a:pt x="379" y="30519"/>
                  </a:lnTo>
                  <a:cubicBezTo>
                    <a:pt x="-2443" y="49723"/>
                    <a:pt x="10801" y="67609"/>
                    <a:pt x="30006" y="70430"/>
                  </a:cubicBezTo>
                  <a:cubicBezTo>
                    <a:pt x="31735" y="70703"/>
                    <a:pt x="33464" y="70794"/>
                    <a:pt x="35193" y="70794"/>
                  </a:cubicBezTo>
                  <a:cubicBezTo>
                    <a:pt x="52305" y="70794"/>
                    <a:pt x="67323" y="58234"/>
                    <a:pt x="69918" y="40804"/>
                  </a:cubicBezTo>
                  <a:lnTo>
                    <a:pt x="70009" y="40348"/>
                  </a:lnTo>
                  <a:cubicBezTo>
                    <a:pt x="72875" y="21144"/>
                    <a:pt x="59678" y="3258"/>
                    <a:pt x="40473" y="391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F96C7604-D595-D840-2D88-4C2AB250642B}"/>
                </a:ext>
              </a:extLst>
            </p:cNvPr>
            <p:cNvSpPr/>
            <p:nvPr/>
          </p:nvSpPr>
          <p:spPr>
            <a:xfrm>
              <a:off x="1607504" y="5915261"/>
              <a:ext cx="6746" cy="6801"/>
            </a:xfrm>
            <a:custGeom>
              <a:avLst/>
              <a:gdLst>
                <a:gd name="connsiteX0" fmla="*/ 45617 w 70475"/>
                <a:gd name="connsiteY0" fmla="*/ 1558 h 71050"/>
                <a:gd name="connsiteX1" fmla="*/ 1700 w 70475"/>
                <a:gd name="connsiteY1" fmla="*/ 24813 h 71050"/>
                <a:gd name="connsiteX2" fmla="*/ 1336 w 70475"/>
                <a:gd name="connsiteY2" fmla="*/ 26133 h 71050"/>
                <a:gd name="connsiteX3" fmla="*/ 25592 w 70475"/>
                <a:gd name="connsiteY3" fmla="*/ 69685 h 71050"/>
                <a:gd name="connsiteX4" fmla="*/ 35241 w 70475"/>
                <a:gd name="connsiteY4" fmla="*/ 71050 h 71050"/>
                <a:gd name="connsiteX5" fmla="*/ 68917 w 70475"/>
                <a:gd name="connsiteY5" fmla="*/ 45611 h 71050"/>
                <a:gd name="connsiteX6" fmla="*/ 35332 w 70475"/>
                <a:gd name="connsiteY6" fmla="*/ 35189 h 71050"/>
                <a:gd name="connsiteX7" fmla="*/ 68917 w 70475"/>
                <a:gd name="connsiteY7" fmla="*/ 45520 h 71050"/>
                <a:gd name="connsiteX8" fmla="*/ 45663 w 70475"/>
                <a:gd name="connsiteY8" fmla="*/ 1603 h 7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475" h="71050">
                  <a:moveTo>
                    <a:pt x="45617" y="1558"/>
                  </a:moveTo>
                  <a:cubicBezTo>
                    <a:pt x="27049" y="-4131"/>
                    <a:pt x="7388" y="6245"/>
                    <a:pt x="1700" y="24813"/>
                  </a:cubicBezTo>
                  <a:lnTo>
                    <a:pt x="1336" y="26133"/>
                  </a:lnTo>
                  <a:cubicBezTo>
                    <a:pt x="-3943" y="44837"/>
                    <a:pt x="6888" y="64406"/>
                    <a:pt x="25592" y="69685"/>
                  </a:cubicBezTo>
                  <a:cubicBezTo>
                    <a:pt x="28824" y="70595"/>
                    <a:pt x="32055" y="71050"/>
                    <a:pt x="35241" y="71050"/>
                  </a:cubicBezTo>
                  <a:cubicBezTo>
                    <a:pt x="50532" y="71050"/>
                    <a:pt x="64549" y="61039"/>
                    <a:pt x="68917" y="45611"/>
                  </a:cubicBezTo>
                  <a:lnTo>
                    <a:pt x="35332" y="35189"/>
                  </a:lnTo>
                  <a:lnTo>
                    <a:pt x="68917" y="45520"/>
                  </a:lnTo>
                  <a:cubicBezTo>
                    <a:pt x="74606" y="26952"/>
                    <a:pt x="64231" y="7292"/>
                    <a:pt x="45663" y="1603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4" name="Freeform: Shape 573">
              <a:extLst>
                <a:ext uri="{FF2B5EF4-FFF2-40B4-BE49-F238E27FC236}">
                  <a16:creationId xmlns:a16="http://schemas.microsoft.com/office/drawing/2014/main" id="{21C4AC2C-6D70-EFB2-5D5F-7F67E10F94B1}"/>
                </a:ext>
              </a:extLst>
            </p:cNvPr>
            <p:cNvSpPr/>
            <p:nvPr/>
          </p:nvSpPr>
          <p:spPr>
            <a:xfrm>
              <a:off x="1615929" y="5869398"/>
              <a:ext cx="6727" cy="6778"/>
            </a:xfrm>
            <a:custGeom>
              <a:avLst/>
              <a:gdLst>
                <a:gd name="connsiteX0" fmla="*/ 37736 w 70285"/>
                <a:gd name="connsiteY0" fmla="*/ 95 h 70816"/>
                <a:gd name="connsiteX1" fmla="*/ 101 w 70285"/>
                <a:gd name="connsiteY1" fmla="*/ 32543 h 70816"/>
                <a:gd name="connsiteX2" fmla="*/ 101 w 70285"/>
                <a:gd name="connsiteY2" fmla="*/ 33089 h 70816"/>
                <a:gd name="connsiteX3" fmla="*/ 32503 w 70285"/>
                <a:gd name="connsiteY3" fmla="*/ 70726 h 70816"/>
                <a:gd name="connsiteX4" fmla="*/ 35143 w 70285"/>
                <a:gd name="connsiteY4" fmla="*/ 70817 h 70816"/>
                <a:gd name="connsiteX5" fmla="*/ 70185 w 70285"/>
                <a:gd name="connsiteY5" fmla="*/ 38277 h 70816"/>
                <a:gd name="connsiteX6" fmla="*/ 70185 w 70285"/>
                <a:gd name="connsiteY6" fmla="*/ 37731 h 70816"/>
                <a:gd name="connsiteX7" fmla="*/ 37782 w 70285"/>
                <a:gd name="connsiteY7" fmla="*/ 95 h 70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285" h="70816">
                  <a:moveTo>
                    <a:pt x="37736" y="95"/>
                  </a:moveTo>
                  <a:cubicBezTo>
                    <a:pt x="18305" y="-1316"/>
                    <a:pt x="1511" y="13201"/>
                    <a:pt x="101" y="32543"/>
                  </a:cubicBezTo>
                  <a:lnTo>
                    <a:pt x="101" y="33089"/>
                  </a:lnTo>
                  <a:cubicBezTo>
                    <a:pt x="-1356" y="52431"/>
                    <a:pt x="13161" y="69315"/>
                    <a:pt x="32503" y="70726"/>
                  </a:cubicBezTo>
                  <a:cubicBezTo>
                    <a:pt x="33367" y="70771"/>
                    <a:pt x="34277" y="70817"/>
                    <a:pt x="35143" y="70817"/>
                  </a:cubicBezTo>
                  <a:cubicBezTo>
                    <a:pt x="53392" y="70817"/>
                    <a:pt x="68774" y="56754"/>
                    <a:pt x="70185" y="38277"/>
                  </a:cubicBezTo>
                  <a:lnTo>
                    <a:pt x="70185" y="37731"/>
                  </a:lnTo>
                  <a:cubicBezTo>
                    <a:pt x="71642" y="18390"/>
                    <a:pt x="57123" y="1506"/>
                    <a:pt x="37782" y="95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5" name="Freeform: Shape 574">
              <a:extLst>
                <a:ext uri="{FF2B5EF4-FFF2-40B4-BE49-F238E27FC236}">
                  <a16:creationId xmlns:a16="http://schemas.microsoft.com/office/drawing/2014/main" id="{D9AB85A8-EEFE-2E32-2F85-E2E33038B269}"/>
                </a:ext>
              </a:extLst>
            </p:cNvPr>
            <p:cNvSpPr/>
            <p:nvPr/>
          </p:nvSpPr>
          <p:spPr>
            <a:xfrm>
              <a:off x="1616492" y="5852231"/>
              <a:ext cx="6730" cy="8385"/>
            </a:xfrm>
            <a:custGeom>
              <a:avLst/>
              <a:gdLst>
                <a:gd name="connsiteX0" fmla="*/ 70222 w 70313"/>
                <a:gd name="connsiteY0" fmla="*/ 35224 h 87605"/>
                <a:gd name="connsiteX1" fmla="*/ 66080 w 70313"/>
                <a:gd name="connsiteY1" fmla="*/ 35224 h 87605"/>
                <a:gd name="connsiteX2" fmla="*/ 66080 w 70313"/>
                <a:gd name="connsiteY2" fmla="*/ 35133 h 87605"/>
                <a:gd name="connsiteX3" fmla="*/ 70268 w 70313"/>
                <a:gd name="connsiteY3" fmla="*/ 35133 h 87605"/>
                <a:gd name="connsiteX4" fmla="*/ 35134 w 70313"/>
                <a:gd name="connsiteY4" fmla="*/ 0 h 87605"/>
                <a:gd name="connsiteX5" fmla="*/ 0 w 70313"/>
                <a:gd name="connsiteY5" fmla="*/ 35133 h 87605"/>
                <a:gd name="connsiteX6" fmla="*/ 0 w 70313"/>
                <a:gd name="connsiteY6" fmla="*/ 36544 h 87605"/>
                <a:gd name="connsiteX7" fmla="*/ 957 w 70313"/>
                <a:gd name="connsiteY7" fmla="*/ 43917 h 87605"/>
                <a:gd name="connsiteX8" fmla="*/ 46 w 70313"/>
                <a:gd name="connsiteY8" fmla="*/ 51926 h 87605"/>
                <a:gd name="connsiteX9" fmla="*/ 46 w 70313"/>
                <a:gd name="connsiteY9" fmla="*/ 52472 h 87605"/>
                <a:gd name="connsiteX10" fmla="*/ 35180 w 70313"/>
                <a:gd name="connsiteY10" fmla="*/ 87606 h 87605"/>
                <a:gd name="connsiteX11" fmla="*/ 70313 w 70313"/>
                <a:gd name="connsiteY11" fmla="*/ 52472 h 87605"/>
                <a:gd name="connsiteX12" fmla="*/ 70313 w 70313"/>
                <a:gd name="connsiteY12" fmla="*/ 51926 h 87605"/>
                <a:gd name="connsiteX13" fmla="*/ 69402 w 70313"/>
                <a:gd name="connsiteY13" fmla="*/ 43871 h 87605"/>
                <a:gd name="connsiteX14" fmla="*/ 70268 w 70313"/>
                <a:gd name="connsiteY14" fmla="*/ 35224 h 87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0313" h="87605">
                  <a:moveTo>
                    <a:pt x="70222" y="35224"/>
                  </a:moveTo>
                  <a:lnTo>
                    <a:pt x="66080" y="35224"/>
                  </a:lnTo>
                  <a:cubicBezTo>
                    <a:pt x="66080" y="35224"/>
                    <a:pt x="66080" y="35179"/>
                    <a:pt x="66080" y="35133"/>
                  </a:cubicBezTo>
                  <a:lnTo>
                    <a:pt x="70268" y="35133"/>
                  </a:lnTo>
                  <a:cubicBezTo>
                    <a:pt x="70268" y="15701"/>
                    <a:pt x="54521" y="0"/>
                    <a:pt x="35134" y="0"/>
                  </a:cubicBezTo>
                  <a:cubicBezTo>
                    <a:pt x="15747" y="0"/>
                    <a:pt x="0" y="15746"/>
                    <a:pt x="0" y="35133"/>
                  </a:cubicBezTo>
                  <a:lnTo>
                    <a:pt x="0" y="36544"/>
                  </a:lnTo>
                  <a:cubicBezTo>
                    <a:pt x="91" y="39093"/>
                    <a:pt x="410" y="41550"/>
                    <a:pt x="957" y="43917"/>
                  </a:cubicBezTo>
                  <a:cubicBezTo>
                    <a:pt x="364" y="46465"/>
                    <a:pt x="46" y="49150"/>
                    <a:pt x="46" y="51926"/>
                  </a:cubicBezTo>
                  <a:lnTo>
                    <a:pt x="46" y="52472"/>
                  </a:lnTo>
                  <a:cubicBezTo>
                    <a:pt x="46" y="71905"/>
                    <a:pt x="15793" y="87606"/>
                    <a:pt x="35180" y="87606"/>
                  </a:cubicBezTo>
                  <a:cubicBezTo>
                    <a:pt x="54566" y="87606"/>
                    <a:pt x="70313" y="71859"/>
                    <a:pt x="70313" y="52472"/>
                  </a:cubicBezTo>
                  <a:lnTo>
                    <a:pt x="70313" y="51926"/>
                  </a:lnTo>
                  <a:cubicBezTo>
                    <a:pt x="70313" y="49150"/>
                    <a:pt x="69994" y="46465"/>
                    <a:pt x="69402" y="43871"/>
                  </a:cubicBezTo>
                  <a:cubicBezTo>
                    <a:pt x="70040" y="41095"/>
                    <a:pt x="70359" y="38182"/>
                    <a:pt x="70268" y="35224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6" name="Freeform: Shape 575">
              <a:extLst>
                <a:ext uri="{FF2B5EF4-FFF2-40B4-BE49-F238E27FC236}">
                  <a16:creationId xmlns:a16="http://schemas.microsoft.com/office/drawing/2014/main" id="{F00EA725-FB68-401C-D3E8-7B586831F24B}"/>
                </a:ext>
              </a:extLst>
            </p:cNvPr>
            <p:cNvSpPr/>
            <p:nvPr/>
          </p:nvSpPr>
          <p:spPr>
            <a:xfrm>
              <a:off x="1602466" y="5930023"/>
              <a:ext cx="6744" cy="6797"/>
            </a:xfrm>
            <a:custGeom>
              <a:avLst/>
              <a:gdLst>
                <a:gd name="connsiteX0" fmla="*/ 48278 w 70455"/>
                <a:gd name="connsiteY0" fmla="*/ 2472 h 71009"/>
                <a:gd name="connsiteX1" fmla="*/ 2678 w 70455"/>
                <a:gd name="connsiteY1" fmla="*/ 22269 h 71009"/>
                <a:gd name="connsiteX2" fmla="*/ 2177 w 70455"/>
                <a:gd name="connsiteY2" fmla="*/ 23543 h 71009"/>
                <a:gd name="connsiteX3" fmla="*/ 22929 w 70455"/>
                <a:gd name="connsiteY3" fmla="*/ 68825 h 71009"/>
                <a:gd name="connsiteX4" fmla="*/ 35171 w 70455"/>
                <a:gd name="connsiteY4" fmla="*/ 71009 h 71009"/>
                <a:gd name="connsiteX5" fmla="*/ 67983 w 70455"/>
                <a:gd name="connsiteY5" fmla="*/ 48164 h 71009"/>
                <a:gd name="connsiteX6" fmla="*/ 35308 w 70455"/>
                <a:gd name="connsiteY6" fmla="*/ 35193 h 71009"/>
                <a:gd name="connsiteX7" fmla="*/ 67983 w 70455"/>
                <a:gd name="connsiteY7" fmla="*/ 48118 h 71009"/>
                <a:gd name="connsiteX8" fmla="*/ 48187 w 70455"/>
                <a:gd name="connsiteY8" fmla="*/ 2517 h 71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455" h="71009">
                  <a:moveTo>
                    <a:pt x="48278" y="2472"/>
                  </a:moveTo>
                  <a:cubicBezTo>
                    <a:pt x="30257" y="-4673"/>
                    <a:pt x="9823" y="4201"/>
                    <a:pt x="2678" y="22269"/>
                  </a:cubicBezTo>
                  <a:lnTo>
                    <a:pt x="2177" y="23543"/>
                  </a:lnTo>
                  <a:cubicBezTo>
                    <a:pt x="-4513" y="41747"/>
                    <a:pt x="4725" y="62135"/>
                    <a:pt x="22929" y="68825"/>
                  </a:cubicBezTo>
                  <a:cubicBezTo>
                    <a:pt x="26980" y="70327"/>
                    <a:pt x="31121" y="71009"/>
                    <a:pt x="35171" y="71009"/>
                  </a:cubicBezTo>
                  <a:cubicBezTo>
                    <a:pt x="49416" y="71009"/>
                    <a:pt x="62796" y="62317"/>
                    <a:pt x="67983" y="48164"/>
                  </a:cubicBezTo>
                  <a:lnTo>
                    <a:pt x="35308" y="35193"/>
                  </a:lnTo>
                  <a:lnTo>
                    <a:pt x="67983" y="48118"/>
                  </a:lnTo>
                  <a:cubicBezTo>
                    <a:pt x="75129" y="30051"/>
                    <a:pt x="66254" y="9662"/>
                    <a:pt x="48187" y="2517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7" name="Freeform: Shape 576">
              <a:extLst>
                <a:ext uri="{FF2B5EF4-FFF2-40B4-BE49-F238E27FC236}">
                  <a16:creationId xmlns:a16="http://schemas.microsoft.com/office/drawing/2014/main" id="{B029B006-FDF1-A5DB-F097-F1544F7DBEC4}"/>
                </a:ext>
              </a:extLst>
            </p:cNvPr>
            <p:cNvSpPr/>
            <p:nvPr/>
          </p:nvSpPr>
          <p:spPr>
            <a:xfrm>
              <a:off x="1589235" y="5958226"/>
              <a:ext cx="6756" cy="6777"/>
            </a:xfrm>
            <a:custGeom>
              <a:avLst/>
              <a:gdLst>
                <a:gd name="connsiteX0" fmla="*/ 52674 w 70579"/>
                <a:gd name="connsiteY0" fmla="*/ 4546 h 70807"/>
                <a:gd name="connsiteX1" fmla="*/ 4799 w 70579"/>
                <a:gd name="connsiteY1" fmla="*/ 17925 h 70807"/>
                <a:gd name="connsiteX2" fmla="*/ 4526 w 70579"/>
                <a:gd name="connsiteY2" fmla="*/ 18380 h 70807"/>
                <a:gd name="connsiteX3" fmla="*/ 17905 w 70579"/>
                <a:gd name="connsiteY3" fmla="*/ 66257 h 70807"/>
                <a:gd name="connsiteX4" fmla="*/ 35108 w 70579"/>
                <a:gd name="connsiteY4" fmla="*/ 70808 h 70807"/>
                <a:gd name="connsiteX5" fmla="*/ 65781 w 70579"/>
                <a:gd name="connsiteY5" fmla="*/ 52922 h 70807"/>
                <a:gd name="connsiteX6" fmla="*/ 66055 w 70579"/>
                <a:gd name="connsiteY6" fmla="*/ 52467 h 70807"/>
                <a:gd name="connsiteX7" fmla="*/ 52674 w 70579"/>
                <a:gd name="connsiteY7" fmla="*/ 4591 h 7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579" h="70807">
                  <a:moveTo>
                    <a:pt x="52674" y="4546"/>
                  </a:moveTo>
                  <a:cubicBezTo>
                    <a:pt x="35745" y="-5011"/>
                    <a:pt x="14310" y="996"/>
                    <a:pt x="4799" y="17925"/>
                  </a:cubicBezTo>
                  <a:lnTo>
                    <a:pt x="4526" y="18380"/>
                  </a:lnTo>
                  <a:cubicBezTo>
                    <a:pt x="-4986" y="35310"/>
                    <a:pt x="976" y="56745"/>
                    <a:pt x="17905" y="66257"/>
                  </a:cubicBezTo>
                  <a:cubicBezTo>
                    <a:pt x="23366" y="69351"/>
                    <a:pt x="29283" y="70808"/>
                    <a:pt x="35108" y="70808"/>
                  </a:cubicBezTo>
                  <a:cubicBezTo>
                    <a:pt x="47395" y="70808"/>
                    <a:pt x="59319" y="64345"/>
                    <a:pt x="65781" y="52922"/>
                  </a:cubicBezTo>
                  <a:lnTo>
                    <a:pt x="66055" y="52467"/>
                  </a:lnTo>
                  <a:cubicBezTo>
                    <a:pt x="75566" y="35538"/>
                    <a:pt x="69605" y="14103"/>
                    <a:pt x="52674" y="4591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CF9850D4-549F-8633-F5F3-03F339893DF1}"/>
                </a:ext>
              </a:extLst>
            </p:cNvPr>
            <p:cNvSpPr/>
            <p:nvPr/>
          </p:nvSpPr>
          <p:spPr>
            <a:xfrm>
              <a:off x="1595729" y="5761899"/>
              <a:ext cx="6763" cy="6788"/>
            </a:xfrm>
            <a:custGeom>
              <a:avLst/>
              <a:gdLst>
                <a:gd name="connsiteX0" fmla="*/ 35562 w 70660"/>
                <a:gd name="connsiteY0" fmla="*/ 70923 h 70922"/>
                <a:gd name="connsiteX1" fmla="*/ 50990 w 70660"/>
                <a:gd name="connsiteY1" fmla="*/ 67328 h 70922"/>
                <a:gd name="connsiteX2" fmla="*/ 67055 w 70660"/>
                <a:gd name="connsiteY2" fmla="*/ 20407 h 70922"/>
                <a:gd name="connsiteX3" fmla="*/ 35152 w 70660"/>
                <a:gd name="connsiteY3" fmla="*/ 35152 h 70922"/>
                <a:gd name="connsiteX4" fmla="*/ 67009 w 70660"/>
                <a:gd name="connsiteY4" fmla="*/ 20316 h 70922"/>
                <a:gd name="connsiteX5" fmla="*/ 20316 w 70660"/>
                <a:gd name="connsiteY5" fmla="*/ 3296 h 70922"/>
                <a:gd name="connsiteX6" fmla="*/ 3296 w 70660"/>
                <a:gd name="connsiteY6" fmla="*/ 49988 h 70922"/>
                <a:gd name="connsiteX7" fmla="*/ 3842 w 70660"/>
                <a:gd name="connsiteY7" fmla="*/ 51172 h 70922"/>
                <a:gd name="connsiteX8" fmla="*/ 35562 w 70660"/>
                <a:gd name="connsiteY8" fmla="*/ 70923 h 70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660" h="70922">
                  <a:moveTo>
                    <a:pt x="35562" y="70923"/>
                  </a:moveTo>
                  <a:cubicBezTo>
                    <a:pt x="40750" y="70923"/>
                    <a:pt x="46030" y="69785"/>
                    <a:pt x="50990" y="67328"/>
                  </a:cubicBezTo>
                  <a:cubicBezTo>
                    <a:pt x="68420" y="58726"/>
                    <a:pt x="75611" y="37838"/>
                    <a:pt x="67055" y="20407"/>
                  </a:cubicBezTo>
                  <a:lnTo>
                    <a:pt x="35152" y="35152"/>
                  </a:lnTo>
                  <a:lnTo>
                    <a:pt x="67009" y="20316"/>
                  </a:lnTo>
                  <a:cubicBezTo>
                    <a:pt x="58817" y="2704"/>
                    <a:pt x="37883" y="-4896"/>
                    <a:pt x="20316" y="3296"/>
                  </a:cubicBezTo>
                  <a:cubicBezTo>
                    <a:pt x="2705" y="11487"/>
                    <a:pt x="-4896" y="32422"/>
                    <a:pt x="3296" y="49988"/>
                  </a:cubicBezTo>
                  <a:lnTo>
                    <a:pt x="3842" y="51172"/>
                  </a:lnTo>
                  <a:cubicBezTo>
                    <a:pt x="9986" y="63641"/>
                    <a:pt x="22546" y="70923"/>
                    <a:pt x="35562" y="70923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9" name="Freeform: Shape 578">
              <a:extLst>
                <a:ext uri="{FF2B5EF4-FFF2-40B4-BE49-F238E27FC236}">
                  <a16:creationId xmlns:a16="http://schemas.microsoft.com/office/drawing/2014/main" id="{9E8EEE9B-AA67-06C9-7827-419FED38DF2A}"/>
                </a:ext>
              </a:extLst>
            </p:cNvPr>
            <p:cNvSpPr/>
            <p:nvPr/>
          </p:nvSpPr>
          <p:spPr>
            <a:xfrm>
              <a:off x="1588518" y="5748128"/>
              <a:ext cx="6740" cy="6764"/>
            </a:xfrm>
            <a:custGeom>
              <a:avLst/>
              <a:gdLst>
                <a:gd name="connsiteX0" fmla="*/ 35310 w 70417"/>
                <a:gd name="connsiteY0" fmla="*/ 70669 h 70668"/>
                <a:gd name="connsiteX1" fmla="*/ 52512 w 70417"/>
                <a:gd name="connsiteY1" fmla="*/ 66118 h 70668"/>
                <a:gd name="connsiteX2" fmla="*/ 65892 w 70417"/>
                <a:gd name="connsiteY2" fmla="*/ 18242 h 70668"/>
                <a:gd name="connsiteX3" fmla="*/ 65529 w 70417"/>
                <a:gd name="connsiteY3" fmla="*/ 17605 h 70668"/>
                <a:gd name="connsiteX4" fmla="*/ 17653 w 70417"/>
                <a:gd name="connsiteY4" fmla="*/ 4680 h 70668"/>
                <a:gd name="connsiteX5" fmla="*/ 4636 w 70417"/>
                <a:gd name="connsiteY5" fmla="*/ 52783 h 70668"/>
                <a:gd name="connsiteX6" fmla="*/ 35310 w 70417"/>
                <a:gd name="connsiteY6" fmla="*/ 70669 h 7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417" h="70668">
                  <a:moveTo>
                    <a:pt x="35310" y="70669"/>
                  </a:moveTo>
                  <a:cubicBezTo>
                    <a:pt x="41135" y="70669"/>
                    <a:pt x="47097" y="69213"/>
                    <a:pt x="52512" y="66118"/>
                  </a:cubicBezTo>
                  <a:cubicBezTo>
                    <a:pt x="69442" y="56606"/>
                    <a:pt x="75404" y="35171"/>
                    <a:pt x="65892" y="18242"/>
                  </a:cubicBezTo>
                  <a:lnTo>
                    <a:pt x="65529" y="17605"/>
                  </a:lnTo>
                  <a:cubicBezTo>
                    <a:pt x="55880" y="766"/>
                    <a:pt x="34491" y="-4968"/>
                    <a:pt x="17653" y="4680"/>
                  </a:cubicBezTo>
                  <a:cubicBezTo>
                    <a:pt x="814" y="14328"/>
                    <a:pt x="-4966" y="35945"/>
                    <a:pt x="4636" y="52783"/>
                  </a:cubicBezTo>
                  <a:cubicBezTo>
                    <a:pt x="11099" y="64252"/>
                    <a:pt x="23022" y="70669"/>
                    <a:pt x="35310" y="70669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0" name="Freeform: Shape 579">
              <a:extLst>
                <a:ext uri="{FF2B5EF4-FFF2-40B4-BE49-F238E27FC236}">
                  <a16:creationId xmlns:a16="http://schemas.microsoft.com/office/drawing/2014/main" id="{71285FEC-CE82-51B0-6111-15BD99AAA0ED}"/>
                </a:ext>
              </a:extLst>
            </p:cNvPr>
            <p:cNvSpPr/>
            <p:nvPr/>
          </p:nvSpPr>
          <p:spPr>
            <a:xfrm>
              <a:off x="1596370" y="5944378"/>
              <a:ext cx="6752" cy="6769"/>
            </a:xfrm>
            <a:custGeom>
              <a:avLst/>
              <a:gdLst>
                <a:gd name="connsiteX0" fmla="*/ 50074 w 70538"/>
                <a:gd name="connsiteY0" fmla="*/ 3225 h 70715"/>
                <a:gd name="connsiteX1" fmla="*/ 3473 w 70538"/>
                <a:gd name="connsiteY1" fmla="*/ 20337 h 70715"/>
                <a:gd name="connsiteX2" fmla="*/ 19629 w 70538"/>
                <a:gd name="connsiteY2" fmla="*/ 67075 h 70715"/>
                <a:gd name="connsiteX3" fmla="*/ 35147 w 70538"/>
                <a:gd name="connsiteY3" fmla="*/ 70716 h 70715"/>
                <a:gd name="connsiteX4" fmla="*/ 66686 w 70538"/>
                <a:gd name="connsiteY4" fmla="*/ 51101 h 70715"/>
                <a:gd name="connsiteX5" fmla="*/ 67323 w 70538"/>
                <a:gd name="connsiteY5" fmla="*/ 49736 h 70715"/>
                <a:gd name="connsiteX6" fmla="*/ 50074 w 70538"/>
                <a:gd name="connsiteY6" fmla="*/ 3225 h 7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538" h="70715">
                  <a:moveTo>
                    <a:pt x="50074" y="3225"/>
                  </a:moveTo>
                  <a:cubicBezTo>
                    <a:pt x="32508" y="-4875"/>
                    <a:pt x="11665" y="2816"/>
                    <a:pt x="3473" y="20337"/>
                  </a:cubicBezTo>
                  <a:cubicBezTo>
                    <a:pt x="-4856" y="37676"/>
                    <a:pt x="2289" y="58565"/>
                    <a:pt x="19629" y="67075"/>
                  </a:cubicBezTo>
                  <a:cubicBezTo>
                    <a:pt x="24635" y="69533"/>
                    <a:pt x="29914" y="70716"/>
                    <a:pt x="35147" y="70716"/>
                  </a:cubicBezTo>
                  <a:cubicBezTo>
                    <a:pt x="48118" y="70716"/>
                    <a:pt x="60587" y="63525"/>
                    <a:pt x="66686" y="51101"/>
                  </a:cubicBezTo>
                  <a:lnTo>
                    <a:pt x="67323" y="49736"/>
                  </a:lnTo>
                  <a:cubicBezTo>
                    <a:pt x="75424" y="32124"/>
                    <a:pt x="67687" y="11326"/>
                    <a:pt x="50074" y="3225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1" name="Freeform: Shape 580">
              <a:extLst>
                <a:ext uri="{FF2B5EF4-FFF2-40B4-BE49-F238E27FC236}">
                  <a16:creationId xmlns:a16="http://schemas.microsoft.com/office/drawing/2014/main" id="{C3DF1451-B890-D26B-E779-B414A0BCFBB0}"/>
                </a:ext>
              </a:extLst>
            </p:cNvPr>
            <p:cNvSpPr/>
            <p:nvPr/>
          </p:nvSpPr>
          <p:spPr>
            <a:xfrm>
              <a:off x="1571146" y="5722297"/>
              <a:ext cx="6761" cy="6769"/>
            </a:xfrm>
            <a:custGeom>
              <a:avLst/>
              <a:gdLst>
                <a:gd name="connsiteX0" fmla="*/ 35494 w 70638"/>
                <a:gd name="connsiteY0" fmla="*/ 70719 h 70718"/>
                <a:gd name="connsiteX1" fmla="*/ 57338 w 70638"/>
                <a:gd name="connsiteY1" fmla="*/ 63119 h 70718"/>
                <a:gd name="connsiteX2" fmla="*/ 63027 w 70638"/>
                <a:gd name="connsiteY2" fmla="*/ 13741 h 70718"/>
                <a:gd name="connsiteX3" fmla="*/ 62846 w 70638"/>
                <a:gd name="connsiteY3" fmla="*/ 13513 h 70718"/>
                <a:gd name="connsiteX4" fmla="*/ 13513 w 70638"/>
                <a:gd name="connsiteY4" fmla="*/ 7460 h 70718"/>
                <a:gd name="connsiteX5" fmla="*/ 7460 w 70638"/>
                <a:gd name="connsiteY5" fmla="*/ 56793 h 70718"/>
                <a:gd name="connsiteX6" fmla="*/ 7961 w 70638"/>
                <a:gd name="connsiteY6" fmla="*/ 57430 h 70718"/>
                <a:gd name="connsiteX7" fmla="*/ 35494 w 70638"/>
                <a:gd name="connsiteY7" fmla="*/ 70719 h 70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638" h="70718">
                  <a:moveTo>
                    <a:pt x="35494" y="70719"/>
                  </a:moveTo>
                  <a:cubicBezTo>
                    <a:pt x="43140" y="70719"/>
                    <a:pt x="50876" y="68216"/>
                    <a:pt x="57338" y="63119"/>
                  </a:cubicBezTo>
                  <a:cubicBezTo>
                    <a:pt x="72539" y="51059"/>
                    <a:pt x="75088" y="28941"/>
                    <a:pt x="63027" y="13741"/>
                  </a:cubicBezTo>
                  <a:lnTo>
                    <a:pt x="62846" y="13513"/>
                  </a:lnTo>
                  <a:cubicBezTo>
                    <a:pt x="50922" y="-1778"/>
                    <a:pt x="28804" y="-4509"/>
                    <a:pt x="13513" y="7460"/>
                  </a:cubicBezTo>
                  <a:cubicBezTo>
                    <a:pt x="-1778" y="19429"/>
                    <a:pt x="-4509" y="41502"/>
                    <a:pt x="7460" y="56793"/>
                  </a:cubicBezTo>
                  <a:lnTo>
                    <a:pt x="7961" y="57430"/>
                  </a:lnTo>
                  <a:cubicBezTo>
                    <a:pt x="14879" y="66168"/>
                    <a:pt x="25163" y="70719"/>
                    <a:pt x="35494" y="70719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09F67F31-A88C-98A5-A200-BC32BF7AF87B}"/>
                </a:ext>
              </a:extLst>
            </p:cNvPr>
            <p:cNvSpPr/>
            <p:nvPr/>
          </p:nvSpPr>
          <p:spPr>
            <a:xfrm>
              <a:off x="1442128" y="6063682"/>
              <a:ext cx="6777" cy="6741"/>
            </a:xfrm>
            <a:custGeom>
              <a:avLst/>
              <a:gdLst>
                <a:gd name="connsiteX0" fmla="*/ 29105 w 70802"/>
                <a:gd name="connsiteY0" fmla="*/ 658 h 70424"/>
                <a:gd name="connsiteX1" fmla="*/ 525 w 70802"/>
                <a:gd name="connsiteY1" fmla="*/ 41343 h 70424"/>
                <a:gd name="connsiteX2" fmla="*/ 35112 w 70802"/>
                <a:gd name="connsiteY2" fmla="*/ 70424 h 70424"/>
                <a:gd name="connsiteX3" fmla="*/ 41211 w 70802"/>
                <a:gd name="connsiteY3" fmla="*/ 69878 h 70424"/>
                <a:gd name="connsiteX4" fmla="*/ 42166 w 70802"/>
                <a:gd name="connsiteY4" fmla="*/ 69696 h 70424"/>
                <a:gd name="connsiteX5" fmla="*/ 70200 w 70802"/>
                <a:gd name="connsiteY5" fmla="*/ 28692 h 70424"/>
                <a:gd name="connsiteX6" fmla="*/ 29105 w 70802"/>
                <a:gd name="connsiteY6" fmla="*/ 612 h 70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802" h="70424">
                  <a:moveTo>
                    <a:pt x="29105" y="658"/>
                  </a:moveTo>
                  <a:cubicBezTo>
                    <a:pt x="9991" y="4026"/>
                    <a:pt x="-2797" y="22229"/>
                    <a:pt x="525" y="41343"/>
                  </a:cubicBezTo>
                  <a:cubicBezTo>
                    <a:pt x="3529" y="58409"/>
                    <a:pt x="18365" y="70424"/>
                    <a:pt x="35112" y="70424"/>
                  </a:cubicBezTo>
                  <a:cubicBezTo>
                    <a:pt x="37115" y="70424"/>
                    <a:pt x="39163" y="70242"/>
                    <a:pt x="41211" y="69878"/>
                  </a:cubicBezTo>
                  <a:lnTo>
                    <a:pt x="42166" y="69696"/>
                  </a:lnTo>
                  <a:cubicBezTo>
                    <a:pt x="61235" y="66101"/>
                    <a:pt x="73750" y="47760"/>
                    <a:pt x="70200" y="28692"/>
                  </a:cubicBezTo>
                  <a:cubicBezTo>
                    <a:pt x="66605" y="9623"/>
                    <a:pt x="48128" y="-2983"/>
                    <a:pt x="29105" y="612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DAC2282C-233A-627E-E08D-D07F1134BB6D}"/>
                </a:ext>
              </a:extLst>
            </p:cNvPr>
            <p:cNvSpPr/>
            <p:nvPr/>
          </p:nvSpPr>
          <p:spPr>
            <a:xfrm>
              <a:off x="1411196" y="6067112"/>
              <a:ext cx="6778" cy="6730"/>
            </a:xfrm>
            <a:custGeom>
              <a:avLst/>
              <a:gdLst>
                <a:gd name="connsiteX0" fmla="*/ 34382 w 70814"/>
                <a:gd name="connsiteY0" fmla="*/ 0 h 70311"/>
                <a:gd name="connsiteX1" fmla="*/ 33882 w 70814"/>
                <a:gd name="connsiteY1" fmla="*/ 0 h 70311"/>
                <a:gd name="connsiteX2" fmla="*/ 22 w 70814"/>
                <a:gd name="connsiteY2" fmla="*/ 36453 h 70311"/>
                <a:gd name="connsiteX3" fmla="*/ 35110 w 70814"/>
                <a:gd name="connsiteY3" fmla="*/ 70312 h 70311"/>
                <a:gd name="connsiteX4" fmla="*/ 36430 w 70814"/>
                <a:gd name="connsiteY4" fmla="*/ 70312 h 70311"/>
                <a:gd name="connsiteX5" fmla="*/ 36976 w 70814"/>
                <a:gd name="connsiteY5" fmla="*/ 70312 h 70311"/>
                <a:gd name="connsiteX6" fmla="*/ 70790 w 70814"/>
                <a:gd name="connsiteY6" fmla="*/ 33859 h 70311"/>
                <a:gd name="connsiteX7" fmla="*/ 34337 w 70814"/>
                <a:gd name="connsiteY7" fmla="*/ 45 h 70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814" h="70311">
                  <a:moveTo>
                    <a:pt x="34382" y="0"/>
                  </a:moveTo>
                  <a:lnTo>
                    <a:pt x="33882" y="0"/>
                  </a:lnTo>
                  <a:cubicBezTo>
                    <a:pt x="14494" y="728"/>
                    <a:pt x="-661" y="17021"/>
                    <a:pt x="22" y="36453"/>
                  </a:cubicBezTo>
                  <a:cubicBezTo>
                    <a:pt x="705" y="55431"/>
                    <a:pt x="16315" y="70312"/>
                    <a:pt x="35110" y="70312"/>
                  </a:cubicBezTo>
                  <a:cubicBezTo>
                    <a:pt x="35565" y="70312"/>
                    <a:pt x="35975" y="70312"/>
                    <a:pt x="36430" y="70312"/>
                  </a:cubicBezTo>
                  <a:lnTo>
                    <a:pt x="36976" y="70312"/>
                  </a:lnTo>
                  <a:cubicBezTo>
                    <a:pt x="56363" y="69584"/>
                    <a:pt x="71518" y="53246"/>
                    <a:pt x="70790" y="33859"/>
                  </a:cubicBezTo>
                  <a:cubicBezTo>
                    <a:pt x="70061" y="14472"/>
                    <a:pt x="53587" y="-592"/>
                    <a:pt x="34337" y="45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C2392E4B-AEB1-B9E8-9F1C-F449374CD1FC}"/>
                </a:ext>
              </a:extLst>
            </p:cNvPr>
            <p:cNvSpPr/>
            <p:nvPr/>
          </p:nvSpPr>
          <p:spPr>
            <a:xfrm>
              <a:off x="1409642" y="5640516"/>
              <a:ext cx="6777" cy="6727"/>
            </a:xfrm>
            <a:custGeom>
              <a:avLst/>
              <a:gdLst>
                <a:gd name="connsiteX0" fmla="*/ 35689 w 70801"/>
                <a:gd name="connsiteY0" fmla="*/ 70277 h 70276"/>
                <a:gd name="connsiteX1" fmla="*/ 70777 w 70801"/>
                <a:gd name="connsiteY1" fmla="*/ 36463 h 70276"/>
                <a:gd name="connsiteX2" fmla="*/ 36964 w 70801"/>
                <a:gd name="connsiteY2" fmla="*/ 10 h 70276"/>
                <a:gd name="connsiteX3" fmla="*/ 35962 w 70801"/>
                <a:gd name="connsiteY3" fmla="*/ 10 h 70276"/>
                <a:gd name="connsiteX4" fmla="*/ 10 w 70801"/>
                <a:gd name="connsiteY4" fmla="*/ 34279 h 70276"/>
                <a:gd name="connsiteX5" fmla="*/ 34324 w 70801"/>
                <a:gd name="connsiteY5" fmla="*/ 70277 h 70276"/>
                <a:gd name="connsiteX6" fmla="*/ 35644 w 70801"/>
                <a:gd name="connsiteY6" fmla="*/ 70277 h 70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801" h="70276">
                  <a:moveTo>
                    <a:pt x="35689" y="70277"/>
                  </a:moveTo>
                  <a:cubicBezTo>
                    <a:pt x="54485" y="70277"/>
                    <a:pt x="70095" y="55395"/>
                    <a:pt x="70777" y="36463"/>
                  </a:cubicBezTo>
                  <a:cubicBezTo>
                    <a:pt x="71505" y="17076"/>
                    <a:pt x="56351" y="738"/>
                    <a:pt x="36964" y="10"/>
                  </a:cubicBezTo>
                  <a:lnTo>
                    <a:pt x="35962" y="10"/>
                  </a:lnTo>
                  <a:cubicBezTo>
                    <a:pt x="16621" y="-445"/>
                    <a:pt x="465" y="14846"/>
                    <a:pt x="10" y="34279"/>
                  </a:cubicBezTo>
                  <a:cubicBezTo>
                    <a:pt x="-445" y="53666"/>
                    <a:pt x="14937" y="69822"/>
                    <a:pt x="34324" y="70277"/>
                  </a:cubicBezTo>
                  <a:cubicBezTo>
                    <a:pt x="34779" y="70277"/>
                    <a:pt x="35234" y="70277"/>
                    <a:pt x="35644" y="70277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EC5BCEA7-3FE9-008B-EFAB-8F093D3091C8}"/>
                </a:ext>
              </a:extLst>
            </p:cNvPr>
            <p:cNvSpPr/>
            <p:nvPr/>
          </p:nvSpPr>
          <p:spPr>
            <a:xfrm>
              <a:off x="1426725" y="6065963"/>
              <a:ext cx="6759" cy="6733"/>
            </a:xfrm>
            <a:custGeom>
              <a:avLst/>
              <a:gdLst>
                <a:gd name="connsiteX0" fmla="*/ 31337 w 70613"/>
                <a:gd name="connsiteY0" fmla="*/ 264 h 70348"/>
                <a:gd name="connsiteX1" fmla="*/ 208 w 70613"/>
                <a:gd name="connsiteY1" fmla="*/ 39038 h 70348"/>
                <a:gd name="connsiteX2" fmla="*/ 35114 w 70613"/>
                <a:gd name="connsiteY2" fmla="*/ 70348 h 70348"/>
                <a:gd name="connsiteX3" fmla="*/ 38983 w 70613"/>
                <a:gd name="connsiteY3" fmla="*/ 70121 h 70348"/>
                <a:gd name="connsiteX4" fmla="*/ 39619 w 70613"/>
                <a:gd name="connsiteY4" fmla="*/ 70030 h 70348"/>
                <a:gd name="connsiteX5" fmla="*/ 70384 w 70613"/>
                <a:gd name="connsiteY5" fmla="*/ 31210 h 70348"/>
                <a:gd name="connsiteX6" fmla="*/ 31291 w 70613"/>
                <a:gd name="connsiteY6" fmla="*/ 218 h 70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613" h="70348">
                  <a:moveTo>
                    <a:pt x="31337" y="264"/>
                  </a:moveTo>
                  <a:cubicBezTo>
                    <a:pt x="12041" y="2402"/>
                    <a:pt x="-1885" y="19742"/>
                    <a:pt x="208" y="39038"/>
                  </a:cubicBezTo>
                  <a:cubicBezTo>
                    <a:pt x="2165" y="57014"/>
                    <a:pt x="17410" y="70348"/>
                    <a:pt x="35114" y="70348"/>
                  </a:cubicBezTo>
                  <a:cubicBezTo>
                    <a:pt x="36388" y="70348"/>
                    <a:pt x="37708" y="70257"/>
                    <a:pt x="38983" y="70121"/>
                  </a:cubicBezTo>
                  <a:lnTo>
                    <a:pt x="39619" y="70030"/>
                  </a:lnTo>
                  <a:cubicBezTo>
                    <a:pt x="58915" y="67845"/>
                    <a:pt x="72568" y="50460"/>
                    <a:pt x="70384" y="31210"/>
                  </a:cubicBezTo>
                  <a:cubicBezTo>
                    <a:pt x="68199" y="11914"/>
                    <a:pt x="50587" y="-1921"/>
                    <a:pt x="31291" y="218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8522BCD7-1CFD-80A6-9005-8F4100F9D3F4}"/>
                </a:ext>
              </a:extLst>
            </p:cNvPr>
            <p:cNvSpPr/>
            <p:nvPr/>
          </p:nvSpPr>
          <p:spPr>
            <a:xfrm>
              <a:off x="1440594" y="5643706"/>
              <a:ext cx="6785" cy="6738"/>
            </a:xfrm>
            <a:custGeom>
              <a:avLst/>
              <a:gdLst>
                <a:gd name="connsiteX0" fmla="*/ 29663 w 70885"/>
                <a:gd name="connsiteY0" fmla="*/ 69849 h 70395"/>
                <a:gd name="connsiteX1" fmla="*/ 35761 w 70885"/>
                <a:gd name="connsiteY1" fmla="*/ 70395 h 70395"/>
                <a:gd name="connsiteX2" fmla="*/ 70349 w 70885"/>
                <a:gd name="connsiteY2" fmla="*/ 41315 h 70395"/>
                <a:gd name="connsiteX3" fmla="*/ 41769 w 70885"/>
                <a:gd name="connsiteY3" fmla="*/ 629 h 70395"/>
                <a:gd name="connsiteX4" fmla="*/ 41223 w 70885"/>
                <a:gd name="connsiteY4" fmla="*/ 538 h 70395"/>
                <a:gd name="connsiteX5" fmla="*/ 537 w 70885"/>
                <a:gd name="connsiteY5" fmla="*/ 29118 h 70395"/>
                <a:gd name="connsiteX6" fmla="*/ 29117 w 70885"/>
                <a:gd name="connsiteY6" fmla="*/ 69804 h 70395"/>
                <a:gd name="connsiteX7" fmla="*/ 29663 w 70885"/>
                <a:gd name="connsiteY7" fmla="*/ 69895 h 70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885" h="70395">
                  <a:moveTo>
                    <a:pt x="29663" y="69849"/>
                  </a:moveTo>
                  <a:cubicBezTo>
                    <a:pt x="31711" y="70213"/>
                    <a:pt x="33759" y="70395"/>
                    <a:pt x="35761" y="70395"/>
                  </a:cubicBezTo>
                  <a:cubicBezTo>
                    <a:pt x="52509" y="70395"/>
                    <a:pt x="67345" y="58381"/>
                    <a:pt x="70349" y="41315"/>
                  </a:cubicBezTo>
                  <a:cubicBezTo>
                    <a:pt x="73716" y="22201"/>
                    <a:pt x="60882" y="3997"/>
                    <a:pt x="41769" y="629"/>
                  </a:cubicBezTo>
                  <a:lnTo>
                    <a:pt x="41223" y="538"/>
                  </a:lnTo>
                  <a:cubicBezTo>
                    <a:pt x="22154" y="-2830"/>
                    <a:pt x="3859" y="9959"/>
                    <a:pt x="537" y="29118"/>
                  </a:cubicBezTo>
                  <a:cubicBezTo>
                    <a:pt x="-2831" y="48232"/>
                    <a:pt x="10003" y="66436"/>
                    <a:pt x="29117" y="69804"/>
                  </a:cubicBezTo>
                  <a:lnTo>
                    <a:pt x="29663" y="69895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7" name="Freeform: Shape 586">
              <a:extLst>
                <a:ext uri="{FF2B5EF4-FFF2-40B4-BE49-F238E27FC236}">
                  <a16:creationId xmlns:a16="http://schemas.microsoft.com/office/drawing/2014/main" id="{61506309-4603-94A6-98BD-D855C1A859A6}"/>
                </a:ext>
              </a:extLst>
            </p:cNvPr>
            <p:cNvSpPr/>
            <p:nvPr/>
          </p:nvSpPr>
          <p:spPr>
            <a:xfrm>
              <a:off x="1425191" y="5641545"/>
              <a:ext cx="6767" cy="6739"/>
            </a:xfrm>
            <a:custGeom>
              <a:avLst/>
              <a:gdLst>
                <a:gd name="connsiteX0" fmla="*/ 35579 w 70701"/>
                <a:gd name="connsiteY0" fmla="*/ 70357 h 70402"/>
                <a:gd name="connsiteX1" fmla="*/ 70484 w 70701"/>
                <a:gd name="connsiteY1" fmla="*/ 39046 h 70402"/>
                <a:gd name="connsiteX2" fmla="*/ 39402 w 70701"/>
                <a:gd name="connsiteY2" fmla="*/ 272 h 70402"/>
                <a:gd name="connsiteX3" fmla="*/ 38537 w 70701"/>
                <a:gd name="connsiteY3" fmla="*/ 181 h 70402"/>
                <a:gd name="connsiteX4" fmla="*/ 172 w 70701"/>
                <a:gd name="connsiteY4" fmla="*/ 31674 h 70402"/>
                <a:gd name="connsiteX5" fmla="*/ 31756 w 70701"/>
                <a:gd name="connsiteY5" fmla="*/ 70175 h 70402"/>
                <a:gd name="connsiteX6" fmla="*/ 35625 w 70701"/>
                <a:gd name="connsiteY6" fmla="*/ 70402 h 70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701" h="70402">
                  <a:moveTo>
                    <a:pt x="35579" y="70357"/>
                  </a:moveTo>
                  <a:cubicBezTo>
                    <a:pt x="53282" y="70357"/>
                    <a:pt x="68482" y="57023"/>
                    <a:pt x="70484" y="39046"/>
                  </a:cubicBezTo>
                  <a:cubicBezTo>
                    <a:pt x="72624" y="19750"/>
                    <a:pt x="58698" y="2366"/>
                    <a:pt x="39402" y="272"/>
                  </a:cubicBezTo>
                  <a:lnTo>
                    <a:pt x="38537" y="181"/>
                  </a:lnTo>
                  <a:cubicBezTo>
                    <a:pt x="19241" y="-1776"/>
                    <a:pt x="2084" y="12332"/>
                    <a:pt x="172" y="31674"/>
                  </a:cubicBezTo>
                  <a:cubicBezTo>
                    <a:pt x="-1739" y="50970"/>
                    <a:pt x="12460" y="68218"/>
                    <a:pt x="31756" y="70175"/>
                  </a:cubicBezTo>
                  <a:cubicBezTo>
                    <a:pt x="33076" y="70311"/>
                    <a:pt x="34350" y="70402"/>
                    <a:pt x="35625" y="70402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8" name="Freeform: Shape 587">
              <a:extLst>
                <a:ext uri="{FF2B5EF4-FFF2-40B4-BE49-F238E27FC236}">
                  <a16:creationId xmlns:a16="http://schemas.microsoft.com/office/drawing/2014/main" id="{BBAA3147-A289-1E45-A755-E7D75582A115}"/>
                </a:ext>
              </a:extLst>
            </p:cNvPr>
            <p:cNvSpPr/>
            <p:nvPr/>
          </p:nvSpPr>
          <p:spPr>
            <a:xfrm>
              <a:off x="1378542" y="5641804"/>
              <a:ext cx="6776" cy="6733"/>
            </a:xfrm>
            <a:custGeom>
              <a:avLst/>
              <a:gdLst>
                <a:gd name="connsiteX0" fmla="*/ 39091 w 70795"/>
                <a:gd name="connsiteY0" fmla="*/ 70113 h 70340"/>
                <a:gd name="connsiteX1" fmla="*/ 39956 w 70795"/>
                <a:gd name="connsiteY1" fmla="*/ 70022 h 70340"/>
                <a:gd name="connsiteX2" fmla="*/ 70538 w 70795"/>
                <a:gd name="connsiteY2" fmla="*/ 30929 h 70340"/>
                <a:gd name="connsiteX3" fmla="*/ 31446 w 70795"/>
                <a:gd name="connsiteY3" fmla="*/ 256 h 70340"/>
                <a:gd name="connsiteX4" fmla="*/ 31218 w 70795"/>
                <a:gd name="connsiteY4" fmla="*/ 256 h 70340"/>
                <a:gd name="connsiteX5" fmla="*/ 226 w 70795"/>
                <a:gd name="connsiteY5" fmla="*/ 39121 h 70340"/>
                <a:gd name="connsiteX6" fmla="*/ 35132 w 70795"/>
                <a:gd name="connsiteY6" fmla="*/ 70340 h 70340"/>
                <a:gd name="connsiteX7" fmla="*/ 39091 w 70795"/>
                <a:gd name="connsiteY7" fmla="*/ 70113 h 70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795" h="70340">
                  <a:moveTo>
                    <a:pt x="39091" y="70113"/>
                  </a:moveTo>
                  <a:lnTo>
                    <a:pt x="39956" y="70022"/>
                  </a:lnTo>
                  <a:cubicBezTo>
                    <a:pt x="59206" y="67655"/>
                    <a:pt x="72859" y="50180"/>
                    <a:pt x="70538" y="30929"/>
                  </a:cubicBezTo>
                  <a:cubicBezTo>
                    <a:pt x="68217" y="11679"/>
                    <a:pt x="50696" y="-2065"/>
                    <a:pt x="31446" y="256"/>
                  </a:cubicBezTo>
                  <a:lnTo>
                    <a:pt x="31218" y="256"/>
                  </a:lnTo>
                  <a:cubicBezTo>
                    <a:pt x="11922" y="2440"/>
                    <a:pt x="-1959" y="19870"/>
                    <a:pt x="226" y="39121"/>
                  </a:cubicBezTo>
                  <a:cubicBezTo>
                    <a:pt x="2228" y="57097"/>
                    <a:pt x="17474" y="70340"/>
                    <a:pt x="35132" y="70340"/>
                  </a:cubicBezTo>
                  <a:cubicBezTo>
                    <a:pt x="36452" y="70340"/>
                    <a:pt x="37772" y="70249"/>
                    <a:pt x="39091" y="70113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9" name="Freeform: Shape 588">
              <a:extLst>
                <a:ext uri="{FF2B5EF4-FFF2-40B4-BE49-F238E27FC236}">
                  <a16:creationId xmlns:a16="http://schemas.microsoft.com/office/drawing/2014/main" id="{5AAFD575-783D-4497-3D82-2292D41F040C}"/>
                </a:ext>
              </a:extLst>
            </p:cNvPr>
            <p:cNvSpPr/>
            <p:nvPr/>
          </p:nvSpPr>
          <p:spPr>
            <a:xfrm>
              <a:off x="1380109" y="6066041"/>
              <a:ext cx="6770" cy="6738"/>
            </a:xfrm>
            <a:custGeom>
              <a:avLst/>
              <a:gdLst>
                <a:gd name="connsiteX0" fmla="*/ 39465 w 70728"/>
                <a:gd name="connsiteY0" fmla="*/ 265 h 70395"/>
                <a:gd name="connsiteX1" fmla="*/ 38418 w 70728"/>
                <a:gd name="connsiteY1" fmla="*/ 174 h 70395"/>
                <a:gd name="connsiteX2" fmla="*/ 190 w 70728"/>
                <a:gd name="connsiteY2" fmla="*/ 31576 h 70395"/>
                <a:gd name="connsiteX3" fmla="*/ 31501 w 70728"/>
                <a:gd name="connsiteY3" fmla="*/ 70122 h 70395"/>
                <a:gd name="connsiteX4" fmla="*/ 35551 w 70728"/>
                <a:gd name="connsiteY4" fmla="*/ 35216 h 70395"/>
                <a:gd name="connsiteX5" fmla="*/ 31637 w 70728"/>
                <a:gd name="connsiteY5" fmla="*/ 70168 h 70395"/>
                <a:gd name="connsiteX6" fmla="*/ 35597 w 70728"/>
                <a:gd name="connsiteY6" fmla="*/ 70395 h 70395"/>
                <a:gd name="connsiteX7" fmla="*/ 70502 w 70728"/>
                <a:gd name="connsiteY7" fmla="*/ 39176 h 70395"/>
                <a:gd name="connsiteX8" fmla="*/ 39510 w 70728"/>
                <a:gd name="connsiteY8" fmla="*/ 311 h 70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728" h="70395">
                  <a:moveTo>
                    <a:pt x="39465" y="265"/>
                  </a:moveTo>
                  <a:lnTo>
                    <a:pt x="38418" y="174"/>
                  </a:lnTo>
                  <a:cubicBezTo>
                    <a:pt x="19077" y="-1737"/>
                    <a:pt x="2147" y="12325"/>
                    <a:pt x="190" y="31576"/>
                  </a:cubicBezTo>
                  <a:cubicBezTo>
                    <a:pt x="-1813" y="50826"/>
                    <a:pt x="12250" y="68074"/>
                    <a:pt x="31501" y="70122"/>
                  </a:cubicBezTo>
                  <a:lnTo>
                    <a:pt x="35551" y="35216"/>
                  </a:lnTo>
                  <a:lnTo>
                    <a:pt x="31637" y="70168"/>
                  </a:lnTo>
                  <a:cubicBezTo>
                    <a:pt x="32957" y="70304"/>
                    <a:pt x="34322" y="70395"/>
                    <a:pt x="35597" y="70395"/>
                  </a:cubicBezTo>
                  <a:cubicBezTo>
                    <a:pt x="53254" y="70395"/>
                    <a:pt x="68454" y="57106"/>
                    <a:pt x="70502" y="39176"/>
                  </a:cubicBezTo>
                  <a:cubicBezTo>
                    <a:pt x="72686" y="19880"/>
                    <a:pt x="58806" y="2495"/>
                    <a:pt x="39510" y="311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0" name="Freeform: Shape 589">
              <a:extLst>
                <a:ext uri="{FF2B5EF4-FFF2-40B4-BE49-F238E27FC236}">
                  <a16:creationId xmlns:a16="http://schemas.microsoft.com/office/drawing/2014/main" id="{321ACF10-B0E1-536B-45D4-0367C3F275C4}"/>
                </a:ext>
              </a:extLst>
            </p:cNvPr>
            <p:cNvSpPr/>
            <p:nvPr/>
          </p:nvSpPr>
          <p:spPr>
            <a:xfrm>
              <a:off x="1395629" y="6067138"/>
              <a:ext cx="6773" cy="6730"/>
            </a:xfrm>
            <a:custGeom>
              <a:avLst/>
              <a:gdLst>
                <a:gd name="connsiteX0" fmla="*/ 36922 w 70761"/>
                <a:gd name="connsiteY0" fmla="*/ 0 h 70311"/>
                <a:gd name="connsiteX1" fmla="*/ 35967 w 70761"/>
                <a:gd name="connsiteY1" fmla="*/ 0 h 70311"/>
                <a:gd name="connsiteX2" fmla="*/ 35057 w 70761"/>
                <a:gd name="connsiteY2" fmla="*/ 0 h 70311"/>
                <a:gd name="connsiteX3" fmla="*/ 14 w 70761"/>
                <a:gd name="connsiteY3" fmla="*/ 34177 h 70311"/>
                <a:gd name="connsiteX4" fmla="*/ 34146 w 70761"/>
                <a:gd name="connsiteY4" fmla="*/ 70312 h 70311"/>
                <a:gd name="connsiteX5" fmla="*/ 35603 w 70761"/>
                <a:gd name="connsiteY5" fmla="*/ 35179 h 70311"/>
                <a:gd name="connsiteX6" fmla="*/ 34329 w 70761"/>
                <a:gd name="connsiteY6" fmla="*/ 70312 h 70311"/>
                <a:gd name="connsiteX7" fmla="*/ 35648 w 70761"/>
                <a:gd name="connsiteY7" fmla="*/ 70312 h 70311"/>
                <a:gd name="connsiteX8" fmla="*/ 70736 w 70761"/>
                <a:gd name="connsiteY8" fmla="*/ 36453 h 70311"/>
                <a:gd name="connsiteX9" fmla="*/ 36877 w 70761"/>
                <a:gd name="connsiteY9" fmla="*/ 45 h 70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0761" h="70311">
                  <a:moveTo>
                    <a:pt x="36922" y="0"/>
                  </a:moveTo>
                  <a:lnTo>
                    <a:pt x="35967" y="0"/>
                  </a:lnTo>
                  <a:cubicBezTo>
                    <a:pt x="35648" y="0"/>
                    <a:pt x="35375" y="0"/>
                    <a:pt x="35057" y="0"/>
                  </a:cubicBezTo>
                  <a:cubicBezTo>
                    <a:pt x="16079" y="0"/>
                    <a:pt x="560" y="15109"/>
                    <a:pt x="14" y="34177"/>
                  </a:cubicBezTo>
                  <a:cubicBezTo>
                    <a:pt x="-532" y="53519"/>
                    <a:pt x="14759" y="69675"/>
                    <a:pt x="34146" y="70312"/>
                  </a:cubicBezTo>
                  <a:lnTo>
                    <a:pt x="35603" y="35179"/>
                  </a:lnTo>
                  <a:lnTo>
                    <a:pt x="34329" y="70312"/>
                  </a:lnTo>
                  <a:cubicBezTo>
                    <a:pt x="34784" y="70312"/>
                    <a:pt x="35193" y="70312"/>
                    <a:pt x="35648" y="70312"/>
                  </a:cubicBezTo>
                  <a:cubicBezTo>
                    <a:pt x="54489" y="70312"/>
                    <a:pt x="70053" y="55431"/>
                    <a:pt x="70736" y="36453"/>
                  </a:cubicBezTo>
                  <a:cubicBezTo>
                    <a:pt x="71464" y="17066"/>
                    <a:pt x="56309" y="728"/>
                    <a:pt x="36877" y="45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1" name="Freeform: Shape 590">
              <a:extLst>
                <a:ext uri="{FF2B5EF4-FFF2-40B4-BE49-F238E27FC236}">
                  <a16:creationId xmlns:a16="http://schemas.microsoft.com/office/drawing/2014/main" id="{44DAC3FE-11A1-E66C-1971-C3F26BF82BC4}"/>
                </a:ext>
              </a:extLst>
            </p:cNvPr>
            <p:cNvSpPr/>
            <p:nvPr/>
          </p:nvSpPr>
          <p:spPr>
            <a:xfrm>
              <a:off x="1394060" y="5640596"/>
              <a:ext cx="6775" cy="6729"/>
            </a:xfrm>
            <a:custGeom>
              <a:avLst/>
              <a:gdLst>
                <a:gd name="connsiteX0" fmla="*/ 36524 w 70786"/>
                <a:gd name="connsiteY0" fmla="*/ 70302 h 70302"/>
                <a:gd name="connsiteX1" fmla="*/ 37434 w 70786"/>
                <a:gd name="connsiteY1" fmla="*/ 70302 h 70302"/>
                <a:gd name="connsiteX2" fmla="*/ 70747 w 70786"/>
                <a:gd name="connsiteY2" fmla="*/ 33531 h 70302"/>
                <a:gd name="connsiteX3" fmla="*/ 34021 w 70786"/>
                <a:gd name="connsiteY3" fmla="*/ 36 h 70302"/>
                <a:gd name="connsiteX4" fmla="*/ 35158 w 70786"/>
                <a:gd name="connsiteY4" fmla="*/ 35169 h 70302"/>
                <a:gd name="connsiteX5" fmla="*/ 33838 w 70786"/>
                <a:gd name="connsiteY5" fmla="*/ 36 h 70302"/>
                <a:gd name="connsiteX6" fmla="*/ 25 w 70786"/>
                <a:gd name="connsiteY6" fmla="*/ 36489 h 70302"/>
                <a:gd name="connsiteX7" fmla="*/ 35113 w 70786"/>
                <a:gd name="connsiteY7" fmla="*/ 70302 h 70302"/>
                <a:gd name="connsiteX8" fmla="*/ 36433 w 70786"/>
                <a:gd name="connsiteY8" fmla="*/ 70302 h 70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786" h="70302">
                  <a:moveTo>
                    <a:pt x="36524" y="70302"/>
                  </a:moveTo>
                  <a:lnTo>
                    <a:pt x="37434" y="70302"/>
                  </a:lnTo>
                  <a:cubicBezTo>
                    <a:pt x="56775" y="69301"/>
                    <a:pt x="71657" y="52918"/>
                    <a:pt x="70747" y="33531"/>
                  </a:cubicBezTo>
                  <a:cubicBezTo>
                    <a:pt x="69882" y="14189"/>
                    <a:pt x="53408" y="-829"/>
                    <a:pt x="34021" y="36"/>
                  </a:cubicBezTo>
                  <a:lnTo>
                    <a:pt x="35158" y="35169"/>
                  </a:lnTo>
                  <a:lnTo>
                    <a:pt x="33838" y="36"/>
                  </a:lnTo>
                  <a:cubicBezTo>
                    <a:pt x="14452" y="764"/>
                    <a:pt x="-703" y="17102"/>
                    <a:pt x="25" y="36489"/>
                  </a:cubicBezTo>
                  <a:cubicBezTo>
                    <a:pt x="753" y="55421"/>
                    <a:pt x="16317" y="70302"/>
                    <a:pt x="35113" y="70302"/>
                  </a:cubicBezTo>
                  <a:cubicBezTo>
                    <a:pt x="35568" y="70302"/>
                    <a:pt x="36023" y="70302"/>
                    <a:pt x="36433" y="70302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2" name="Freeform: Shape 591">
              <a:extLst>
                <a:ext uri="{FF2B5EF4-FFF2-40B4-BE49-F238E27FC236}">
                  <a16:creationId xmlns:a16="http://schemas.microsoft.com/office/drawing/2014/main" id="{00BDBA3D-902E-158D-0C35-22AC19138DBA}"/>
                </a:ext>
              </a:extLst>
            </p:cNvPr>
            <p:cNvSpPr/>
            <p:nvPr/>
          </p:nvSpPr>
          <p:spPr>
            <a:xfrm>
              <a:off x="1472235" y="6055787"/>
              <a:ext cx="6785" cy="6751"/>
            </a:xfrm>
            <a:custGeom>
              <a:avLst/>
              <a:gdLst>
                <a:gd name="connsiteX0" fmla="*/ 24298 w 70889"/>
                <a:gd name="connsiteY0" fmla="*/ 1901 h 70529"/>
                <a:gd name="connsiteX1" fmla="*/ 23660 w 70889"/>
                <a:gd name="connsiteY1" fmla="*/ 2129 h 70529"/>
                <a:gd name="connsiteX2" fmla="*/ 1952 w 70889"/>
                <a:gd name="connsiteY2" fmla="*/ 46865 h 70529"/>
                <a:gd name="connsiteX3" fmla="*/ 35174 w 70889"/>
                <a:gd name="connsiteY3" fmla="*/ 70530 h 70529"/>
                <a:gd name="connsiteX4" fmla="*/ 46688 w 70889"/>
                <a:gd name="connsiteY4" fmla="*/ 68573 h 70529"/>
                <a:gd name="connsiteX5" fmla="*/ 47097 w 70889"/>
                <a:gd name="connsiteY5" fmla="*/ 68436 h 70529"/>
                <a:gd name="connsiteX6" fmla="*/ 68988 w 70889"/>
                <a:gd name="connsiteY6" fmla="*/ 23791 h 70529"/>
                <a:gd name="connsiteX7" fmla="*/ 24343 w 70889"/>
                <a:gd name="connsiteY7" fmla="*/ 1901 h 70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889" h="70529">
                  <a:moveTo>
                    <a:pt x="24298" y="1901"/>
                  </a:moveTo>
                  <a:lnTo>
                    <a:pt x="23660" y="2129"/>
                  </a:lnTo>
                  <a:cubicBezTo>
                    <a:pt x="5320" y="8500"/>
                    <a:pt x="-4419" y="28479"/>
                    <a:pt x="1952" y="46865"/>
                  </a:cubicBezTo>
                  <a:cubicBezTo>
                    <a:pt x="7004" y="61428"/>
                    <a:pt x="20611" y="70530"/>
                    <a:pt x="35174" y="70530"/>
                  </a:cubicBezTo>
                  <a:cubicBezTo>
                    <a:pt x="38997" y="70530"/>
                    <a:pt x="42865" y="69893"/>
                    <a:pt x="46688" y="68573"/>
                  </a:cubicBezTo>
                  <a:lnTo>
                    <a:pt x="47097" y="68436"/>
                  </a:lnTo>
                  <a:cubicBezTo>
                    <a:pt x="65483" y="62156"/>
                    <a:pt x="75268" y="42177"/>
                    <a:pt x="68988" y="23791"/>
                  </a:cubicBezTo>
                  <a:cubicBezTo>
                    <a:pt x="62707" y="5406"/>
                    <a:pt x="42729" y="-4379"/>
                    <a:pt x="24343" y="1901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3" name="Freeform: Shape 592">
              <a:extLst>
                <a:ext uri="{FF2B5EF4-FFF2-40B4-BE49-F238E27FC236}">
                  <a16:creationId xmlns:a16="http://schemas.microsoft.com/office/drawing/2014/main" id="{EE57BE07-53A6-4E27-A7B2-D28686D55C38}"/>
                </a:ext>
              </a:extLst>
            </p:cNvPr>
            <p:cNvSpPr/>
            <p:nvPr/>
          </p:nvSpPr>
          <p:spPr>
            <a:xfrm>
              <a:off x="1486757" y="6050213"/>
              <a:ext cx="6773" cy="6745"/>
            </a:xfrm>
            <a:custGeom>
              <a:avLst/>
              <a:gdLst>
                <a:gd name="connsiteX0" fmla="*/ 21580 w 70766"/>
                <a:gd name="connsiteY0" fmla="*/ 2890 h 70471"/>
                <a:gd name="connsiteX1" fmla="*/ 2739 w 70766"/>
                <a:gd name="connsiteY1" fmla="*/ 48900 h 70471"/>
                <a:gd name="connsiteX2" fmla="*/ 35188 w 70766"/>
                <a:gd name="connsiteY2" fmla="*/ 70471 h 70471"/>
                <a:gd name="connsiteX3" fmla="*/ 48749 w 70766"/>
                <a:gd name="connsiteY3" fmla="*/ 67741 h 70471"/>
                <a:gd name="connsiteX4" fmla="*/ 49614 w 70766"/>
                <a:gd name="connsiteY4" fmla="*/ 67376 h 70471"/>
                <a:gd name="connsiteX5" fmla="*/ 67863 w 70766"/>
                <a:gd name="connsiteY5" fmla="*/ 21184 h 70471"/>
                <a:gd name="connsiteX6" fmla="*/ 21580 w 70766"/>
                <a:gd name="connsiteY6" fmla="*/ 2890 h 70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766" h="70471">
                  <a:moveTo>
                    <a:pt x="21580" y="2890"/>
                  </a:moveTo>
                  <a:cubicBezTo>
                    <a:pt x="3695" y="10399"/>
                    <a:pt x="-4770" y="30969"/>
                    <a:pt x="2739" y="48900"/>
                  </a:cubicBezTo>
                  <a:cubicBezTo>
                    <a:pt x="8383" y="62370"/>
                    <a:pt x="21444" y="70471"/>
                    <a:pt x="35188" y="70471"/>
                  </a:cubicBezTo>
                  <a:cubicBezTo>
                    <a:pt x="39739" y="70471"/>
                    <a:pt x="44335" y="69607"/>
                    <a:pt x="48749" y="67741"/>
                  </a:cubicBezTo>
                  <a:lnTo>
                    <a:pt x="49614" y="67376"/>
                  </a:lnTo>
                  <a:cubicBezTo>
                    <a:pt x="67454" y="59685"/>
                    <a:pt x="75555" y="39024"/>
                    <a:pt x="67863" y="21184"/>
                  </a:cubicBezTo>
                  <a:cubicBezTo>
                    <a:pt x="60172" y="3390"/>
                    <a:pt x="39420" y="-4802"/>
                    <a:pt x="21580" y="2890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4" name="Freeform: Shape 593">
              <a:extLst>
                <a:ext uri="{FF2B5EF4-FFF2-40B4-BE49-F238E27FC236}">
                  <a16:creationId xmlns:a16="http://schemas.microsoft.com/office/drawing/2014/main" id="{7424CEC9-0460-C0AD-E06E-1ADF6D27073E}"/>
                </a:ext>
              </a:extLst>
            </p:cNvPr>
            <p:cNvSpPr/>
            <p:nvPr/>
          </p:nvSpPr>
          <p:spPr>
            <a:xfrm>
              <a:off x="1500830" y="6043578"/>
              <a:ext cx="6778" cy="6755"/>
            </a:xfrm>
            <a:custGeom>
              <a:avLst/>
              <a:gdLst>
                <a:gd name="connsiteX0" fmla="*/ 19591 w 70811"/>
                <a:gd name="connsiteY0" fmla="*/ 3899 h 70570"/>
                <a:gd name="connsiteX1" fmla="*/ 19091 w 70811"/>
                <a:gd name="connsiteY1" fmla="*/ 4126 h 70570"/>
                <a:gd name="connsiteX2" fmla="*/ 3890 w 70811"/>
                <a:gd name="connsiteY2" fmla="*/ 51457 h 70570"/>
                <a:gd name="connsiteX3" fmla="*/ 35201 w 70811"/>
                <a:gd name="connsiteY3" fmla="*/ 70571 h 70570"/>
                <a:gd name="connsiteX4" fmla="*/ 51220 w 70811"/>
                <a:gd name="connsiteY4" fmla="*/ 66657 h 70570"/>
                <a:gd name="connsiteX5" fmla="*/ 51721 w 70811"/>
                <a:gd name="connsiteY5" fmla="*/ 66429 h 70570"/>
                <a:gd name="connsiteX6" fmla="*/ 66921 w 70811"/>
                <a:gd name="connsiteY6" fmla="*/ 19099 h 70570"/>
                <a:gd name="connsiteX7" fmla="*/ 19591 w 70811"/>
                <a:gd name="connsiteY7" fmla="*/ 3899 h 70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811" h="70570">
                  <a:moveTo>
                    <a:pt x="19591" y="3899"/>
                  </a:moveTo>
                  <a:lnTo>
                    <a:pt x="19091" y="4126"/>
                  </a:lnTo>
                  <a:cubicBezTo>
                    <a:pt x="1843" y="13001"/>
                    <a:pt x="-4984" y="34208"/>
                    <a:pt x="3890" y="51457"/>
                  </a:cubicBezTo>
                  <a:cubicBezTo>
                    <a:pt x="10125" y="63562"/>
                    <a:pt x="22413" y="70571"/>
                    <a:pt x="35201" y="70571"/>
                  </a:cubicBezTo>
                  <a:cubicBezTo>
                    <a:pt x="40617" y="70571"/>
                    <a:pt x="46078" y="69342"/>
                    <a:pt x="51220" y="66657"/>
                  </a:cubicBezTo>
                  <a:lnTo>
                    <a:pt x="51721" y="66429"/>
                  </a:lnTo>
                  <a:cubicBezTo>
                    <a:pt x="68969" y="57555"/>
                    <a:pt x="75796" y="36347"/>
                    <a:pt x="66921" y="19099"/>
                  </a:cubicBezTo>
                  <a:cubicBezTo>
                    <a:pt x="58047" y="1806"/>
                    <a:pt x="36839" y="-4975"/>
                    <a:pt x="19591" y="3899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5" name="Freeform: Shape 594">
              <a:extLst>
                <a:ext uri="{FF2B5EF4-FFF2-40B4-BE49-F238E27FC236}">
                  <a16:creationId xmlns:a16="http://schemas.microsoft.com/office/drawing/2014/main" id="{88C51336-52F8-3723-99B2-34DD811F3AF8}"/>
                </a:ext>
              </a:extLst>
            </p:cNvPr>
            <p:cNvSpPr/>
            <p:nvPr/>
          </p:nvSpPr>
          <p:spPr>
            <a:xfrm>
              <a:off x="1499496" y="5663393"/>
              <a:ext cx="6797" cy="6754"/>
            </a:xfrm>
            <a:custGeom>
              <a:avLst/>
              <a:gdLst>
                <a:gd name="connsiteX0" fmla="*/ 20328 w 71015"/>
                <a:gd name="connsiteY0" fmla="*/ 67012 h 70561"/>
                <a:gd name="connsiteX1" fmla="*/ 35756 w 71015"/>
                <a:gd name="connsiteY1" fmla="*/ 70562 h 70561"/>
                <a:gd name="connsiteX2" fmla="*/ 67430 w 71015"/>
                <a:gd name="connsiteY2" fmla="*/ 50856 h 70561"/>
                <a:gd name="connsiteX3" fmla="*/ 51320 w 71015"/>
                <a:gd name="connsiteY3" fmla="*/ 3936 h 70561"/>
                <a:gd name="connsiteX4" fmla="*/ 35164 w 71015"/>
                <a:gd name="connsiteY4" fmla="*/ 35156 h 70561"/>
                <a:gd name="connsiteX5" fmla="*/ 51229 w 71015"/>
                <a:gd name="connsiteY5" fmla="*/ 3891 h 70561"/>
                <a:gd name="connsiteX6" fmla="*/ 3899 w 71015"/>
                <a:gd name="connsiteY6" fmla="*/ 19091 h 70561"/>
                <a:gd name="connsiteX7" fmla="*/ 19099 w 71015"/>
                <a:gd name="connsiteY7" fmla="*/ 66421 h 70561"/>
                <a:gd name="connsiteX8" fmla="*/ 20283 w 71015"/>
                <a:gd name="connsiteY8" fmla="*/ 67012 h 70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015" h="70561">
                  <a:moveTo>
                    <a:pt x="20328" y="67012"/>
                  </a:moveTo>
                  <a:cubicBezTo>
                    <a:pt x="25288" y="69424"/>
                    <a:pt x="30568" y="70562"/>
                    <a:pt x="35756" y="70562"/>
                  </a:cubicBezTo>
                  <a:cubicBezTo>
                    <a:pt x="48817" y="70562"/>
                    <a:pt x="61378" y="63326"/>
                    <a:pt x="67430" y="50856"/>
                  </a:cubicBezTo>
                  <a:cubicBezTo>
                    <a:pt x="75941" y="33381"/>
                    <a:pt x="68796" y="12446"/>
                    <a:pt x="51320" y="3936"/>
                  </a:cubicBezTo>
                  <a:lnTo>
                    <a:pt x="35164" y="35156"/>
                  </a:lnTo>
                  <a:lnTo>
                    <a:pt x="51229" y="3891"/>
                  </a:lnTo>
                  <a:cubicBezTo>
                    <a:pt x="33935" y="-4984"/>
                    <a:pt x="12773" y="1843"/>
                    <a:pt x="3899" y="19091"/>
                  </a:cubicBezTo>
                  <a:cubicBezTo>
                    <a:pt x="-4975" y="36339"/>
                    <a:pt x="1805" y="57546"/>
                    <a:pt x="19099" y="66421"/>
                  </a:cubicBezTo>
                  <a:lnTo>
                    <a:pt x="20283" y="67012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6" name="Freeform: Shape 595">
              <a:extLst>
                <a:ext uri="{FF2B5EF4-FFF2-40B4-BE49-F238E27FC236}">
                  <a16:creationId xmlns:a16="http://schemas.microsoft.com/office/drawing/2014/main" id="{A8B1E24F-7EDE-0B12-BF34-38312E692992}"/>
                </a:ext>
              </a:extLst>
            </p:cNvPr>
            <p:cNvSpPr/>
            <p:nvPr/>
          </p:nvSpPr>
          <p:spPr>
            <a:xfrm>
              <a:off x="1514392" y="6035954"/>
              <a:ext cx="6763" cy="6734"/>
            </a:xfrm>
            <a:custGeom>
              <a:avLst/>
              <a:gdLst>
                <a:gd name="connsiteX0" fmla="*/ 16752 w 70656"/>
                <a:gd name="connsiteY0" fmla="*/ 5276 h 70354"/>
                <a:gd name="connsiteX1" fmla="*/ 5192 w 70656"/>
                <a:gd name="connsiteY1" fmla="*/ 53607 h 70354"/>
                <a:gd name="connsiteX2" fmla="*/ 35183 w 70656"/>
                <a:gd name="connsiteY2" fmla="*/ 70355 h 70354"/>
                <a:gd name="connsiteX3" fmla="*/ 53569 w 70656"/>
                <a:gd name="connsiteY3" fmla="*/ 65166 h 70354"/>
                <a:gd name="connsiteX4" fmla="*/ 54115 w 70656"/>
                <a:gd name="connsiteY4" fmla="*/ 64848 h 70354"/>
                <a:gd name="connsiteX5" fmla="*/ 65355 w 70656"/>
                <a:gd name="connsiteY5" fmla="*/ 16608 h 70354"/>
                <a:gd name="connsiteX6" fmla="*/ 16797 w 70656"/>
                <a:gd name="connsiteY6" fmla="*/ 5276 h 70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656" h="70354">
                  <a:moveTo>
                    <a:pt x="16752" y="5276"/>
                  </a:moveTo>
                  <a:cubicBezTo>
                    <a:pt x="232" y="15425"/>
                    <a:pt x="-4957" y="37087"/>
                    <a:pt x="5192" y="53607"/>
                  </a:cubicBezTo>
                  <a:cubicBezTo>
                    <a:pt x="11836" y="64393"/>
                    <a:pt x="23350" y="70355"/>
                    <a:pt x="35183" y="70355"/>
                  </a:cubicBezTo>
                  <a:cubicBezTo>
                    <a:pt x="41463" y="70355"/>
                    <a:pt x="47834" y="68671"/>
                    <a:pt x="53569" y="65166"/>
                  </a:cubicBezTo>
                  <a:lnTo>
                    <a:pt x="54115" y="64848"/>
                  </a:lnTo>
                  <a:cubicBezTo>
                    <a:pt x="70635" y="54654"/>
                    <a:pt x="75549" y="33082"/>
                    <a:pt x="65355" y="16608"/>
                  </a:cubicBezTo>
                  <a:cubicBezTo>
                    <a:pt x="55161" y="88"/>
                    <a:pt x="33272" y="-4918"/>
                    <a:pt x="16797" y="5276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7" name="Freeform: Shape 596">
              <a:extLst>
                <a:ext uri="{FF2B5EF4-FFF2-40B4-BE49-F238E27FC236}">
                  <a16:creationId xmlns:a16="http://schemas.microsoft.com/office/drawing/2014/main" id="{EF2F11B4-6C30-6ADD-CC9D-A3B4F3F4B459}"/>
                </a:ext>
              </a:extLst>
            </p:cNvPr>
            <p:cNvSpPr/>
            <p:nvPr/>
          </p:nvSpPr>
          <p:spPr>
            <a:xfrm>
              <a:off x="1455819" y="5646979"/>
              <a:ext cx="6782" cy="6745"/>
            </a:xfrm>
            <a:custGeom>
              <a:avLst/>
              <a:gdLst>
                <a:gd name="connsiteX0" fmla="*/ 27143 w 70851"/>
                <a:gd name="connsiteY0" fmla="*/ 69421 h 70467"/>
                <a:gd name="connsiteX1" fmla="*/ 35698 w 70851"/>
                <a:gd name="connsiteY1" fmla="*/ 70468 h 70467"/>
                <a:gd name="connsiteX2" fmla="*/ 69785 w 70851"/>
                <a:gd name="connsiteY2" fmla="*/ 43845 h 70467"/>
                <a:gd name="connsiteX3" fmla="*/ 44209 w 70851"/>
                <a:gd name="connsiteY3" fmla="*/ 1202 h 70467"/>
                <a:gd name="connsiteX4" fmla="*/ 43890 w 70851"/>
                <a:gd name="connsiteY4" fmla="*/ 1111 h 70467"/>
                <a:gd name="connsiteX5" fmla="*/ 1111 w 70851"/>
                <a:gd name="connsiteY5" fmla="*/ 26414 h 70467"/>
                <a:gd name="connsiteX6" fmla="*/ 26414 w 70851"/>
                <a:gd name="connsiteY6" fmla="*/ 69193 h 70467"/>
                <a:gd name="connsiteX7" fmla="*/ 27143 w 70851"/>
                <a:gd name="connsiteY7" fmla="*/ 69375 h 70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851" h="70467">
                  <a:moveTo>
                    <a:pt x="27143" y="69421"/>
                  </a:moveTo>
                  <a:cubicBezTo>
                    <a:pt x="30010" y="70149"/>
                    <a:pt x="32877" y="70468"/>
                    <a:pt x="35698" y="70468"/>
                  </a:cubicBezTo>
                  <a:cubicBezTo>
                    <a:pt x="51444" y="70468"/>
                    <a:pt x="65780" y="59818"/>
                    <a:pt x="69785" y="43845"/>
                  </a:cubicBezTo>
                  <a:cubicBezTo>
                    <a:pt x="74518" y="25004"/>
                    <a:pt x="63050" y="5935"/>
                    <a:pt x="44209" y="1202"/>
                  </a:cubicBezTo>
                  <a:lnTo>
                    <a:pt x="43890" y="1111"/>
                  </a:lnTo>
                  <a:cubicBezTo>
                    <a:pt x="25049" y="-3713"/>
                    <a:pt x="5935" y="7619"/>
                    <a:pt x="1111" y="26414"/>
                  </a:cubicBezTo>
                  <a:cubicBezTo>
                    <a:pt x="-3713" y="45210"/>
                    <a:pt x="7619" y="64369"/>
                    <a:pt x="26414" y="69193"/>
                  </a:cubicBezTo>
                  <a:lnTo>
                    <a:pt x="27143" y="69375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8" name="Freeform: Shape 597">
              <a:extLst>
                <a:ext uri="{FF2B5EF4-FFF2-40B4-BE49-F238E27FC236}">
                  <a16:creationId xmlns:a16="http://schemas.microsoft.com/office/drawing/2014/main" id="{2941F5D8-1FDE-6BDB-1C77-1AFFADB0F6E0}"/>
                </a:ext>
              </a:extLst>
            </p:cNvPr>
            <p:cNvSpPr/>
            <p:nvPr/>
          </p:nvSpPr>
          <p:spPr>
            <a:xfrm>
              <a:off x="1513139" y="5670949"/>
              <a:ext cx="6770" cy="6755"/>
            </a:xfrm>
            <a:custGeom>
              <a:avLst/>
              <a:gdLst>
                <a:gd name="connsiteX0" fmla="*/ 35531 w 70726"/>
                <a:gd name="connsiteY0" fmla="*/ 70575 h 70575"/>
                <a:gd name="connsiteX1" fmla="*/ 65476 w 70726"/>
                <a:gd name="connsiteY1" fmla="*/ 53873 h 70575"/>
                <a:gd name="connsiteX2" fmla="*/ 54053 w 70726"/>
                <a:gd name="connsiteY2" fmla="*/ 5497 h 70575"/>
                <a:gd name="connsiteX3" fmla="*/ 53189 w 70726"/>
                <a:gd name="connsiteY3" fmla="*/ 4996 h 70575"/>
                <a:gd name="connsiteX4" fmla="*/ 4994 w 70726"/>
                <a:gd name="connsiteY4" fmla="*/ 17056 h 70575"/>
                <a:gd name="connsiteX5" fmla="*/ 17100 w 70726"/>
                <a:gd name="connsiteY5" fmla="*/ 65296 h 70575"/>
                <a:gd name="connsiteX6" fmla="*/ 35531 w 70726"/>
                <a:gd name="connsiteY6" fmla="*/ 70530 h 70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726" h="70575">
                  <a:moveTo>
                    <a:pt x="35531" y="70575"/>
                  </a:moveTo>
                  <a:cubicBezTo>
                    <a:pt x="47318" y="70575"/>
                    <a:pt x="58832" y="64659"/>
                    <a:pt x="65476" y="53873"/>
                  </a:cubicBezTo>
                  <a:cubicBezTo>
                    <a:pt x="75670" y="37353"/>
                    <a:pt x="70573" y="15691"/>
                    <a:pt x="54053" y="5497"/>
                  </a:cubicBezTo>
                  <a:lnTo>
                    <a:pt x="53189" y="4996"/>
                  </a:lnTo>
                  <a:cubicBezTo>
                    <a:pt x="36532" y="-4971"/>
                    <a:pt x="15006" y="445"/>
                    <a:pt x="4994" y="17056"/>
                  </a:cubicBezTo>
                  <a:cubicBezTo>
                    <a:pt x="-4972" y="33712"/>
                    <a:pt x="443" y="55329"/>
                    <a:pt x="17100" y="65296"/>
                  </a:cubicBezTo>
                  <a:cubicBezTo>
                    <a:pt x="22834" y="68846"/>
                    <a:pt x="29251" y="70530"/>
                    <a:pt x="35531" y="70530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9" name="Freeform: Shape 598">
              <a:extLst>
                <a:ext uri="{FF2B5EF4-FFF2-40B4-BE49-F238E27FC236}">
                  <a16:creationId xmlns:a16="http://schemas.microsoft.com/office/drawing/2014/main" id="{D0B41A4F-016D-FFB8-07D0-914D7AD5E54C}"/>
                </a:ext>
              </a:extLst>
            </p:cNvPr>
            <p:cNvSpPr/>
            <p:nvPr/>
          </p:nvSpPr>
          <p:spPr>
            <a:xfrm>
              <a:off x="1470759" y="5651373"/>
              <a:ext cx="6776" cy="6747"/>
            </a:xfrm>
            <a:custGeom>
              <a:avLst/>
              <a:gdLst>
                <a:gd name="connsiteX0" fmla="*/ 24660 w 70797"/>
                <a:gd name="connsiteY0" fmla="*/ 68713 h 70488"/>
                <a:gd name="connsiteX1" fmla="*/ 35628 w 70797"/>
                <a:gd name="connsiteY1" fmla="*/ 70488 h 70488"/>
                <a:gd name="connsiteX2" fmla="*/ 69032 w 70797"/>
                <a:gd name="connsiteY2" fmla="*/ 46323 h 70488"/>
                <a:gd name="connsiteX3" fmla="*/ 46641 w 70797"/>
                <a:gd name="connsiteY3" fmla="*/ 1951 h 70488"/>
                <a:gd name="connsiteX4" fmla="*/ 46277 w 70797"/>
                <a:gd name="connsiteY4" fmla="*/ 1814 h 70488"/>
                <a:gd name="connsiteX5" fmla="*/ 1814 w 70797"/>
                <a:gd name="connsiteY5" fmla="*/ 24068 h 70488"/>
                <a:gd name="connsiteX6" fmla="*/ 24068 w 70797"/>
                <a:gd name="connsiteY6" fmla="*/ 68531 h 70488"/>
                <a:gd name="connsiteX7" fmla="*/ 24706 w 70797"/>
                <a:gd name="connsiteY7" fmla="*/ 68759 h 70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797" h="70488">
                  <a:moveTo>
                    <a:pt x="24660" y="68713"/>
                  </a:moveTo>
                  <a:cubicBezTo>
                    <a:pt x="28301" y="69896"/>
                    <a:pt x="32033" y="70488"/>
                    <a:pt x="35628" y="70488"/>
                  </a:cubicBezTo>
                  <a:cubicBezTo>
                    <a:pt x="50419" y="70488"/>
                    <a:pt x="64163" y="61113"/>
                    <a:pt x="69032" y="46323"/>
                  </a:cubicBezTo>
                  <a:cubicBezTo>
                    <a:pt x="75084" y="27891"/>
                    <a:pt x="65073" y="8003"/>
                    <a:pt x="46641" y="1951"/>
                  </a:cubicBezTo>
                  <a:lnTo>
                    <a:pt x="46277" y="1814"/>
                  </a:lnTo>
                  <a:cubicBezTo>
                    <a:pt x="27845" y="-4330"/>
                    <a:pt x="7958" y="5637"/>
                    <a:pt x="1814" y="24068"/>
                  </a:cubicBezTo>
                  <a:cubicBezTo>
                    <a:pt x="-4330" y="42500"/>
                    <a:pt x="5637" y="62387"/>
                    <a:pt x="24068" y="68531"/>
                  </a:cubicBezTo>
                  <a:lnTo>
                    <a:pt x="24706" y="68759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0" name="Freeform: Shape 599">
              <a:extLst>
                <a:ext uri="{FF2B5EF4-FFF2-40B4-BE49-F238E27FC236}">
                  <a16:creationId xmlns:a16="http://schemas.microsoft.com/office/drawing/2014/main" id="{135592D6-D35E-5B85-3C7D-7B31D6D67447}"/>
                </a:ext>
              </a:extLst>
            </p:cNvPr>
            <p:cNvSpPr/>
            <p:nvPr/>
          </p:nvSpPr>
          <p:spPr>
            <a:xfrm>
              <a:off x="1485344" y="5656850"/>
              <a:ext cx="6787" cy="6754"/>
            </a:xfrm>
            <a:custGeom>
              <a:avLst/>
              <a:gdLst>
                <a:gd name="connsiteX0" fmla="*/ 35752 w 70907"/>
                <a:gd name="connsiteY0" fmla="*/ 70560 h 70559"/>
                <a:gd name="connsiteX1" fmla="*/ 68018 w 70907"/>
                <a:gd name="connsiteY1" fmla="*/ 49352 h 70559"/>
                <a:gd name="connsiteX2" fmla="*/ 49723 w 70907"/>
                <a:gd name="connsiteY2" fmla="*/ 3114 h 70559"/>
                <a:gd name="connsiteX3" fmla="*/ 48539 w 70907"/>
                <a:gd name="connsiteY3" fmla="*/ 2614 h 70559"/>
                <a:gd name="connsiteX4" fmla="*/ 2621 w 70907"/>
                <a:gd name="connsiteY4" fmla="*/ 21864 h 70559"/>
                <a:gd name="connsiteX5" fmla="*/ 21825 w 70907"/>
                <a:gd name="connsiteY5" fmla="*/ 67647 h 70559"/>
                <a:gd name="connsiteX6" fmla="*/ 35752 w 70907"/>
                <a:gd name="connsiteY6" fmla="*/ 70560 h 70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07" h="70559">
                  <a:moveTo>
                    <a:pt x="35752" y="70560"/>
                  </a:moveTo>
                  <a:cubicBezTo>
                    <a:pt x="49359" y="70560"/>
                    <a:pt x="62283" y="62641"/>
                    <a:pt x="68018" y="49352"/>
                  </a:cubicBezTo>
                  <a:cubicBezTo>
                    <a:pt x="75709" y="31512"/>
                    <a:pt x="67517" y="10851"/>
                    <a:pt x="49723" y="3114"/>
                  </a:cubicBezTo>
                  <a:lnTo>
                    <a:pt x="48539" y="2614"/>
                  </a:lnTo>
                  <a:cubicBezTo>
                    <a:pt x="30563" y="-4713"/>
                    <a:pt x="9947" y="3888"/>
                    <a:pt x="2621" y="21864"/>
                  </a:cubicBezTo>
                  <a:cubicBezTo>
                    <a:pt x="-4706" y="39841"/>
                    <a:pt x="3849" y="60320"/>
                    <a:pt x="21825" y="67647"/>
                  </a:cubicBezTo>
                  <a:cubicBezTo>
                    <a:pt x="26376" y="69604"/>
                    <a:pt x="31110" y="70560"/>
                    <a:pt x="35752" y="70560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1" name="Freeform: Shape 600">
              <a:extLst>
                <a:ext uri="{FF2B5EF4-FFF2-40B4-BE49-F238E27FC236}">
                  <a16:creationId xmlns:a16="http://schemas.microsoft.com/office/drawing/2014/main" id="{D66DBE11-340B-0B5B-EDD8-849E9378E01B}"/>
                </a:ext>
              </a:extLst>
            </p:cNvPr>
            <p:cNvSpPr/>
            <p:nvPr/>
          </p:nvSpPr>
          <p:spPr>
            <a:xfrm>
              <a:off x="1457327" y="6060287"/>
              <a:ext cx="6787" cy="6746"/>
            </a:xfrm>
            <a:custGeom>
              <a:avLst/>
              <a:gdLst>
                <a:gd name="connsiteX0" fmla="*/ 26643 w 70911"/>
                <a:gd name="connsiteY0" fmla="*/ 1219 h 70484"/>
                <a:gd name="connsiteX1" fmla="*/ 1066 w 70911"/>
                <a:gd name="connsiteY1" fmla="*/ 43862 h 70484"/>
                <a:gd name="connsiteX2" fmla="*/ 35153 w 70911"/>
                <a:gd name="connsiteY2" fmla="*/ 70485 h 70484"/>
                <a:gd name="connsiteX3" fmla="*/ 43709 w 70911"/>
                <a:gd name="connsiteY3" fmla="*/ 69438 h 70484"/>
                <a:gd name="connsiteX4" fmla="*/ 44847 w 70911"/>
                <a:gd name="connsiteY4" fmla="*/ 69119 h 70484"/>
                <a:gd name="connsiteX5" fmla="*/ 69695 w 70911"/>
                <a:gd name="connsiteY5" fmla="*/ 26022 h 70484"/>
                <a:gd name="connsiteX6" fmla="*/ 26643 w 70911"/>
                <a:gd name="connsiteY6" fmla="*/ 1219 h 70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11" h="70484">
                  <a:moveTo>
                    <a:pt x="26643" y="1219"/>
                  </a:moveTo>
                  <a:cubicBezTo>
                    <a:pt x="7802" y="5907"/>
                    <a:pt x="-3667" y="25021"/>
                    <a:pt x="1066" y="43862"/>
                  </a:cubicBezTo>
                  <a:cubicBezTo>
                    <a:pt x="5071" y="59836"/>
                    <a:pt x="19407" y="70485"/>
                    <a:pt x="35153" y="70485"/>
                  </a:cubicBezTo>
                  <a:cubicBezTo>
                    <a:pt x="37975" y="70485"/>
                    <a:pt x="40842" y="70121"/>
                    <a:pt x="43709" y="69438"/>
                  </a:cubicBezTo>
                  <a:lnTo>
                    <a:pt x="44847" y="69119"/>
                  </a:lnTo>
                  <a:cubicBezTo>
                    <a:pt x="63596" y="64068"/>
                    <a:pt x="74747" y="44772"/>
                    <a:pt x="69695" y="26022"/>
                  </a:cubicBezTo>
                  <a:cubicBezTo>
                    <a:pt x="64643" y="7272"/>
                    <a:pt x="45438" y="-3832"/>
                    <a:pt x="26643" y="1219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2" name="Freeform: Shape 601">
              <a:extLst>
                <a:ext uri="{FF2B5EF4-FFF2-40B4-BE49-F238E27FC236}">
                  <a16:creationId xmlns:a16="http://schemas.microsoft.com/office/drawing/2014/main" id="{FF3BAAF6-D5B2-192A-F114-E0B1D9A85AFB}"/>
                </a:ext>
              </a:extLst>
            </p:cNvPr>
            <p:cNvSpPr/>
            <p:nvPr/>
          </p:nvSpPr>
          <p:spPr>
            <a:xfrm>
              <a:off x="1526175" y="5679479"/>
              <a:ext cx="6769" cy="6758"/>
            </a:xfrm>
            <a:custGeom>
              <a:avLst/>
              <a:gdLst>
                <a:gd name="connsiteX0" fmla="*/ 15200 w 70722"/>
                <a:gd name="connsiteY0" fmla="*/ 64097 h 70605"/>
                <a:gd name="connsiteX1" fmla="*/ 35543 w 70722"/>
                <a:gd name="connsiteY1" fmla="*/ 70605 h 70605"/>
                <a:gd name="connsiteX2" fmla="*/ 64214 w 70722"/>
                <a:gd name="connsiteY2" fmla="*/ 55860 h 70605"/>
                <a:gd name="connsiteX3" fmla="*/ 55977 w 70722"/>
                <a:gd name="connsiteY3" fmla="*/ 6846 h 70605"/>
                <a:gd name="connsiteX4" fmla="*/ 55522 w 70722"/>
                <a:gd name="connsiteY4" fmla="*/ 6528 h 70605"/>
                <a:gd name="connsiteX5" fmla="*/ 6508 w 70722"/>
                <a:gd name="connsiteY5" fmla="*/ 14765 h 70605"/>
                <a:gd name="connsiteX6" fmla="*/ 14745 w 70722"/>
                <a:gd name="connsiteY6" fmla="*/ 63779 h 70605"/>
                <a:gd name="connsiteX7" fmla="*/ 15200 w 70722"/>
                <a:gd name="connsiteY7" fmla="*/ 64097 h 70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722" h="70605">
                  <a:moveTo>
                    <a:pt x="15200" y="64097"/>
                  </a:moveTo>
                  <a:cubicBezTo>
                    <a:pt x="21390" y="68512"/>
                    <a:pt x="28489" y="70605"/>
                    <a:pt x="35543" y="70605"/>
                  </a:cubicBezTo>
                  <a:cubicBezTo>
                    <a:pt x="46511" y="70605"/>
                    <a:pt x="57342" y="65463"/>
                    <a:pt x="64214" y="55860"/>
                  </a:cubicBezTo>
                  <a:cubicBezTo>
                    <a:pt x="75455" y="40068"/>
                    <a:pt x="71768" y="18087"/>
                    <a:pt x="55977" y="6846"/>
                  </a:cubicBezTo>
                  <a:lnTo>
                    <a:pt x="55522" y="6528"/>
                  </a:lnTo>
                  <a:cubicBezTo>
                    <a:pt x="39685" y="-4759"/>
                    <a:pt x="17749" y="-1027"/>
                    <a:pt x="6508" y="14765"/>
                  </a:cubicBezTo>
                  <a:cubicBezTo>
                    <a:pt x="-4733" y="30557"/>
                    <a:pt x="-1047" y="52538"/>
                    <a:pt x="14745" y="63779"/>
                  </a:cubicBezTo>
                  <a:lnTo>
                    <a:pt x="15200" y="64097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3" name="Freeform: Shape 602">
              <a:extLst>
                <a:ext uri="{FF2B5EF4-FFF2-40B4-BE49-F238E27FC236}">
                  <a16:creationId xmlns:a16="http://schemas.microsoft.com/office/drawing/2014/main" id="{55C86699-E332-E59D-305E-8E8D69029726}"/>
                </a:ext>
              </a:extLst>
            </p:cNvPr>
            <p:cNvSpPr/>
            <p:nvPr/>
          </p:nvSpPr>
          <p:spPr>
            <a:xfrm>
              <a:off x="1232677" y="6088553"/>
              <a:ext cx="80791" cy="75489"/>
            </a:xfrm>
            <a:custGeom>
              <a:avLst/>
              <a:gdLst>
                <a:gd name="connsiteX0" fmla="*/ 0 w 844065"/>
                <a:gd name="connsiteY0" fmla="*/ 0 h 788679"/>
                <a:gd name="connsiteX1" fmla="*/ 844065 w 844065"/>
                <a:gd name="connsiteY1" fmla="*/ 0 h 788679"/>
                <a:gd name="connsiteX2" fmla="*/ 844065 w 844065"/>
                <a:gd name="connsiteY2" fmla="*/ 788680 h 788679"/>
                <a:gd name="connsiteX3" fmla="*/ 0 w 844065"/>
                <a:gd name="connsiteY3" fmla="*/ 788680 h 788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4065" h="788679">
                  <a:moveTo>
                    <a:pt x="0" y="0"/>
                  </a:moveTo>
                  <a:lnTo>
                    <a:pt x="844065" y="0"/>
                  </a:lnTo>
                  <a:lnTo>
                    <a:pt x="844065" y="788680"/>
                  </a:lnTo>
                  <a:lnTo>
                    <a:pt x="0" y="788680"/>
                  </a:lnTo>
                  <a:close/>
                </a:path>
              </a:pathLst>
            </a:custGeom>
            <a:solidFill>
              <a:srgbClr val="2C566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4" name="Freeform: Shape 603">
              <a:extLst>
                <a:ext uri="{FF2B5EF4-FFF2-40B4-BE49-F238E27FC236}">
                  <a16:creationId xmlns:a16="http://schemas.microsoft.com/office/drawing/2014/main" id="{AC8936FD-B8B7-D12C-333D-0590C0F72A3F}"/>
                </a:ext>
              </a:extLst>
            </p:cNvPr>
            <p:cNvSpPr/>
            <p:nvPr/>
          </p:nvSpPr>
          <p:spPr>
            <a:xfrm>
              <a:off x="1198596" y="6160710"/>
              <a:ext cx="148949" cy="9770"/>
            </a:xfrm>
            <a:custGeom>
              <a:avLst/>
              <a:gdLst>
                <a:gd name="connsiteX0" fmla="*/ 0 w 1556152"/>
                <a:gd name="connsiteY0" fmla="*/ 0 h 102077"/>
                <a:gd name="connsiteX1" fmla="*/ 1556152 w 1556152"/>
                <a:gd name="connsiteY1" fmla="*/ 0 h 102077"/>
                <a:gd name="connsiteX2" fmla="*/ 1556152 w 1556152"/>
                <a:gd name="connsiteY2" fmla="*/ 102078 h 102077"/>
                <a:gd name="connsiteX3" fmla="*/ 0 w 1556152"/>
                <a:gd name="connsiteY3" fmla="*/ 102078 h 102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152" h="102077">
                  <a:moveTo>
                    <a:pt x="0" y="0"/>
                  </a:moveTo>
                  <a:lnTo>
                    <a:pt x="1556152" y="0"/>
                  </a:lnTo>
                  <a:lnTo>
                    <a:pt x="1556152" y="102078"/>
                  </a:lnTo>
                  <a:lnTo>
                    <a:pt x="0" y="102078"/>
                  </a:lnTo>
                  <a:close/>
                </a:path>
              </a:pathLst>
            </a:custGeom>
            <a:solidFill>
              <a:srgbClr val="39738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5" name="Freeform: Shape 604">
              <a:extLst>
                <a:ext uri="{FF2B5EF4-FFF2-40B4-BE49-F238E27FC236}">
                  <a16:creationId xmlns:a16="http://schemas.microsoft.com/office/drawing/2014/main" id="{92A56BD3-8C76-E207-38E7-F5BF20B647F3}"/>
                </a:ext>
              </a:extLst>
            </p:cNvPr>
            <p:cNvSpPr/>
            <p:nvPr/>
          </p:nvSpPr>
          <p:spPr>
            <a:xfrm>
              <a:off x="1027177" y="5802168"/>
              <a:ext cx="491471" cy="289930"/>
            </a:xfrm>
            <a:custGeom>
              <a:avLst/>
              <a:gdLst>
                <a:gd name="connsiteX0" fmla="*/ 5058267 w 5134668"/>
                <a:gd name="connsiteY0" fmla="*/ 0 h 3029067"/>
                <a:gd name="connsiteX1" fmla="*/ 345437 w 5134668"/>
                <a:gd name="connsiteY1" fmla="*/ 37045 h 3029067"/>
                <a:gd name="connsiteX2" fmla="*/ 311351 w 5134668"/>
                <a:gd name="connsiteY2" fmla="*/ 68401 h 3029067"/>
                <a:gd name="connsiteX3" fmla="*/ 112 w 5134668"/>
                <a:gd name="connsiteY3" fmla="*/ 2954933 h 3029067"/>
                <a:gd name="connsiteX4" fmla="*/ 67693 w 5134668"/>
                <a:gd name="connsiteY4" fmla="*/ 3029068 h 3029067"/>
                <a:gd name="connsiteX5" fmla="*/ 4853565 w 5134668"/>
                <a:gd name="connsiteY5" fmla="*/ 3029068 h 3029067"/>
                <a:gd name="connsiteX6" fmla="*/ 4887697 w 5134668"/>
                <a:gd name="connsiteY6" fmla="*/ 2997712 h 3029067"/>
                <a:gd name="connsiteX7" fmla="*/ 5134132 w 5134668"/>
                <a:gd name="connsiteY7" fmla="*/ 74135 h 3029067"/>
                <a:gd name="connsiteX8" fmla="*/ 5058358 w 5134668"/>
                <a:gd name="connsiteY8" fmla="*/ 0 h 3029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34668" h="3029067">
                  <a:moveTo>
                    <a:pt x="5058267" y="0"/>
                  </a:moveTo>
                  <a:lnTo>
                    <a:pt x="345437" y="37045"/>
                  </a:lnTo>
                  <a:cubicBezTo>
                    <a:pt x="327643" y="37045"/>
                    <a:pt x="312807" y="50652"/>
                    <a:pt x="311351" y="68401"/>
                  </a:cubicBezTo>
                  <a:lnTo>
                    <a:pt x="112" y="2954933"/>
                  </a:lnTo>
                  <a:cubicBezTo>
                    <a:pt x="-1573" y="2974912"/>
                    <a:pt x="15585" y="3029068"/>
                    <a:pt x="67693" y="3029068"/>
                  </a:cubicBezTo>
                  <a:lnTo>
                    <a:pt x="4853565" y="3029068"/>
                  </a:lnTo>
                  <a:cubicBezTo>
                    <a:pt x="4871360" y="3029068"/>
                    <a:pt x="4886196" y="3015461"/>
                    <a:pt x="4887697" y="2997712"/>
                  </a:cubicBezTo>
                  <a:lnTo>
                    <a:pt x="5134132" y="74135"/>
                  </a:lnTo>
                  <a:cubicBezTo>
                    <a:pt x="5141095" y="8738"/>
                    <a:pt x="5078382" y="0"/>
                    <a:pt x="5058358" y="0"/>
                  </a:cubicBezTo>
                  <a:close/>
                </a:path>
              </a:pathLst>
            </a:custGeom>
            <a:solidFill>
              <a:srgbClr val="22444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6" name="Freeform: Shape 605">
              <a:extLst>
                <a:ext uri="{FF2B5EF4-FFF2-40B4-BE49-F238E27FC236}">
                  <a16:creationId xmlns:a16="http://schemas.microsoft.com/office/drawing/2014/main" id="{FFE9459F-D8AD-1D47-ECC2-F79DCCA53565}"/>
                </a:ext>
              </a:extLst>
            </p:cNvPr>
            <p:cNvSpPr/>
            <p:nvPr/>
          </p:nvSpPr>
          <p:spPr>
            <a:xfrm>
              <a:off x="1027171" y="5802168"/>
              <a:ext cx="487442" cy="286385"/>
            </a:xfrm>
            <a:custGeom>
              <a:avLst/>
              <a:gdLst>
                <a:gd name="connsiteX0" fmla="*/ 5058325 w 5092579"/>
                <a:gd name="connsiteY0" fmla="*/ 0 h 2992023"/>
                <a:gd name="connsiteX1" fmla="*/ 280690 w 5092579"/>
                <a:gd name="connsiteY1" fmla="*/ 0 h 2992023"/>
                <a:gd name="connsiteX2" fmla="*/ 246557 w 5092579"/>
                <a:gd name="connsiteY2" fmla="*/ 18659 h 2992023"/>
                <a:gd name="connsiteX3" fmla="*/ 124 w 5092579"/>
                <a:gd name="connsiteY3" fmla="*/ 2954933 h 2992023"/>
                <a:gd name="connsiteX4" fmla="*/ 34210 w 5092579"/>
                <a:gd name="connsiteY4" fmla="*/ 2992024 h 2992023"/>
                <a:gd name="connsiteX5" fmla="*/ 4811890 w 5092579"/>
                <a:gd name="connsiteY5" fmla="*/ 2992024 h 2992023"/>
                <a:gd name="connsiteX6" fmla="*/ 4846023 w 5092579"/>
                <a:gd name="connsiteY6" fmla="*/ 2960667 h 2992023"/>
                <a:gd name="connsiteX7" fmla="*/ 5092457 w 5092579"/>
                <a:gd name="connsiteY7" fmla="*/ 37090 h 2992023"/>
                <a:gd name="connsiteX8" fmla="*/ 5058325 w 5092579"/>
                <a:gd name="connsiteY8" fmla="*/ 0 h 2992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92579" h="2992023">
                  <a:moveTo>
                    <a:pt x="5058325" y="0"/>
                  </a:moveTo>
                  <a:lnTo>
                    <a:pt x="280690" y="0"/>
                  </a:lnTo>
                  <a:cubicBezTo>
                    <a:pt x="262895" y="0"/>
                    <a:pt x="248059" y="956"/>
                    <a:pt x="246557" y="18659"/>
                  </a:cubicBezTo>
                  <a:lnTo>
                    <a:pt x="124" y="2954933"/>
                  </a:lnTo>
                  <a:cubicBezTo>
                    <a:pt x="-1560" y="2974912"/>
                    <a:pt x="14186" y="2992024"/>
                    <a:pt x="34210" y="2992024"/>
                  </a:cubicBezTo>
                  <a:lnTo>
                    <a:pt x="4811890" y="2992024"/>
                  </a:lnTo>
                  <a:cubicBezTo>
                    <a:pt x="4829685" y="2992024"/>
                    <a:pt x="4844521" y="2978416"/>
                    <a:pt x="4846023" y="2960667"/>
                  </a:cubicBezTo>
                  <a:lnTo>
                    <a:pt x="5092457" y="37090"/>
                  </a:lnTo>
                  <a:cubicBezTo>
                    <a:pt x="5094141" y="17112"/>
                    <a:pt x="5078394" y="0"/>
                    <a:pt x="5058325" y="0"/>
                  </a:cubicBezTo>
                  <a:close/>
                </a:path>
              </a:pathLst>
            </a:custGeom>
            <a:solidFill>
              <a:schemeClr val="accent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07" name="Graphic 4">
              <a:extLst>
                <a:ext uri="{FF2B5EF4-FFF2-40B4-BE49-F238E27FC236}">
                  <a16:creationId xmlns:a16="http://schemas.microsoft.com/office/drawing/2014/main" id="{4A9022E4-19B2-959D-B934-C8D184260A48}"/>
                </a:ext>
              </a:extLst>
            </p:cNvPr>
            <p:cNvGrpSpPr/>
            <p:nvPr/>
          </p:nvGrpSpPr>
          <p:grpSpPr>
            <a:xfrm>
              <a:off x="1043156" y="5815458"/>
              <a:ext cx="457284" cy="248213"/>
              <a:chOff x="17487051" y="2146177"/>
              <a:chExt cx="4777498" cy="2593223"/>
            </a:xfrm>
          </p:grpSpPr>
          <p:grpSp>
            <p:nvGrpSpPr>
              <p:cNvPr id="743" name="Graphic 4">
                <a:extLst>
                  <a:ext uri="{FF2B5EF4-FFF2-40B4-BE49-F238E27FC236}">
                    <a16:creationId xmlns:a16="http://schemas.microsoft.com/office/drawing/2014/main" id="{14F1E281-A57D-6A52-374C-78EF46F42B3B}"/>
                  </a:ext>
                </a:extLst>
              </p:cNvPr>
              <p:cNvGrpSpPr/>
              <p:nvPr/>
            </p:nvGrpSpPr>
            <p:grpSpPr>
              <a:xfrm>
                <a:off x="17487051" y="2146177"/>
                <a:ext cx="4777498" cy="2593223"/>
                <a:chOff x="17487051" y="2146177"/>
                <a:chExt cx="4777498" cy="2593223"/>
              </a:xfrm>
            </p:grpSpPr>
            <p:grpSp>
              <p:nvGrpSpPr>
                <p:cNvPr id="776" name="Graphic 4">
                  <a:extLst>
                    <a:ext uri="{FF2B5EF4-FFF2-40B4-BE49-F238E27FC236}">
                      <a16:creationId xmlns:a16="http://schemas.microsoft.com/office/drawing/2014/main" id="{D8560A86-9DFA-3916-C6DC-F2A6D5BA718F}"/>
                    </a:ext>
                  </a:extLst>
                </p:cNvPr>
                <p:cNvGrpSpPr/>
                <p:nvPr/>
              </p:nvGrpSpPr>
              <p:grpSpPr>
                <a:xfrm>
                  <a:off x="17487051" y="2146177"/>
                  <a:ext cx="4777498" cy="2593223"/>
                  <a:chOff x="17487051" y="2146177"/>
                  <a:chExt cx="4777498" cy="2593223"/>
                </a:xfrm>
              </p:grpSpPr>
              <p:sp>
                <p:nvSpPr>
                  <p:cNvPr id="784" name="Freeform: Shape 783">
                    <a:extLst>
                      <a:ext uri="{FF2B5EF4-FFF2-40B4-BE49-F238E27FC236}">
                        <a16:creationId xmlns:a16="http://schemas.microsoft.com/office/drawing/2014/main" id="{6AD316FE-353C-5E72-80D8-13CDF44857AB}"/>
                      </a:ext>
                    </a:extLst>
                  </p:cNvPr>
                  <p:cNvSpPr/>
                  <p:nvPr/>
                </p:nvSpPr>
                <p:spPr>
                  <a:xfrm>
                    <a:off x="17487051" y="2146177"/>
                    <a:ext cx="4777498" cy="2593223"/>
                  </a:xfrm>
                  <a:custGeom>
                    <a:avLst/>
                    <a:gdLst>
                      <a:gd name="connsiteX0" fmla="*/ 0 w 4777498"/>
                      <a:gd name="connsiteY0" fmla="*/ 2593223 h 2593223"/>
                      <a:gd name="connsiteX1" fmla="*/ 4567882 w 4777498"/>
                      <a:gd name="connsiteY1" fmla="*/ 2593223 h 2593223"/>
                      <a:gd name="connsiteX2" fmla="*/ 4777498 w 4777498"/>
                      <a:gd name="connsiteY2" fmla="*/ 0 h 2593223"/>
                      <a:gd name="connsiteX3" fmla="*/ 213531 w 4777498"/>
                      <a:gd name="connsiteY3" fmla="*/ 0 h 2593223"/>
                      <a:gd name="connsiteX4" fmla="*/ 0 w 4777498"/>
                      <a:gd name="connsiteY4" fmla="*/ 2593223 h 25932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77498" h="2593223">
                        <a:moveTo>
                          <a:pt x="0" y="2593223"/>
                        </a:moveTo>
                        <a:lnTo>
                          <a:pt x="4567882" y="2593223"/>
                        </a:lnTo>
                        <a:lnTo>
                          <a:pt x="4777498" y="0"/>
                        </a:lnTo>
                        <a:lnTo>
                          <a:pt x="213531" y="0"/>
                        </a:lnTo>
                        <a:lnTo>
                          <a:pt x="0" y="2593223"/>
                        </a:lnTo>
                        <a:close/>
                      </a:path>
                    </a:pathLst>
                  </a:custGeom>
                  <a:solidFill>
                    <a:srgbClr val="E2E8EB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51C2C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5" name="Freeform: Shape 784">
                    <a:extLst>
                      <a:ext uri="{FF2B5EF4-FFF2-40B4-BE49-F238E27FC236}">
                        <a16:creationId xmlns:a16="http://schemas.microsoft.com/office/drawing/2014/main" id="{D75106CD-7228-EADC-23E7-3F2AD4A8CBF9}"/>
                      </a:ext>
                    </a:extLst>
                  </p:cNvPr>
                  <p:cNvSpPr/>
                  <p:nvPr/>
                </p:nvSpPr>
                <p:spPr>
                  <a:xfrm>
                    <a:off x="17617072" y="2251486"/>
                    <a:ext cx="4638967" cy="909188"/>
                  </a:xfrm>
                  <a:custGeom>
                    <a:avLst/>
                    <a:gdLst>
                      <a:gd name="connsiteX0" fmla="*/ 0 w 4638967"/>
                      <a:gd name="connsiteY0" fmla="*/ 909189 h 909188"/>
                      <a:gd name="connsiteX1" fmla="*/ 4565469 w 4638967"/>
                      <a:gd name="connsiteY1" fmla="*/ 909189 h 909188"/>
                      <a:gd name="connsiteX2" fmla="*/ 4638967 w 4638967"/>
                      <a:gd name="connsiteY2" fmla="*/ 0 h 909188"/>
                      <a:gd name="connsiteX3" fmla="*/ 74863 w 4638967"/>
                      <a:gd name="connsiteY3" fmla="*/ 0 h 909188"/>
                      <a:gd name="connsiteX4" fmla="*/ 0 w 4638967"/>
                      <a:gd name="connsiteY4" fmla="*/ 909189 h 9091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638967" h="909188">
                        <a:moveTo>
                          <a:pt x="0" y="909189"/>
                        </a:moveTo>
                        <a:lnTo>
                          <a:pt x="4565469" y="909189"/>
                        </a:lnTo>
                        <a:lnTo>
                          <a:pt x="4638967" y="0"/>
                        </a:lnTo>
                        <a:lnTo>
                          <a:pt x="74863" y="0"/>
                        </a:lnTo>
                        <a:lnTo>
                          <a:pt x="0" y="909189"/>
                        </a:lnTo>
                        <a:close/>
                      </a:path>
                    </a:pathLst>
                  </a:custGeom>
                  <a:solidFill>
                    <a:schemeClr val="accent5">
                      <a:lumMod val="60000"/>
                      <a:lumOff val="40000"/>
                    </a:schemeClr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51C2C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6" name="Freeform: Shape 785">
                    <a:extLst>
                      <a:ext uri="{FF2B5EF4-FFF2-40B4-BE49-F238E27FC236}">
                        <a16:creationId xmlns:a16="http://schemas.microsoft.com/office/drawing/2014/main" id="{66C8DF56-DAC7-9065-0945-086E4842B701}"/>
                      </a:ext>
                    </a:extLst>
                  </p:cNvPr>
                  <p:cNvSpPr/>
                  <p:nvPr/>
                </p:nvSpPr>
                <p:spPr>
                  <a:xfrm>
                    <a:off x="17487051" y="2251486"/>
                    <a:ext cx="661253" cy="2487914"/>
                  </a:xfrm>
                  <a:custGeom>
                    <a:avLst/>
                    <a:gdLst>
                      <a:gd name="connsiteX0" fmla="*/ 0 w 661253"/>
                      <a:gd name="connsiteY0" fmla="*/ 2487914 h 2487914"/>
                      <a:gd name="connsiteX1" fmla="*/ 456779 w 661253"/>
                      <a:gd name="connsiteY1" fmla="*/ 2487914 h 2487914"/>
                      <a:gd name="connsiteX2" fmla="*/ 661253 w 661253"/>
                      <a:gd name="connsiteY2" fmla="*/ 0 h 2487914"/>
                      <a:gd name="connsiteX3" fmla="*/ 204884 w 661253"/>
                      <a:gd name="connsiteY3" fmla="*/ 0 h 2487914"/>
                      <a:gd name="connsiteX4" fmla="*/ 0 w 661253"/>
                      <a:gd name="connsiteY4" fmla="*/ 2487914 h 24879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61253" h="2487914">
                        <a:moveTo>
                          <a:pt x="0" y="2487914"/>
                        </a:moveTo>
                        <a:lnTo>
                          <a:pt x="456779" y="2487914"/>
                        </a:lnTo>
                        <a:lnTo>
                          <a:pt x="661253" y="0"/>
                        </a:lnTo>
                        <a:lnTo>
                          <a:pt x="204884" y="0"/>
                        </a:lnTo>
                        <a:lnTo>
                          <a:pt x="0" y="2487914"/>
                        </a:lnTo>
                        <a:close/>
                      </a:path>
                    </a:pathLst>
                  </a:custGeom>
                  <a:solidFill>
                    <a:srgbClr val="C8D7DE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51C2C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7" name="Freeform: Shape 786">
                    <a:extLst>
                      <a:ext uri="{FF2B5EF4-FFF2-40B4-BE49-F238E27FC236}">
                        <a16:creationId xmlns:a16="http://schemas.microsoft.com/office/drawing/2014/main" id="{AD671937-B97D-1C79-06CF-D0638701C46D}"/>
                      </a:ext>
                    </a:extLst>
                  </p:cNvPr>
                  <p:cNvSpPr/>
                  <p:nvPr/>
                </p:nvSpPr>
                <p:spPr>
                  <a:xfrm>
                    <a:off x="17691571" y="2146177"/>
                    <a:ext cx="4572978" cy="109495"/>
                  </a:xfrm>
                  <a:custGeom>
                    <a:avLst/>
                    <a:gdLst>
                      <a:gd name="connsiteX0" fmla="*/ 0 w 4572978"/>
                      <a:gd name="connsiteY0" fmla="*/ 109496 h 109495"/>
                      <a:gd name="connsiteX1" fmla="*/ 4564104 w 4572978"/>
                      <a:gd name="connsiteY1" fmla="*/ 109496 h 109495"/>
                      <a:gd name="connsiteX2" fmla="*/ 4572979 w 4572978"/>
                      <a:gd name="connsiteY2" fmla="*/ 0 h 109495"/>
                      <a:gd name="connsiteX3" fmla="*/ 9011 w 4572978"/>
                      <a:gd name="connsiteY3" fmla="*/ 0 h 109495"/>
                      <a:gd name="connsiteX4" fmla="*/ 0 w 4572978"/>
                      <a:gd name="connsiteY4" fmla="*/ 109496 h 1094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72978" h="109495">
                        <a:moveTo>
                          <a:pt x="0" y="109496"/>
                        </a:moveTo>
                        <a:lnTo>
                          <a:pt x="4564104" y="109496"/>
                        </a:lnTo>
                        <a:lnTo>
                          <a:pt x="4572979" y="0"/>
                        </a:lnTo>
                        <a:lnTo>
                          <a:pt x="9011" y="0"/>
                        </a:lnTo>
                        <a:lnTo>
                          <a:pt x="0" y="109496"/>
                        </a:lnTo>
                        <a:close/>
                      </a:path>
                    </a:pathLst>
                  </a:custGeom>
                  <a:solidFill>
                    <a:schemeClr val="accent4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51C2C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77" name="Graphic 4">
                  <a:extLst>
                    <a:ext uri="{FF2B5EF4-FFF2-40B4-BE49-F238E27FC236}">
                      <a16:creationId xmlns:a16="http://schemas.microsoft.com/office/drawing/2014/main" id="{4036F40F-ECBB-AD30-65E2-F7A4E5E32DE9}"/>
                    </a:ext>
                  </a:extLst>
                </p:cNvPr>
                <p:cNvGrpSpPr/>
                <p:nvPr/>
              </p:nvGrpSpPr>
              <p:grpSpPr>
                <a:xfrm>
                  <a:off x="17588947" y="2431885"/>
                  <a:ext cx="457597" cy="2126887"/>
                  <a:chOff x="17588947" y="2431885"/>
                  <a:chExt cx="457597" cy="2126887"/>
                </a:xfrm>
                <a:solidFill>
                  <a:srgbClr val="DCE5EB"/>
                </a:solidFill>
              </p:grpSpPr>
              <p:sp>
                <p:nvSpPr>
                  <p:cNvPr id="778" name="Freeform: Shape 777">
                    <a:extLst>
                      <a:ext uri="{FF2B5EF4-FFF2-40B4-BE49-F238E27FC236}">
                        <a16:creationId xmlns:a16="http://schemas.microsoft.com/office/drawing/2014/main" id="{970C2C93-B13A-52A5-624D-23434B1548F1}"/>
                      </a:ext>
                    </a:extLst>
                  </p:cNvPr>
                  <p:cNvSpPr/>
                  <p:nvPr/>
                </p:nvSpPr>
                <p:spPr>
                  <a:xfrm>
                    <a:off x="17741540" y="2431885"/>
                    <a:ext cx="305004" cy="273011"/>
                  </a:xfrm>
                  <a:custGeom>
                    <a:avLst/>
                    <a:gdLst>
                      <a:gd name="connsiteX0" fmla="*/ 0 w 305004"/>
                      <a:gd name="connsiteY0" fmla="*/ 273012 h 273011"/>
                      <a:gd name="connsiteX1" fmla="*/ 282569 w 305004"/>
                      <a:gd name="connsiteY1" fmla="*/ 273012 h 273011"/>
                      <a:gd name="connsiteX2" fmla="*/ 305005 w 305004"/>
                      <a:gd name="connsiteY2" fmla="*/ 0 h 273011"/>
                      <a:gd name="connsiteX3" fmla="*/ 22482 w 305004"/>
                      <a:gd name="connsiteY3" fmla="*/ 0 h 273011"/>
                      <a:gd name="connsiteX4" fmla="*/ 0 w 305004"/>
                      <a:gd name="connsiteY4" fmla="*/ 273012 h 2730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5004" h="273011">
                        <a:moveTo>
                          <a:pt x="0" y="273012"/>
                        </a:moveTo>
                        <a:lnTo>
                          <a:pt x="282569" y="273012"/>
                        </a:lnTo>
                        <a:lnTo>
                          <a:pt x="305005" y="0"/>
                        </a:lnTo>
                        <a:lnTo>
                          <a:pt x="22482" y="0"/>
                        </a:lnTo>
                        <a:lnTo>
                          <a:pt x="0" y="273012"/>
                        </a:lnTo>
                        <a:close/>
                      </a:path>
                    </a:pathLst>
                  </a:custGeom>
                  <a:solidFill>
                    <a:srgbClr val="DCE5EB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51C2C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9" name="Freeform: Shape 778">
                    <a:extLst>
                      <a:ext uri="{FF2B5EF4-FFF2-40B4-BE49-F238E27FC236}">
                        <a16:creationId xmlns:a16="http://schemas.microsoft.com/office/drawing/2014/main" id="{3615E926-96D2-DC3C-2F8D-EE7E1667DFF9}"/>
                      </a:ext>
                    </a:extLst>
                  </p:cNvPr>
                  <p:cNvSpPr/>
                  <p:nvPr/>
                </p:nvSpPr>
                <p:spPr>
                  <a:xfrm>
                    <a:off x="17711049" y="2802378"/>
                    <a:ext cx="305004" cy="273102"/>
                  </a:xfrm>
                  <a:custGeom>
                    <a:avLst/>
                    <a:gdLst>
                      <a:gd name="connsiteX0" fmla="*/ 0 w 305004"/>
                      <a:gd name="connsiteY0" fmla="*/ 273103 h 273102"/>
                      <a:gd name="connsiteX1" fmla="*/ 282569 w 305004"/>
                      <a:gd name="connsiteY1" fmla="*/ 273103 h 273102"/>
                      <a:gd name="connsiteX2" fmla="*/ 305005 w 305004"/>
                      <a:gd name="connsiteY2" fmla="*/ 0 h 273102"/>
                      <a:gd name="connsiteX3" fmla="*/ 22482 w 305004"/>
                      <a:gd name="connsiteY3" fmla="*/ 0 h 273102"/>
                      <a:gd name="connsiteX4" fmla="*/ 0 w 305004"/>
                      <a:gd name="connsiteY4" fmla="*/ 273103 h 2731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5004" h="273102">
                        <a:moveTo>
                          <a:pt x="0" y="273103"/>
                        </a:moveTo>
                        <a:lnTo>
                          <a:pt x="282569" y="273103"/>
                        </a:lnTo>
                        <a:lnTo>
                          <a:pt x="305005" y="0"/>
                        </a:lnTo>
                        <a:lnTo>
                          <a:pt x="22482" y="0"/>
                        </a:lnTo>
                        <a:lnTo>
                          <a:pt x="0" y="273103"/>
                        </a:lnTo>
                        <a:close/>
                      </a:path>
                    </a:pathLst>
                  </a:custGeom>
                  <a:solidFill>
                    <a:srgbClr val="DCE5EB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51C2C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0" name="Freeform: Shape 779">
                    <a:extLst>
                      <a:ext uri="{FF2B5EF4-FFF2-40B4-BE49-F238E27FC236}">
                        <a16:creationId xmlns:a16="http://schemas.microsoft.com/office/drawing/2014/main" id="{A2417EB7-5BC1-99A5-E32E-3DE7E6E78E84}"/>
                      </a:ext>
                    </a:extLst>
                  </p:cNvPr>
                  <p:cNvSpPr/>
                  <p:nvPr/>
                </p:nvSpPr>
                <p:spPr>
                  <a:xfrm>
                    <a:off x="17680558" y="3173008"/>
                    <a:ext cx="305050" cy="273148"/>
                  </a:xfrm>
                  <a:custGeom>
                    <a:avLst/>
                    <a:gdLst>
                      <a:gd name="connsiteX0" fmla="*/ 0 w 305050"/>
                      <a:gd name="connsiteY0" fmla="*/ 273148 h 273148"/>
                      <a:gd name="connsiteX1" fmla="*/ 282568 w 305050"/>
                      <a:gd name="connsiteY1" fmla="*/ 273148 h 273148"/>
                      <a:gd name="connsiteX2" fmla="*/ 305050 w 305050"/>
                      <a:gd name="connsiteY2" fmla="*/ 0 h 273148"/>
                      <a:gd name="connsiteX3" fmla="*/ 22482 w 305050"/>
                      <a:gd name="connsiteY3" fmla="*/ 0 h 273148"/>
                      <a:gd name="connsiteX4" fmla="*/ 0 w 305050"/>
                      <a:gd name="connsiteY4" fmla="*/ 273148 h 2731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5050" h="273148">
                        <a:moveTo>
                          <a:pt x="0" y="273148"/>
                        </a:moveTo>
                        <a:lnTo>
                          <a:pt x="282568" y="273148"/>
                        </a:lnTo>
                        <a:lnTo>
                          <a:pt x="305050" y="0"/>
                        </a:lnTo>
                        <a:lnTo>
                          <a:pt x="22482" y="0"/>
                        </a:lnTo>
                        <a:lnTo>
                          <a:pt x="0" y="273148"/>
                        </a:lnTo>
                        <a:close/>
                      </a:path>
                    </a:pathLst>
                  </a:custGeom>
                  <a:solidFill>
                    <a:srgbClr val="DCE5EB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51C2C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1" name="Freeform: Shape 780">
                    <a:extLst>
                      <a:ext uri="{FF2B5EF4-FFF2-40B4-BE49-F238E27FC236}">
                        <a16:creationId xmlns:a16="http://schemas.microsoft.com/office/drawing/2014/main" id="{EEE2D01F-C4A9-EDD4-0231-5C1227876D3F}"/>
                      </a:ext>
                    </a:extLst>
                  </p:cNvPr>
                  <p:cNvSpPr/>
                  <p:nvPr/>
                </p:nvSpPr>
                <p:spPr>
                  <a:xfrm>
                    <a:off x="17650021" y="3543729"/>
                    <a:ext cx="305095" cy="273239"/>
                  </a:xfrm>
                  <a:custGeom>
                    <a:avLst/>
                    <a:gdLst>
                      <a:gd name="connsiteX0" fmla="*/ 0 w 305095"/>
                      <a:gd name="connsiteY0" fmla="*/ 273239 h 273239"/>
                      <a:gd name="connsiteX1" fmla="*/ 282660 w 305095"/>
                      <a:gd name="connsiteY1" fmla="*/ 273239 h 273239"/>
                      <a:gd name="connsiteX2" fmla="*/ 305096 w 305095"/>
                      <a:gd name="connsiteY2" fmla="*/ 0 h 273239"/>
                      <a:gd name="connsiteX3" fmla="*/ 22482 w 305095"/>
                      <a:gd name="connsiteY3" fmla="*/ 0 h 273239"/>
                      <a:gd name="connsiteX4" fmla="*/ 0 w 305095"/>
                      <a:gd name="connsiteY4" fmla="*/ 273239 h 2732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5095" h="273239">
                        <a:moveTo>
                          <a:pt x="0" y="273239"/>
                        </a:moveTo>
                        <a:lnTo>
                          <a:pt x="282660" y="273239"/>
                        </a:lnTo>
                        <a:lnTo>
                          <a:pt x="305096" y="0"/>
                        </a:lnTo>
                        <a:lnTo>
                          <a:pt x="22482" y="0"/>
                        </a:lnTo>
                        <a:lnTo>
                          <a:pt x="0" y="273239"/>
                        </a:lnTo>
                        <a:close/>
                      </a:path>
                    </a:pathLst>
                  </a:custGeom>
                  <a:solidFill>
                    <a:srgbClr val="DCE5EB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51C2C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2" name="Freeform: Shape 781">
                    <a:extLst>
                      <a:ext uri="{FF2B5EF4-FFF2-40B4-BE49-F238E27FC236}">
                        <a16:creationId xmlns:a16="http://schemas.microsoft.com/office/drawing/2014/main" id="{A283F0B3-9CFB-CC8C-4B7B-BC1ACB624E25}"/>
                      </a:ext>
                    </a:extLst>
                  </p:cNvPr>
                  <p:cNvSpPr/>
                  <p:nvPr/>
                </p:nvSpPr>
                <p:spPr>
                  <a:xfrm>
                    <a:off x="17619484" y="3914540"/>
                    <a:ext cx="305141" cy="273284"/>
                  </a:xfrm>
                  <a:custGeom>
                    <a:avLst/>
                    <a:gdLst>
                      <a:gd name="connsiteX0" fmla="*/ 0 w 305141"/>
                      <a:gd name="connsiteY0" fmla="*/ 273285 h 273284"/>
                      <a:gd name="connsiteX1" fmla="*/ 282705 w 305141"/>
                      <a:gd name="connsiteY1" fmla="*/ 273285 h 273284"/>
                      <a:gd name="connsiteX2" fmla="*/ 305142 w 305141"/>
                      <a:gd name="connsiteY2" fmla="*/ 0 h 273284"/>
                      <a:gd name="connsiteX3" fmla="*/ 22482 w 305141"/>
                      <a:gd name="connsiteY3" fmla="*/ 0 h 273284"/>
                      <a:gd name="connsiteX4" fmla="*/ 0 w 305141"/>
                      <a:gd name="connsiteY4" fmla="*/ 273285 h 2732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5141" h="273284">
                        <a:moveTo>
                          <a:pt x="0" y="273285"/>
                        </a:moveTo>
                        <a:lnTo>
                          <a:pt x="282705" y="273285"/>
                        </a:lnTo>
                        <a:lnTo>
                          <a:pt x="305142" y="0"/>
                        </a:lnTo>
                        <a:lnTo>
                          <a:pt x="22482" y="0"/>
                        </a:lnTo>
                        <a:lnTo>
                          <a:pt x="0" y="273285"/>
                        </a:lnTo>
                        <a:close/>
                      </a:path>
                    </a:pathLst>
                  </a:custGeom>
                  <a:solidFill>
                    <a:srgbClr val="DCE5EB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51C2C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3" name="Freeform: Shape 782">
                    <a:extLst>
                      <a:ext uri="{FF2B5EF4-FFF2-40B4-BE49-F238E27FC236}">
                        <a16:creationId xmlns:a16="http://schemas.microsoft.com/office/drawing/2014/main" id="{9A68C289-63B5-78A6-0108-80B2E4D2FC70}"/>
                      </a:ext>
                    </a:extLst>
                  </p:cNvPr>
                  <p:cNvSpPr/>
                  <p:nvPr/>
                </p:nvSpPr>
                <p:spPr>
                  <a:xfrm>
                    <a:off x="17588947" y="4285397"/>
                    <a:ext cx="305186" cy="273375"/>
                  </a:xfrm>
                  <a:custGeom>
                    <a:avLst/>
                    <a:gdLst>
                      <a:gd name="connsiteX0" fmla="*/ 0 w 305186"/>
                      <a:gd name="connsiteY0" fmla="*/ 273376 h 273375"/>
                      <a:gd name="connsiteX1" fmla="*/ 282705 w 305186"/>
                      <a:gd name="connsiteY1" fmla="*/ 273376 h 273375"/>
                      <a:gd name="connsiteX2" fmla="*/ 305187 w 305186"/>
                      <a:gd name="connsiteY2" fmla="*/ 0 h 273375"/>
                      <a:gd name="connsiteX3" fmla="*/ 22527 w 305186"/>
                      <a:gd name="connsiteY3" fmla="*/ 0 h 273375"/>
                      <a:gd name="connsiteX4" fmla="*/ 0 w 305186"/>
                      <a:gd name="connsiteY4" fmla="*/ 273376 h 2733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5186" h="273375">
                        <a:moveTo>
                          <a:pt x="0" y="273376"/>
                        </a:moveTo>
                        <a:lnTo>
                          <a:pt x="282705" y="273376"/>
                        </a:lnTo>
                        <a:lnTo>
                          <a:pt x="305187" y="0"/>
                        </a:lnTo>
                        <a:lnTo>
                          <a:pt x="22527" y="0"/>
                        </a:lnTo>
                        <a:lnTo>
                          <a:pt x="0" y="273376"/>
                        </a:lnTo>
                        <a:close/>
                      </a:path>
                    </a:pathLst>
                  </a:custGeom>
                  <a:solidFill>
                    <a:srgbClr val="DCE5EB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51C2C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744" name="Graphic 4">
                <a:extLst>
                  <a:ext uri="{FF2B5EF4-FFF2-40B4-BE49-F238E27FC236}">
                    <a16:creationId xmlns:a16="http://schemas.microsoft.com/office/drawing/2014/main" id="{33CD08BB-9D1C-71C8-8C19-F4EDC992FA4F}"/>
                  </a:ext>
                </a:extLst>
              </p:cNvPr>
              <p:cNvGrpSpPr/>
              <p:nvPr/>
            </p:nvGrpSpPr>
            <p:grpSpPr>
              <a:xfrm>
                <a:off x="18223122" y="2341231"/>
                <a:ext cx="814893" cy="729699"/>
                <a:chOff x="18223122" y="2341231"/>
                <a:chExt cx="814893" cy="729699"/>
              </a:xfrm>
            </p:grpSpPr>
            <p:sp>
              <p:nvSpPr>
                <p:cNvPr id="766" name="Freeform: Shape 765">
                  <a:extLst>
                    <a:ext uri="{FF2B5EF4-FFF2-40B4-BE49-F238E27FC236}">
                      <a16:creationId xmlns:a16="http://schemas.microsoft.com/office/drawing/2014/main" id="{310651B8-A3F0-2AB5-6D4C-DA0EDD162609}"/>
                    </a:ext>
                  </a:extLst>
                </p:cNvPr>
                <p:cNvSpPr/>
                <p:nvPr/>
              </p:nvSpPr>
              <p:spPr>
                <a:xfrm>
                  <a:off x="18223122" y="2341231"/>
                  <a:ext cx="814893" cy="729654"/>
                </a:xfrm>
                <a:custGeom>
                  <a:avLst/>
                  <a:gdLst>
                    <a:gd name="connsiteX0" fmla="*/ 0 w 814893"/>
                    <a:gd name="connsiteY0" fmla="*/ 729654 h 729654"/>
                    <a:gd name="connsiteX1" fmla="*/ 755139 w 814893"/>
                    <a:gd name="connsiteY1" fmla="*/ 729654 h 729654"/>
                    <a:gd name="connsiteX2" fmla="*/ 814893 w 814893"/>
                    <a:gd name="connsiteY2" fmla="*/ 0 h 729654"/>
                    <a:gd name="connsiteX3" fmla="*/ 59936 w 814893"/>
                    <a:gd name="connsiteY3" fmla="*/ 0 h 729654"/>
                    <a:gd name="connsiteX4" fmla="*/ 0 w 814893"/>
                    <a:gd name="connsiteY4" fmla="*/ 729654 h 7296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893" h="729654">
                      <a:moveTo>
                        <a:pt x="0" y="729654"/>
                      </a:moveTo>
                      <a:lnTo>
                        <a:pt x="755139" y="729654"/>
                      </a:lnTo>
                      <a:lnTo>
                        <a:pt x="814893" y="0"/>
                      </a:lnTo>
                      <a:lnTo>
                        <a:pt x="59936" y="0"/>
                      </a:lnTo>
                      <a:lnTo>
                        <a:pt x="0" y="72965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grpSp>
              <p:nvGrpSpPr>
                <p:cNvPr id="767" name="Graphic 4">
                  <a:extLst>
                    <a:ext uri="{FF2B5EF4-FFF2-40B4-BE49-F238E27FC236}">
                      <a16:creationId xmlns:a16="http://schemas.microsoft.com/office/drawing/2014/main" id="{CE68B70A-002B-EA00-B1C8-91B16A614A4D}"/>
                    </a:ext>
                  </a:extLst>
                </p:cNvPr>
                <p:cNvGrpSpPr/>
                <p:nvPr/>
              </p:nvGrpSpPr>
              <p:grpSpPr>
                <a:xfrm>
                  <a:off x="18275913" y="2435250"/>
                  <a:ext cx="649466" cy="635680"/>
                  <a:chOff x="18275913" y="2435250"/>
                  <a:chExt cx="649466" cy="635680"/>
                </a:xfrm>
              </p:grpSpPr>
              <p:sp>
                <p:nvSpPr>
                  <p:cNvPr id="768" name="Freeform: Shape 767">
                    <a:extLst>
                      <a:ext uri="{FF2B5EF4-FFF2-40B4-BE49-F238E27FC236}">
                        <a16:creationId xmlns:a16="http://schemas.microsoft.com/office/drawing/2014/main" id="{DDCA27A1-96F9-20C5-9408-F4D214A5C7F1}"/>
                      </a:ext>
                    </a:extLst>
                  </p:cNvPr>
                  <p:cNvSpPr/>
                  <p:nvPr/>
                </p:nvSpPr>
                <p:spPr>
                  <a:xfrm>
                    <a:off x="18352593" y="2435250"/>
                    <a:ext cx="512761" cy="527049"/>
                  </a:xfrm>
                  <a:custGeom>
                    <a:avLst/>
                    <a:gdLst>
                      <a:gd name="connsiteX0" fmla="*/ 246529 w 512761"/>
                      <a:gd name="connsiteY0" fmla="*/ 9970 h 527049"/>
                      <a:gd name="connsiteX1" fmla="*/ 67313 w 512761"/>
                      <a:gd name="connsiteY1" fmla="*/ 255949 h 527049"/>
                      <a:gd name="connsiteX2" fmla="*/ 48517 w 512761"/>
                      <a:gd name="connsiteY2" fmla="*/ 527049 h 527049"/>
                      <a:gd name="connsiteX3" fmla="*/ 448955 w 512761"/>
                      <a:gd name="connsiteY3" fmla="*/ 488639 h 527049"/>
                      <a:gd name="connsiteX4" fmla="*/ 461106 w 512761"/>
                      <a:gd name="connsiteY4" fmla="*/ 116053 h 527049"/>
                      <a:gd name="connsiteX5" fmla="*/ 246529 w 512761"/>
                      <a:gd name="connsiteY5" fmla="*/ 9970 h 5270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12761" h="527049">
                        <a:moveTo>
                          <a:pt x="246529" y="9970"/>
                        </a:moveTo>
                        <a:cubicBezTo>
                          <a:pt x="101399" y="47743"/>
                          <a:pt x="131663" y="187821"/>
                          <a:pt x="67313" y="255949"/>
                        </a:cubicBezTo>
                        <a:cubicBezTo>
                          <a:pt x="-72265" y="403764"/>
                          <a:pt x="48517" y="527049"/>
                          <a:pt x="48517" y="527049"/>
                        </a:cubicBezTo>
                        <a:cubicBezTo>
                          <a:pt x="48517" y="527049"/>
                          <a:pt x="421331" y="508845"/>
                          <a:pt x="448955" y="488639"/>
                        </a:cubicBezTo>
                        <a:cubicBezTo>
                          <a:pt x="583436" y="390248"/>
                          <a:pt x="464019" y="155009"/>
                          <a:pt x="461106" y="116053"/>
                        </a:cubicBezTo>
                        <a:cubicBezTo>
                          <a:pt x="460151" y="107906"/>
                          <a:pt x="434483" y="-38998"/>
                          <a:pt x="246529" y="9970"/>
                        </a:cubicBezTo>
                        <a:close/>
                      </a:path>
                    </a:pathLst>
                  </a:custGeom>
                  <a:solidFill>
                    <a:srgbClr val="24292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51C2C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9" name="Freeform: Shape 768">
                    <a:extLst>
                      <a:ext uri="{FF2B5EF4-FFF2-40B4-BE49-F238E27FC236}">
                        <a16:creationId xmlns:a16="http://schemas.microsoft.com/office/drawing/2014/main" id="{069BF176-79CD-730A-1378-75F094E4D69B}"/>
                      </a:ext>
                    </a:extLst>
                  </p:cNvPr>
                  <p:cNvSpPr/>
                  <p:nvPr/>
                </p:nvSpPr>
                <p:spPr>
                  <a:xfrm>
                    <a:off x="18466052" y="2772979"/>
                    <a:ext cx="305186" cy="170491"/>
                  </a:xfrm>
                  <a:custGeom>
                    <a:avLst/>
                    <a:gdLst>
                      <a:gd name="connsiteX0" fmla="*/ 223087 w 305186"/>
                      <a:gd name="connsiteY0" fmla="*/ 0 h 170491"/>
                      <a:gd name="connsiteX1" fmla="*/ 168476 w 305186"/>
                      <a:gd name="connsiteY1" fmla="*/ 26851 h 170491"/>
                      <a:gd name="connsiteX2" fmla="*/ 161058 w 305186"/>
                      <a:gd name="connsiteY2" fmla="*/ 26851 h 170491"/>
                      <a:gd name="connsiteX3" fmla="*/ 159647 w 305186"/>
                      <a:gd name="connsiteY3" fmla="*/ 26669 h 170491"/>
                      <a:gd name="connsiteX4" fmla="*/ 158236 w 305186"/>
                      <a:gd name="connsiteY4" fmla="*/ 26851 h 170491"/>
                      <a:gd name="connsiteX5" fmla="*/ 150818 w 305186"/>
                      <a:gd name="connsiteY5" fmla="*/ 26851 h 170491"/>
                      <a:gd name="connsiteX6" fmla="*/ 99984 w 305186"/>
                      <a:gd name="connsiteY6" fmla="*/ 8055 h 170491"/>
                      <a:gd name="connsiteX7" fmla="*/ 77457 w 305186"/>
                      <a:gd name="connsiteY7" fmla="*/ 72042 h 170491"/>
                      <a:gd name="connsiteX8" fmla="*/ 0 w 305186"/>
                      <a:gd name="connsiteY8" fmla="*/ 113182 h 170491"/>
                      <a:gd name="connsiteX9" fmla="*/ 143582 w 305186"/>
                      <a:gd name="connsiteY9" fmla="*/ 170479 h 170491"/>
                      <a:gd name="connsiteX10" fmla="*/ 147906 w 305186"/>
                      <a:gd name="connsiteY10" fmla="*/ 170297 h 170491"/>
                      <a:gd name="connsiteX11" fmla="*/ 152229 w 305186"/>
                      <a:gd name="connsiteY11" fmla="*/ 170479 h 170491"/>
                      <a:gd name="connsiteX12" fmla="*/ 305187 w 305186"/>
                      <a:gd name="connsiteY12" fmla="*/ 113182 h 170491"/>
                      <a:gd name="connsiteX13" fmla="*/ 234465 w 305186"/>
                      <a:gd name="connsiteY13" fmla="*/ 72042 h 170491"/>
                      <a:gd name="connsiteX14" fmla="*/ 223087 w 305186"/>
                      <a:gd name="connsiteY14" fmla="*/ 46 h 1704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305186" h="170491">
                        <a:moveTo>
                          <a:pt x="223087" y="0"/>
                        </a:moveTo>
                        <a:cubicBezTo>
                          <a:pt x="210891" y="6553"/>
                          <a:pt x="181947" y="25895"/>
                          <a:pt x="168476" y="26851"/>
                        </a:cubicBezTo>
                        <a:lnTo>
                          <a:pt x="161058" y="26851"/>
                        </a:lnTo>
                        <a:cubicBezTo>
                          <a:pt x="160603" y="26851"/>
                          <a:pt x="160148" y="26760"/>
                          <a:pt x="159647" y="26669"/>
                        </a:cubicBezTo>
                        <a:cubicBezTo>
                          <a:pt x="159192" y="26714"/>
                          <a:pt x="158692" y="26805"/>
                          <a:pt x="158236" y="26851"/>
                        </a:cubicBezTo>
                        <a:lnTo>
                          <a:pt x="150818" y="26851"/>
                        </a:lnTo>
                        <a:cubicBezTo>
                          <a:pt x="137530" y="25895"/>
                          <a:pt x="111088" y="14609"/>
                          <a:pt x="99984" y="8055"/>
                        </a:cubicBezTo>
                        <a:cubicBezTo>
                          <a:pt x="99438" y="13608"/>
                          <a:pt x="93203" y="60801"/>
                          <a:pt x="77457" y="72042"/>
                        </a:cubicBezTo>
                        <a:cubicBezTo>
                          <a:pt x="75727" y="73134"/>
                          <a:pt x="35543" y="99211"/>
                          <a:pt x="0" y="113182"/>
                        </a:cubicBezTo>
                        <a:cubicBezTo>
                          <a:pt x="22527" y="137075"/>
                          <a:pt x="92612" y="171207"/>
                          <a:pt x="143582" y="170479"/>
                        </a:cubicBezTo>
                        <a:cubicBezTo>
                          <a:pt x="143582" y="170479"/>
                          <a:pt x="145129" y="170479"/>
                          <a:pt x="147906" y="170297"/>
                        </a:cubicBezTo>
                        <a:cubicBezTo>
                          <a:pt x="150682" y="170479"/>
                          <a:pt x="152229" y="170479"/>
                          <a:pt x="152229" y="170479"/>
                        </a:cubicBezTo>
                        <a:cubicBezTo>
                          <a:pt x="203063" y="171252"/>
                          <a:pt x="278746" y="137120"/>
                          <a:pt x="305187" y="113182"/>
                        </a:cubicBezTo>
                        <a:cubicBezTo>
                          <a:pt x="271919" y="99211"/>
                          <a:pt x="236012" y="73134"/>
                          <a:pt x="234465" y="72042"/>
                        </a:cubicBezTo>
                        <a:cubicBezTo>
                          <a:pt x="220585" y="60846"/>
                          <a:pt x="222723" y="5598"/>
                          <a:pt x="223087" y="46"/>
                        </a:cubicBezTo>
                        <a:close/>
                      </a:path>
                    </a:pathLst>
                  </a:custGeom>
                  <a:solidFill>
                    <a:srgbClr val="894835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51C2C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0" name="Freeform: Shape 769">
                    <a:extLst>
                      <a:ext uri="{FF2B5EF4-FFF2-40B4-BE49-F238E27FC236}">
                        <a16:creationId xmlns:a16="http://schemas.microsoft.com/office/drawing/2014/main" id="{3F97E544-DD80-3DAE-BE98-FBC8E75788B9}"/>
                      </a:ext>
                    </a:extLst>
                  </p:cNvPr>
                  <p:cNvSpPr/>
                  <p:nvPr/>
                </p:nvSpPr>
                <p:spPr>
                  <a:xfrm>
                    <a:off x="18275913" y="2872964"/>
                    <a:ext cx="649466" cy="197966"/>
                  </a:xfrm>
                  <a:custGeom>
                    <a:avLst/>
                    <a:gdLst>
                      <a:gd name="connsiteX0" fmla="*/ 586936 w 649466"/>
                      <a:gd name="connsiteY0" fmla="*/ 43007 h 197966"/>
                      <a:gd name="connsiteX1" fmla="*/ 477850 w 649466"/>
                      <a:gd name="connsiteY1" fmla="*/ 1365 h 197966"/>
                      <a:gd name="connsiteX2" fmla="*/ 339638 w 649466"/>
                      <a:gd name="connsiteY2" fmla="*/ 43052 h 197966"/>
                      <a:gd name="connsiteX3" fmla="*/ 215351 w 649466"/>
                      <a:gd name="connsiteY3" fmla="*/ 0 h 197966"/>
                      <a:gd name="connsiteX4" fmla="*/ 107357 w 649466"/>
                      <a:gd name="connsiteY4" fmla="*/ 30400 h 197966"/>
                      <a:gd name="connsiteX5" fmla="*/ 43780 w 649466"/>
                      <a:gd name="connsiteY5" fmla="*/ 79323 h 197966"/>
                      <a:gd name="connsiteX6" fmla="*/ 0 w 649466"/>
                      <a:gd name="connsiteY6" fmla="*/ 197966 h 197966"/>
                      <a:gd name="connsiteX7" fmla="*/ 649466 w 649466"/>
                      <a:gd name="connsiteY7" fmla="*/ 197966 h 197966"/>
                      <a:gd name="connsiteX8" fmla="*/ 637133 w 649466"/>
                      <a:gd name="connsiteY8" fmla="*/ 98756 h 197966"/>
                      <a:gd name="connsiteX9" fmla="*/ 586891 w 649466"/>
                      <a:gd name="connsiteY9" fmla="*/ 43007 h 1979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649466" h="197966">
                        <a:moveTo>
                          <a:pt x="586936" y="43007"/>
                        </a:moveTo>
                        <a:lnTo>
                          <a:pt x="477850" y="1365"/>
                        </a:lnTo>
                        <a:cubicBezTo>
                          <a:pt x="477850" y="1365"/>
                          <a:pt x="449770" y="43052"/>
                          <a:pt x="339638" y="43052"/>
                        </a:cubicBezTo>
                        <a:cubicBezTo>
                          <a:pt x="241109" y="43052"/>
                          <a:pt x="215351" y="0"/>
                          <a:pt x="215351" y="0"/>
                        </a:cubicBezTo>
                        <a:lnTo>
                          <a:pt x="107357" y="30400"/>
                        </a:lnTo>
                        <a:cubicBezTo>
                          <a:pt x="80870" y="38364"/>
                          <a:pt x="57979" y="55977"/>
                          <a:pt x="43780" y="79323"/>
                        </a:cubicBezTo>
                        <a:cubicBezTo>
                          <a:pt x="22391" y="114411"/>
                          <a:pt x="8692" y="156780"/>
                          <a:pt x="0" y="197966"/>
                        </a:cubicBezTo>
                        <a:lnTo>
                          <a:pt x="649466" y="197966"/>
                        </a:lnTo>
                        <a:cubicBezTo>
                          <a:pt x="648283" y="163834"/>
                          <a:pt x="645461" y="126198"/>
                          <a:pt x="637133" y="98756"/>
                        </a:cubicBezTo>
                        <a:cubicBezTo>
                          <a:pt x="629533" y="73725"/>
                          <a:pt x="611375" y="53610"/>
                          <a:pt x="586891" y="43007"/>
                        </a:cubicBezTo>
                        <a:close/>
                      </a:path>
                    </a:pathLst>
                  </a:custGeom>
                  <a:solidFill>
                    <a:schemeClr val="tx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51C2C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771" name="Graphic 4">
                    <a:extLst>
                      <a:ext uri="{FF2B5EF4-FFF2-40B4-BE49-F238E27FC236}">
                        <a16:creationId xmlns:a16="http://schemas.microsoft.com/office/drawing/2014/main" id="{B40CD438-7FF0-4580-8041-A5CE66A04A87}"/>
                      </a:ext>
                    </a:extLst>
                  </p:cNvPr>
                  <p:cNvGrpSpPr/>
                  <p:nvPr/>
                </p:nvGrpSpPr>
                <p:grpSpPr>
                  <a:xfrm>
                    <a:off x="18503206" y="2531551"/>
                    <a:ext cx="268215" cy="284480"/>
                    <a:chOff x="18503206" y="2531551"/>
                    <a:chExt cx="268215" cy="284480"/>
                  </a:xfrm>
                  <a:solidFill>
                    <a:srgbClr val="894835"/>
                  </a:solidFill>
                </p:grpSpPr>
                <p:sp>
                  <p:nvSpPr>
                    <p:cNvPr id="773" name="Freeform: Shape 772">
                      <a:extLst>
                        <a:ext uri="{FF2B5EF4-FFF2-40B4-BE49-F238E27FC236}">
                          <a16:creationId xmlns:a16="http://schemas.microsoft.com/office/drawing/2014/main" id="{E7A17C2B-2852-420A-1763-98F356FBC3A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514290" y="2531551"/>
                      <a:ext cx="243976" cy="284480"/>
                    </a:xfrm>
                    <a:custGeom>
                      <a:avLst/>
                      <a:gdLst>
                        <a:gd name="connsiteX0" fmla="*/ 188912 w 243976"/>
                        <a:gd name="connsiteY0" fmla="*/ 0 h 284480"/>
                        <a:gd name="connsiteX1" fmla="*/ 138 w 243976"/>
                        <a:gd name="connsiteY1" fmla="*/ 121055 h 284480"/>
                        <a:gd name="connsiteX2" fmla="*/ 23804 w 243976"/>
                        <a:gd name="connsiteY2" fmla="*/ 221586 h 284480"/>
                        <a:gd name="connsiteX3" fmla="*/ 72863 w 243976"/>
                        <a:gd name="connsiteY3" fmla="*/ 272147 h 284480"/>
                        <a:gd name="connsiteX4" fmla="*/ 107677 w 243976"/>
                        <a:gd name="connsiteY4" fmla="*/ 284480 h 284480"/>
                        <a:gd name="connsiteX5" fmla="*/ 114732 w 243976"/>
                        <a:gd name="connsiteY5" fmla="*/ 284480 h 284480"/>
                        <a:gd name="connsiteX6" fmla="*/ 164155 w 243976"/>
                        <a:gd name="connsiteY6" fmla="*/ 264137 h 284480"/>
                        <a:gd name="connsiteX7" fmla="*/ 208891 w 243976"/>
                        <a:gd name="connsiteY7" fmla="*/ 221586 h 284480"/>
                        <a:gd name="connsiteX8" fmla="*/ 243614 w 243976"/>
                        <a:gd name="connsiteY8" fmla="*/ 81599 h 284480"/>
                        <a:gd name="connsiteX9" fmla="*/ 188958 w 243976"/>
                        <a:gd name="connsiteY9" fmla="*/ 46 h 2844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243976" h="284480">
                          <a:moveTo>
                            <a:pt x="188912" y="0"/>
                          </a:moveTo>
                          <a:cubicBezTo>
                            <a:pt x="180448" y="4278"/>
                            <a:pt x="138" y="121055"/>
                            <a:pt x="138" y="121055"/>
                          </a:cubicBezTo>
                          <a:cubicBezTo>
                            <a:pt x="138" y="121055"/>
                            <a:pt x="-3275" y="174256"/>
                            <a:pt x="23804" y="221586"/>
                          </a:cubicBezTo>
                          <a:cubicBezTo>
                            <a:pt x="23804" y="221586"/>
                            <a:pt x="43418" y="253761"/>
                            <a:pt x="72863" y="272147"/>
                          </a:cubicBezTo>
                          <a:cubicBezTo>
                            <a:pt x="83375" y="278700"/>
                            <a:pt x="95072" y="283570"/>
                            <a:pt x="107677" y="284480"/>
                          </a:cubicBezTo>
                          <a:lnTo>
                            <a:pt x="114732" y="284480"/>
                          </a:lnTo>
                          <a:cubicBezTo>
                            <a:pt x="132253" y="283206"/>
                            <a:pt x="149364" y="274559"/>
                            <a:pt x="164155" y="264137"/>
                          </a:cubicBezTo>
                          <a:cubicBezTo>
                            <a:pt x="190232" y="245706"/>
                            <a:pt x="208891" y="221586"/>
                            <a:pt x="208891" y="221586"/>
                          </a:cubicBezTo>
                          <a:cubicBezTo>
                            <a:pt x="243159" y="175849"/>
                            <a:pt x="245162" y="113046"/>
                            <a:pt x="243614" y="81599"/>
                          </a:cubicBezTo>
                          <a:cubicBezTo>
                            <a:pt x="233193" y="76911"/>
                            <a:pt x="199880" y="13607"/>
                            <a:pt x="188958" y="46"/>
                          </a:cubicBezTo>
                          <a:close/>
                        </a:path>
                      </a:pathLst>
                    </a:custGeom>
                    <a:solidFill>
                      <a:srgbClr val="894835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51C2C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774" name="Freeform: Shape 773">
                      <a:extLst>
                        <a:ext uri="{FF2B5EF4-FFF2-40B4-BE49-F238E27FC236}">
                          <a16:creationId xmlns:a16="http://schemas.microsoft.com/office/drawing/2014/main" id="{E3286B4D-2A49-FDFC-920A-5A50F927604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503206" y="2647237"/>
                      <a:ext cx="39984" cy="48542"/>
                    </a:xfrm>
                    <a:custGeom>
                      <a:avLst/>
                      <a:gdLst>
                        <a:gd name="connsiteX0" fmla="*/ 29244 w 39984"/>
                        <a:gd name="connsiteY0" fmla="*/ 40776 h 48542"/>
                        <a:gd name="connsiteX1" fmla="*/ 39984 w 39984"/>
                        <a:gd name="connsiteY1" fmla="*/ 0 h 48542"/>
                        <a:gd name="connsiteX2" fmla="*/ 436 w 39984"/>
                        <a:gd name="connsiteY2" fmla="*/ 8328 h 48542"/>
                        <a:gd name="connsiteX3" fmla="*/ 29244 w 39984"/>
                        <a:gd name="connsiteY3" fmla="*/ 40731 h 4854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39984" h="48542">
                          <a:moveTo>
                            <a:pt x="29244" y="40776"/>
                          </a:moveTo>
                          <a:lnTo>
                            <a:pt x="39984" y="0"/>
                          </a:lnTo>
                          <a:lnTo>
                            <a:pt x="436" y="8328"/>
                          </a:lnTo>
                          <a:cubicBezTo>
                            <a:pt x="436" y="8328"/>
                            <a:pt x="-5844" y="69812"/>
                            <a:pt x="29244" y="40731"/>
                          </a:cubicBezTo>
                          <a:close/>
                        </a:path>
                      </a:pathLst>
                    </a:custGeom>
                    <a:solidFill>
                      <a:srgbClr val="894835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51C2C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775" name="Freeform: Shape 774">
                      <a:extLst>
                        <a:ext uri="{FF2B5EF4-FFF2-40B4-BE49-F238E27FC236}">
                          <a16:creationId xmlns:a16="http://schemas.microsoft.com/office/drawing/2014/main" id="{E070AA9A-8ED2-6B18-68DA-387D93954FE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737289" y="2619749"/>
                      <a:ext cx="34132" cy="76075"/>
                    </a:xfrm>
                    <a:custGeom>
                      <a:avLst/>
                      <a:gdLst>
                        <a:gd name="connsiteX0" fmla="*/ 0 w 34132"/>
                        <a:gd name="connsiteY0" fmla="*/ 68264 h 76075"/>
                        <a:gd name="connsiteX1" fmla="*/ 34132 w 34132"/>
                        <a:gd name="connsiteY1" fmla="*/ 35862 h 76075"/>
                        <a:gd name="connsiteX2" fmla="*/ 5825 w 34132"/>
                        <a:gd name="connsiteY2" fmla="*/ 0 h 76075"/>
                        <a:gd name="connsiteX3" fmla="*/ 0 w 34132"/>
                        <a:gd name="connsiteY3" fmla="*/ 68264 h 7607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34132" h="76075">
                          <a:moveTo>
                            <a:pt x="0" y="68264"/>
                          </a:moveTo>
                          <a:cubicBezTo>
                            <a:pt x="30309" y="97345"/>
                            <a:pt x="34132" y="35862"/>
                            <a:pt x="34132" y="35862"/>
                          </a:cubicBezTo>
                          <a:lnTo>
                            <a:pt x="5825" y="0"/>
                          </a:lnTo>
                          <a:lnTo>
                            <a:pt x="0" y="68264"/>
                          </a:lnTo>
                          <a:close/>
                        </a:path>
                      </a:pathLst>
                    </a:custGeom>
                    <a:solidFill>
                      <a:srgbClr val="894835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51C2C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772" name="Freeform: Shape 771">
                    <a:extLst>
                      <a:ext uri="{FF2B5EF4-FFF2-40B4-BE49-F238E27FC236}">
                        <a16:creationId xmlns:a16="http://schemas.microsoft.com/office/drawing/2014/main" id="{4950F360-80DF-D9C3-6F09-E8B2B33D105B}"/>
                      </a:ext>
                    </a:extLst>
                  </p:cNvPr>
                  <p:cNvSpPr/>
                  <p:nvPr/>
                </p:nvSpPr>
                <p:spPr>
                  <a:xfrm>
                    <a:off x="18484256" y="2511922"/>
                    <a:ext cx="305186" cy="152152"/>
                  </a:xfrm>
                  <a:custGeom>
                    <a:avLst/>
                    <a:gdLst>
                      <a:gd name="connsiteX0" fmla="*/ 266595 w 305186"/>
                      <a:gd name="connsiteY0" fmla="*/ 11119 h 152152"/>
                      <a:gd name="connsiteX1" fmla="*/ 0 w 305186"/>
                      <a:gd name="connsiteY1" fmla="*/ 152153 h 152152"/>
                      <a:gd name="connsiteX2" fmla="*/ 214987 w 305186"/>
                      <a:gd name="connsiteY2" fmla="*/ 39881 h 152152"/>
                      <a:gd name="connsiteX3" fmla="*/ 305187 w 305186"/>
                      <a:gd name="connsiteY3" fmla="*/ 152153 h 152152"/>
                      <a:gd name="connsiteX4" fmla="*/ 266595 w 305186"/>
                      <a:gd name="connsiteY4" fmla="*/ 11119 h 1521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5186" h="152152">
                        <a:moveTo>
                          <a:pt x="266595" y="11119"/>
                        </a:moveTo>
                        <a:cubicBezTo>
                          <a:pt x="244340" y="1244"/>
                          <a:pt x="43507" y="-42400"/>
                          <a:pt x="0" y="152153"/>
                        </a:cubicBezTo>
                        <a:cubicBezTo>
                          <a:pt x="0" y="152153"/>
                          <a:pt x="155506" y="119022"/>
                          <a:pt x="214987" y="39881"/>
                        </a:cubicBezTo>
                        <a:cubicBezTo>
                          <a:pt x="214987" y="39881"/>
                          <a:pt x="259950" y="137954"/>
                          <a:pt x="305187" y="152153"/>
                        </a:cubicBezTo>
                        <a:cubicBezTo>
                          <a:pt x="305187" y="152153"/>
                          <a:pt x="288849" y="20995"/>
                          <a:pt x="266595" y="11119"/>
                        </a:cubicBezTo>
                        <a:close/>
                      </a:path>
                    </a:pathLst>
                  </a:custGeom>
                  <a:solidFill>
                    <a:srgbClr val="24292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51C2C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745" name="Graphic 4">
                <a:extLst>
                  <a:ext uri="{FF2B5EF4-FFF2-40B4-BE49-F238E27FC236}">
                    <a16:creationId xmlns:a16="http://schemas.microsoft.com/office/drawing/2014/main" id="{5CF6614F-D1B8-D9AA-F6D1-6906277075ED}"/>
                  </a:ext>
                </a:extLst>
              </p:cNvPr>
              <p:cNvGrpSpPr/>
              <p:nvPr/>
            </p:nvGrpSpPr>
            <p:grpSpPr>
              <a:xfrm>
                <a:off x="19315487" y="2438803"/>
                <a:ext cx="1630697" cy="259950"/>
                <a:chOff x="19315487" y="2438803"/>
                <a:chExt cx="1630697" cy="259950"/>
              </a:xfrm>
              <a:solidFill>
                <a:srgbClr val="16C8D8"/>
              </a:solidFill>
            </p:grpSpPr>
            <p:sp>
              <p:nvSpPr>
                <p:cNvPr id="764" name="Freeform: Shape 763">
                  <a:extLst>
                    <a:ext uri="{FF2B5EF4-FFF2-40B4-BE49-F238E27FC236}">
                      <a16:creationId xmlns:a16="http://schemas.microsoft.com/office/drawing/2014/main" id="{9DA7761E-6AFD-38DA-4999-DB1F5E3DCAC9}"/>
                    </a:ext>
                  </a:extLst>
                </p:cNvPr>
                <p:cNvSpPr/>
                <p:nvPr/>
              </p:nvSpPr>
              <p:spPr>
                <a:xfrm>
                  <a:off x="19330414" y="2438803"/>
                  <a:ext cx="1615770" cy="77821"/>
                </a:xfrm>
                <a:custGeom>
                  <a:avLst/>
                  <a:gdLst>
                    <a:gd name="connsiteX0" fmla="*/ 0 w 1615770"/>
                    <a:gd name="connsiteY0" fmla="*/ 77821 h 77821"/>
                    <a:gd name="connsiteX1" fmla="*/ 1609444 w 1615770"/>
                    <a:gd name="connsiteY1" fmla="*/ 77821 h 77821"/>
                    <a:gd name="connsiteX2" fmla="*/ 1615770 w 1615770"/>
                    <a:gd name="connsiteY2" fmla="*/ 0 h 77821"/>
                    <a:gd name="connsiteX3" fmla="*/ 6371 w 1615770"/>
                    <a:gd name="connsiteY3" fmla="*/ 0 h 77821"/>
                    <a:gd name="connsiteX4" fmla="*/ 0 w 1615770"/>
                    <a:gd name="connsiteY4" fmla="*/ 77821 h 77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15770" h="77821">
                      <a:moveTo>
                        <a:pt x="0" y="77821"/>
                      </a:moveTo>
                      <a:lnTo>
                        <a:pt x="1609444" y="77821"/>
                      </a:lnTo>
                      <a:lnTo>
                        <a:pt x="1615770" y="0"/>
                      </a:lnTo>
                      <a:lnTo>
                        <a:pt x="6371" y="0"/>
                      </a:lnTo>
                      <a:lnTo>
                        <a:pt x="0" y="77821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65" name="Freeform: Shape 764">
                  <a:extLst>
                    <a:ext uri="{FF2B5EF4-FFF2-40B4-BE49-F238E27FC236}">
                      <a16:creationId xmlns:a16="http://schemas.microsoft.com/office/drawing/2014/main" id="{DB0A46F2-87DE-09CF-63C9-23886ABB7EF0}"/>
                    </a:ext>
                  </a:extLst>
                </p:cNvPr>
                <p:cNvSpPr/>
                <p:nvPr/>
              </p:nvSpPr>
              <p:spPr>
                <a:xfrm>
                  <a:off x="19315487" y="2620932"/>
                  <a:ext cx="1155714" cy="77821"/>
                </a:xfrm>
                <a:custGeom>
                  <a:avLst/>
                  <a:gdLst>
                    <a:gd name="connsiteX0" fmla="*/ 0 w 1155714"/>
                    <a:gd name="connsiteY0" fmla="*/ 77821 h 77821"/>
                    <a:gd name="connsiteX1" fmla="*/ 1149389 w 1155714"/>
                    <a:gd name="connsiteY1" fmla="*/ 77821 h 77821"/>
                    <a:gd name="connsiteX2" fmla="*/ 1155715 w 1155714"/>
                    <a:gd name="connsiteY2" fmla="*/ 0 h 77821"/>
                    <a:gd name="connsiteX3" fmla="*/ 6371 w 1155714"/>
                    <a:gd name="connsiteY3" fmla="*/ 0 h 77821"/>
                    <a:gd name="connsiteX4" fmla="*/ 0 w 1155714"/>
                    <a:gd name="connsiteY4" fmla="*/ 77821 h 77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55714" h="77821">
                      <a:moveTo>
                        <a:pt x="0" y="77821"/>
                      </a:moveTo>
                      <a:lnTo>
                        <a:pt x="1149389" y="77821"/>
                      </a:lnTo>
                      <a:lnTo>
                        <a:pt x="1155715" y="0"/>
                      </a:lnTo>
                      <a:lnTo>
                        <a:pt x="6371" y="0"/>
                      </a:lnTo>
                      <a:lnTo>
                        <a:pt x="0" y="77821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746" name="Freeform: Shape 745">
                <a:extLst>
                  <a:ext uri="{FF2B5EF4-FFF2-40B4-BE49-F238E27FC236}">
                    <a16:creationId xmlns:a16="http://schemas.microsoft.com/office/drawing/2014/main" id="{6A249DA4-910A-4A95-F61D-D187720FFDC3}"/>
                  </a:ext>
                </a:extLst>
              </p:cNvPr>
              <p:cNvSpPr/>
              <p:nvPr/>
            </p:nvSpPr>
            <p:spPr>
              <a:xfrm>
                <a:off x="19277714" y="2971947"/>
                <a:ext cx="793549" cy="188727"/>
              </a:xfrm>
              <a:custGeom>
                <a:avLst/>
                <a:gdLst>
                  <a:gd name="connsiteX0" fmla="*/ 0 w 793549"/>
                  <a:gd name="connsiteY0" fmla="*/ 188728 h 188727"/>
                  <a:gd name="connsiteX1" fmla="*/ 778167 w 793549"/>
                  <a:gd name="connsiteY1" fmla="*/ 188728 h 188727"/>
                  <a:gd name="connsiteX2" fmla="*/ 793549 w 793549"/>
                  <a:gd name="connsiteY2" fmla="*/ 0 h 188727"/>
                  <a:gd name="connsiteX3" fmla="*/ 15473 w 793549"/>
                  <a:gd name="connsiteY3" fmla="*/ 0 h 188727"/>
                  <a:gd name="connsiteX4" fmla="*/ 0 w 793549"/>
                  <a:gd name="connsiteY4" fmla="*/ 188728 h 188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549" h="188727">
                    <a:moveTo>
                      <a:pt x="0" y="188728"/>
                    </a:moveTo>
                    <a:lnTo>
                      <a:pt x="778167" y="188728"/>
                    </a:lnTo>
                    <a:lnTo>
                      <a:pt x="793549" y="0"/>
                    </a:lnTo>
                    <a:lnTo>
                      <a:pt x="15473" y="0"/>
                    </a:lnTo>
                    <a:lnTo>
                      <a:pt x="0" y="188728"/>
                    </a:lnTo>
                    <a:close/>
                  </a:path>
                </a:pathLst>
              </a:custGeom>
              <a:solidFill>
                <a:srgbClr val="E2E8E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7" name="Freeform: Shape 746">
                <a:extLst>
                  <a:ext uri="{FF2B5EF4-FFF2-40B4-BE49-F238E27FC236}">
                    <a16:creationId xmlns:a16="http://schemas.microsoft.com/office/drawing/2014/main" id="{AA98063D-D4FF-C05F-92C3-2F91ADA08B90}"/>
                  </a:ext>
                </a:extLst>
              </p:cNvPr>
              <p:cNvSpPr/>
              <p:nvPr/>
            </p:nvSpPr>
            <p:spPr>
              <a:xfrm>
                <a:off x="20160462" y="2971947"/>
                <a:ext cx="793458" cy="188727"/>
              </a:xfrm>
              <a:custGeom>
                <a:avLst/>
                <a:gdLst>
                  <a:gd name="connsiteX0" fmla="*/ 0 w 793458"/>
                  <a:gd name="connsiteY0" fmla="*/ 188728 h 188727"/>
                  <a:gd name="connsiteX1" fmla="*/ 778122 w 793458"/>
                  <a:gd name="connsiteY1" fmla="*/ 188728 h 188727"/>
                  <a:gd name="connsiteX2" fmla="*/ 793458 w 793458"/>
                  <a:gd name="connsiteY2" fmla="*/ 0 h 188727"/>
                  <a:gd name="connsiteX3" fmla="*/ 15382 w 793458"/>
                  <a:gd name="connsiteY3" fmla="*/ 0 h 188727"/>
                  <a:gd name="connsiteX4" fmla="*/ 0 w 793458"/>
                  <a:gd name="connsiteY4" fmla="*/ 188728 h 188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458" h="188727">
                    <a:moveTo>
                      <a:pt x="0" y="188728"/>
                    </a:moveTo>
                    <a:lnTo>
                      <a:pt x="778122" y="188728"/>
                    </a:lnTo>
                    <a:lnTo>
                      <a:pt x="793458" y="0"/>
                    </a:lnTo>
                    <a:lnTo>
                      <a:pt x="15382" y="0"/>
                    </a:lnTo>
                    <a:lnTo>
                      <a:pt x="0" y="188728"/>
                    </a:lnTo>
                    <a:close/>
                  </a:path>
                </a:pathLst>
              </a:custGeom>
              <a:solidFill>
                <a:schemeClr val="accent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8" name="Freeform: Shape 747">
                <a:extLst>
                  <a:ext uri="{FF2B5EF4-FFF2-40B4-BE49-F238E27FC236}">
                    <a16:creationId xmlns:a16="http://schemas.microsoft.com/office/drawing/2014/main" id="{31F5A0A2-3A68-114D-CF05-93AB868187E6}"/>
                  </a:ext>
                </a:extLst>
              </p:cNvPr>
              <p:cNvSpPr/>
              <p:nvPr/>
            </p:nvSpPr>
            <p:spPr>
              <a:xfrm>
                <a:off x="21043165" y="2971947"/>
                <a:ext cx="793413" cy="188727"/>
              </a:xfrm>
              <a:custGeom>
                <a:avLst/>
                <a:gdLst>
                  <a:gd name="connsiteX0" fmla="*/ 0 w 793413"/>
                  <a:gd name="connsiteY0" fmla="*/ 188728 h 188727"/>
                  <a:gd name="connsiteX1" fmla="*/ 778167 w 793413"/>
                  <a:gd name="connsiteY1" fmla="*/ 188728 h 188727"/>
                  <a:gd name="connsiteX2" fmla="*/ 793413 w 793413"/>
                  <a:gd name="connsiteY2" fmla="*/ 0 h 188727"/>
                  <a:gd name="connsiteX3" fmla="*/ 15337 w 793413"/>
                  <a:gd name="connsiteY3" fmla="*/ 0 h 188727"/>
                  <a:gd name="connsiteX4" fmla="*/ 0 w 793413"/>
                  <a:gd name="connsiteY4" fmla="*/ 188728 h 188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413" h="188727">
                    <a:moveTo>
                      <a:pt x="0" y="188728"/>
                    </a:moveTo>
                    <a:lnTo>
                      <a:pt x="778167" y="188728"/>
                    </a:lnTo>
                    <a:lnTo>
                      <a:pt x="793413" y="0"/>
                    </a:lnTo>
                    <a:lnTo>
                      <a:pt x="15337" y="0"/>
                    </a:lnTo>
                    <a:lnTo>
                      <a:pt x="0" y="188728"/>
                    </a:lnTo>
                    <a:close/>
                  </a:path>
                </a:pathLst>
              </a:custGeom>
              <a:solidFill>
                <a:schemeClr val="accent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9" name="Freeform: Shape 748">
                <a:extLst>
                  <a:ext uri="{FF2B5EF4-FFF2-40B4-BE49-F238E27FC236}">
                    <a16:creationId xmlns:a16="http://schemas.microsoft.com/office/drawing/2014/main" id="{7E4E58EE-AC4E-31CD-A13C-B9E2C0E73C07}"/>
                  </a:ext>
                </a:extLst>
              </p:cNvPr>
              <p:cNvSpPr/>
              <p:nvPr/>
            </p:nvSpPr>
            <p:spPr>
              <a:xfrm>
                <a:off x="18134057" y="3308313"/>
                <a:ext cx="2792557" cy="847068"/>
              </a:xfrm>
              <a:custGeom>
                <a:avLst/>
                <a:gdLst>
                  <a:gd name="connsiteX0" fmla="*/ 0 w 2792555"/>
                  <a:gd name="connsiteY0" fmla="*/ 847069 h 847068"/>
                  <a:gd name="connsiteX1" fmla="*/ 2723745 w 2792555"/>
                  <a:gd name="connsiteY1" fmla="*/ 847069 h 847068"/>
                  <a:gd name="connsiteX2" fmla="*/ 2792555 w 2792555"/>
                  <a:gd name="connsiteY2" fmla="*/ 0 h 847068"/>
                  <a:gd name="connsiteX3" fmla="*/ 69539 w 2792555"/>
                  <a:gd name="connsiteY3" fmla="*/ 0 h 847068"/>
                  <a:gd name="connsiteX4" fmla="*/ 0 w 2792555"/>
                  <a:gd name="connsiteY4" fmla="*/ 847069 h 847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92555" h="847068">
                    <a:moveTo>
                      <a:pt x="0" y="847069"/>
                    </a:moveTo>
                    <a:lnTo>
                      <a:pt x="2723745" y="847069"/>
                    </a:lnTo>
                    <a:lnTo>
                      <a:pt x="2792555" y="0"/>
                    </a:lnTo>
                    <a:lnTo>
                      <a:pt x="69539" y="0"/>
                    </a:lnTo>
                    <a:lnTo>
                      <a:pt x="0" y="847069"/>
                    </a:ln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750" name="Graphic 4">
                <a:extLst>
                  <a:ext uri="{FF2B5EF4-FFF2-40B4-BE49-F238E27FC236}">
                    <a16:creationId xmlns:a16="http://schemas.microsoft.com/office/drawing/2014/main" id="{84D9F73B-E9F9-C415-552F-6318D21A4222}"/>
                  </a:ext>
                </a:extLst>
              </p:cNvPr>
              <p:cNvGrpSpPr/>
              <p:nvPr/>
            </p:nvGrpSpPr>
            <p:grpSpPr>
              <a:xfrm>
                <a:off x="18086047" y="4243255"/>
                <a:ext cx="1341165" cy="496144"/>
                <a:chOff x="18086047" y="4243255"/>
                <a:chExt cx="1341165" cy="496144"/>
              </a:xfrm>
            </p:grpSpPr>
            <p:sp>
              <p:nvSpPr>
                <p:cNvPr id="762" name="Freeform: Shape 761">
                  <a:extLst>
                    <a:ext uri="{FF2B5EF4-FFF2-40B4-BE49-F238E27FC236}">
                      <a16:creationId xmlns:a16="http://schemas.microsoft.com/office/drawing/2014/main" id="{F9105200-06B5-455F-D105-9288F7A9F928}"/>
                    </a:ext>
                  </a:extLst>
                </p:cNvPr>
                <p:cNvSpPr/>
                <p:nvPr/>
              </p:nvSpPr>
              <p:spPr>
                <a:xfrm>
                  <a:off x="18086047" y="4243255"/>
                  <a:ext cx="1341165" cy="496144"/>
                </a:xfrm>
                <a:custGeom>
                  <a:avLst/>
                  <a:gdLst>
                    <a:gd name="connsiteX0" fmla="*/ 0 w 1341165"/>
                    <a:gd name="connsiteY0" fmla="*/ 496145 h 496144"/>
                    <a:gd name="connsiteX1" fmla="*/ 1300616 w 1341165"/>
                    <a:gd name="connsiteY1" fmla="*/ 496145 h 496144"/>
                    <a:gd name="connsiteX2" fmla="*/ 1341166 w 1341165"/>
                    <a:gd name="connsiteY2" fmla="*/ 0 h 496144"/>
                    <a:gd name="connsiteX3" fmla="*/ 40777 w 1341165"/>
                    <a:gd name="connsiteY3" fmla="*/ 0 h 496144"/>
                    <a:gd name="connsiteX4" fmla="*/ 0 w 1341165"/>
                    <a:gd name="connsiteY4" fmla="*/ 496145 h 496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41165" h="496144">
                      <a:moveTo>
                        <a:pt x="0" y="496145"/>
                      </a:moveTo>
                      <a:lnTo>
                        <a:pt x="1300616" y="496145"/>
                      </a:lnTo>
                      <a:lnTo>
                        <a:pt x="1341166" y="0"/>
                      </a:lnTo>
                      <a:lnTo>
                        <a:pt x="40777" y="0"/>
                      </a:lnTo>
                      <a:lnTo>
                        <a:pt x="0" y="49614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63" name="Freeform: Shape 762">
                  <a:extLst>
                    <a:ext uri="{FF2B5EF4-FFF2-40B4-BE49-F238E27FC236}">
                      <a16:creationId xmlns:a16="http://schemas.microsoft.com/office/drawing/2014/main" id="{DEEB2273-C3D9-D43B-B310-0B96A29855AD}"/>
                    </a:ext>
                  </a:extLst>
                </p:cNvPr>
                <p:cNvSpPr/>
                <p:nvPr/>
              </p:nvSpPr>
              <p:spPr>
                <a:xfrm>
                  <a:off x="18115583" y="4243255"/>
                  <a:ext cx="1311629" cy="136665"/>
                </a:xfrm>
                <a:custGeom>
                  <a:avLst/>
                  <a:gdLst>
                    <a:gd name="connsiteX0" fmla="*/ 0 w 1311629"/>
                    <a:gd name="connsiteY0" fmla="*/ 136665 h 136665"/>
                    <a:gd name="connsiteX1" fmla="*/ 1300480 w 1311629"/>
                    <a:gd name="connsiteY1" fmla="*/ 136665 h 136665"/>
                    <a:gd name="connsiteX2" fmla="*/ 1311630 w 1311629"/>
                    <a:gd name="connsiteY2" fmla="*/ 0 h 136665"/>
                    <a:gd name="connsiteX3" fmla="*/ 11241 w 1311629"/>
                    <a:gd name="connsiteY3" fmla="*/ 0 h 136665"/>
                    <a:gd name="connsiteX4" fmla="*/ 0 w 1311629"/>
                    <a:gd name="connsiteY4" fmla="*/ 136665 h 1366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11629" h="136665">
                      <a:moveTo>
                        <a:pt x="0" y="136665"/>
                      </a:moveTo>
                      <a:lnTo>
                        <a:pt x="1300480" y="136665"/>
                      </a:lnTo>
                      <a:lnTo>
                        <a:pt x="1311630" y="0"/>
                      </a:lnTo>
                      <a:lnTo>
                        <a:pt x="11241" y="0"/>
                      </a:lnTo>
                      <a:lnTo>
                        <a:pt x="0" y="136665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51" name="Graphic 4">
                <a:extLst>
                  <a:ext uri="{FF2B5EF4-FFF2-40B4-BE49-F238E27FC236}">
                    <a16:creationId xmlns:a16="http://schemas.microsoft.com/office/drawing/2014/main" id="{6522AFF8-9E35-F811-1D4F-2E31C08257ED}"/>
                  </a:ext>
                </a:extLst>
              </p:cNvPr>
              <p:cNvGrpSpPr/>
              <p:nvPr/>
            </p:nvGrpSpPr>
            <p:grpSpPr>
              <a:xfrm>
                <a:off x="19509722" y="4243255"/>
                <a:ext cx="1340938" cy="496144"/>
                <a:chOff x="19509722" y="4243255"/>
                <a:chExt cx="1340938" cy="496144"/>
              </a:xfrm>
            </p:grpSpPr>
            <p:sp>
              <p:nvSpPr>
                <p:cNvPr id="760" name="Freeform: Shape 759">
                  <a:extLst>
                    <a:ext uri="{FF2B5EF4-FFF2-40B4-BE49-F238E27FC236}">
                      <a16:creationId xmlns:a16="http://schemas.microsoft.com/office/drawing/2014/main" id="{12F6C29C-3687-6D1B-A7F5-FEA1442A2FEF}"/>
                    </a:ext>
                  </a:extLst>
                </p:cNvPr>
                <p:cNvSpPr/>
                <p:nvPr/>
              </p:nvSpPr>
              <p:spPr>
                <a:xfrm>
                  <a:off x="19509722" y="4243255"/>
                  <a:ext cx="1340938" cy="496144"/>
                </a:xfrm>
                <a:custGeom>
                  <a:avLst/>
                  <a:gdLst>
                    <a:gd name="connsiteX0" fmla="*/ 0 w 1340938"/>
                    <a:gd name="connsiteY0" fmla="*/ 496145 h 496144"/>
                    <a:gd name="connsiteX1" fmla="*/ 1300617 w 1340938"/>
                    <a:gd name="connsiteY1" fmla="*/ 496145 h 496144"/>
                    <a:gd name="connsiteX2" fmla="*/ 1340938 w 1340938"/>
                    <a:gd name="connsiteY2" fmla="*/ 0 h 496144"/>
                    <a:gd name="connsiteX3" fmla="*/ 40549 w 1340938"/>
                    <a:gd name="connsiteY3" fmla="*/ 0 h 496144"/>
                    <a:gd name="connsiteX4" fmla="*/ 0 w 1340938"/>
                    <a:gd name="connsiteY4" fmla="*/ 496145 h 496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40938" h="496144">
                      <a:moveTo>
                        <a:pt x="0" y="496145"/>
                      </a:moveTo>
                      <a:lnTo>
                        <a:pt x="1300617" y="496145"/>
                      </a:lnTo>
                      <a:lnTo>
                        <a:pt x="1340938" y="0"/>
                      </a:lnTo>
                      <a:lnTo>
                        <a:pt x="40549" y="0"/>
                      </a:lnTo>
                      <a:lnTo>
                        <a:pt x="0" y="49614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61" name="Freeform: Shape 760">
                  <a:extLst>
                    <a:ext uri="{FF2B5EF4-FFF2-40B4-BE49-F238E27FC236}">
                      <a16:creationId xmlns:a16="http://schemas.microsoft.com/office/drawing/2014/main" id="{1B7381E2-3AA3-53CA-3DC0-1B2CD3DBBF2C}"/>
                    </a:ext>
                  </a:extLst>
                </p:cNvPr>
                <p:cNvSpPr/>
                <p:nvPr/>
              </p:nvSpPr>
              <p:spPr>
                <a:xfrm>
                  <a:off x="19539075" y="4243255"/>
                  <a:ext cx="1311584" cy="136665"/>
                </a:xfrm>
                <a:custGeom>
                  <a:avLst/>
                  <a:gdLst>
                    <a:gd name="connsiteX0" fmla="*/ 0 w 1311584"/>
                    <a:gd name="connsiteY0" fmla="*/ 136665 h 136665"/>
                    <a:gd name="connsiteX1" fmla="*/ 1300480 w 1311584"/>
                    <a:gd name="connsiteY1" fmla="*/ 136665 h 136665"/>
                    <a:gd name="connsiteX2" fmla="*/ 1311585 w 1311584"/>
                    <a:gd name="connsiteY2" fmla="*/ 0 h 136665"/>
                    <a:gd name="connsiteX3" fmla="*/ 11196 w 1311584"/>
                    <a:gd name="connsiteY3" fmla="*/ 0 h 136665"/>
                    <a:gd name="connsiteX4" fmla="*/ 0 w 1311584"/>
                    <a:gd name="connsiteY4" fmla="*/ 136665 h 1366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11584" h="136665">
                      <a:moveTo>
                        <a:pt x="0" y="136665"/>
                      </a:moveTo>
                      <a:lnTo>
                        <a:pt x="1300480" y="136665"/>
                      </a:lnTo>
                      <a:lnTo>
                        <a:pt x="1311585" y="0"/>
                      </a:lnTo>
                      <a:lnTo>
                        <a:pt x="11196" y="0"/>
                      </a:lnTo>
                      <a:lnTo>
                        <a:pt x="0" y="136665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52" name="Graphic 4">
                <a:extLst>
                  <a:ext uri="{FF2B5EF4-FFF2-40B4-BE49-F238E27FC236}">
                    <a16:creationId xmlns:a16="http://schemas.microsoft.com/office/drawing/2014/main" id="{95CCC8C0-ABED-E8D5-DFC6-97ECB2768BF5}"/>
                  </a:ext>
                </a:extLst>
              </p:cNvPr>
              <p:cNvGrpSpPr/>
              <p:nvPr/>
            </p:nvGrpSpPr>
            <p:grpSpPr>
              <a:xfrm>
                <a:off x="18213975" y="4466616"/>
                <a:ext cx="1074388" cy="184358"/>
                <a:chOff x="18213975" y="4466616"/>
                <a:chExt cx="1074388" cy="184358"/>
              </a:xfrm>
              <a:solidFill>
                <a:srgbClr val="C8D7DE"/>
              </a:solidFill>
            </p:grpSpPr>
            <p:sp>
              <p:nvSpPr>
                <p:cNvPr id="757" name="Freeform: Shape 756">
                  <a:extLst>
                    <a:ext uri="{FF2B5EF4-FFF2-40B4-BE49-F238E27FC236}">
                      <a16:creationId xmlns:a16="http://schemas.microsoft.com/office/drawing/2014/main" id="{6ABA96D3-9795-4F09-ED5B-AFAC9585AF00}"/>
                    </a:ext>
                  </a:extLst>
                </p:cNvPr>
                <p:cNvSpPr/>
                <p:nvPr/>
              </p:nvSpPr>
              <p:spPr>
                <a:xfrm>
                  <a:off x="18226581" y="4466616"/>
                  <a:ext cx="1061782" cy="30263"/>
                </a:xfrm>
                <a:custGeom>
                  <a:avLst/>
                  <a:gdLst>
                    <a:gd name="connsiteX0" fmla="*/ 0 w 1061782"/>
                    <a:gd name="connsiteY0" fmla="*/ 30264 h 30263"/>
                    <a:gd name="connsiteX1" fmla="*/ 1059279 w 1061782"/>
                    <a:gd name="connsiteY1" fmla="*/ 30264 h 30263"/>
                    <a:gd name="connsiteX2" fmla="*/ 1061783 w 1061782"/>
                    <a:gd name="connsiteY2" fmla="*/ 0 h 30263"/>
                    <a:gd name="connsiteX3" fmla="*/ 2503 w 1061782"/>
                    <a:gd name="connsiteY3" fmla="*/ 0 h 30263"/>
                    <a:gd name="connsiteX4" fmla="*/ 0 w 1061782"/>
                    <a:gd name="connsiteY4" fmla="*/ 30264 h 302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61782" h="30263">
                      <a:moveTo>
                        <a:pt x="0" y="30264"/>
                      </a:moveTo>
                      <a:lnTo>
                        <a:pt x="1059279" y="30264"/>
                      </a:lnTo>
                      <a:lnTo>
                        <a:pt x="1061783" y="0"/>
                      </a:lnTo>
                      <a:lnTo>
                        <a:pt x="2503" y="0"/>
                      </a:lnTo>
                      <a:lnTo>
                        <a:pt x="0" y="30264"/>
                      </a:lnTo>
                      <a:close/>
                    </a:path>
                  </a:pathLst>
                </a:custGeom>
                <a:solidFill>
                  <a:srgbClr val="C8D7DE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58" name="Freeform: Shape 757">
                  <a:extLst>
                    <a:ext uri="{FF2B5EF4-FFF2-40B4-BE49-F238E27FC236}">
                      <a16:creationId xmlns:a16="http://schemas.microsoft.com/office/drawing/2014/main" id="{86317E94-7914-0275-D3E4-9CE1BFA4ACA9}"/>
                    </a:ext>
                  </a:extLst>
                </p:cNvPr>
                <p:cNvSpPr/>
                <p:nvPr/>
              </p:nvSpPr>
              <p:spPr>
                <a:xfrm>
                  <a:off x="18220301" y="4543664"/>
                  <a:ext cx="1061737" cy="30218"/>
                </a:xfrm>
                <a:custGeom>
                  <a:avLst/>
                  <a:gdLst>
                    <a:gd name="connsiteX0" fmla="*/ 0 w 1061737"/>
                    <a:gd name="connsiteY0" fmla="*/ 30218 h 30218"/>
                    <a:gd name="connsiteX1" fmla="*/ 1059279 w 1061737"/>
                    <a:gd name="connsiteY1" fmla="*/ 30218 h 30218"/>
                    <a:gd name="connsiteX2" fmla="*/ 1061737 w 1061737"/>
                    <a:gd name="connsiteY2" fmla="*/ 0 h 30218"/>
                    <a:gd name="connsiteX3" fmla="*/ 2457 w 1061737"/>
                    <a:gd name="connsiteY3" fmla="*/ 0 h 30218"/>
                    <a:gd name="connsiteX4" fmla="*/ 0 w 1061737"/>
                    <a:gd name="connsiteY4" fmla="*/ 30218 h 30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61737" h="30218">
                      <a:moveTo>
                        <a:pt x="0" y="30218"/>
                      </a:moveTo>
                      <a:lnTo>
                        <a:pt x="1059279" y="30218"/>
                      </a:lnTo>
                      <a:lnTo>
                        <a:pt x="1061737" y="0"/>
                      </a:lnTo>
                      <a:lnTo>
                        <a:pt x="2457" y="0"/>
                      </a:lnTo>
                      <a:lnTo>
                        <a:pt x="0" y="30218"/>
                      </a:lnTo>
                      <a:close/>
                    </a:path>
                  </a:pathLst>
                </a:custGeom>
                <a:solidFill>
                  <a:srgbClr val="C8D7DE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59" name="Freeform: Shape 758">
                  <a:extLst>
                    <a:ext uri="{FF2B5EF4-FFF2-40B4-BE49-F238E27FC236}">
                      <a16:creationId xmlns:a16="http://schemas.microsoft.com/office/drawing/2014/main" id="{3F931235-7917-53CB-5D71-F7224628C4EC}"/>
                    </a:ext>
                  </a:extLst>
                </p:cNvPr>
                <p:cNvSpPr/>
                <p:nvPr/>
              </p:nvSpPr>
              <p:spPr>
                <a:xfrm>
                  <a:off x="18213975" y="4620711"/>
                  <a:ext cx="867638" cy="30263"/>
                </a:xfrm>
                <a:custGeom>
                  <a:avLst/>
                  <a:gdLst>
                    <a:gd name="connsiteX0" fmla="*/ 0 w 867638"/>
                    <a:gd name="connsiteY0" fmla="*/ 30264 h 30263"/>
                    <a:gd name="connsiteX1" fmla="*/ 865136 w 867638"/>
                    <a:gd name="connsiteY1" fmla="*/ 30264 h 30263"/>
                    <a:gd name="connsiteX2" fmla="*/ 867639 w 867638"/>
                    <a:gd name="connsiteY2" fmla="*/ 0 h 30263"/>
                    <a:gd name="connsiteX3" fmla="*/ 2458 w 867638"/>
                    <a:gd name="connsiteY3" fmla="*/ 0 h 30263"/>
                    <a:gd name="connsiteX4" fmla="*/ 0 w 867638"/>
                    <a:gd name="connsiteY4" fmla="*/ 30264 h 302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67638" h="30263">
                      <a:moveTo>
                        <a:pt x="0" y="30264"/>
                      </a:moveTo>
                      <a:lnTo>
                        <a:pt x="865136" y="30264"/>
                      </a:lnTo>
                      <a:lnTo>
                        <a:pt x="867639" y="0"/>
                      </a:lnTo>
                      <a:lnTo>
                        <a:pt x="2458" y="0"/>
                      </a:lnTo>
                      <a:lnTo>
                        <a:pt x="0" y="30264"/>
                      </a:lnTo>
                      <a:close/>
                    </a:path>
                  </a:pathLst>
                </a:custGeom>
                <a:solidFill>
                  <a:srgbClr val="C8D7DE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53" name="Graphic 4">
                <a:extLst>
                  <a:ext uri="{FF2B5EF4-FFF2-40B4-BE49-F238E27FC236}">
                    <a16:creationId xmlns:a16="http://schemas.microsoft.com/office/drawing/2014/main" id="{2C8AB5B5-BFEF-3492-F7B0-D9444E188FE4}"/>
                  </a:ext>
                </a:extLst>
              </p:cNvPr>
              <p:cNvGrpSpPr/>
              <p:nvPr/>
            </p:nvGrpSpPr>
            <p:grpSpPr>
              <a:xfrm>
                <a:off x="19637558" y="4466616"/>
                <a:ext cx="1074343" cy="184358"/>
                <a:chOff x="19637558" y="4466616"/>
                <a:chExt cx="1074343" cy="184358"/>
              </a:xfrm>
              <a:solidFill>
                <a:srgbClr val="C8D7DE"/>
              </a:solidFill>
            </p:grpSpPr>
            <p:sp>
              <p:nvSpPr>
                <p:cNvPr id="754" name="Freeform: Shape 753">
                  <a:extLst>
                    <a:ext uri="{FF2B5EF4-FFF2-40B4-BE49-F238E27FC236}">
                      <a16:creationId xmlns:a16="http://schemas.microsoft.com/office/drawing/2014/main" id="{FC22585C-0277-1FD4-D32C-535C79CDB410}"/>
                    </a:ext>
                  </a:extLst>
                </p:cNvPr>
                <p:cNvSpPr/>
                <p:nvPr/>
              </p:nvSpPr>
              <p:spPr>
                <a:xfrm>
                  <a:off x="19650164" y="4466616"/>
                  <a:ext cx="1061737" cy="30263"/>
                </a:xfrm>
                <a:custGeom>
                  <a:avLst/>
                  <a:gdLst>
                    <a:gd name="connsiteX0" fmla="*/ 0 w 1061737"/>
                    <a:gd name="connsiteY0" fmla="*/ 30264 h 30263"/>
                    <a:gd name="connsiteX1" fmla="*/ 1059280 w 1061737"/>
                    <a:gd name="connsiteY1" fmla="*/ 30264 h 30263"/>
                    <a:gd name="connsiteX2" fmla="*/ 1061737 w 1061737"/>
                    <a:gd name="connsiteY2" fmla="*/ 0 h 30263"/>
                    <a:gd name="connsiteX3" fmla="*/ 2458 w 1061737"/>
                    <a:gd name="connsiteY3" fmla="*/ 0 h 30263"/>
                    <a:gd name="connsiteX4" fmla="*/ 0 w 1061737"/>
                    <a:gd name="connsiteY4" fmla="*/ 30264 h 302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61737" h="30263">
                      <a:moveTo>
                        <a:pt x="0" y="30264"/>
                      </a:moveTo>
                      <a:lnTo>
                        <a:pt x="1059280" y="30264"/>
                      </a:lnTo>
                      <a:lnTo>
                        <a:pt x="1061737" y="0"/>
                      </a:lnTo>
                      <a:lnTo>
                        <a:pt x="2458" y="0"/>
                      </a:lnTo>
                      <a:lnTo>
                        <a:pt x="0" y="30264"/>
                      </a:lnTo>
                      <a:close/>
                    </a:path>
                  </a:pathLst>
                </a:custGeom>
                <a:solidFill>
                  <a:srgbClr val="C8D7DE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55" name="Freeform: Shape 754">
                  <a:extLst>
                    <a:ext uri="{FF2B5EF4-FFF2-40B4-BE49-F238E27FC236}">
                      <a16:creationId xmlns:a16="http://schemas.microsoft.com/office/drawing/2014/main" id="{AA2B0D20-D192-7E4B-3E55-8AD4F186DB83}"/>
                    </a:ext>
                  </a:extLst>
                </p:cNvPr>
                <p:cNvSpPr/>
                <p:nvPr/>
              </p:nvSpPr>
              <p:spPr>
                <a:xfrm>
                  <a:off x="19643884" y="4543664"/>
                  <a:ext cx="1061737" cy="30218"/>
                </a:xfrm>
                <a:custGeom>
                  <a:avLst/>
                  <a:gdLst>
                    <a:gd name="connsiteX0" fmla="*/ 0 w 1061737"/>
                    <a:gd name="connsiteY0" fmla="*/ 30218 h 30218"/>
                    <a:gd name="connsiteX1" fmla="*/ 1059280 w 1061737"/>
                    <a:gd name="connsiteY1" fmla="*/ 30218 h 30218"/>
                    <a:gd name="connsiteX2" fmla="*/ 1061737 w 1061737"/>
                    <a:gd name="connsiteY2" fmla="*/ 0 h 30218"/>
                    <a:gd name="connsiteX3" fmla="*/ 2458 w 1061737"/>
                    <a:gd name="connsiteY3" fmla="*/ 0 h 30218"/>
                    <a:gd name="connsiteX4" fmla="*/ 0 w 1061737"/>
                    <a:gd name="connsiteY4" fmla="*/ 30218 h 30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61737" h="30218">
                      <a:moveTo>
                        <a:pt x="0" y="30218"/>
                      </a:moveTo>
                      <a:lnTo>
                        <a:pt x="1059280" y="30218"/>
                      </a:lnTo>
                      <a:lnTo>
                        <a:pt x="1061737" y="0"/>
                      </a:lnTo>
                      <a:lnTo>
                        <a:pt x="2458" y="0"/>
                      </a:lnTo>
                      <a:lnTo>
                        <a:pt x="0" y="30218"/>
                      </a:lnTo>
                      <a:close/>
                    </a:path>
                  </a:pathLst>
                </a:custGeom>
                <a:solidFill>
                  <a:srgbClr val="C8D7DE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56" name="Freeform: Shape 755">
                  <a:extLst>
                    <a:ext uri="{FF2B5EF4-FFF2-40B4-BE49-F238E27FC236}">
                      <a16:creationId xmlns:a16="http://schemas.microsoft.com/office/drawing/2014/main" id="{176EB2EC-8821-4920-63C1-14C763136397}"/>
                    </a:ext>
                  </a:extLst>
                </p:cNvPr>
                <p:cNvSpPr/>
                <p:nvPr/>
              </p:nvSpPr>
              <p:spPr>
                <a:xfrm>
                  <a:off x="19637558" y="4620711"/>
                  <a:ext cx="867639" cy="30263"/>
                </a:xfrm>
                <a:custGeom>
                  <a:avLst/>
                  <a:gdLst>
                    <a:gd name="connsiteX0" fmla="*/ 0 w 867639"/>
                    <a:gd name="connsiteY0" fmla="*/ 30264 h 30263"/>
                    <a:gd name="connsiteX1" fmla="*/ 865181 w 867639"/>
                    <a:gd name="connsiteY1" fmla="*/ 30264 h 30263"/>
                    <a:gd name="connsiteX2" fmla="*/ 867639 w 867639"/>
                    <a:gd name="connsiteY2" fmla="*/ 0 h 30263"/>
                    <a:gd name="connsiteX3" fmla="*/ 2503 w 867639"/>
                    <a:gd name="connsiteY3" fmla="*/ 0 h 30263"/>
                    <a:gd name="connsiteX4" fmla="*/ 0 w 867639"/>
                    <a:gd name="connsiteY4" fmla="*/ 30264 h 302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67639" h="30263">
                      <a:moveTo>
                        <a:pt x="0" y="30264"/>
                      </a:moveTo>
                      <a:lnTo>
                        <a:pt x="865181" y="30264"/>
                      </a:lnTo>
                      <a:lnTo>
                        <a:pt x="867639" y="0"/>
                      </a:lnTo>
                      <a:lnTo>
                        <a:pt x="2503" y="0"/>
                      </a:lnTo>
                      <a:lnTo>
                        <a:pt x="0" y="30264"/>
                      </a:lnTo>
                      <a:close/>
                    </a:path>
                  </a:pathLst>
                </a:custGeom>
                <a:solidFill>
                  <a:srgbClr val="C8D7DE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608" name="Graphic 4">
              <a:extLst>
                <a:ext uri="{FF2B5EF4-FFF2-40B4-BE49-F238E27FC236}">
                  <a16:creationId xmlns:a16="http://schemas.microsoft.com/office/drawing/2014/main" id="{47D13F92-FBF0-3DA6-F6D2-60CDB25F6DF9}"/>
                </a:ext>
              </a:extLst>
            </p:cNvPr>
            <p:cNvGrpSpPr/>
            <p:nvPr/>
          </p:nvGrpSpPr>
          <p:grpSpPr>
            <a:xfrm>
              <a:off x="979995" y="6170479"/>
              <a:ext cx="870444" cy="65592"/>
              <a:chOff x="16827163" y="5855293"/>
              <a:chExt cx="9094030" cy="685283"/>
            </a:xfrm>
          </p:grpSpPr>
          <p:sp>
            <p:nvSpPr>
              <p:cNvPr id="741" name="Freeform: Shape 740">
                <a:extLst>
                  <a:ext uri="{FF2B5EF4-FFF2-40B4-BE49-F238E27FC236}">
                    <a16:creationId xmlns:a16="http://schemas.microsoft.com/office/drawing/2014/main" id="{B053B0E1-FEC5-D9C5-B612-2555F1FA01B7}"/>
                  </a:ext>
                </a:extLst>
              </p:cNvPr>
              <p:cNvSpPr/>
              <p:nvPr/>
            </p:nvSpPr>
            <p:spPr>
              <a:xfrm>
                <a:off x="16996914" y="6074149"/>
                <a:ext cx="8754529" cy="466427"/>
              </a:xfrm>
              <a:custGeom>
                <a:avLst/>
                <a:gdLst>
                  <a:gd name="connsiteX0" fmla="*/ 0 w 8754529"/>
                  <a:gd name="connsiteY0" fmla="*/ 0 h 466427"/>
                  <a:gd name="connsiteX1" fmla="*/ 8754529 w 8754529"/>
                  <a:gd name="connsiteY1" fmla="*/ 0 h 466427"/>
                  <a:gd name="connsiteX2" fmla="*/ 8754529 w 8754529"/>
                  <a:gd name="connsiteY2" fmla="*/ 466427 h 466427"/>
                  <a:gd name="connsiteX3" fmla="*/ 0 w 8754529"/>
                  <a:gd name="connsiteY3" fmla="*/ 466427 h 466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754529" h="466427">
                    <a:moveTo>
                      <a:pt x="0" y="0"/>
                    </a:moveTo>
                    <a:lnTo>
                      <a:pt x="8754529" y="0"/>
                    </a:lnTo>
                    <a:lnTo>
                      <a:pt x="8754529" y="466427"/>
                    </a:lnTo>
                    <a:lnTo>
                      <a:pt x="0" y="466427"/>
                    </a:lnTo>
                    <a:close/>
                  </a:path>
                </a:pathLst>
              </a:custGeom>
              <a:solidFill>
                <a:srgbClr val="4A2D24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2" name="Freeform: Shape 741">
                <a:extLst>
                  <a:ext uri="{FF2B5EF4-FFF2-40B4-BE49-F238E27FC236}">
                    <a16:creationId xmlns:a16="http://schemas.microsoft.com/office/drawing/2014/main" id="{E3BBEFF7-6FE0-E2F1-58F4-EE81F9A4004E}"/>
                  </a:ext>
                </a:extLst>
              </p:cNvPr>
              <p:cNvSpPr/>
              <p:nvPr/>
            </p:nvSpPr>
            <p:spPr>
              <a:xfrm>
                <a:off x="16827163" y="5855293"/>
                <a:ext cx="9094030" cy="320478"/>
              </a:xfrm>
              <a:custGeom>
                <a:avLst/>
                <a:gdLst>
                  <a:gd name="connsiteX0" fmla="*/ 0 w 9094030"/>
                  <a:gd name="connsiteY0" fmla="*/ 0 h 320478"/>
                  <a:gd name="connsiteX1" fmla="*/ 9094030 w 9094030"/>
                  <a:gd name="connsiteY1" fmla="*/ 0 h 320478"/>
                  <a:gd name="connsiteX2" fmla="*/ 9094030 w 9094030"/>
                  <a:gd name="connsiteY2" fmla="*/ 320478 h 320478"/>
                  <a:gd name="connsiteX3" fmla="*/ 0 w 9094030"/>
                  <a:gd name="connsiteY3" fmla="*/ 320478 h 320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94030" h="320478">
                    <a:moveTo>
                      <a:pt x="0" y="0"/>
                    </a:moveTo>
                    <a:lnTo>
                      <a:pt x="9094030" y="0"/>
                    </a:lnTo>
                    <a:lnTo>
                      <a:pt x="9094030" y="320478"/>
                    </a:lnTo>
                    <a:lnTo>
                      <a:pt x="0" y="320478"/>
                    </a:lnTo>
                    <a:close/>
                  </a:path>
                </a:pathLst>
              </a:custGeom>
              <a:solidFill>
                <a:srgbClr val="875443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09" name="Graphic 4">
              <a:extLst>
                <a:ext uri="{FF2B5EF4-FFF2-40B4-BE49-F238E27FC236}">
                  <a16:creationId xmlns:a16="http://schemas.microsoft.com/office/drawing/2014/main" id="{60FE2E68-6888-4FE7-720D-41BF4FA4D8CC}"/>
                </a:ext>
              </a:extLst>
            </p:cNvPr>
            <p:cNvGrpSpPr/>
            <p:nvPr/>
          </p:nvGrpSpPr>
          <p:grpSpPr>
            <a:xfrm>
              <a:off x="740933" y="6170479"/>
              <a:ext cx="789889" cy="65592"/>
              <a:chOff x="14329555" y="5855293"/>
              <a:chExt cx="8252423" cy="685283"/>
            </a:xfrm>
          </p:grpSpPr>
          <p:sp>
            <p:nvSpPr>
              <p:cNvPr id="739" name="Freeform: Shape 738">
                <a:extLst>
                  <a:ext uri="{FF2B5EF4-FFF2-40B4-BE49-F238E27FC236}">
                    <a16:creationId xmlns:a16="http://schemas.microsoft.com/office/drawing/2014/main" id="{E9573B0D-796C-B127-59AE-7B6900166416}"/>
                  </a:ext>
                </a:extLst>
              </p:cNvPr>
              <p:cNvSpPr/>
              <p:nvPr/>
            </p:nvSpPr>
            <p:spPr>
              <a:xfrm>
                <a:off x="14483605" y="6074149"/>
                <a:ext cx="7944323" cy="466427"/>
              </a:xfrm>
              <a:custGeom>
                <a:avLst/>
                <a:gdLst>
                  <a:gd name="connsiteX0" fmla="*/ 0 w 7944323"/>
                  <a:gd name="connsiteY0" fmla="*/ 0 h 466427"/>
                  <a:gd name="connsiteX1" fmla="*/ 7944324 w 7944323"/>
                  <a:gd name="connsiteY1" fmla="*/ 0 h 466427"/>
                  <a:gd name="connsiteX2" fmla="*/ 7944324 w 7944323"/>
                  <a:gd name="connsiteY2" fmla="*/ 466427 h 466427"/>
                  <a:gd name="connsiteX3" fmla="*/ 0 w 7944323"/>
                  <a:gd name="connsiteY3" fmla="*/ 466427 h 466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44323" h="466427">
                    <a:moveTo>
                      <a:pt x="0" y="0"/>
                    </a:moveTo>
                    <a:lnTo>
                      <a:pt x="7944324" y="0"/>
                    </a:lnTo>
                    <a:lnTo>
                      <a:pt x="7944324" y="466427"/>
                    </a:lnTo>
                    <a:lnTo>
                      <a:pt x="0" y="466427"/>
                    </a:lnTo>
                    <a:close/>
                  </a:path>
                </a:pathLst>
              </a:custGeom>
              <a:solidFill>
                <a:srgbClr val="623B3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0" name="Freeform: Shape 739">
                <a:extLst>
                  <a:ext uri="{FF2B5EF4-FFF2-40B4-BE49-F238E27FC236}">
                    <a16:creationId xmlns:a16="http://schemas.microsoft.com/office/drawing/2014/main" id="{9D8A548B-A4D0-CF20-337A-1ED65E106532}"/>
                  </a:ext>
                </a:extLst>
              </p:cNvPr>
              <p:cNvSpPr/>
              <p:nvPr/>
            </p:nvSpPr>
            <p:spPr>
              <a:xfrm>
                <a:off x="14329555" y="5855293"/>
                <a:ext cx="8252423" cy="320478"/>
              </a:xfrm>
              <a:custGeom>
                <a:avLst/>
                <a:gdLst>
                  <a:gd name="connsiteX0" fmla="*/ 0 w 8252423"/>
                  <a:gd name="connsiteY0" fmla="*/ 0 h 320478"/>
                  <a:gd name="connsiteX1" fmla="*/ 8252423 w 8252423"/>
                  <a:gd name="connsiteY1" fmla="*/ 0 h 320478"/>
                  <a:gd name="connsiteX2" fmla="*/ 8252423 w 8252423"/>
                  <a:gd name="connsiteY2" fmla="*/ 320478 h 320478"/>
                  <a:gd name="connsiteX3" fmla="*/ 0 w 8252423"/>
                  <a:gd name="connsiteY3" fmla="*/ 320478 h 320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52423" h="320478">
                    <a:moveTo>
                      <a:pt x="0" y="0"/>
                    </a:moveTo>
                    <a:lnTo>
                      <a:pt x="8252423" y="0"/>
                    </a:lnTo>
                    <a:lnTo>
                      <a:pt x="8252423" y="320478"/>
                    </a:lnTo>
                    <a:lnTo>
                      <a:pt x="0" y="320478"/>
                    </a:lnTo>
                    <a:close/>
                  </a:path>
                </a:pathLst>
              </a:custGeom>
              <a:solidFill>
                <a:srgbClr val="99604C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10" name="Freeform: Shape 609">
              <a:extLst>
                <a:ext uri="{FF2B5EF4-FFF2-40B4-BE49-F238E27FC236}">
                  <a16:creationId xmlns:a16="http://schemas.microsoft.com/office/drawing/2014/main" id="{C5E8CEB1-10AB-4327-79E6-024A1C108E65}"/>
                </a:ext>
              </a:extLst>
            </p:cNvPr>
            <p:cNvSpPr/>
            <p:nvPr/>
          </p:nvSpPr>
          <p:spPr>
            <a:xfrm>
              <a:off x="1031164" y="6164756"/>
              <a:ext cx="158467" cy="5732"/>
            </a:xfrm>
            <a:custGeom>
              <a:avLst/>
              <a:gdLst>
                <a:gd name="connsiteX0" fmla="*/ 0 w 1655590"/>
                <a:gd name="connsiteY0" fmla="*/ 0 h 59890"/>
                <a:gd name="connsiteX1" fmla="*/ 1655591 w 1655590"/>
                <a:gd name="connsiteY1" fmla="*/ 0 h 59890"/>
                <a:gd name="connsiteX2" fmla="*/ 1655591 w 1655590"/>
                <a:gd name="connsiteY2" fmla="*/ 59891 h 59890"/>
                <a:gd name="connsiteX3" fmla="*/ 0 w 1655590"/>
                <a:gd name="connsiteY3" fmla="*/ 59891 h 59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55590" h="59890">
                  <a:moveTo>
                    <a:pt x="0" y="0"/>
                  </a:moveTo>
                  <a:lnTo>
                    <a:pt x="1655591" y="0"/>
                  </a:lnTo>
                  <a:lnTo>
                    <a:pt x="1655591" y="59891"/>
                  </a:lnTo>
                  <a:lnTo>
                    <a:pt x="0" y="59891"/>
                  </a:lnTo>
                  <a:close/>
                </a:path>
              </a:pathLst>
            </a:custGeom>
            <a:solidFill>
              <a:srgbClr val="949EA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1" name="Freeform: Shape 610">
              <a:extLst>
                <a:ext uri="{FF2B5EF4-FFF2-40B4-BE49-F238E27FC236}">
                  <a16:creationId xmlns:a16="http://schemas.microsoft.com/office/drawing/2014/main" id="{98E1BFB6-0830-3BCD-8D2F-AE5871D68FF6}"/>
                </a:ext>
              </a:extLst>
            </p:cNvPr>
            <p:cNvSpPr/>
            <p:nvPr/>
          </p:nvSpPr>
          <p:spPr>
            <a:xfrm>
              <a:off x="1230727" y="6139463"/>
              <a:ext cx="61164" cy="31304"/>
            </a:xfrm>
            <a:custGeom>
              <a:avLst/>
              <a:gdLst>
                <a:gd name="connsiteX0" fmla="*/ 211651 w 639017"/>
                <a:gd name="connsiteY0" fmla="*/ 2388 h 327053"/>
                <a:gd name="connsiteX1" fmla="*/ 84725 w 639017"/>
                <a:gd name="connsiteY1" fmla="*/ 327053 h 327053"/>
                <a:gd name="connsiteX2" fmla="*/ 600393 w 639017"/>
                <a:gd name="connsiteY2" fmla="*/ 327053 h 327053"/>
                <a:gd name="connsiteX3" fmla="*/ 606355 w 639017"/>
                <a:gd name="connsiteY3" fmla="*/ 144924 h 327053"/>
                <a:gd name="connsiteX4" fmla="*/ 211651 w 639017"/>
                <a:gd name="connsiteY4" fmla="*/ 2388 h 327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017" h="327053">
                  <a:moveTo>
                    <a:pt x="211651" y="2388"/>
                  </a:moveTo>
                  <a:cubicBezTo>
                    <a:pt x="82313" y="16269"/>
                    <a:pt x="-114061" y="315630"/>
                    <a:pt x="84725" y="327053"/>
                  </a:cubicBezTo>
                  <a:lnTo>
                    <a:pt x="600393" y="327053"/>
                  </a:lnTo>
                  <a:cubicBezTo>
                    <a:pt x="600393" y="327053"/>
                    <a:pt x="683175" y="254739"/>
                    <a:pt x="606355" y="144924"/>
                  </a:cubicBezTo>
                  <a:cubicBezTo>
                    <a:pt x="529444" y="35019"/>
                    <a:pt x="340989" y="-11492"/>
                    <a:pt x="211651" y="2388"/>
                  </a:cubicBezTo>
                  <a:close/>
                </a:path>
              </a:pathLst>
            </a:custGeom>
            <a:solidFill>
              <a:srgbClr val="24313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2" name="Freeform: Shape 611">
              <a:extLst>
                <a:ext uri="{FF2B5EF4-FFF2-40B4-BE49-F238E27FC236}">
                  <a16:creationId xmlns:a16="http://schemas.microsoft.com/office/drawing/2014/main" id="{A4AFA3AC-F275-C1A3-56B9-15F15BA64B50}"/>
                </a:ext>
              </a:extLst>
            </p:cNvPr>
            <p:cNvSpPr/>
            <p:nvPr/>
          </p:nvSpPr>
          <p:spPr>
            <a:xfrm>
              <a:off x="1021119" y="6155687"/>
              <a:ext cx="1320" cy="274"/>
            </a:xfrm>
            <a:custGeom>
              <a:avLst/>
              <a:gdLst>
                <a:gd name="connsiteX0" fmla="*/ 13790 w 13789"/>
                <a:gd name="connsiteY0" fmla="*/ 2867 h 2867"/>
                <a:gd name="connsiteX1" fmla="*/ 0 w 13789"/>
                <a:gd name="connsiteY1" fmla="*/ 0 h 2867"/>
                <a:gd name="connsiteX2" fmla="*/ 13790 w 13789"/>
                <a:gd name="connsiteY2" fmla="*/ 2867 h 2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789" h="2867">
                  <a:moveTo>
                    <a:pt x="13790" y="2867"/>
                  </a:moveTo>
                  <a:cubicBezTo>
                    <a:pt x="4961" y="182"/>
                    <a:pt x="0" y="0"/>
                    <a:pt x="0" y="0"/>
                  </a:cubicBezTo>
                  <a:lnTo>
                    <a:pt x="13790" y="2867"/>
                  </a:lnTo>
                  <a:close/>
                </a:path>
              </a:pathLst>
            </a:custGeom>
            <a:solidFill>
              <a:srgbClr val="BE735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13" name="Graphic 4">
              <a:extLst>
                <a:ext uri="{FF2B5EF4-FFF2-40B4-BE49-F238E27FC236}">
                  <a16:creationId xmlns:a16="http://schemas.microsoft.com/office/drawing/2014/main" id="{58134B9F-D1B8-AFB7-16F2-4E5B5D320F7E}"/>
                </a:ext>
              </a:extLst>
            </p:cNvPr>
            <p:cNvGrpSpPr/>
            <p:nvPr/>
          </p:nvGrpSpPr>
          <p:grpSpPr>
            <a:xfrm>
              <a:off x="989160" y="6134917"/>
              <a:ext cx="96781" cy="35850"/>
              <a:chOff x="16922915" y="5483754"/>
              <a:chExt cx="1011128" cy="374543"/>
            </a:xfrm>
          </p:grpSpPr>
          <p:sp>
            <p:nvSpPr>
              <p:cNvPr id="736" name="Freeform: Shape 735">
                <a:extLst>
                  <a:ext uri="{FF2B5EF4-FFF2-40B4-BE49-F238E27FC236}">
                    <a16:creationId xmlns:a16="http://schemas.microsoft.com/office/drawing/2014/main" id="{D68DF019-7DA1-BFC0-10EC-7EC3BF86E13C}"/>
                  </a:ext>
                </a:extLst>
              </p:cNvPr>
              <p:cNvSpPr/>
              <p:nvPr/>
            </p:nvSpPr>
            <p:spPr>
              <a:xfrm>
                <a:off x="16941347" y="5486621"/>
                <a:ext cx="832366" cy="371676"/>
              </a:xfrm>
              <a:custGeom>
                <a:avLst/>
                <a:gdLst>
                  <a:gd name="connsiteX0" fmla="*/ 339592 w 832366"/>
                  <a:gd name="connsiteY0" fmla="*/ 5598 h 371676"/>
                  <a:gd name="connsiteX1" fmla="*/ 0 w 832366"/>
                  <a:gd name="connsiteY1" fmla="*/ 0 h 371676"/>
                  <a:gd name="connsiteX2" fmla="*/ 36863 w 832366"/>
                  <a:gd name="connsiteY2" fmla="*/ 371676 h 371676"/>
                  <a:gd name="connsiteX3" fmla="*/ 379868 w 832366"/>
                  <a:gd name="connsiteY3" fmla="*/ 371449 h 371676"/>
                  <a:gd name="connsiteX4" fmla="*/ 370447 w 832366"/>
                  <a:gd name="connsiteY4" fmla="*/ 297951 h 371676"/>
                  <a:gd name="connsiteX5" fmla="*/ 300090 w 832366"/>
                  <a:gd name="connsiteY5" fmla="*/ 254034 h 371676"/>
                  <a:gd name="connsiteX6" fmla="*/ 286300 w 832366"/>
                  <a:gd name="connsiteY6" fmla="*/ 251167 h 371676"/>
                  <a:gd name="connsiteX7" fmla="*/ 300090 w 832366"/>
                  <a:gd name="connsiteY7" fmla="*/ 254034 h 371676"/>
                  <a:gd name="connsiteX8" fmla="*/ 447768 w 832366"/>
                  <a:gd name="connsiteY8" fmla="*/ 284844 h 371676"/>
                  <a:gd name="connsiteX9" fmla="*/ 737072 w 832366"/>
                  <a:gd name="connsiteY9" fmla="*/ 312013 h 371676"/>
                  <a:gd name="connsiteX10" fmla="*/ 818807 w 832366"/>
                  <a:gd name="connsiteY10" fmla="*/ 212029 h 371676"/>
                  <a:gd name="connsiteX11" fmla="*/ 339637 w 832366"/>
                  <a:gd name="connsiteY11" fmla="*/ 5643 h 371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32366" h="371676">
                    <a:moveTo>
                      <a:pt x="339592" y="5598"/>
                    </a:moveTo>
                    <a:lnTo>
                      <a:pt x="0" y="0"/>
                    </a:lnTo>
                    <a:lnTo>
                      <a:pt x="36863" y="371676"/>
                    </a:lnTo>
                    <a:lnTo>
                      <a:pt x="379868" y="371449"/>
                    </a:lnTo>
                    <a:cubicBezTo>
                      <a:pt x="379868" y="371449"/>
                      <a:pt x="419871" y="343460"/>
                      <a:pt x="370447" y="297951"/>
                    </a:cubicBezTo>
                    <a:cubicBezTo>
                      <a:pt x="339683" y="269644"/>
                      <a:pt x="314607" y="258449"/>
                      <a:pt x="300090" y="254034"/>
                    </a:cubicBezTo>
                    <a:lnTo>
                      <a:pt x="286300" y="251167"/>
                    </a:lnTo>
                    <a:cubicBezTo>
                      <a:pt x="286300" y="251167"/>
                      <a:pt x="291261" y="251349"/>
                      <a:pt x="300090" y="254034"/>
                    </a:cubicBezTo>
                    <a:lnTo>
                      <a:pt x="447768" y="284844"/>
                    </a:lnTo>
                    <a:lnTo>
                      <a:pt x="737072" y="312013"/>
                    </a:lnTo>
                    <a:cubicBezTo>
                      <a:pt x="737072" y="312013"/>
                      <a:pt x="875284" y="306643"/>
                      <a:pt x="818807" y="212029"/>
                    </a:cubicBezTo>
                    <a:lnTo>
                      <a:pt x="339637" y="5643"/>
                    </a:lnTo>
                    <a:close/>
                  </a:path>
                </a:pathLst>
              </a:custGeom>
              <a:solidFill>
                <a:srgbClr val="BE7358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7" name="Freeform: Shape 736">
                <a:extLst>
                  <a:ext uri="{FF2B5EF4-FFF2-40B4-BE49-F238E27FC236}">
                    <a16:creationId xmlns:a16="http://schemas.microsoft.com/office/drawing/2014/main" id="{5CF28C88-9F9E-BEBB-7C9C-D8D80173EFE0}"/>
                  </a:ext>
                </a:extLst>
              </p:cNvPr>
              <p:cNvSpPr/>
              <p:nvPr/>
            </p:nvSpPr>
            <p:spPr>
              <a:xfrm>
                <a:off x="16922915" y="5483754"/>
                <a:ext cx="1011128" cy="371676"/>
              </a:xfrm>
              <a:custGeom>
                <a:avLst/>
                <a:gdLst>
                  <a:gd name="connsiteX0" fmla="*/ 518399 w 1011128"/>
                  <a:gd name="connsiteY0" fmla="*/ 5598 h 371676"/>
                  <a:gd name="connsiteX1" fmla="*/ 0 w 1011128"/>
                  <a:gd name="connsiteY1" fmla="*/ 0 h 371676"/>
                  <a:gd name="connsiteX2" fmla="*/ 36863 w 1011128"/>
                  <a:gd name="connsiteY2" fmla="*/ 371676 h 371676"/>
                  <a:gd name="connsiteX3" fmla="*/ 558675 w 1011128"/>
                  <a:gd name="connsiteY3" fmla="*/ 371449 h 371676"/>
                  <a:gd name="connsiteX4" fmla="*/ 549254 w 1011128"/>
                  <a:gd name="connsiteY4" fmla="*/ 297951 h 371676"/>
                  <a:gd name="connsiteX5" fmla="*/ 465107 w 1011128"/>
                  <a:gd name="connsiteY5" fmla="*/ 251122 h 371676"/>
                  <a:gd name="connsiteX6" fmla="*/ 605413 w 1011128"/>
                  <a:gd name="connsiteY6" fmla="*/ 231189 h 371676"/>
                  <a:gd name="connsiteX7" fmla="*/ 915834 w 1011128"/>
                  <a:gd name="connsiteY7" fmla="*/ 311968 h 371676"/>
                  <a:gd name="connsiteX8" fmla="*/ 997569 w 1011128"/>
                  <a:gd name="connsiteY8" fmla="*/ 211983 h 371676"/>
                  <a:gd name="connsiteX9" fmla="*/ 518399 w 1011128"/>
                  <a:gd name="connsiteY9" fmla="*/ 5598 h 371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11128" h="371676">
                    <a:moveTo>
                      <a:pt x="518399" y="5598"/>
                    </a:moveTo>
                    <a:lnTo>
                      <a:pt x="0" y="0"/>
                    </a:lnTo>
                    <a:lnTo>
                      <a:pt x="36863" y="371676"/>
                    </a:lnTo>
                    <a:lnTo>
                      <a:pt x="558675" y="371449"/>
                    </a:lnTo>
                    <a:cubicBezTo>
                      <a:pt x="558675" y="371449"/>
                      <a:pt x="598678" y="343460"/>
                      <a:pt x="549254" y="297951"/>
                    </a:cubicBezTo>
                    <a:cubicBezTo>
                      <a:pt x="499831" y="252441"/>
                      <a:pt x="465107" y="251122"/>
                      <a:pt x="465107" y="251122"/>
                    </a:cubicBezTo>
                    <a:lnTo>
                      <a:pt x="605413" y="231189"/>
                    </a:lnTo>
                    <a:lnTo>
                      <a:pt x="915834" y="311968"/>
                    </a:lnTo>
                    <a:cubicBezTo>
                      <a:pt x="915834" y="311968"/>
                      <a:pt x="1054046" y="306598"/>
                      <a:pt x="997569" y="211983"/>
                    </a:cubicBezTo>
                    <a:lnTo>
                      <a:pt x="518399" y="5598"/>
                    </a:lnTo>
                    <a:close/>
                  </a:path>
                </a:pathLst>
              </a:custGeom>
              <a:solidFill>
                <a:srgbClr val="EF8864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8" name="Freeform: Shape 737">
                <a:extLst>
                  <a:ext uri="{FF2B5EF4-FFF2-40B4-BE49-F238E27FC236}">
                    <a16:creationId xmlns:a16="http://schemas.microsoft.com/office/drawing/2014/main" id="{3453EEC9-D435-84FF-EBE2-7A4EE7A3BCB3}"/>
                  </a:ext>
                </a:extLst>
              </p:cNvPr>
              <p:cNvSpPr/>
              <p:nvPr/>
            </p:nvSpPr>
            <p:spPr>
              <a:xfrm>
                <a:off x="17156561" y="5719766"/>
                <a:ext cx="377729" cy="64077"/>
              </a:xfrm>
              <a:custGeom>
                <a:avLst/>
                <a:gdLst>
                  <a:gd name="connsiteX0" fmla="*/ 99347 w 377729"/>
                  <a:gd name="connsiteY0" fmla="*/ 16429 h 64077"/>
                  <a:gd name="connsiteX1" fmla="*/ 0 w 377729"/>
                  <a:gd name="connsiteY1" fmla="*/ 17931 h 64077"/>
                  <a:gd name="connsiteX2" fmla="*/ 141398 w 377729"/>
                  <a:gd name="connsiteY2" fmla="*/ 38956 h 64077"/>
                  <a:gd name="connsiteX3" fmla="*/ 314880 w 377729"/>
                  <a:gd name="connsiteY3" fmla="*/ 64077 h 64077"/>
                  <a:gd name="connsiteX4" fmla="*/ 377729 w 377729"/>
                  <a:gd name="connsiteY4" fmla="*/ 3277 h 64077"/>
                  <a:gd name="connsiteX5" fmla="*/ 219492 w 377729"/>
                  <a:gd name="connsiteY5" fmla="*/ 0 h 64077"/>
                  <a:gd name="connsiteX6" fmla="*/ 99347 w 377729"/>
                  <a:gd name="connsiteY6" fmla="*/ 16429 h 64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7729" h="64077">
                    <a:moveTo>
                      <a:pt x="99347" y="16429"/>
                    </a:moveTo>
                    <a:lnTo>
                      <a:pt x="0" y="17931"/>
                    </a:lnTo>
                    <a:cubicBezTo>
                      <a:pt x="0" y="17931"/>
                      <a:pt x="97800" y="46238"/>
                      <a:pt x="141398" y="38956"/>
                    </a:cubicBezTo>
                    <a:cubicBezTo>
                      <a:pt x="266185" y="18158"/>
                      <a:pt x="314880" y="64077"/>
                      <a:pt x="314880" y="64077"/>
                    </a:cubicBezTo>
                    <a:lnTo>
                      <a:pt x="377729" y="3277"/>
                    </a:lnTo>
                    <a:lnTo>
                      <a:pt x="219492" y="0"/>
                    </a:lnTo>
                    <a:lnTo>
                      <a:pt x="99347" y="16429"/>
                    </a:lnTo>
                    <a:close/>
                  </a:path>
                </a:pathLst>
              </a:custGeom>
              <a:solidFill>
                <a:srgbClr val="BE7358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14" name="Graphic 4">
              <a:extLst>
                <a:ext uri="{FF2B5EF4-FFF2-40B4-BE49-F238E27FC236}">
                  <a16:creationId xmlns:a16="http://schemas.microsoft.com/office/drawing/2014/main" id="{7FAC1D45-3B7E-B05A-2018-153DDF11A8A1}"/>
                </a:ext>
              </a:extLst>
            </p:cNvPr>
            <p:cNvGrpSpPr/>
            <p:nvPr/>
          </p:nvGrpSpPr>
          <p:grpSpPr>
            <a:xfrm>
              <a:off x="875157" y="5715195"/>
              <a:ext cx="165132" cy="197512"/>
              <a:chOff x="15732239" y="1098669"/>
              <a:chExt cx="1725271" cy="2063507"/>
            </a:xfrm>
          </p:grpSpPr>
          <p:sp>
            <p:nvSpPr>
              <p:cNvPr id="728" name="Freeform: Shape 727">
                <a:extLst>
                  <a:ext uri="{FF2B5EF4-FFF2-40B4-BE49-F238E27FC236}">
                    <a16:creationId xmlns:a16="http://schemas.microsoft.com/office/drawing/2014/main" id="{ACD12283-117F-7C6A-F076-2F13AC5D225B}"/>
                  </a:ext>
                </a:extLst>
              </p:cNvPr>
              <p:cNvSpPr/>
              <p:nvPr/>
            </p:nvSpPr>
            <p:spPr>
              <a:xfrm>
                <a:off x="17223551" y="1962455"/>
                <a:ext cx="195372" cy="339318"/>
              </a:xfrm>
              <a:custGeom>
                <a:avLst/>
                <a:gdLst>
                  <a:gd name="connsiteX0" fmla="*/ 39275 w 195372"/>
                  <a:gd name="connsiteY0" fmla="*/ 0 h 339318"/>
                  <a:gd name="connsiteX1" fmla="*/ 0 w 195372"/>
                  <a:gd name="connsiteY1" fmla="*/ 339319 h 339318"/>
                  <a:gd name="connsiteX2" fmla="*/ 117324 w 195372"/>
                  <a:gd name="connsiteY2" fmla="*/ 306097 h 339318"/>
                  <a:gd name="connsiteX3" fmla="*/ 195372 w 195372"/>
                  <a:gd name="connsiteY3" fmla="*/ 87606 h 339318"/>
                  <a:gd name="connsiteX4" fmla="*/ 190321 w 195372"/>
                  <a:gd name="connsiteY4" fmla="*/ 15109 h 339318"/>
                  <a:gd name="connsiteX5" fmla="*/ 39275 w 195372"/>
                  <a:gd name="connsiteY5" fmla="*/ 0 h 33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5372" h="339318">
                    <a:moveTo>
                      <a:pt x="39275" y="0"/>
                    </a:moveTo>
                    <a:lnTo>
                      <a:pt x="0" y="339319"/>
                    </a:lnTo>
                    <a:cubicBezTo>
                      <a:pt x="0" y="339319"/>
                      <a:pt x="95661" y="321206"/>
                      <a:pt x="117324" y="306097"/>
                    </a:cubicBezTo>
                    <a:cubicBezTo>
                      <a:pt x="138986" y="290988"/>
                      <a:pt x="195372" y="87606"/>
                      <a:pt x="195372" y="87606"/>
                    </a:cubicBezTo>
                    <a:lnTo>
                      <a:pt x="190321" y="15109"/>
                    </a:lnTo>
                    <a:lnTo>
                      <a:pt x="39275" y="0"/>
                    </a:lnTo>
                    <a:close/>
                  </a:path>
                </a:pathLst>
              </a:custGeom>
              <a:solidFill>
                <a:schemeClr val="bg1">
                  <a:alpha val="4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9" name="Freeform: Shape 728">
                <a:extLst>
                  <a:ext uri="{FF2B5EF4-FFF2-40B4-BE49-F238E27FC236}">
                    <a16:creationId xmlns:a16="http://schemas.microsoft.com/office/drawing/2014/main" id="{60119A5D-BF13-F8D0-825F-AD624172F2E3}"/>
                  </a:ext>
                </a:extLst>
              </p:cNvPr>
              <p:cNvSpPr/>
              <p:nvPr/>
            </p:nvSpPr>
            <p:spPr>
              <a:xfrm>
                <a:off x="17246534" y="1918394"/>
                <a:ext cx="210976" cy="388795"/>
              </a:xfrm>
              <a:custGeom>
                <a:avLst/>
                <a:gdLst>
                  <a:gd name="connsiteX0" fmla="*/ 52745 w 210976"/>
                  <a:gd name="connsiteY0" fmla="*/ 2374 h 388795"/>
                  <a:gd name="connsiteX1" fmla="*/ 55066 w 210976"/>
                  <a:gd name="connsiteY1" fmla="*/ 62082 h 388795"/>
                  <a:gd name="connsiteX2" fmla="*/ 154778 w 210976"/>
                  <a:gd name="connsiteY2" fmla="*/ 100402 h 388795"/>
                  <a:gd name="connsiteX3" fmla="*/ 133934 w 210976"/>
                  <a:gd name="connsiteY3" fmla="*/ 224825 h 388795"/>
                  <a:gd name="connsiteX4" fmla="*/ 66489 w 210976"/>
                  <a:gd name="connsiteY4" fmla="*/ 352206 h 388795"/>
                  <a:gd name="connsiteX5" fmla="*/ 0 w 210976"/>
                  <a:gd name="connsiteY5" fmla="*/ 372548 h 388795"/>
                  <a:gd name="connsiteX6" fmla="*/ 1183 w 210976"/>
                  <a:gd name="connsiteY6" fmla="*/ 388795 h 388795"/>
                  <a:gd name="connsiteX7" fmla="*/ 45100 w 210976"/>
                  <a:gd name="connsiteY7" fmla="*/ 385610 h 388795"/>
                  <a:gd name="connsiteX8" fmla="*/ 118598 w 210976"/>
                  <a:gd name="connsiteY8" fmla="*/ 339418 h 388795"/>
                  <a:gd name="connsiteX9" fmla="*/ 209162 w 210976"/>
                  <a:gd name="connsiteY9" fmla="*/ 32865 h 388795"/>
                  <a:gd name="connsiteX10" fmla="*/ 52700 w 210976"/>
                  <a:gd name="connsiteY10" fmla="*/ 2374 h 388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10976" h="388795">
                    <a:moveTo>
                      <a:pt x="52745" y="2374"/>
                    </a:moveTo>
                    <a:lnTo>
                      <a:pt x="55066" y="62082"/>
                    </a:lnTo>
                    <a:lnTo>
                      <a:pt x="154778" y="100402"/>
                    </a:lnTo>
                    <a:cubicBezTo>
                      <a:pt x="154778" y="100402"/>
                      <a:pt x="157235" y="126661"/>
                      <a:pt x="133934" y="224825"/>
                    </a:cubicBezTo>
                    <a:cubicBezTo>
                      <a:pt x="122512" y="273019"/>
                      <a:pt x="94569" y="333820"/>
                      <a:pt x="66489" y="352206"/>
                    </a:cubicBezTo>
                    <a:cubicBezTo>
                      <a:pt x="38410" y="370592"/>
                      <a:pt x="0" y="372548"/>
                      <a:pt x="0" y="372548"/>
                    </a:cubicBezTo>
                    <a:lnTo>
                      <a:pt x="1183" y="388795"/>
                    </a:lnTo>
                    <a:cubicBezTo>
                      <a:pt x="1183" y="388795"/>
                      <a:pt x="22345" y="387248"/>
                      <a:pt x="45100" y="385610"/>
                    </a:cubicBezTo>
                    <a:cubicBezTo>
                      <a:pt x="67855" y="383971"/>
                      <a:pt x="86104" y="372321"/>
                      <a:pt x="118598" y="339418"/>
                    </a:cubicBezTo>
                    <a:cubicBezTo>
                      <a:pt x="144720" y="312931"/>
                      <a:pt x="223907" y="78375"/>
                      <a:pt x="209162" y="32865"/>
                    </a:cubicBezTo>
                    <a:cubicBezTo>
                      <a:pt x="194417" y="-12644"/>
                      <a:pt x="52700" y="2374"/>
                      <a:pt x="52700" y="2374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0" name="Freeform: Shape 729">
                <a:extLst>
                  <a:ext uri="{FF2B5EF4-FFF2-40B4-BE49-F238E27FC236}">
                    <a16:creationId xmlns:a16="http://schemas.microsoft.com/office/drawing/2014/main" id="{2ED0B085-B9E1-6A14-F002-2ADAB0314FC6}"/>
                  </a:ext>
                </a:extLst>
              </p:cNvPr>
              <p:cNvSpPr/>
              <p:nvPr/>
            </p:nvSpPr>
            <p:spPr>
              <a:xfrm>
                <a:off x="15786211" y="1418799"/>
                <a:ext cx="1524907" cy="1743377"/>
              </a:xfrm>
              <a:custGeom>
                <a:avLst/>
                <a:gdLst>
                  <a:gd name="connsiteX0" fmla="*/ 1385232 w 1524907"/>
                  <a:gd name="connsiteY0" fmla="*/ 161421 h 1743377"/>
                  <a:gd name="connsiteX1" fmla="*/ 187057 w 1524907"/>
                  <a:gd name="connsiteY1" fmla="*/ 50378 h 1743377"/>
                  <a:gd name="connsiteX2" fmla="*/ 15987 w 1524907"/>
                  <a:gd name="connsiteY2" fmla="*/ 590166 h 1743377"/>
                  <a:gd name="connsiteX3" fmla="*/ 167625 w 1524907"/>
                  <a:gd name="connsiteY3" fmla="*/ 1010355 h 1743377"/>
                  <a:gd name="connsiteX4" fmla="*/ 113286 w 1524907"/>
                  <a:gd name="connsiteY4" fmla="*/ 1342120 h 1743377"/>
                  <a:gd name="connsiteX5" fmla="*/ 948522 w 1524907"/>
                  <a:gd name="connsiteY5" fmla="*/ 1743377 h 1743377"/>
                  <a:gd name="connsiteX6" fmla="*/ 1013419 w 1524907"/>
                  <a:gd name="connsiteY6" fmla="*/ 1641118 h 1743377"/>
                  <a:gd name="connsiteX7" fmla="*/ 1072763 w 1524907"/>
                  <a:gd name="connsiteY7" fmla="*/ 1609033 h 1743377"/>
                  <a:gd name="connsiteX8" fmla="*/ 1311370 w 1524907"/>
                  <a:gd name="connsiteY8" fmla="*/ 1568439 h 1743377"/>
                  <a:gd name="connsiteX9" fmla="*/ 1469834 w 1524907"/>
                  <a:gd name="connsiteY9" fmla="*/ 983141 h 1743377"/>
                  <a:gd name="connsiteX10" fmla="*/ 1478572 w 1524907"/>
                  <a:gd name="connsiteY10" fmla="*/ 767335 h 1743377"/>
                  <a:gd name="connsiteX11" fmla="*/ 1524400 w 1524907"/>
                  <a:gd name="connsiteY11" fmla="*/ 605457 h 1743377"/>
                  <a:gd name="connsiteX12" fmla="*/ 1385186 w 1524907"/>
                  <a:gd name="connsiteY12" fmla="*/ 161375 h 1743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4907" h="1743377">
                    <a:moveTo>
                      <a:pt x="1385232" y="161421"/>
                    </a:moveTo>
                    <a:cubicBezTo>
                      <a:pt x="1201737" y="-6555"/>
                      <a:pt x="297873" y="-43190"/>
                      <a:pt x="187057" y="50378"/>
                    </a:cubicBezTo>
                    <a:cubicBezTo>
                      <a:pt x="76241" y="143945"/>
                      <a:pt x="-43995" y="402121"/>
                      <a:pt x="15987" y="590166"/>
                    </a:cubicBezTo>
                    <a:cubicBezTo>
                      <a:pt x="75968" y="778257"/>
                      <a:pt x="162209" y="935902"/>
                      <a:pt x="167625" y="1010355"/>
                    </a:cubicBezTo>
                    <a:cubicBezTo>
                      <a:pt x="173040" y="1084809"/>
                      <a:pt x="113286" y="1342120"/>
                      <a:pt x="113286" y="1342120"/>
                    </a:cubicBezTo>
                    <a:lnTo>
                      <a:pt x="948522" y="1743377"/>
                    </a:lnTo>
                    <a:cubicBezTo>
                      <a:pt x="948522" y="1743377"/>
                      <a:pt x="1000494" y="1668514"/>
                      <a:pt x="1013419" y="1641118"/>
                    </a:cubicBezTo>
                    <a:cubicBezTo>
                      <a:pt x="1022930" y="1620957"/>
                      <a:pt x="1050600" y="1606439"/>
                      <a:pt x="1072763" y="1609033"/>
                    </a:cubicBezTo>
                    <a:cubicBezTo>
                      <a:pt x="1134565" y="1616269"/>
                      <a:pt x="1248112" y="1630286"/>
                      <a:pt x="1311370" y="1568439"/>
                    </a:cubicBezTo>
                    <a:cubicBezTo>
                      <a:pt x="1373399" y="1507774"/>
                      <a:pt x="1470426" y="1089542"/>
                      <a:pt x="1469834" y="983141"/>
                    </a:cubicBezTo>
                    <a:cubicBezTo>
                      <a:pt x="1469242" y="876694"/>
                      <a:pt x="1473566" y="796188"/>
                      <a:pt x="1478572" y="767335"/>
                    </a:cubicBezTo>
                    <a:cubicBezTo>
                      <a:pt x="1483623" y="738482"/>
                      <a:pt x="1520532" y="651649"/>
                      <a:pt x="1524400" y="605457"/>
                    </a:cubicBezTo>
                    <a:cubicBezTo>
                      <a:pt x="1530862" y="527408"/>
                      <a:pt x="1475158" y="243748"/>
                      <a:pt x="1385186" y="161375"/>
                    </a:cubicBezTo>
                    <a:close/>
                  </a:path>
                </a:pathLst>
              </a:custGeom>
              <a:solidFill>
                <a:srgbClr val="EF8864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1" name="Freeform: Shape 730">
                <a:extLst>
                  <a:ext uri="{FF2B5EF4-FFF2-40B4-BE49-F238E27FC236}">
                    <a16:creationId xmlns:a16="http://schemas.microsoft.com/office/drawing/2014/main" id="{DCD84F9B-B6E3-B3E2-9CA1-097D67F079B2}"/>
                  </a:ext>
                </a:extLst>
              </p:cNvPr>
              <p:cNvSpPr/>
              <p:nvPr/>
            </p:nvSpPr>
            <p:spPr>
              <a:xfrm>
                <a:off x="15732284" y="1098669"/>
                <a:ext cx="1584874" cy="1546974"/>
              </a:xfrm>
              <a:custGeom>
                <a:avLst/>
                <a:gdLst>
                  <a:gd name="connsiteX0" fmla="*/ 1176478 w 1584874"/>
                  <a:gd name="connsiteY0" fmla="*/ 77426 h 1546974"/>
                  <a:gd name="connsiteX1" fmla="*/ 518592 w 1584874"/>
                  <a:gd name="connsiteY1" fmla="*/ 20585 h 1546974"/>
                  <a:gd name="connsiteX2" fmla="*/ 249540 w 1584874"/>
                  <a:gd name="connsiteY2" fmla="*/ 241579 h 1546974"/>
                  <a:gd name="connsiteX3" fmla="*/ 29274 w 1584874"/>
                  <a:gd name="connsiteY3" fmla="*/ 474906 h 1546974"/>
                  <a:gd name="connsiteX4" fmla="*/ 25724 w 1584874"/>
                  <a:gd name="connsiteY4" fmla="*/ 938421 h 1546974"/>
                  <a:gd name="connsiteX5" fmla="*/ 189467 w 1584874"/>
                  <a:gd name="connsiteY5" fmla="*/ 1546974 h 1546974"/>
                  <a:gd name="connsiteX6" fmla="*/ 384885 w 1584874"/>
                  <a:gd name="connsiteY6" fmla="*/ 1518167 h 1546974"/>
                  <a:gd name="connsiteX7" fmla="*/ 695897 w 1584874"/>
                  <a:gd name="connsiteY7" fmla="*/ 1514617 h 1546974"/>
                  <a:gd name="connsiteX8" fmla="*/ 925493 w 1584874"/>
                  <a:gd name="connsiteY8" fmla="*/ 1191727 h 1546974"/>
                  <a:gd name="connsiteX9" fmla="*/ 1071988 w 1584874"/>
                  <a:gd name="connsiteY9" fmla="*/ 969413 h 1546974"/>
                  <a:gd name="connsiteX10" fmla="*/ 1244378 w 1584874"/>
                  <a:gd name="connsiteY10" fmla="*/ 925633 h 1546974"/>
                  <a:gd name="connsiteX11" fmla="*/ 1317193 w 1584874"/>
                  <a:gd name="connsiteY11" fmla="*/ 1073721 h 1546974"/>
                  <a:gd name="connsiteX12" fmla="*/ 1408303 w 1584874"/>
                  <a:gd name="connsiteY12" fmla="*/ 1003318 h 1546974"/>
                  <a:gd name="connsiteX13" fmla="*/ 1456361 w 1584874"/>
                  <a:gd name="connsiteY13" fmla="*/ 761571 h 1546974"/>
                  <a:gd name="connsiteX14" fmla="*/ 1477341 w 1584874"/>
                  <a:gd name="connsiteY14" fmla="*/ 546311 h 1546974"/>
                  <a:gd name="connsiteX15" fmla="*/ 1551067 w 1584874"/>
                  <a:gd name="connsiteY15" fmla="*/ 190609 h 1546974"/>
                  <a:gd name="connsiteX16" fmla="*/ 1176478 w 1584874"/>
                  <a:gd name="connsiteY16" fmla="*/ 77335 h 1546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584874" h="1546974">
                    <a:moveTo>
                      <a:pt x="1176478" y="77426"/>
                    </a:moveTo>
                    <a:cubicBezTo>
                      <a:pt x="972003" y="40518"/>
                      <a:pt x="920532" y="-36939"/>
                      <a:pt x="518592" y="20585"/>
                    </a:cubicBezTo>
                    <a:cubicBezTo>
                      <a:pt x="308702" y="50621"/>
                      <a:pt x="248766" y="230930"/>
                      <a:pt x="249540" y="241579"/>
                    </a:cubicBezTo>
                    <a:cubicBezTo>
                      <a:pt x="250313" y="252228"/>
                      <a:pt x="57763" y="355262"/>
                      <a:pt x="29274" y="474906"/>
                    </a:cubicBezTo>
                    <a:cubicBezTo>
                      <a:pt x="785" y="594551"/>
                      <a:pt x="-17510" y="798388"/>
                      <a:pt x="25724" y="938421"/>
                    </a:cubicBezTo>
                    <a:cubicBezTo>
                      <a:pt x="187055" y="1461325"/>
                      <a:pt x="158794" y="1543288"/>
                      <a:pt x="189467" y="1546974"/>
                    </a:cubicBezTo>
                    <a:cubicBezTo>
                      <a:pt x="189467" y="1546974"/>
                      <a:pt x="296415" y="1516756"/>
                      <a:pt x="384885" y="1518167"/>
                    </a:cubicBezTo>
                    <a:cubicBezTo>
                      <a:pt x="438996" y="1519031"/>
                      <a:pt x="655940" y="1553163"/>
                      <a:pt x="695897" y="1514617"/>
                    </a:cubicBezTo>
                    <a:cubicBezTo>
                      <a:pt x="735854" y="1476071"/>
                      <a:pt x="905332" y="1343911"/>
                      <a:pt x="925493" y="1191727"/>
                    </a:cubicBezTo>
                    <a:cubicBezTo>
                      <a:pt x="935459" y="1116409"/>
                      <a:pt x="1024203" y="997856"/>
                      <a:pt x="1071988" y="969413"/>
                    </a:cubicBezTo>
                    <a:cubicBezTo>
                      <a:pt x="1119818" y="941015"/>
                      <a:pt x="1133471" y="925633"/>
                      <a:pt x="1244378" y="925633"/>
                    </a:cubicBezTo>
                    <a:cubicBezTo>
                      <a:pt x="1302175" y="925633"/>
                      <a:pt x="1299353" y="1000359"/>
                      <a:pt x="1317193" y="1073721"/>
                    </a:cubicBezTo>
                    <a:cubicBezTo>
                      <a:pt x="1334259" y="1068305"/>
                      <a:pt x="1376902" y="1044231"/>
                      <a:pt x="1408303" y="1003318"/>
                    </a:cubicBezTo>
                    <a:cubicBezTo>
                      <a:pt x="1408576" y="1002999"/>
                      <a:pt x="1455678" y="807126"/>
                      <a:pt x="1456361" y="761571"/>
                    </a:cubicBezTo>
                    <a:cubicBezTo>
                      <a:pt x="1457044" y="716608"/>
                      <a:pt x="1415039" y="589044"/>
                      <a:pt x="1477341" y="546311"/>
                    </a:cubicBezTo>
                    <a:cubicBezTo>
                      <a:pt x="1663885" y="418293"/>
                      <a:pt x="1551067" y="190609"/>
                      <a:pt x="1551067" y="190609"/>
                    </a:cubicBezTo>
                    <a:cubicBezTo>
                      <a:pt x="1551067" y="190609"/>
                      <a:pt x="1341950" y="107235"/>
                      <a:pt x="1176478" y="77335"/>
                    </a:cubicBezTo>
                    <a:close/>
                  </a:path>
                </a:pathLst>
              </a:custGeom>
              <a:solidFill>
                <a:srgbClr val="392824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2" name="Freeform: Shape 731">
                <a:extLst>
                  <a:ext uri="{FF2B5EF4-FFF2-40B4-BE49-F238E27FC236}">
                    <a16:creationId xmlns:a16="http://schemas.microsoft.com/office/drawing/2014/main" id="{33486EAC-F445-59E7-1DA6-97768E208CE8}"/>
                  </a:ext>
                </a:extLst>
              </p:cNvPr>
              <p:cNvSpPr/>
              <p:nvPr/>
            </p:nvSpPr>
            <p:spPr>
              <a:xfrm>
                <a:off x="15732239" y="1098669"/>
                <a:ext cx="1510962" cy="1546974"/>
              </a:xfrm>
              <a:custGeom>
                <a:avLst/>
                <a:gdLst>
                  <a:gd name="connsiteX0" fmla="*/ 1480481 w 1510962"/>
                  <a:gd name="connsiteY0" fmla="*/ 173634 h 1546974"/>
                  <a:gd name="connsiteX1" fmla="*/ 1474838 w 1510962"/>
                  <a:gd name="connsiteY1" fmla="*/ 162256 h 1546974"/>
                  <a:gd name="connsiteX2" fmla="*/ 1176478 w 1510962"/>
                  <a:gd name="connsiteY2" fmla="*/ 77426 h 1546974"/>
                  <a:gd name="connsiteX3" fmla="*/ 518592 w 1510962"/>
                  <a:gd name="connsiteY3" fmla="*/ 20585 h 1546974"/>
                  <a:gd name="connsiteX4" fmla="*/ 249540 w 1510962"/>
                  <a:gd name="connsiteY4" fmla="*/ 241579 h 1546974"/>
                  <a:gd name="connsiteX5" fmla="*/ 29274 w 1510962"/>
                  <a:gd name="connsiteY5" fmla="*/ 474906 h 1546974"/>
                  <a:gd name="connsiteX6" fmla="*/ 25724 w 1510962"/>
                  <a:gd name="connsiteY6" fmla="*/ 938421 h 1546974"/>
                  <a:gd name="connsiteX7" fmla="*/ 189467 w 1510962"/>
                  <a:gd name="connsiteY7" fmla="*/ 1546974 h 1546974"/>
                  <a:gd name="connsiteX8" fmla="*/ 384885 w 1510962"/>
                  <a:gd name="connsiteY8" fmla="*/ 1518167 h 1546974"/>
                  <a:gd name="connsiteX9" fmla="*/ 695897 w 1510962"/>
                  <a:gd name="connsiteY9" fmla="*/ 1514617 h 1546974"/>
                  <a:gd name="connsiteX10" fmla="*/ 925493 w 1510962"/>
                  <a:gd name="connsiteY10" fmla="*/ 1191727 h 1546974"/>
                  <a:gd name="connsiteX11" fmla="*/ 1071988 w 1510962"/>
                  <a:gd name="connsiteY11" fmla="*/ 969413 h 1546974"/>
                  <a:gd name="connsiteX12" fmla="*/ 1244378 w 1510962"/>
                  <a:gd name="connsiteY12" fmla="*/ 940150 h 1546974"/>
                  <a:gd name="connsiteX13" fmla="*/ 1317193 w 1510962"/>
                  <a:gd name="connsiteY13" fmla="*/ 1073721 h 1546974"/>
                  <a:gd name="connsiteX14" fmla="*/ 1408303 w 1510962"/>
                  <a:gd name="connsiteY14" fmla="*/ 1003318 h 1546974"/>
                  <a:gd name="connsiteX15" fmla="*/ 1427008 w 1510962"/>
                  <a:gd name="connsiteY15" fmla="*/ 922902 h 1546974"/>
                  <a:gd name="connsiteX16" fmla="*/ 1425642 w 1510962"/>
                  <a:gd name="connsiteY16" fmla="*/ 915848 h 1546974"/>
                  <a:gd name="connsiteX17" fmla="*/ 1387642 w 1510962"/>
                  <a:gd name="connsiteY17" fmla="*/ 663361 h 1546974"/>
                  <a:gd name="connsiteX18" fmla="*/ 1429010 w 1510962"/>
                  <a:gd name="connsiteY18" fmla="*/ 511951 h 1546974"/>
                  <a:gd name="connsiteX19" fmla="*/ 1476795 w 1510962"/>
                  <a:gd name="connsiteY19" fmla="*/ 450240 h 1546974"/>
                  <a:gd name="connsiteX20" fmla="*/ 1494134 w 1510962"/>
                  <a:gd name="connsiteY20" fmla="*/ 420477 h 1546974"/>
                  <a:gd name="connsiteX21" fmla="*/ 1509380 w 1510962"/>
                  <a:gd name="connsiteY21" fmla="*/ 363408 h 1546974"/>
                  <a:gd name="connsiteX22" fmla="*/ 1508834 w 1510962"/>
                  <a:gd name="connsiteY22" fmla="*/ 276713 h 1546974"/>
                  <a:gd name="connsiteX23" fmla="*/ 1480436 w 1510962"/>
                  <a:gd name="connsiteY23" fmla="*/ 173588 h 1546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510962" h="1546974">
                    <a:moveTo>
                      <a:pt x="1480481" y="173634"/>
                    </a:moveTo>
                    <a:cubicBezTo>
                      <a:pt x="1478661" y="169811"/>
                      <a:pt x="1476750" y="166033"/>
                      <a:pt x="1474838" y="162256"/>
                    </a:cubicBezTo>
                    <a:cubicBezTo>
                      <a:pt x="1398974" y="135224"/>
                      <a:pt x="1279329" y="95994"/>
                      <a:pt x="1176478" y="77426"/>
                    </a:cubicBezTo>
                    <a:cubicBezTo>
                      <a:pt x="972003" y="40518"/>
                      <a:pt x="920532" y="-36939"/>
                      <a:pt x="518592" y="20585"/>
                    </a:cubicBezTo>
                    <a:cubicBezTo>
                      <a:pt x="308702" y="50621"/>
                      <a:pt x="248766" y="230930"/>
                      <a:pt x="249540" y="241579"/>
                    </a:cubicBezTo>
                    <a:cubicBezTo>
                      <a:pt x="250314" y="252228"/>
                      <a:pt x="57763" y="355262"/>
                      <a:pt x="29274" y="474906"/>
                    </a:cubicBezTo>
                    <a:cubicBezTo>
                      <a:pt x="785" y="594551"/>
                      <a:pt x="-17510" y="798388"/>
                      <a:pt x="25724" y="938421"/>
                    </a:cubicBezTo>
                    <a:cubicBezTo>
                      <a:pt x="187055" y="1461325"/>
                      <a:pt x="158794" y="1543288"/>
                      <a:pt x="189467" y="1546974"/>
                    </a:cubicBezTo>
                    <a:cubicBezTo>
                      <a:pt x="189467" y="1546974"/>
                      <a:pt x="296415" y="1516756"/>
                      <a:pt x="384885" y="1518167"/>
                    </a:cubicBezTo>
                    <a:cubicBezTo>
                      <a:pt x="438996" y="1519031"/>
                      <a:pt x="655940" y="1553163"/>
                      <a:pt x="695897" y="1514617"/>
                    </a:cubicBezTo>
                    <a:cubicBezTo>
                      <a:pt x="735854" y="1476071"/>
                      <a:pt x="905332" y="1343911"/>
                      <a:pt x="925493" y="1191727"/>
                    </a:cubicBezTo>
                    <a:cubicBezTo>
                      <a:pt x="935459" y="1116409"/>
                      <a:pt x="1024203" y="997856"/>
                      <a:pt x="1071988" y="969413"/>
                    </a:cubicBezTo>
                    <a:cubicBezTo>
                      <a:pt x="1119818" y="941015"/>
                      <a:pt x="1133471" y="940150"/>
                      <a:pt x="1244378" y="940150"/>
                    </a:cubicBezTo>
                    <a:cubicBezTo>
                      <a:pt x="1302175" y="940150"/>
                      <a:pt x="1299353" y="1000405"/>
                      <a:pt x="1317193" y="1073721"/>
                    </a:cubicBezTo>
                    <a:cubicBezTo>
                      <a:pt x="1334259" y="1068305"/>
                      <a:pt x="1376902" y="1044231"/>
                      <a:pt x="1408303" y="1003318"/>
                    </a:cubicBezTo>
                    <a:cubicBezTo>
                      <a:pt x="1408394" y="1003181"/>
                      <a:pt x="1417041" y="967411"/>
                      <a:pt x="1427008" y="922902"/>
                    </a:cubicBezTo>
                    <a:cubicBezTo>
                      <a:pt x="1426416" y="920536"/>
                      <a:pt x="1425961" y="918169"/>
                      <a:pt x="1425642" y="915848"/>
                    </a:cubicBezTo>
                    <a:cubicBezTo>
                      <a:pt x="1414129" y="831974"/>
                      <a:pt x="1379359" y="749283"/>
                      <a:pt x="1387642" y="663361"/>
                    </a:cubicBezTo>
                    <a:cubicBezTo>
                      <a:pt x="1392830" y="609615"/>
                      <a:pt x="1400658" y="559054"/>
                      <a:pt x="1429010" y="511951"/>
                    </a:cubicBezTo>
                    <a:cubicBezTo>
                      <a:pt x="1442435" y="489606"/>
                      <a:pt x="1459911" y="470128"/>
                      <a:pt x="1476795" y="450240"/>
                    </a:cubicBezTo>
                    <a:cubicBezTo>
                      <a:pt x="1483166" y="440638"/>
                      <a:pt x="1488901" y="430717"/>
                      <a:pt x="1494134" y="420477"/>
                    </a:cubicBezTo>
                    <a:cubicBezTo>
                      <a:pt x="1500597" y="401818"/>
                      <a:pt x="1505648" y="382795"/>
                      <a:pt x="1509380" y="363408"/>
                    </a:cubicBezTo>
                    <a:cubicBezTo>
                      <a:pt x="1511701" y="334510"/>
                      <a:pt x="1511428" y="305611"/>
                      <a:pt x="1508834" y="276713"/>
                    </a:cubicBezTo>
                    <a:cubicBezTo>
                      <a:pt x="1502508" y="241488"/>
                      <a:pt x="1492996" y="207083"/>
                      <a:pt x="1480436" y="173588"/>
                    </a:cubicBezTo>
                    <a:close/>
                  </a:path>
                </a:pathLst>
              </a:custGeom>
              <a:solidFill>
                <a:srgbClr val="2B1F1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3" name="Freeform: Shape 732">
                <a:extLst>
                  <a:ext uri="{FF2B5EF4-FFF2-40B4-BE49-F238E27FC236}">
                    <a16:creationId xmlns:a16="http://schemas.microsoft.com/office/drawing/2014/main" id="{BEEAD6EF-E079-4F1D-C3C5-4582350301CE}"/>
                  </a:ext>
                </a:extLst>
              </p:cNvPr>
              <p:cNvSpPr/>
              <p:nvPr/>
            </p:nvSpPr>
            <p:spPr>
              <a:xfrm>
                <a:off x="16755454" y="2040094"/>
                <a:ext cx="231162" cy="473910"/>
              </a:xfrm>
              <a:custGeom>
                <a:avLst/>
                <a:gdLst>
                  <a:gd name="connsiteX0" fmla="*/ 137607 w 231162"/>
                  <a:gd name="connsiteY0" fmla="*/ 0 h 473910"/>
                  <a:gd name="connsiteX1" fmla="*/ 6858 w 231162"/>
                  <a:gd name="connsiteY1" fmla="*/ 121556 h 473910"/>
                  <a:gd name="connsiteX2" fmla="*/ 8360 w 231162"/>
                  <a:gd name="connsiteY2" fmla="*/ 307690 h 473910"/>
                  <a:gd name="connsiteX3" fmla="*/ 99789 w 231162"/>
                  <a:gd name="connsiteY3" fmla="*/ 465790 h 473910"/>
                  <a:gd name="connsiteX4" fmla="*/ 209421 w 231162"/>
                  <a:gd name="connsiteY4" fmla="*/ 375955 h 473910"/>
                  <a:gd name="connsiteX5" fmla="*/ 230765 w 231162"/>
                  <a:gd name="connsiteY5" fmla="*/ 201653 h 473910"/>
                  <a:gd name="connsiteX6" fmla="*/ 218523 w 231162"/>
                  <a:gd name="connsiteY6" fmla="*/ 35907 h 473910"/>
                  <a:gd name="connsiteX7" fmla="*/ 137653 w 231162"/>
                  <a:gd name="connsiteY7" fmla="*/ 0 h 473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1162" h="473910">
                    <a:moveTo>
                      <a:pt x="137607" y="0"/>
                    </a:moveTo>
                    <a:cubicBezTo>
                      <a:pt x="37714" y="273"/>
                      <a:pt x="34027" y="58207"/>
                      <a:pt x="6858" y="121556"/>
                    </a:cubicBezTo>
                    <a:cubicBezTo>
                      <a:pt x="-423" y="138531"/>
                      <a:pt x="-4565" y="219356"/>
                      <a:pt x="8360" y="307690"/>
                    </a:cubicBezTo>
                    <a:cubicBezTo>
                      <a:pt x="19510" y="384055"/>
                      <a:pt x="88457" y="453548"/>
                      <a:pt x="99789" y="465790"/>
                    </a:cubicBezTo>
                    <a:cubicBezTo>
                      <a:pt x="125183" y="493278"/>
                      <a:pt x="207419" y="447905"/>
                      <a:pt x="209421" y="375955"/>
                    </a:cubicBezTo>
                    <a:cubicBezTo>
                      <a:pt x="210331" y="343597"/>
                      <a:pt x="226988" y="218673"/>
                      <a:pt x="230765" y="201653"/>
                    </a:cubicBezTo>
                    <a:cubicBezTo>
                      <a:pt x="230765" y="201653"/>
                      <a:pt x="234588" y="51062"/>
                      <a:pt x="218523" y="35907"/>
                    </a:cubicBezTo>
                    <a:cubicBezTo>
                      <a:pt x="202413" y="20753"/>
                      <a:pt x="168645" y="-91"/>
                      <a:pt x="137653" y="0"/>
                    </a:cubicBezTo>
                    <a:close/>
                  </a:path>
                </a:pathLst>
              </a:custGeom>
              <a:solidFill>
                <a:srgbClr val="DE805E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4" name="Freeform: Shape 733">
                <a:extLst>
                  <a:ext uri="{FF2B5EF4-FFF2-40B4-BE49-F238E27FC236}">
                    <a16:creationId xmlns:a16="http://schemas.microsoft.com/office/drawing/2014/main" id="{512026B2-75E8-BAFE-615E-1B0CFEE22C14}"/>
                  </a:ext>
                </a:extLst>
              </p:cNvPr>
              <p:cNvSpPr/>
              <p:nvPr/>
            </p:nvSpPr>
            <p:spPr>
              <a:xfrm>
                <a:off x="16598260" y="1951304"/>
                <a:ext cx="857344" cy="230871"/>
              </a:xfrm>
              <a:custGeom>
                <a:avLst/>
                <a:gdLst>
                  <a:gd name="connsiteX0" fmla="*/ 478932 w 857344"/>
                  <a:gd name="connsiteY0" fmla="*/ 5325 h 230871"/>
                  <a:gd name="connsiteX1" fmla="*/ 242692 w 857344"/>
                  <a:gd name="connsiteY1" fmla="*/ 44555 h 230871"/>
                  <a:gd name="connsiteX2" fmla="*/ 8455 w 857344"/>
                  <a:gd name="connsiteY2" fmla="*/ 165610 h 230871"/>
                  <a:gd name="connsiteX3" fmla="*/ 63613 w 857344"/>
                  <a:gd name="connsiteY3" fmla="*/ 230871 h 230871"/>
                  <a:gd name="connsiteX4" fmla="*/ 251703 w 857344"/>
                  <a:gd name="connsiteY4" fmla="*/ 101942 h 230871"/>
                  <a:gd name="connsiteX5" fmla="*/ 469466 w 857344"/>
                  <a:gd name="connsiteY5" fmla="*/ 61621 h 230871"/>
                  <a:gd name="connsiteX6" fmla="*/ 852884 w 857344"/>
                  <a:gd name="connsiteY6" fmla="*/ 69175 h 230871"/>
                  <a:gd name="connsiteX7" fmla="*/ 857344 w 857344"/>
                  <a:gd name="connsiteY7" fmla="*/ 1 h 230871"/>
                  <a:gd name="connsiteX8" fmla="*/ 478841 w 857344"/>
                  <a:gd name="connsiteY8" fmla="*/ 5371 h 230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7344" h="230871">
                    <a:moveTo>
                      <a:pt x="478932" y="5325"/>
                    </a:moveTo>
                    <a:cubicBezTo>
                      <a:pt x="402112" y="10878"/>
                      <a:pt x="271682" y="38729"/>
                      <a:pt x="242692" y="44555"/>
                    </a:cubicBezTo>
                    <a:cubicBezTo>
                      <a:pt x="213703" y="50334"/>
                      <a:pt x="8455" y="165610"/>
                      <a:pt x="8455" y="165610"/>
                    </a:cubicBezTo>
                    <a:cubicBezTo>
                      <a:pt x="-22355" y="202973"/>
                      <a:pt x="39128" y="231007"/>
                      <a:pt x="63613" y="230871"/>
                    </a:cubicBezTo>
                    <a:cubicBezTo>
                      <a:pt x="88142" y="230734"/>
                      <a:pt x="233135" y="116369"/>
                      <a:pt x="251703" y="101942"/>
                    </a:cubicBezTo>
                    <a:cubicBezTo>
                      <a:pt x="270271" y="87516"/>
                      <a:pt x="428963" y="66217"/>
                      <a:pt x="469466" y="61621"/>
                    </a:cubicBezTo>
                    <a:cubicBezTo>
                      <a:pt x="510016" y="57024"/>
                      <a:pt x="852884" y="69175"/>
                      <a:pt x="852884" y="69175"/>
                    </a:cubicBezTo>
                    <a:lnTo>
                      <a:pt x="857344" y="1"/>
                    </a:lnTo>
                    <a:cubicBezTo>
                      <a:pt x="857344" y="1"/>
                      <a:pt x="555707" y="-181"/>
                      <a:pt x="478841" y="5371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5" name="Freeform: Shape 734">
                <a:extLst>
                  <a:ext uri="{FF2B5EF4-FFF2-40B4-BE49-F238E27FC236}">
                    <a16:creationId xmlns:a16="http://schemas.microsoft.com/office/drawing/2014/main" id="{84E2034C-DAED-5776-D9D4-82C192CEBE15}"/>
                  </a:ext>
                </a:extLst>
              </p:cNvPr>
              <p:cNvSpPr/>
              <p:nvPr/>
            </p:nvSpPr>
            <p:spPr>
              <a:xfrm>
                <a:off x="16791596" y="2007282"/>
                <a:ext cx="219690" cy="477401"/>
              </a:xfrm>
              <a:custGeom>
                <a:avLst/>
                <a:gdLst>
                  <a:gd name="connsiteX0" fmla="*/ 129908 w 219690"/>
                  <a:gd name="connsiteY0" fmla="*/ 45 h 477401"/>
                  <a:gd name="connsiteX1" fmla="*/ 6168 w 219690"/>
                  <a:gd name="connsiteY1" fmla="*/ 123285 h 477401"/>
                  <a:gd name="connsiteX2" fmla="*/ 8489 w 219690"/>
                  <a:gd name="connsiteY2" fmla="*/ 313014 h 477401"/>
                  <a:gd name="connsiteX3" fmla="*/ 96232 w 219690"/>
                  <a:gd name="connsiteY3" fmla="*/ 474619 h 477401"/>
                  <a:gd name="connsiteX4" fmla="*/ 173279 w 219690"/>
                  <a:gd name="connsiteY4" fmla="*/ 408767 h 477401"/>
                  <a:gd name="connsiteX5" fmla="*/ 219471 w 219690"/>
                  <a:gd name="connsiteY5" fmla="*/ 206022 h 477401"/>
                  <a:gd name="connsiteX6" fmla="*/ 207002 w 219690"/>
                  <a:gd name="connsiteY6" fmla="*/ 36999 h 477401"/>
                  <a:gd name="connsiteX7" fmla="*/ 129908 w 219690"/>
                  <a:gd name="connsiteY7" fmla="*/ 0 h 477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9690" h="477401">
                    <a:moveTo>
                      <a:pt x="129908" y="45"/>
                    </a:moveTo>
                    <a:cubicBezTo>
                      <a:pt x="34884" y="-182"/>
                      <a:pt x="31653" y="58844"/>
                      <a:pt x="6168" y="123285"/>
                    </a:cubicBezTo>
                    <a:cubicBezTo>
                      <a:pt x="-658" y="140579"/>
                      <a:pt x="-4208" y="222906"/>
                      <a:pt x="8489" y="313014"/>
                    </a:cubicBezTo>
                    <a:cubicBezTo>
                      <a:pt x="19457" y="390881"/>
                      <a:pt x="81486" y="468111"/>
                      <a:pt x="96232" y="474619"/>
                    </a:cubicBezTo>
                    <a:cubicBezTo>
                      <a:pt x="110977" y="481127"/>
                      <a:pt x="171732" y="482128"/>
                      <a:pt x="173279" y="408767"/>
                    </a:cubicBezTo>
                    <a:cubicBezTo>
                      <a:pt x="173962" y="375818"/>
                      <a:pt x="215967" y="223361"/>
                      <a:pt x="219471" y="206022"/>
                    </a:cubicBezTo>
                    <a:cubicBezTo>
                      <a:pt x="219471" y="206022"/>
                      <a:pt x="222384" y="52563"/>
                      <a:pt x="207002" y="36999"/>
                    </a:cubicBezTo>
                    <a:cubicBezTo>
                      <a:pt x="191619" y="21480"/>
                      <a:pt x="159399" y="91"/>
                      <a:pt x="129908" y="0"/>
                    </a:cubicBezTo>
                    <a:close/>
                  </a:path>
                </a:pathLst>
              </a:custGeom>
              <a:solidFill>
                <a:srgbClr val="EF8864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15" name="Freeform: Shape 614">
              <a:extLst>
                <a:ext uri="{FF2B5EF4-FFF2-40B4-BE49-F238E27FC236}">
                  <a16:creationId xmlns:a16="http://schemas.microsoft.com/office/drawing/2014/main" id="{29BE8C6A-6D50-03F1-9BE1-AA128CEB380E}"/>
                </a:ext>
              </a:extLst>
            </p:cNvPr>
            <p:cNvSpPr/>
            <p:nvPr/>
          </p:nvSpPr>
          <p:spPr>
            <a:xfrm>
              <a:off x="873634" y="5866634"/>
              <a:ext cx="108926" cy="43262"/>
            </a:xfrm>
            <a:custGeom>
              <a:avLst/>
              <a:gdLst>
                <a:gd name="connsiteX0" fmla="*/ 512983 w 1138011"/>
                <a:gd name="connsiteY0" fmla="*/ 7398 h 451980"/>
                <a:gd name="connsiteX1" fmla="*/ 251713 w 1138011"/>
                <a:gd name="connsiteY1" fmla="*/ 20824 h 451980"/>
                <a:gd name="connsiteX2" fmla="*/ 95570 w 1138011"/>
                <a:gd name="connsiteY2" fmla="*/ 125860 h 451980"/>
                <a:gd name="connsiteX3" fmla="*/ 0 w 1138011"/>
                <a:gd name="connsiteY3" fmla="*/ 277224 h 451980"/>
                <a:gd name="connsiteX4" fmla="*/ 1138011 w 1138011"/>
                <a:gd name="connsiteY4" fmla="*/ 451981 h 451980"/>
                <a:gd name="connsiteX5" fmla="*/ 1004714 w 1138011"/>
                <a:gd name="connsiteY5" fmla="*/ 241681 h 451980"/>
                <a:gd name="connsiteX6" fmla="*/ 513029 w 1138011"/>
                <a:gd name="connsiteY6" fmla="*/ 7398 h 451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8011" h="451980">
                  <a:moveTo>
                    <a:pt x="512983" y="7398"/>
                  </a:moveTo>
                  <a:cubicBezTo>
                    <a:pt x="428154" y="-10623"/>
                    <a:pt x="325757" y="8400"/>
                    <a:pt x="251713" y="20824"/>
                  </a:cubicBezTo>
                  <a:cubicBezTo>
                    <a:pt x="186953" y="31700"/>
                    <a:pt x="130112" y="70065"/>
                    <a:pt x="95570" y="125860"/>
                  </a:cubicBezTo>
                  <a:lnTo>
                    <a:pt x="0" y="277224"/>
                  </a:lnTo>
                  <a:cubicBezTo>
                    <a:pt x="594992" y="204818"/>
                    <a:pt x="1138011" y="451981"/>
                    <a:pt x="1138011" y="451981"/>
                  </a:cubicBezTo>
                  <a:cubicBezTo>
                    <a:pt x="1138011" y="451981"/>
                    <a:pt x="1074070" y="313313"/>
                    <a:pt x="1004714" y="241681"/>
                  </a:cubicBezTo>
                  <a:cubicBezTo>
                    <a:pt x="935357" y="170049"/>
                    <a:pt x="787861" y="65741"/>
                    <a:pt x="513029" y="7398"/>
                  </a:cubicBezTo>
                  <a:close/>
                </a:path>
              </a:pathLst>
            </a:custGeom>
            <a:solidFill>
              <a:srgbClr val="C8D7D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6" name="Freeform: Shape 615">
              <a:extLst>
                <a:ext uri="{FF2B5EF4-FFF2-40B4-BE49-F238E27FC236}">
                  <a16:creationId xmlns:a16="http://schemas.microsoft.com/office/drawing/2014/main" id="{B357BA9F-A3CC-57A2-659C-1B59F5F9A0F2}"/>
                </a:ext>
              </a:extLst>
            </p:cNvPr>
            <p:cNvSpPr/>
            <p:nvPr/>
          </p:nvSpPr>
          <p:spPr>
            <a:xfrm>
              <a:off x="869061" y="5870592"/>
              <a:ext cx="116057" cy="42924"/>
            </a:xfrm>
            <a:custGeom>
              <a:avLst/>
              <a:gdLst>
                <a:gd name="connsiteX0" fmla="*/ 560768 w 1212510"/>
                <a:gd name="connsiteY0" fmla="*/ 7149 h 448454"/>
                <a:gd name="connsiteX1" fmla="*/ 299498 w 1212510"/>
                <a:gd name="connsiteY1" fmla="*/ 20164 h 448454"/>
                <a:gd name="connsiteX2" fmla="*/ 95570 w 1212510"/>
                <a:gd name="connsiteY2" fmla="*/ 130843 h 448454"/>
                <a:gd name="connsiteX3" fmla="*/ 0 w 1212510"/>
                <a:gd name="connsiteY3" fmla="*/ 277339 h 448454"/>
                <a:gd name="connsiteX4" fmla="*/ 1212510 w 1212510"/>
                <a:gd name="connsiteY4" fmla="*/ 448454 h 448454"/>
                <a:gd name="connsiteX5" fmla="*/ 1052499 w 1212510"/>
                <a:gd name="connsiteY5" fmla="*/ 233877 h 448454"/>
                <a:gd name="connsiteX6" fmla="*/ 560814 w 1212510"/>
                <a:gd name="connsiteY6" fmla="*/ 7149 h 448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2510" h="448454">
                  <a:moveTo>
                    <a:pt x="560768" y="7149"/>
                  </a:moveTo>
                  <a:cubicBezTo>
                    <a:pt x="475938" y="-10282"/>
                    <a:pt x="373542" y="8150"/>
                    <a:pt x="299498" y="20164"/>
                  </a:cubicBezTo>
                  <a:cubicBezTo>
                    <a:pt x="234738" y="30677"/>
                    <a:pt x="130112" y="76824"/>
                    <a:pt x="95570" y="130843"/>
                  </a:cubicBezTo>
                  <a:lnTo>
                    <a:pt x="0" y="277339"/>
                  </a:lnTo>
                  <a:cubicBezTo>
                    <a:pt x="594992" y="207254"/>
                    <a:pt x="1212510" y="448454"/>
                    <a:pt x="1212510" y="448454"/>
                  </a:cubicBezTo>
                  <a:cubicBezTo>
                    <a:pt x="1212510" y="448454"/>
                    <a:pt x="1121855" y="303188"/>
                    <a:pt x="1052499" y="233877"/>
                  </a:cubicBezTo>
                  <a:cubicBezTo>
                    <a:pt x="983142" y="164566"/>
                    <a:pt x="835646" y="63580"/>
                    <a:pt x="560814" y="7149"/>
                  </a:cubicBezTo>
                  <a:close/>
                </a:path>
              </a:pathLst>
            </a:custGeom>
            <a:solidFill>
              <a:srgbClr val="F6F6F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7" name="Freeform: Shape 616">
              <a:extLst>
                <a:ext uri="{FF2B5EF4-FFF2-40B4-BE49-F238E27FC236}">
                  <a16:creationId xmlns:a16="http://schemas.microsoft.com/office/drawing/2014/main" id="{F1B5D479-B32D-C6C2-37CF-96AF2DC2033F}"/>
                </a:ext>
              </a:extLst>
            </p:cNvPr>
            <p:cNvSpPr/>
            <p:nvPr/>
          </p:nvSpPr>
          <p:spPr>
            <a:xfrm>
              <a:off x="910499" y="5870594"/>
              <a:ext cx="74618" cy="42921"/>
            </a:xfrm>
            <a:custGeom>
              <a:avLst/>
              <a:gdLst>
                <a:gd name="connsiteX0" fmla="*/ 127836 w 779577"/>
                <a:gd name="connsiteY0" fmla="*/ 7118 h 448423"/>
                <a:gd name="connsiteX1" fmla="*/ 0 w 779577"/>
                <a:gd name="connsiteY1" fmla="*/ 2067 h 448423"/>
                <a:gd name="connsiteX2" fmla="*/ 342777 w 779577"/>
                <a:gd name="connsiteY2" fmla="*/ 99912 h 448423"/>
                <a:gd name="connsiteX3" fmla="*/ 573465 w 779577"/>
                <a:gd name="connsiteY3" fmla="*/ 268661 h 448423"/>
                <a:gd name="connsiteX4" fmla="*/ 710904 w 779577"/>
                <a:gd name="connsiteY4" fmla="*/ 421209 h 448423"/>
                <a:gd name="connsiteX5" fmla="*/ 779578 w 779577"/>
                <a:gd name="connsiteY5" fmla="*/ 448424 h 448423"/>
                <a:gd name="connsiteX6" fmla="*/ 619566 w 779577"/>
                <a:gd name="connsiteY6" fmla="*/ 233847 h 448423"/>
                <a:gd name="connsiteX7" fmla="*/ 127882 w 779577"/>
                <a:gd name="connsiteY7" fmla="*/ 7118 h 448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9577" h="448423">
                  <a:moveTo>
                    <a:pt x="127836" y="7118"/>
                  </a:moveTo>
                  <a:cubicBezTo>
                    <a:pt x="87560" y="-1165"/>
                    <a:pt x="43279" y="-1301"/>
                    <a:pt x="0" y="2067"/>
                  </a:cubicBezTo>
                  <a:cubicBezTo>
                    <a:pt x="120782" y="17085"/>
                    <a:pt x="234055" y="44755"/>
                    <a:pt x="342777" y="99912"/>
                  </a:cubicBezTo>
                  <a:cubicBezTo>
                    <a:pt x="427926" y="143146"/>
                    <a:pt x="505702" y="202900"/>
                    <a:pt x="573465" y="268661"/>
                  </a:cubicBezTo>
                  <a:cubicBezTo>
                    <a:pt x="622798" y="316537"/>
                    <a:pt x="667351" y="368418"/>
                    <a:pt x="710904" y="421209"/>
                  </a:cubicBezTo>
                  <a:cubicBezTo>
                    <a:pt x="755048" y="437638"/>
                    <a:pt x="779578" y="448424"/>
                    <a:pt x="779578" y="448424"/>
                  </a:cubicBezTo>
                  <a:cubicBezTo>
                    <a:pt x="779578" y="448424"/>
                    <a:pt x="688923" y="303158"/>
                    <a:pt x="619566" y="233847"/>
                  </a:cubicBezTo>
                  <a:cubicBezTo>
                    <a:pt x="550210" y="164535"/>
                    <a:pt x="402714" y="63550"/>
                    <a:pt x="127882" y="7118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8" name="Freeform: Shape 617">
              <a:extLst>
                <a:ext uri="{FF2B5EF4-FFF2-40B4-BE49-F238E27FC236}">
                  <a16:creationId xmlns:a16="http://schemas.microsoft.com/office/drawing/2014/main" id="{280967A1-7757-DD90-CFB8-CB18525D0F78}"/>
                </a:ext>
              </a:extLst>
            </p:cNvPr>
            <p:cNvSpPr/>
            <p:nvPr/>
          </p:nvSpPr>
          <p:spPr>
            <a:xfrm>
              <a:off x="1215878" y="6117934"/>
              <a:ext cx="76380" cy="49883"/>
            </a:xfrm>
            <a:custGeom>
              <a:avLst/>
              <a:gdLst>
                <a:gd name="connsiteX0" fmla="*/ 732270 w 797989"/>
                <a:gd name="connsiteY0" fmla="*/ 113772 h 521160"/>
                <a:gd name="connsiteX1" fmla="*/ 635244 w 797989"/>
                <a:gd name="connsiteY1" fmla="*/ 70947 h 521160"/>
                <a:gd name="connsiteX2" fmla="*/ 558424 w 797989"/>
                <a:gd name="connsiteY2" fmla="*/ 5323 h 521160"/>
                <a:gd name="connsiteX3" fmla="*/ 405876 w 797989"/>
                <a:gd name="connsiteY3" fmla="*/ 12285 h 521160"/>
                <a:gd name="connsiteX4" fmla="*/ 213098 w 797989"/>
                <a:gd name="connsiteY4" fmla="*/ 36952 h 521160"/>
                <a:gd name="connsiteX5" fmla="*/ 13539 w 797989"/>
                <a:gd name="connsiteY5" fmla="*/ 259675 h 521160"/>
                <a:gd name="connsiteX6" fmla="*/ 42755 w 797989"/>
                <a:gd name="connsiteY6" fmla="*/ 482900 h 521160"/>
                <a:gd name="connsiteX7" fmla="*/ 477781 w 797989"/>
                <a:gd name="connsiteY7" fmla="*/ 482217 h 521160"/>
                <a:gd name="connsiteX8" fmla="*/ 711199 w 797989"/>
                <a:gd name="connsiteY8" fmla="*/ 346735 h 521160"/>
                <a:gd name="connsiteX9" fmla="*/ 771864 w 797989"/>
                <a:gd name="connsiteY9" fmla="*/ 364893 h 521160"/>
                <a:gd name="connsiteX10" fmla="*/ 756845 w 797989"/>
                <a:gd name="connsiteY10" fmla="*/ 228137 h 521160"/>
                <a:gd name="connsiteX11" fmla="*/ 732316 w 797989"/>
                <a:gd name="connsiteY11" fmla="*/ 113726 h 521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97989" h="521160">
                  <a:moveTo>
                    <a:pt x="732270" y="113772"/>
                  </a:moveTo>
                  <a:cubicBezTo>
                    <a:pt x="713384" y="81596"/>
                    <a:pt x="667692" y="89379"/>
                    <a:pt x="635244" y="70947"/>
                  </a:cubicBezTo>
                  <a:cubicBezTo>
                    <a:pt x="604707" y="53654"/>
                    <a:pt x="586230" y="9692"/>
                    <a:pt x="558424" y="5323"/>
                  </a:cubicBezTo>
                  <a:cubicBezTo>
                    <a:pt x="527841" y="499"/>
                    <a:pt x="470773" y="8281"/>
                    <a:pt x="405876" y="12285"/>
                  </a:cubicBezTo>
                  <a:cubicBezTo>
                    <a:pt x="365736" y="14789"/>
                    <a:pt x="325643" y="-29811"/>
                    <a:pt x="213098" y="36952"/>
                  </a:cubicBezTo>
                  <a:cubicBezTo>
                    <a:pt x="175325" y="59388"/>
                    <a:pt x="13539" y="259675"/>
                    <a:pt x="13539" y="259675"/>
                  </a:cubicBezTo>
                  <a:cubicBezTo>
                    <a:pt x="13539" y="259675"/>
                    <a:pt x="-31516" y="454183"/>
                    <a:pt x="42755" y="482900"/>
                  </a:cubicBezTo>
                  <a:cubicBezTo>
                    <a:pt x="157030" y="526999"/>
                    <a:pt x="377296" y="540651"/>
                    <a:pt x="477781" y="482217"/>
                  </a:cubicBezTo>
                  <a:cubicBezTo>
                    <a:pt x="594422" y="414362"/>
                    <a:pt x="665781" y="362573"/>
                    <a:pt x="711199" y="346735"/>
                  </a:cubicBezTo>
                  <a:cubicBezTo>
                    <a:pt x="764309" y="328213"/>
                    <a:pt x="771864" y="364893"/>
                    <a:pt x="771864" y="364893"/>
                  </a:cubicBezTo>
                  <a:cubicBezTo>
                    <a:pt x="785016" y="367351"/>
                    <a:pt x="830890" y="303410"/>
                    <a:pt x="756845" y="228137"/>
                  </a:cubicBezTo>
                  <a:cubicBezTo>
                    <a:pt x="744194" y="215258"/>
                    <a:pt x="761715" y="163787"/>
                    <a:pt x="732316" y="113726"/>
                  </a:cubicBezTo>
                  <a:close/>
                </a:path>
              </a:pathLst>
            </a:custGeom>
            <a:solidFill>
              <a:srgbClr val="EF886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9" name="Freeform: Shape 618">
              <a:extLst>
                <a:ext uri="{FF2B5EF4-FFF2-40B4-BE49-F238E27FC236}">
                  <a16:creationId xmlns:a16="http://schemas.microsoft.com/office/drawing/2014/main" id="{BB025B88-72E9-DF36-410A-B2EECA77DC26}"/>
                </a:ext>
              </a:extLst>
            </p:cNvPr>
            <p:cNvSpPr/>
            <p:nvPr/>
          </p:nvSpPr>
          <p:spPr>
            <a:xfrm>
              <a:off x="1211254" y="6137797"/>
              <a:ext cx="30364" cy="36725"/>
            </a:xfrm>
            <a:custGeom>
              <a:avLst/>
              <a:gdLst>
                <a:gd name="connsiteX0" fmla="*/ 81371 w 317225"/>
                <a:gd name="connsiteY0" fmla="*/ 46 h 383691"/>
                <a:gd name="connsiteX1" fmla="*/ 0 w 317225"/>
                <a:gd name="connsiteY1" fmla="*/ 72406 h 383691"/>
                <a:gd name="connsiteX2" fmla="*/ 78186 w 317225"/>
                <a:gd name="connsiteY2" fmla="*/ 311331 h 383691"/>
                <a:gd name="connsiteX3" fmla="*/ 239380 w 317225"/>
                <a:gd name="connsiteY3" fmla="*/ 383691 h 383691"/>
                <a:gd name="connsiteX4" fmla="*/ 315836 w 317225"/>
                <a:gd name="connsiteY4" fmla="*/ 335269 h 383691"/>
                <a:gd name="connsiteX5" fmla="*/ 81325 w 317225"/>
                <a:gd name="connsiteY5" fmla="*/ 0 h 383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225" h="383691">
                  <a:moveTo>
                    <a:pt x="81371" y="46"/>
                  </a:moveTo>
                  <a:cubicBezTo>
                    <a:pt x="25167" y="43462"/>
                    <a:pt x="0" y="72406"/>
                    <a:pt x="0" y="72406"/>
                  </a:cubicBezTo>
                  <a:cubicBezTo>
                    <a:pt x="0" y="72406"/>
                    <a:pt x="-182" y="279884"/>
                    <a:pt x="78186" y="311331"/>
                  </a:cubicBezTo>
                  <a:cubicBezTo>
                    <a:pt x="123012" y="329307"/>
                    <a:pt x="178352" y="375090"/>
                    <a:pt x="239380" y="383691"/>
                  </a:cubicBezTo>
                  <a:cubicBezTo>
                    <a:pt x="240837" y="382508"/>
                    <a:pt x="309829" y="339046"/>
                    <a:pt x="315836" y="335269"/>
                  </a:cubicBezTo>
                  <a:cubicBezTo>
                    <a:pt x="337954" y="66899"/>
                    <a:pt x="88835" y="-46"/>
                    <a:pt x="81325" y="0"/>
                  </a:cubicBezTo>
                  <a:close/>
                </a:path>
              </a:pathLst>
            </a:custGeom>
            <a:solidFill>
              <a:srgbClr val="E2E8E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0" name="Freeform: Shape 619">
              <a:extLst>
                <a:ext uri="{FF2B5EF4-FFF2-40B4-BE49-F238E27FC236}">
                  <a16:creationId xmlns:a16="http://schemas.microsoft.com/office/drawing/2014/main" id="{A6B2BE72-7091-69A1-7786-B97878B27C48}"/>
                </a:ext>
              </a:extLst>
            </p:cNvPr>
            <p:cNvSpPr/>
            <p:nvPr/>
          </p:nvSpPr>
          <p:spPr>
            <a:xfrm>
              <a:off x="759719" y="5891905"/>
              <a:ext cx="289941" cy="344167"/>
            </a:xfrm>
            <a:custGeom>
              <a:avLst/>
              <a:gdLst>
                <a:gd name="connsiteX0" fmla="*/ 2801855 w 3029182"/>
                <a:gd name="connsiteY0" fmla="*/ 453735 h 3595711"/>
                <a:gd name="connsiteX1" fmla="*/ 1520261 w 3029182"/>
                <a:gd name="connsiteY1" fmla="*/ 9653 h 3595711"/>
                <a:gd name="connsiteX2" fmla="*/ 573071 w 3029182"/>
                <a:gd name="connsiteY2" fmla="*/ 267419 h 3595711"/>
                <a:gd name="connsiteX3" fmla="*/ 61 w 3029182"/>
                <a:gd name="connsiteY3" fmla="*/ 1456582 h 3595711"/>
                <a:gd name="connsiteX4" fmla="*/ 140822 w 3029182"/>
                <a:gd name="connsiteY4" fmla="*/ 3595712 h 3595711"/>
                <a:gd name="connsiteX5" fmla="*/ 2785335 w 3029182"/>
                <a:gd name="connsiteY5" fmla="*/ 3595712 h 3595711"/>
                <a:gd name="connsiteX6" fmla="*/ 2826202 w 3029182"/>
                <a:gd name="connsiteY6" fmla="*/ 2270975 h 3595711"/>
                <a:gd name="connsiteX7" fmla="*/ 2801855 w 3029182"/>
                <a:gd name="connsiteY7" fmla="*/ 453735 h 3595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29182" h="3595711">
                  <a:moveTo>
                    <a:pt x="2801855" y="453735"/>
                  </a:moveTo>
                  <a:cubicBezTo>
                    <a:pt x="2358410" y="226779"/>
                    <a:pt x="2254648" y="122653"/>
                    <a:pt x="1520261" y="9653"/>
                  </a:cubicBezTo>
                  <a:cubicBezTo>
                    <a:pt x="1260857" y="-30259"/>
                    <a:pt x="1014650" y="53205"/>
                    <a:pt x="573071" y="267419"/>
                  </a:cubicBezTo>
                  <a:cubicBezTo>
                    <a:pt x="22133" y="534650"/>
                    <a:pt x="-1486" y="902914"/>
                    <a:pt x="61" y="1456582"/>
                  </a:cubicBezTo>
                  <a:cubicBezTo>
                    <a:pt x="1108" y="1830989"/>
                    <a:pt x="101138" y="3104619"/>
                    <a:pt x="140822" y="3595712"/>
                  </a:cubicBezTo>
                  <a:lnTo>
                    <a:pt x="2785335" y="3595712"/>
                  </a:lnTo>
                  <a:cubicBezTo>
                    <a:pt x="2751339" y="3211247"/>
                    <a:pt x="2686033" y="2635051"/>
                    <a:pt x="2826202" y="2270975"/>
                  </a:cubicBezTo>
                  <a:cubicBezTo>
                    <a:pt x="2971014" y="1894793"/>
                    <a:pt x="3211304" y="663306"/>
                    <a:pt x="2801855" y="453735"/>
                  </a:cubicBezTo>
                  <a:close/>
                </a:path>
              </a:pathLst>
            </a:custGeom>
            <a:solidFill>
              <a:schemeClr val="accent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1" name="Freeform: Shape 620">
              <a:extLst>
                <a:ext uri="{FF2B5EF4-FFF2-40B4-BE49-F238E27FC236}">
                  <a16:creationId xmlns:a16="http://schemas.microsoft.com/office/drawing/2014/main" id="{EC346AD9-6B6B-AFAD-7972-DFF3DD3F73B7}"/>
                </a:ext>
              </a:extLst>
            </p:cNvPr>
            <p:cNvSpPr/>
            <p:nvPr/>
          </p:nvSpPr>
          <p:spPr>
            <a:xfrm>
              <a:off x="759719" y="5891905"/>
              <a:ext cx="287536" cy="344167"/>
            </a:xfrm>
            <a:custGeom>
              <a:avLst/>
              <a:gdLst>
                <a:gd name="connsiteX0" fmla="*/ 2842586 w 3004053"/>
                <a:gd name="connsiteY0" fmla="*/ 539565 h 3595711"/>
                <a:gd name="connsiteX1" fmla="*/ 2582044 w 3004053"/>
                <a:gd name="connsiteY1" fmla="*/ 387427 h 3595711"/>
                <a:gd name="connsiteX2" fmla="*/ 2349627 w 3004053"/>
                <a:gd name="connsiteY2" fmla="*/ 263277 h 3595711"/>
                <a:gd name="connsiteX3" fmla="*/ 2290874 w 3004053"/>
                <a:gd name="connsiteY3" fmla="*/ 236836 h 3595711"/>
                <a:gd name="connsiteX4" fmla="*/ 2288007 w 3004053"/>
                <a:gd name="connsiteY4" fmla="*/ 235516 h 3595711"/>
                <a:gd name="connsiteX5" fmla="*/ 2280953 w 3004053"/>
                <a:gd name="connsiteY5" fmla="*/ 232695 h 3595711"/>
                <a:gd name="connsiteX6" fmla="*/ 2255194 w 3004053"/>
                <a:gd name="connsiteY6" fmla="*/ 222318 h 3595711"/>
                <a:gd name="connsiteX7" fmla="*/ 2140556 w 3004053"/>
                <a:gd name="connsiteY7" fmla="*/ 180495 h 3595711"/>
                <a:gd name="connsiteX8" fmla="*/ 1600494 w 3004053"/>
                <a:gd name="connsiteY8" fmla="*/ 22395 h 3595711"/>
                <a:gd name="connsiteX9" fmla="*/ 1520261 w 3004053"/>
                <a:gd name="connsiteY9" fmla="*/ 9653 h 3595711"/>
                <a:gd name="connsiteX10" fmla="*/ 573071 w 3004053"/>
                <a:gd name="connsiteY10" fmla="*/ 267419 h 3595711"/>
                <a:gd name="connsiteX11" fmla="*/ 61 w 3004053"/>
                <a:gd name="connsiteY11" fmla="*/ 1456582 h 3595711"/>
                <a:gd name="connsiteX12" fmla="*/ 50850 w 3004053"/>
                <a:gd name="connsiteY12" fmla="*/ 3595712 h 3595711"/>
                <a:gd name="connsiteX13" fmla="*/ 2785335 w 3004053"/>
                <a:gd name="connsiteY13" fmla="*/ 3595712 h 3595711"/>
                <a:gd name="connsiteX14" fmla="*/ 2698958 w 3004053"/>
                <a:gd name="connsiteY14" fmla="*/ 2126073 h 3595711"/>
                <a:gd name="connsiteX15" fmla="*/ 2729403 w 3004053"/>
                <a:gd name="connsiteY15" fmla="*/ 2044201 h 3595711"/>
                <a:gd name="connsiteX16" fmla="*/ 2755708 w 3004053"/>
                <a:gd name="connsiteY16" fmla="*/ 1982672 h 3595711"/>
                <a:gd name="connsiteX17" fmla="*/ 2764309 w 3004053"/>
                <a:gd name="connsiteY17" fmla="*/ 1963649 h 3595711"/>
                <a:gd name="connsiteX18" fmla="*/ 2768269 w 3004053"/>
                <a:gd name="connsiteY18" fmla="*/ 1954547 h 3595711"/>
                <a:gd name="connsiteX19" fmla="*/ 2774640 w 3004053"/>
                <a:gd name="connsiteY19" fmla="*/ 1937845 h 3595711"/>
                <a:gd name="connsiteX20" fmla="*/ 2781375 w 3004053"/>
                <a:gd name="connsiteY20" fmla="*/ 1918868 h 3595711"/>
                <a:gd name="connsiteX21" fmla="*/ 2792616 w 3004053"/>
                <a:gd name="connsiteY21" fmla="*/ 1880412 h 3595711"/>
                <a:gd name="connsiteX22" fmla="*/ 2796849 w 3004053"/>
                <a:gd name="connsiteY22" fmla="*/ 1860889 h 3595711"/>
                <a:gd name="connsiteX23" fmla="*/ 2797258 w 3004053"/>
                <a:gd name="connsiteY23" fmla="*/ 1859205 h 3595711"/>
                <a:gd name="connsiteX24" fmla="*/ 2797258 w 3004053"/>
                <a:gd name="connsiteY24" fmla="*/ 1858932 h 3595711"/>
                <a:gd name="connsiteX25" fmla="*/ 2798077 w 3004053"/>
                <a:gd name="connsiteY25" fmla="*/ 1818019 h 3595711"/>
                <a:gd name="connsiteX26" fmla="*/ 2908483 w 3004053"/>
                <a:gd name="connsiteY26" fmla="*/ 1705747 h 3595711"/>
                <a:gd name="connsiteX27" fmla="*/ 2909758 w 3004053"/>
                <a:gd name="connsiteY27" fmla="*/ 553355 h 3595711"/>
                <a:gd name="connsiteX28" fmla="*/ 2842540 w 3004053"/>
                <a:gd name="connsiteY28" fmla="*/ 539611 h 3595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004053" h="3595711">
                  <a:moveTo>
                    <a:pt x="2842586" y="539565"/>
                  </a:moveTo>
                  <a:cubicBezTo>
                    <a:pt x="2754161" y="491553"/>
                    <a:pt x="2668739" y="438398"/>
                    <a:pt x="2582044" y="387427"/>
                  </a:cubicBezTo>
                  <a:cubicBezTo>
                    <a:pt x="2506316" y="342873"/>
                    <a:pt x="2429177" y="300595"/>
                    <a:pt x="2349627" y="263277"/>
                  </a:cubicBezTo>
                  <a:cubicBezTo>
                    <a:pt x="2330149" y="254175"/>
                    <a:pt x="2310534" y="245528"/>
                    <a:pt x="2290874" y="236836"/>
                  </a:cubicBezTo>
                  <a:cubicBezTo>
                    <a:pt x="2290055" y="236472"/>
                    <a:pt x="2289053" y="236017"/>
                    <a:pt x="2288007" y="235516"/>
                  </a:cubicBezTo>
                  <a:cubicBezTo>
                    <a:pt x="2285640" y="234561"/>
                    <a:pt x="2283274" y="233651"/>
                    <a:pt x="2280953" y="232695"/>
                  </a:cubicBezTo>
                  <a:cubicBezTo>
                    <a:pt x="2272397" y="229190"/>
                    <a:pt x="2263796" y="225732"/>
                    <a:pt x="2255194" y="222318"/>
                  </a:cubicBezTo>
                  <a:cubicBezTo>
                    <a:pt x="2217376" y="207391"/>
                    <a:pt x="2179148" y="193466"/>
                    <a:pt x="2140556" y="180495"/>
                  </a:cubicBezTo>
                  <a:cubicBezTo>
                    <a:pt x="1982001" y="127204"/>
                    <a:pt x="1614011" y="39006"/>
                    <a:pt x="1600494" y="22395"/>
                  </a:cubicBezTo>
                  <a:cubicBezTo>
                    <a:pt x="1574599" y="18163"/>
                    <a:pt x="1547931" y="13930"/>
                    <a:pt x="1520261" y="9653"/>
                  </a:cubicBezTo>
                  <a:cubicBezTo>
                    <a:pt x="1260857" y="-30259"/>
                    <a:pt x="1014650" y="53205"/>
                    <a:pt x="573071" y="267419"/>
                  </a:cubicBezTo>
                  <a:cubicBezTo>
                    <a:pt x="22133" y="534650"/>
                    <a:pt x="-1486" y="902914"/>
                    <a:pt x="61" y="1456582"/>
                  </a:cubicBezTo>
                  <a:cubicBezTo>
                    <a:pt x="1108" y="1830989"/>
                    <a:pt x="11165" y="3104619"/>
                    <a:pt x="50850" y="3595712"/>
                  </a:cubicBezTo>
                  <a:lnTo>
                    <a:pt x="2785335" y="3595712"/>
                  </a:lnTo>
                  <a:cubicBezTo>
                    <a:pt x="2786427" y="3551522"/>
                    <a:pt x="2621956" y="2952708"/>
                    <a:pt x="2698958" y="2126073"/>
                  </a:cubicBezTo>
                  <a:cubicBezTo>
                    <a:pt x="2701643" y="2097083"/>
                    <a:pt x="2718390" y="2071143"/>
                    <a:pt x="2729403" y="2044201"/>
                  </a:cubicBezTo>
                  <a:cubicBezTo>
                    <a:pt x="2737868" y="2023540"/>
                    <a:pt x="2746515" y="2002969"/>
                    <a:pt x="2755708" y="1982672"/>
                  </a:cubicBezTo>
                  <a:cubicBezTo>
                    <a:pt x="2758575" y="1976347"/>
                    <a:pt x="2761488" y="1970021"/>
                    <a:pt x="2764309" y="1963649"/>
                  </a:cubicBezTo>
                  <a:cubicBezTo>
                    <a:pt x="2764946" y="1962193"/>
                    <a:pt x="2774867" y="1937299"/>
                    <a:pt x="2768269" y="1954547"/>
                  </a:cubicBezTo>
                  <a:cubicBezTo>
                    <a:pt x="2761943" y="1971113"/>
                    <a:pt x="2773548" y="1940713"/>
                    <a:pt x="2774640" y="1937845"/>
                  </a:cubicBezTo>
                  <a:cubicBezTo>
                    <a:pt x="2777007" y="1931565"/>
                    <a:pt x="2779236" y="1925239"/>
                    <a:pt x="2781375" y="1918868"/>
                  </a:cubicBezTo>
                  <a:cubicBezTo>
                    <a:pt x="2785653" y="1906216"/>
                    <a:pt x="2789431" y="1893382"/>
                    <a:pt x="2792616" y="1880412"/>
                  </a:cubicBezTo>
                  <a:cubicBezTo>
                    <a:pt x="2794209" y="1873950"/>
                    <a:pt x="2795301" y="1867351"/>
                    <a:pt x="2796849" y="1860889"/>
                  </a:cubicBezTo>
                  <a:cubicBezTo>
                    <a:pt x="2796985" y="1860252"/>
                    <a:pt x="2797122" y="1859751"/>
                    <a:pt x="2797258" y="1859205"/>
                  </a:cubicBezTo>
                  <a:cubicBezTo>
                    <a:pt x="2797258" y="1859114"/>
                    <a:pt x="2797258" y="1859023"/>
                    <a:pt x="2797258" y="1858932"/>
                  </a:cubicBezTo>
                  <a:cubicBezTo>
                    <a:pt x="2797804" y="1845234"/>
                    <a:pt x="2798578" y="1831763"/>
                    <a:pt x="2798077" y="1818019"/>
                  </a:cubicBezTo>
                  <a:cubicBezTo>
                    <a:pt x="2795847" y="1755807"/>
                    <a:pt x="2850095" y="1709342"/>
                    <a:pt x="2908483" y="1705747"/>
                  </a:cubicBezTo>
                  <a:cubicBezTo>
                    <a:pt x="3004236" y="1290700"/>
                    <a:pt x="3063580" y="787092"/>
                    <a:pt x="2909758" y="553355"/>
                  </a:cubicBezTo>
                  <a:cubicBezTo>
                    <a:pt x="2886684" y="555221"/>
                    <a:pt x="2862929" y="550670"/>
                    <a:pt x="2842540" y="539611"/>
                  </a:cubicBezTo>
                  <a:close/>
                </a:path>
              </a:pathLst>
            </a:custGeom>
            <a:solidFill>
              <a:schemeClr val="accent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2" name="Freeform: Shape 621">
              <a:extLst>
                <a:ext uri="{FF2B5EF4-FFF2-40B4-BE49-F238E27FC236}">
                  <a16:creationId xmlns:a16="http://schemas.microsoft.com/office/drawing/2014/main" id="{B1782AEE-3307-DE1C-EBE5-004CD06E9D92}"/>
                </a:ext>
              </a:extLst>
            </p:cNvPr>
            <p:cNvSpPr/>
            <p:nvPr/>
          </p:nvSpPr>
          <p:spPr>
            <a:xfrm>
              <a:off x="1023067" y="5946382"/>
              <a:ext cx="21787" cy="132126"/>
            </a:xfrm>
            <a:custGeom>
              <a:avLst/>
              <a:gdLst>
                <a:gd name="connsiteX0" fmla="*/ 158737 w 227621"/>
                <a:gd name="connsiteY0" fmla="*/ 336952 h 1380394"/>
                <a:gd name="connsiteX1" fmla="*/ 112955 w 227621"/>
                <a:gd name="connsiteY1" fmla="*/ 556764 h 1380394"/>
                <a:gd name="connsiteX2" fmla="*/ 64897 w 227621"/>
                <a:gd name="connsiteY2" fmla="*/ 839514 h 1380394"/>
                <a:gd name="connsiteX3" fmla="*/ 0 w 227621"/>
                <a:gd name="connsiteY3" fmla="*/ 1380395 h 1380394"/>
                <a:gd name="connsiteX4" fmla="*/ 163379 w 227621"/>
                <a:gd name="connsiteY4" fmla="*/ 0 h 1380394"/>
                <a:gd name="connsiteX5" fmla="*/ 158737 w 227621"/>
                <a:gd name="connsiteY5" fmla="*/ 336907 h 1380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7621" h="1380394">
                  <a:moveTo>
                    <a:pt x="158737" y="336952"/>
                  </a:moveTo>
                  <a:cubicBezTo>
                    <a:pt x="145676" y="410769"/>
                    <a:pt x="125925" y="482993"/>
                    <a:pt x="112955" y="556764"/>
                  </a:cubicBezTo>
                  <a:cubicBezTo>
                    <a:pt x="96389" y="650923"/>
                    <a:pt x="80006" y="745127"/>
                    <a:pt x="64897" y="839514"/>
                  </a:cubicBezTo>
                  <a:cubicBezTo>
                    <a:pt x="36043" y="1019459"/>
                    <a:pt x="12333" y="1197902"/>
                    <a:pt x="0" y="1380395"/>
                  </a:cubicBezTo>
                  <a:cubicBezTo>
                    <a:pt x="145904" y="950557"/>
                    <a:pt x="325939" y="287393"/>
                    <a:pt x="163379" y="0"/>
                  </a:cubicBezTo>
                  <a:cubicBezTo>
                    <a:pt x="189365" y="109223"/>
                    <a:pt x="178033" y="228003"/>
                    <a:pt x="158737" y="336907"/>
                  </a:cubicBezTo>
                  <a:close/>
                </a:path>
              </a:pathLst>
            </a:custGeom>
            <a:solidFill>
              <a:srgbClr val="932A2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3" name="Freeform: Shape 622">
              <a:extLst>
                <a:ext uri="{FF2B5EF4-FFF2-40B4-BE49-F238E27FC236}">
                  <a16:creationId xmlns:a16="http://schemas.microsoft.com/office/drawing/2014/main" id="{C1CC8C89-5AB4-014A-EBF6-CF0F8380F9DF}"/>
                </a:ext>
              </a:extLst>
            </p:cNvPr>
            <p:cNvSpPr/>
            <p:nvPr/>
          </p:nvSpPr>
          <p:spPr>
            <a:xfrm>
              <a:off x="703753" y="6030947"/>
              <a:ext cx="252698" cy="205125"/>
            </a:xfrm>
            <a:custGeom>
              <a:avLst/>
              <a:gdLst>
                <a:gd name="connsiteX0" fmla="*/ 1764610 w 2640076"/>
                <a:gd name="connsiteY0" fmla="*/ 19363 h 2143064"/>
                <a:gd name="connsiteX1" fmla="*/ 336111 w 2640076"/>
                <a:gd name="connsiteY1" fmla="*/ 19454 h 2143064"/>
                <a:gd name="connsiteX2" fmla="*/ 3027 w 2640076"/>
                <a:gd name="connsiteY2" fmla="*/ 375520 h 2143064"/>
                <a:gd name="connsiteX3" fmla="*/ 154801 w 2640076"/>
                <a:gd name="connsiteY3" fmla="*/ 2143064 h 2143064"/>
                <a:gd name="connsiteX4" fmla="*/ 2640076 w 2640076"/>
                <a:gd name="connsiteY4" fmla="*/ 2143064 h 2143064"/>
                <a:gd name="connsiteX5" fmla="*/ 2184571 w 2640076"/>
                <a:gd name="connsiteY5" fmla="*/ 387444 h 2143064"/>
                <a:gd name="connsiteX6" fmla="*/ 1764564 w 2640076"/>
                <a:gd name="connsiteY6" fmla="*/ 19363 h 2143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40076" h="2143064">
                  <a:moveTo>
                    <a:pt x="1764610" y="19363"/>
                  </a:moveTo>
                  <a:cubicBezTo>
                    <a:pt x="1500427" y="-15088"/>
                    <a:pt x="885593" y="3844"/>
                    <a:pt x="336111" y="19454"/>
                  </a:cubicBezTo>
                  <a:cubicBezTo>
                    <a:pt x="-54906" y="30558"/>
                    <a:pt x="3027" y="375520"/>
                    <a:pt x="3027" y="375520"/>
                  </a:cubicBezTo>
                  <a:cubicBezTo>
                    <a:pt x="3027" y="375520"/>
                    <a:pt x="99644" y="1648012"/>
                    <a:pt x="154801" y="2143064"/>
                  </a:cubicBezTo>
                  <a:lnTo>
                    <a:pt x="2640076" y="2143064"/>
                  </a:lnTo>
                  <a:cubicBezTo>
                    <a:pt x="2557613" y="1547117"/>
                    <a:pt x="2275773" y="657270"/>
                    <a:pt x="2184571" y="387444"/>
                  </a:cubicBezTo>
                  <a:cubicBezTo>
                    <a:pt x="2108753" y="163127"/>
                    <a:pt x="2028747" y="53859"/>
                    <a:pt x="1764564" y="19363"/>
                  </a:cubicBezTo>
                  <a:close/>
                </a:path>
              </a:pathLst>
            </a:custGeom>
            <a:solidFill>
              <a:srgbClr val="10161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4" name="Freeform: Shape 623">
              <a:extLst>
                <a:ext uri="{FF2B5EF4-FFF2-40B4-BE49-F238E27FC236}">
                  <a16:creationId xmlns:a16="http://schemas.microsoft.com/office/drawing/2014/main" id="{156A5910-74CF-4C8E-E6FD-13DAE27240F9}"/>
                </a:ext>
              </a:extLst>
            </p:cNvPr>
            <p:cNvSpPr/>
            <p:nvPr/>
          </p:nvSpPr>
          <p:spPr>
            <a:xfrm>
              <a:off x="1173231" y="6139569"/>
              <a:ext cx="65156" cy="70096"/>
            </a:xfrm>
            <a:custGeom>
              <a:avLst/>
              <a:gdLst>
                <a:gd name="connsiteX0" fmla="*/ 430974 w 680726"/>
                <a:gd name="connsiteY0" fmla="*/ 1593 h 732339"/>
                <a:gd name="connsiteX1" fmla="*/ 392245 w 680726"/>
                <a:gd name="connsiteY1" fmla="*/ 36363 h 732339"/>
                <a:gd name="connsiteX2" fmla="*/ 100074 w 680726"/>
                <a:gd name="connsiteY2" fmla="*/ 36363 h 732339"/>
                <a:gd name="connsiteX3" fmla="*/ 200514 w 680726"/>
                <a:gd name="connsiteY3" fmla="*/ 732340 h 732339"/>
                <a:gd name="connsiteX4" fmla="*/ 610554 w 680726"/>
                <a:gd name="connsiteY4" fmla="*/ 408175 h 732339"/>
                <a:gd name="connsiteX5" fmla="*/ 674859 w 680726"/>
                <a:gd name="connsiteY5" fmla="*/ 346646 h 732339"/>
                <a:gd name="connsiteX6" fmla="*/ 627348 w 680726"/>
                <a:gd name="connsiteY6" fmla="*/ 120828 h 732339"/>
                <a:gd name="connsiteX7" fmla="*/ 430974 w 680726"/>
                <a:gd name="connsiteY7" fmla="*/ 1548 h 732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0726" h="732339">
                  <a:moveTo>
                    <a:pt x="430974" y="1593"/>
                  </a:moveTo>
                  <a:lnTo>
                    <a:pt x="392245" y="36363"/>
                  </a:lnTo>
                  <a:cubicBezTo>
                    <a:pt x="392245" y="36363"/>
                    <a:pt x="120872" y="33632"/>
                    <a:pt x="100074" y="36363"/>
                  </a:cubicBezTo>
                  <a:cubicBezTo>
                    <a:pt x="-167931" y="71814"/>
                    <a:pt x="185541" y="686784"/>
                    <a:pt x="200514" y="732340"/>
                  </a:cubicBezTo>
                  <a:cubicBezTo>
                    <a:pt x="398571" y="672313"/>
                    <a:pt x="512982" y="510936"/>
                    <a:pt x="610554" y="408175"/>
                  </a:cubicBezTo>
                  <a:cubicBezTo>
                    <a:pt x="610554" y="408175"/>
                    <a:pt x="669353" y="352426"/>
                    <a:pt x="674859" y="346646"/>
                  </a:cubicBezTo>
                  <a:cubicBezTo>
                    <a:pt x="684416" y="301000"/>
                    <a:pt x="690060" y="231963"/>
                    <a:pt x="627348" y="120828"/>
                  </a:cubicBezTo>
                  <a:cubicBezTo>
                    <a:pt x="602363" y="76593"/>
                    <a:pt x="495780" y="-12833"/>
                    <a:pt x="430974" y="1548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5" name="Freeform: Shape 624">
              <a:extLst>
                <a:ext uri="{FF2B5EF4-FFF2-40B4-BE49-F238E27FC236}">
                  <a16:creationId xmlns:a16="http://schemas.microsoft.com/office/drawing/2014/main" id="{35C4935C-83AD-7812-B432-D30E73A5B981}"/>
                </a:ext>
              </a:extLst>
            </p:cNvPr>
            <p:cNvSpPr/>
            <p:nvPr/>
          </p:nvSpPr>
          <p:spPr>
            <a:xfrm>
              <a:off x="683597" y="6030947"/>
              <a:ext cx="252698" cy="205125"/>
            </a:xfrm>
            <a:custGeom>
              <a:avLst/>
              <a:gdLst>
                <a:gd name="connsiteX0" fmla="*/ 1764570 w 2640082"/>
                <a:gd name="connsiteY0" fmla="*/ 19363 h 2143064"/>
                <a:gd name="connsiteX1" fmla="*/ 336072 w 2640082"/>
                <a:gd name="connsiteY1" fmla="*/ 19454 h 2143064"/>
                <a:gd name="connsiteX2" fmla="*/ 3033 w 2640082"/>
                <a:gd name="connsiteY2" fmla="*/ 375520 h 2143064"/>
                <a:gd name="connsiteX3" fmla="*/ 154807 w 2640082"/>
                <a:gd name="connsiteY3" fmla="*/ 2143064 h 2143064"/>
                <a:gd name="connsiteX4" fmla="*/ 2640082 w 2640082"/>
                <a:gd name="connsiteY4" fmla="*/ 2143064 h 2143064"/>
                <a:gd name="connsiteX5" fmla="*/ 2184578 w 2640082"/>
                <a:gd name="connsiteY5" fmla="*/ 387444 h 2143064"/>
                <a:gd name="connsiteX6" fmla="*/ 1764570 w 2640082"/>
                <a:gd name="connsiteY6" fmla="*/ 19363 h 2143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40082" h="2143064">
                  <a:moveTo>
                    <a:pt x="1764570" y="19363"/>
                  </a:moveTo>
                  <a:cubicBezTo>
                    <a:pt x="1500387" y="-15088"/>
                    <a:pt x="885554" y="3844"/>
                    <a:pt x="336072" y="19454"/>
                  </a:cubicBezTo>
                  <a:cubicBezTo>
                    <a:pt x="-54946" y="30558"/>
                    <a:pt x="3033" y="375520"/>
                    <a:pt x="3033" y="375520"/>
                  </a:cubicBezTo>
                  <a:cubicBezTo>
                    <a:pt x="3033" y="375520"/>
                    <a:pt x="99650" y="1648012"/>
                    <a:pt x="154807" y="2143064"/>
                  </a:cubicBezTo>
                  <a:lnTo>
                    <a:pt x="2640082" y="2143064"/>
                  </a:lnTo>
                  <a:cubicBezTo>
                    <a:pt x="2557619" y="1547117"/>
                    <a:pt x="2275779" y="657270"/>
                    <a:pt x="2184578" y="387444"/>
                  </a:cubicBezTo>
                  <a:cubicBezTo>
                    <a:pt x="2108759" y="163127"/>
                    <a:pt x="2028753" y="53859"/>
                    <a:pt x="1764570" y="19363"/>
                  </a:cubicBezTo>
                  <a:close/>
                </a:path>
              </a:pathLst>
            </a:custGeom>
            <a:solidFill>
              <a:srgbClr val="18202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6" name="Freeform: Shape 625">
              <a:extLst>
                <a:ext uri="{FF2B5EF4-FFF2-40B4-BE49-F238E27FC236}">
                  <a16:creationId xmlns:a16="http://schemas.microsoft.com/office/drawing/2014/main" id="{D37F36C1-E5E2-5DD4-F918-C765DCBDB450}"/>
                </a:ext>
              </a:extLst>
            </p:cNvPr>
            <p:cNvSpPr/>
            <p:nvPr/>
          </p:nvSpPr>
          <p:spPr>
            <a:xfrm>
              <a:off x="986691" y="5935026"/>
              <a:ext cx="227492" cy="280496"/>
            </a:xfrm>
            <a:custGeom>
              <a:avLst/>
              <a:gdLst>
                <a:gd name="connsiteX0" fmla="*/ 2144762 w 2376740"/>
                <a:gd name="connsiteY0" fmla="*/ 2185003 h 2930504"/>
                <a:gd name="connsiteX1" fmla="*/ 1290412 w 2376740"/>
                <a:gd name="connsiteY1" fmla="*/ 1253696 h 2930504"/>
                <a:gd name="connsiteX2" fmla="*/ 1046436 w 2376740"/>
                <a:gd name="connsiteY2" fmla="*/ 715774 h 2930504"/>
                <a:gd name="connsiteX3" fmla="*/ 414035 w 2376740"/>
                <a:gd name="connsiteY3" fmla="*/ 0 h 2930504"/>
                <a:gd name="connsiteX4" fmla="*/ 4905 w 2376740"/>
                <a:gd name="connsiteY4" fmla="*/ 527319 h 2930504"/>
                <a:gd name="connsiteX5" fmla="*/ 282695 w 2376740"/>
                <a:gd name="connsiteY5" fmla="*/ 1556926 h 2930504"/>
                <a:gd name="connsiteX6" fmla="*/ 1571024 w 2376740"/>
                <a:gd name="connsiteY6" fmla="*/ 2823137 h 2930504"/>
                <a:gd name="connsiteX7" fmla="*/ 2227134 w 2376740"/>
                <a:gd name="connsiteY7" fmla="*/ 2834196 h 2930504"/>
                <a:gd name="connsiteX8" fmla="*/ 2370899 w 2376740"/>
                <a:gd name="connsiteY8" fmla="*/ 2605602 h 2930504"/>
                <a:gd name="connsiteX9" fmla="*/ 2144762 w 2376740"/>
                <a:gd name="connsiteY9" fmla="*/ 2184912 h 2930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6740" h="2930504">
                  <a:moveTo>
                    <a:pt x="2144762" y="2185003"/>
                  </a:moveTo>
                  <a:cubicBezTo>
                    <a:pt x="1961769" y="2095531"/>
                    <a:pt x="1474999" y="1548780"/>
                    <a:pt x="1290412" y="1253696"/>
                  </a:cubicBezTo>
                  <a:cubicBezTo>
                    <a:pt x="1180234" y="1077575"/>
                    <a:pt x="1112698" y="858173"/>
                    <a:pt x="1046436" y="715774"/>
                  </a:cubicBezTo>
                  <a:cubicBezTo>
                    <a:pt x="794268" y="173664"/>
                    <a:pt x="414035" y="0"/>
                    <a:pt x="414035" y="0"/>
                  </a:cubicBezTo>
                  <a:cubicBezTo>
                    <a:pt x="199686" y="31538"/>
                    <a:pt x="23837" y="281477"/>
                    <a:pt x="4905" y="527319"/>
                  </a:cubicBezTo>
                  <a:cubicBezTo>
                    <a:pt x="-14027" y="773161"/>
                    <a:pt x="10639" y="1257474"/>
                    <a:pt x="282695" y="1556926"/>
                  </a:cubicBezTo>
                  <a:cubicBezTo>
                    <a:pt x="727778" y="2046882"/>
                    <a:pt x="1185649" y="2623214"/>
                    <a:pt x="1571024" y="2823137"/>
                  </a:cubicBezTo>
                  <a:cubicBezTo>
                    <a:pt x="1789697" y="2936547"/>
                    <a:pt x="1906929" y="2988701"/>
                    <a:pt x="2227134" y="2834196"/>
                  </a:cubicBezTo>
                  <a:cubicBezTo>
                    <a:pt x="2290529" y="2803614"/>
                    <a:pt x="2372947" y="2630951"/>
                    <a:pt x="2370899" y="2605602"/>
                  </a:cubicBezTo>
                  <a:cubicBezTo>
                    <a:pt x="2394564" y="2480087"/>
                    <a:pt x="2351558" y="2286080"/>
                    <a:pt x="2144762" y="2184912"/>
                  </a:cubicBezTo>
                  <a:close/>
                </a:path>
              </a:pathLst>
            </a:custGeom>
            <a:solidFill>
              <a:schemeClr val="accent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27" name="Graphic 4">
              <a:extLst>
                <a:ext uri="{FF2B5EF4-FFF2-40B4-BE49-F238E27FC236}">
                  <a16:creationId xmlns:a16="http://schemas.microsoft.com/office/drawing/2014/main" id="{88D9F1F7-A691-3E5C-73DD-6866F363ADE2}"/>
                </a:ext>
              </a:extLst>
            </p:cNvPr>
            <p:cNvGrpSpPr/>
            <p:nvPr/>
          </p:nvGrpSpPr>
          <p:grpSpPr>
            <a:xfrm>
              <a:off x="1355829" y="5704806"/>
              <a:ext cx="208855" cy="140289"/>
              <a:chOff x="20753730" y="990144"/>
              <a:chExt cx="2182034" cy="1465679"/>
            </a:xfrm>
          </p:grpSpPr>
          <p:sp>
            <p:nvSpPr>
              <p:cNvPr id="707" name="Freeform: Shape 706">
                <a:extLst>
                  <a:ext uri="{FF2B5EF4-FFF2-40B4-BE49-F238E27FC236}">
                    <a16:creationId xmlns:a16="http://schemas.microsoft.com/office/drawing/2014/main" id="{1B14BA95-1C50-8CBD-A4B2-E1EE09342708}"/>
                  </a:ext>
                </a:extLst>
              </p:cNvPr>
              <p:cNvSpPr/>
              <p:nvPr/>
            </p:nvSpPr>
            <p:spPr>
              <a:xfrm>
                <a:off x="20753730" y="990144"/>
                <a:ext cx="2181987" cy="1465679"/>
              </a:xfrm>
              <a:custGeom>
                <a:avLst/>
                <a:gdLst>
                  <a:gd name="connsiteX0" fmla="*/ 2140944 w 2181987"/>
                  <a:gd name="connsiteY0" fmla="*/ 0 h 1465679"/>
                  <a:gd name="connsiteX1" fmla="*/ 159641 w 2181987"/>
                  <a:gd name="connsiteY1" fmla="*/ 0 h 1465679"/>
                  <a:gd name="connsiteX2" fmla="*/ 111947 w 2181987"/>
                  <a:gd name="connsiteY2" fmla="*/ 41823 h 1465679"/>
                  <a:gd name="connsiteX3" fmla="*/ 131 w 2181987"/>
                  <a:gd name="connsiteY3" fmla="*/ 1423856 h 1465679"/>
                  <a:gd name="connsiteX4" fmla="*/ 41044 w 2181987"/>
                  <a:gd name="connsiteY4" fmla="*/ 1465680 h 1465679"/>
                  <a:gd name="connsiteX5" fmla="*/ 2022346 w 2181987"/>
                  <a:gd name="connsiteY5" fmla="*/ 1465680 h 1465679"/>
                  <a:gd name="connsiteX6" fmla="*/ 2070040 w 2181987"/>
                  <a:gd name="connsiteY6" fmla="*/ 1423856 h 1465679"/>
                  <a:gd name="connsiteX7" fmla="*/ 2181857 w 2181987"/>
                  <a:gd name="connsiteY7" fmla="*/ 41823 h 1465679"/>
                  <a:gd name="connsiteX8" fmla="*/ 2140899 w 2181987"/>
                  <a:gd name="connsiteY8" fmla="*/ 0 h 1465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81987" h="1465679">
                    <a:moveTo>
                      <a:pt x="2140944" y="0"/>
                    </a:moveTo>
                    <a:lnTo>
                      <a:pt x="159641" y="0"/>
                    </a:lnTo>
                    <a:cubicBezTo>
                      <a:pt x="135157" y="0"/>
                      <a:pt x="113813" y="18704"/>
                      <a:pt x="111947" y="41823"/>
                    </a:cubicBezTo>
                    <a:cubicBezTo>
                      <a:pt x="74675" y="502516"/>
                      <a:pt x="37403" y="963163"/>
                      <a:pt x="131" y="1423856"/>
                    </a:cubicBezTo>
                    <a:cubicBezTo>
                      <a:pt x="-1735" y="1446975"/>
                      <a:pt x="16605" y="1465680"/>
                      <a:pt x="41044" y="1465680"/>
                    </a:cubicBezTo>
                    <a:lnTo>
                      <a:pt x="2022346" y="1465680"/>
                    </a:lnTo>
                    <a:cubicBezTo>
                      <a:pt x="2046830" y="1465680"/>
                      <a:pt x="2068174" y="1446975"/>
                      <a:pt x="2070040" y="1423856"/>
                    </a:cubicBezTo>
                    <a:cubicBezTo>
                      <a:pt x="2107313" y="963163"/>
                      <a:pt x="2144585" y="502516"/>
                      <a:pt x="2181857" y="41823"/>
                    </a:cubicBezTo>
                    <a:cubicBezTo>
                      <a:pt x="2183723" y="18750"/>
                      <a:pt x="2165383" y="0"/>
                      <a:pt x="2140899" y="0"/>
                    </a:cubicBezTo>
                    <a:close/>
                  </a:path>
                </a:pathLst>
              </a:custGeom>
              <a:solidFill>
                <a:srgbClr val="DFEEE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8" name="Freeform: Shape 707">
                <a:extLst>
                  <a:ext uri="{FF2B5EF4-FFF2-40B4-BE49-F238E27FC236}">
                    <a16:creationId xmlns:a16="http://schemas.microsoft.com/office/drawing/2014/main" id="{ADB44632-12F3-5002-A40A-C37EFBBDB1D1}"/>
                  </a:ext>
                </a:extLst>
              </p:cNvPr>
              <p:cNvSpPr/>
              <p:nvPr/>
            </p:nvSpPr>
            <p:spPr>
              <a:xfrm>
                <a:off x="20858169" y="990144"/>
                <a:ext cx="2077595" cy="134344"/>
              </a:xfrm>
              <a:custGeom>
                <a:avLst/>
                <a:gdLst>
                  <a:gd name="connsiteX0" fmla="*/ 2036506 w 2077595"/>
                  <a:gd name="connsiteY0" fmla="*/ 0 h 134344"/>
                  <a:gd name="connsiteX1" fmla="*/ 55203 w 2077595"/>
                  <a:gd name="connsiteY1" fmla="*/ 0 h 134344"/>
                  <a:gd name="connsiteX2" fmla="*/ 7509 w 2077595"/>
                  <a:gd name="connsiteY2" fmla="*/ 41823 h 134344"/>
                  <a:gd name="connsiteX3" fmla="*/ 0 w 2077595"/>
                  <a:gd name="connsiteY3" fmla="*/ 134344 h 134344"/>
                  <a:gd name="connsiteX4" fmla="*/ 2069955 w 2077595"/>
                  <a:gd name="connsiteY4" fmla="*/ 134344 h 134344"/>
                  <a:gd name="connsiteX5" fmla="*/ 2077465 w 2077595"/>
                  <a:gd name="connsiteY5" fmla="*/ 41823 h 134344"/>
                  <a:gd name="connsiteX6" fmla="*/ 2036506 w 2077595"/>
                  <a:gd name="connsiteY6" fmla="*/ 0 h 134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77595" h="134344">
                    <a:moveTo>
                      <a:pt x="2036506" y="0"/>
                    </a:moveTo>
                    <a:lnTo>
                      <a:pt x="55203" y="0"/>
                    </a:lnTo>
                    <a:cubicBezTo>
                      <a:pt x="30719" y="0"/>
                      <a:pt x="9375" y="18704"/>
                      <a:pt x="7509" y="41823"/>
                    </a:cubicBezTo>
                    <a:cubicBezTo>
                      <a:pt x="5006" y="72679"/>
                      <a:pt x="2503" y="103489"/>
                      <a:pt x="0" y="134344"/>
                    </a:cubicBezTo>
                    <a:lnTo>
                      <a:pt x="2069955" y="134344"/>
                    </a:lnTo>
                    <a:cubicBezTo>
                      <a:pt x="2072458" y="103489"/>
                      <a:pt x="2074961" y="72679"/>
                      <a:pt x="2077465" y="41823"/>
                    </a:cubicBezTo>
                    <a:cubicBezTo>
                      <a:pt x="2079330" y="18750"/>
                      <a:pt x="2060990" y="0"/>
                      <a:pt x="2036506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709" name="Graphic 4">
                <a:extLst>
                  <a:ext uri="{FF2B5EF4-FFF2-40B4-BE49-F238E27FC236}">
                    <a16:creationId xmlns:a16="http://schemas.microsoft.com/office/drawing/2014/main" id="{B45DC2EC-CB45-1EA1-A59A-E47B87723EB1}"/>
                  </a:ext>
                </a:extLst>
              </p:cNvPr>
              <p:cNvGrpSpPr/>
              <p:nvPr/>
            </p:nvGrpSpPr>
            <p:grpSpPr>
              <a:xfrm>
                <a:off x="21100097" y="1206091"/>
                <a:ext cx="1370564" cy="1249732"/>
                <a:chOff x="21100097" y="1206091"/>
                <a:chExt cx="1370564" cy="1249732"/>
              </a:xfrm>
            </p:grpSpPr>
            <p:sp>
              <p:nvSpPr>
                <p:cNvPr id="716" name="Freeform: Shape 715">
                  <a:extLst>
                    <a:ext uri="{FF2B5EF4-FFF2-40B4-BE49-F238E27FC236}">
                      <a16:creationId xmlns:a16="http://schemas.microsoft.com/office/drawing/2014/main" id="{2514604B-8581-31D2-67D4-A6B08BFA9254}"/>
                    </a:ext>
                  </a:extLst>
                </p:cNvPr>
                <p:cNvSpPr/>
                <p:nvPr/>
              </p:nvSpPr>
              <p:spPr>
                <a:xfrm>
                  <a:off x="21386098" y="1206091"/>
                  <a:ext cx="905089" cy="846509"/>
                </a:xfrm>
                <a:custGeom>
                  <a:avLst/>
                  <a:gdLst>
                    <a:gd name="connsiteX0" fmla="*/ 876540 w 905089"/>
                    <a:gd name="connsiteY0" fmla="*/ 445579 h 846509"/>
                    <a:gd name="connsiteX1" fmla="*/ 684763 w 905089"/>
                    <a:gd name="connsiteY1" fmla="*/ 53878 h 846509"/>
                    <a:gd name="connsiteX2" fmla="*/ 388268 w 905089"/>
                    <a:gd name="connsiteY2" fmla="*/ 5593 h 846509"/>
                    <a:gd name="connsiteX3" fmla="*/ 124358 w 905089"/>
                    <a:gd name="connsiteY3" fmla="*/ 312008 h 846509"/>
                    <a:gd name="connsiteX4" fmla="*/ 67563 w 905089"/>
                    <a:gd name="connsiteY4" fmla="*/ 397703 h 846509"/>
                    <a:gd name="connsiteX5" fmla="*/ 9219 w 905089"/>
                    <a:gd name="connsiteY5" fmla="*/ 602678 h 846509"/>
                    <a:gd name="connsiteX6" fmla="*/ 322234 w 905089"/>
                    <a:gd name="connsiteY6" fmla="*/ 823581 h 846509"/>
                    <a:gd name="connsiteX7" fmla="*/ 578589 w 905089"/>
                    <a:gd name="connsiteY7" fmla="*/ 846108 h 846509"/>
                    <a:gd name="connsiteX8" fmla="*/ 819152 w 905089"/>
                    <a:gd name="connsiteY8" fmla="*/ 761005 h 846509"/>
                    <a:gd name="connsiteX9" fmla="*/ 885323 w 905089"/>
                    <a:gd name="connsiteY9" fmla="*/ 470882 h 846509"/>
                    <a:gd name="connsiteX10" fmla="*/ 876494 w 905089"/>
                    <a:gd name="connsiteY10" fmla="*/ 445579 h 8465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905089" h="846509">
                      <a:moveTo>
                        <a:pt x="876540" y="445579"/>
                      </a:moveTo>
                      <a:cubicBezTo>
                        <a:pt x="851510" y="311826"/>
                        <a:pt x="796079" y="100753"/>
                        <a:pt x="684763" y="53878"/>
                      </a:cubicBezTo>
                      <a:cubicBezTo>
                        <a:pt x="632882" y="32034"/>
                        <a:pt x="479105" y="-16388"/>
                        <a:pt x="388268" y="5593"/>
                      </a:cubicBezTo>
                      <a:cubicBezTo>
                        <a:pt x="245459" y="40135"/>
                        <a:pt x="172872" y="189497"/>
                        <a:pt x="124358" y="312008"/>
                      </a:cubicBezTo>
                      <a:cubicBezTo>
                        <a:pt x="111934" y="343410"/>
                        <a:pt x="93912" y="373628"/>
                        <a:pt x="67563" y="397703"/>
                      </a:cubicBezTo>
                      <a:cubicBezTo>
                        <a:pt x="12815" y="447763"/>
                        <a:pt x="-15993" y="529635"/>
                        <a:pt x="9219" y="602678"/>
                      </a:cubicBezTo>
                      <a:cubicBezTo>
                        <a:pt x="56822" y="740617"/>
                        <a:pt x="189118" y="801827"/>
                        <a:pt x="322234" y="823581"/>
                      </a:cubicBezTo>
                      <a:cubicBezTo>
                        <a:pt x="408474" y="837643"/>
                        <a:pt x="494169" y="842285"/>
                        <a:pt x="578589" y="846108"/>
                      </a:cubicBezTo>
                      <a:cubicBezTo>
                        <a:pt x="667105" y="850113"/>
                        <a:pt x="751980" y="824355"/>
                        <a:pt x="819152" y="761005"/>
                      </a:cubicBezTo>
                      <a:cubicBezTo>
                        <a:pt x="895699" y="688873"/>
                        <a:pt x="929740" y="569911"/>
                        <a:pt x="885323" y="470882"/>
                      </a:cubicBezTo>
                      <a:cubicBezTo>
                        <a:pt x="881727" y="462873"/>
                        <a:pt x="878041" y="453862"/>
                        <a:pt x="876494" y="445579"/>
                      </a:cubicBezTo>
                      <a:close/>
                    </a:path>
                  </a:pathLst>
                </a:custGeom>
                <a:solidFill>
                  <a:srgbClr val="24292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17" name="Freeform: Shape 716">
                  <a:extLst>
                    <a:ext uri="{FF2B5EF4-FFF2-40B4-BE49-F238E27FC236}">
                      <a16:creationId xmlns:a16="http://schemas.microsoft.com/office/drawing/2014/main" id="{5EA356CE-7D6A-E473-A713-F8F64D82F649}"/>
                    </a:ext>
                  </a:extLst>
                </p:cNvPr>
                <p:cNvSpPr/>
                <p:nvPr/>
              </p:nvSpPr>
              <p:spPr>
                <a:xfrm>
                  <a:off x="21715887" y="1747741"/>
                  <a:ext cx="244203" cy="180900"/>
                </a:xfrm>
                <a:custGeom>
                  <a:avLst/>
                  <a:gdLst>
                    <a:gd name="connsiteX0" fmla="*/ 46 w 244203"/>
                    <a:gd name="connsiteY0" fmla="*/ 51790 h 180900"/>
                    <a:gd name="connsiteX1" fmla="*/ 2048 w 244203"/>
                    <a:gd name="connsiteY1" fmla="*/ 119553 h 180900"/>
                    <a:gd name="connsiteX2" fmla="*/ 65352 w 244203"/>
                    <a:gd name="connsiteY2" fmla="*/ 177624 h 180900"/>
                    <a:gd name="connsiteX3" fmla="*/ 229004 w 244203"/>
                    <a:gd name="connsiteY3" fmla="*/ 136574 h 180900"/>
                    <a:gd name="connsiteX4" fmla="*/ 244204 w 244203"/>
                    <a:gd name="connsiteY4" fmla="*/ 51744 h 180900"/>
                    <a:gd name="connsiteX5" fmla="*/ 126289 w 244203"/>
                    <a:gd name="connsiteY5" fmla="*/ 0 h 180900"/>
                    <a:gd name="connsiteX6" fmla="*/ 0 w 244203"/>
                    <a:gd name="connsiteY6" fmla="*/ 51744 h 180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44203" h="180900">
                      <a:moveTo>
                        <a:pt x="46" y="51790"/>
                      </a:moveTo>
                      <a:cubicBezTo>
                        <a:pt x="46" y="51790"/>
                        <a:pt x="2548" y="85012"/>
                        <a:pt x="2048" y="119553"/>
                      </a:cubicBezTo>
                      <a:cubicBezTo>
                        <a:pt x="15701" y="146586"/>
                        <a:pt x="38819" y="169842"/>
                        <a:pt x="65352" y="177624"/>
                      </a:cubicBezTo>
                      <a:cubicBezTo>
                        <a:pt x="111726" y="191185"/>
                        <a:pt x="185315" y="159738"/>
                        <a:pt x="229004" y="136574"/>
                      </a:cubicBezTo>
                      <a:cubicBezTo>
                        <a:pt x="233509" y="96844"/>
                        <a:pt x="244204" y="51744"/>
                        <a:pt x="244204" y="51744"/>
                      </a:cubicBezTo>
                      <a:cubicBezTo>
                        <a:pt x="204884" y="34496"/>
                        <a:pt x="165609" y="17248"/>
                        <a:pt x="126289" y="0"/>
                      </a:cubicBezTo>
                      <a:cubicBezTo>
                        <a:pt x="84193" y="17248"/>
                        <a:pt x="42096" y="34496"/>
                        <a:pt x="0" y="51744"/>
                      </a:cubicBezTo>
                      <a:close/>
                    </a:path>
                  </a:pathLst>
                </a:custGeom>
                <a:solidFill>
                  <a:srgbClr val="7B3F2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grpSp>
              <p:nvGrpSpPr>
                <p:cNvPr id="718" name="Graphic 4">
                  <a:extLst>
                    <a:ext uri="{FF2B5EF4-FFF2-40B4-BE49-F238E27FC236}">
                      <a16:creationId xmlns:a16="http://schemas.microsoft.com/office/drawing/2014/main" id="{703DC0A2-5B14-CDD0-2BA0-27D8F43BBF8E}"/>
                    </a:ext>
                  </a:extLst>
                </p:cNvPr>
                <p:cNvGrpSpPr/>
                <p:nvPr/>
              </p:nvGrpSpPr>
              <p:grpSpPr>
                <a:xfrm>
                  <a:off x="21100097" y="1738684"/>
                  <a:ext cx="1370564" cy="717139"/>
                  <a:chOff x="21100097" y="1738684"/>
                  <a:chExt cx="1370564" cy="717139"/>
                </a:xfrm>
              </p:grpSpPr>
              <p:sp>
                <p:nvSpPr>
                  <p:cNvPr id="724" name="Freeform: Shape 723">
                    <a:extLst>
                      <a:ext uri="{FF2B5EF4-FFF2-40B4-BE49-F238E27FC236}">
                        <a16:creationId xmlns:a16="http://schemas.microsoft.com/office/drawing/2014/main" id="{08FE4E3F-F580-4781-CE90-4BB4E45FA515}"/>
                      </a:ext>
                    </a:extLst>
                  </p:cNvPr>
                  <p:cNvSpPr/>
                  <p:nvPr/>
                </p:nvSpPr>
                <p:spPr>
                  <a:xfrm>
                    <a:off x="21590371" y="1738730"/>
                    <a:ext cx="474209" cy="328750"/>
                  </a:xfrm>
                  <a:custGeom>
                    <a:avLst/>
                    <a:gdLst>
                      <a:gd name="connsiteX0" fmla="*/ 382189 w 474209"/>
                      <a:gd name="connsiteY0" fmla="*/ 177897 h 328750"/>
                      <a:gd name="connsiteX1" fmla="*/ 370493 w 474209"/>
                      <a:gd name="connsiteY1" fmla="*/ 51744 h 328750"/>
                      <a:gd name="connsiteX2" fmla="*/ 252578 w 474209"/>
                      <a:gd name="connsiteY2" fmla="*/ 0 h 328750"/>
                      <a:gd name="connsiteX3" fmla="*/ 126289 w 474209"/>
                      <a:gd name="connsiteY3" fmla="*/ 51744 h 328750"/>
                      <a:gd name="connsiteX4" fmla="*/ 99666 w 474209"/>
                      <a:gd name="connsiteY4" fmla="*/ 177897 h 328750"/>
                      <a:gd name="connsiteX5" fmla="*/ 0 w 474209"/>
                      <a:gd name="connsiteY5" fmla="*/ 225045 h 328750"/>
                      <a:gd name="connsiteX6" fmla="*/ 239471 w 474209"/>
                      <a:gd name="connsiteY6" fmla="*/ 328670 h 328750"/>
                      <a:gd name="connsiteX7" fmla="*/ 474210 w 474209"/>
                      <a:gd name="connsiteY7" fmla="*/ 218491 h 328750"/>
                      <a:gd name="connsiteX8" fmla="*/ 382189 w 474209"/>
                      <a:gd name="connsiteY8" fmla="*/ 177897 h 3287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74209" h="328750">
                        <a:moveTo>
                          <a:pt x="382189" y="177897"/>
                        </a:moveTo>
                        <a:cubicBezTo>
                          <a:pt x="361391" y="152730"/>
                          <a:pt x="368491" y="91565"/>
                          <a:pt x="370493" y="51744"/>
                        </a:cubicBezTo>
                        <a:cubicBezTo>
                          <a:pt x="331173" y="34496"/>
                          <a:pt x="291898" y="17248"/>
                          <a:pt x="252578" y="0"/>
                        </a:cubicBezTo>
                        <a:cubicBezTo>
                          <a:pt x="210482" y="17248"/>
                          <a:pt x="168385" y="34496"/>
                          <a:pt x="126289" y="51744"/>
                        </a:cubicBezTo>
                        <a:cubicBezTo>
                          <a:pt x="123786" y="92430"/>
                          <a:pt x="123786" y="152093"/>
                          <a:pt x="99666" y="177897"/>
                        </a:cubicBezTo>
                        <a:cubicBezTo>
                          <a:pt x="78777" y="200196"/>
                          <a:pt x="33768" y="212757"/>
                          <a:pt x="0" y="225045"/>
                        </a:cubicBezTo>
                        <a:cubicBezTo>
                          <a:pt x="45282" y="308236"/>
                          <a:pt x="156280" y="326895"/>
                          <a:pt x="239471" y="328670"/>
                        </a:cubicBezTo>
                        <a:cubicBezTo>
                          <a:pt x="322754" y="330445"/>
                          <a:pt x="434343" y="303366"/>
                          <a:pt x="474210" y="218491"/>
                        </a:cubicBezTo>
                        <a:cubicBezTo>
                          <a:pt x="442535" y="209116"/>
                          <a:pt x="399119" y="198331"/>
                          <a:pt x="382189" y="177897"/>
                        </a:cubicBezTo>
                        <a:close/>
                      </a:path>
                    </a:pathLst>
                  </a:custGeom>
                  <a:solidFill>
                    <a:srgbClr val="894835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51C2C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25" name="Freeform: Shape 724">
                    <a:extLst>
                      <a:ext uri="{FF2B5EF4-FFF2-40B4-BE49-F238E27FC236}">
                        <a16:creationId xmlns:a16="http://schemas.microsoft.com/office/drawing/2014/main" id="{F08BFF8E-8D06-7887-42DB-698E729B760A}"/>
                      </a:ext>
                    </a:extLst>
                  </p:cNvPr>
                  <p:cNvSpPr/>
                  <p:nvPr/>
                </p:nvSpPr>
                <p:spPr>
                  <a:xfrm>
                    <a:off x="21100097" y="1933864"/>
                    <a:ext cx="1370564" cy="521959"/>
                  </a:xfrm>
                  <a:custGeom>
                    <a:avLst/>
                    <a:gdLst>
                      <a:gd name="connsiteX0" fmla="*/ 1228120 w 1370564"/>
                      <a:gd name="connsiteY0" fmla="*/ 140135 h 521959"/>
                      <a:gd name="connsiteX1" fmla="*/ 905548 w 1370564"/>
                      <a:gd name="connsiteY1" fmla="*/ 5609 h 521959"/>
                      <a:gd name="connsiteX2" fmla="*/ 724056 w 1370564"/>
                      <a:gd name="connsiteY2" fmla="*/ 12162 h 521959"/>
                      <a:gd name="connsiteX3" fmla="*/ 554579 w 1370564"/>
                      <a:gd name="connsiteY3" fmla="*/ 21127 h 521959"/>
                      <a:gd name="connsiteX4" fmla="*/ 179990 w 1370564"/>
                      <a:gd name="connsiteY4" fmla="*/ 141727 h 521959"/>
                      <a:gd name="connsiteX5" fmla="*/ 0 w 1370564"/>
                      <a:gd name="connsiteY5" fmla="*/ 521960 h 521959"/>
                      <a:gd name="connsiteX6" fmla="*/ 1370565 w 1370564"/>
                      <a:gd name="connsiteY6" fmla="*/ 521960 h 521959"/>
                      <a:gd name="connsiteX7" fmla="*/ 1228120 w 1370564"/>
                      <a:gd name="connsiteY7" fmla="*/ 140089 h 5219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70564" h="521959">
                        <a:moveTo>
                          <a:pt x="1228120" y="140135"/>
                        </a:moveTo>
                        <a:cubicBezTo>
                          <a:pt x="1155896" y="64953"/>
                          <a:pt x="999708" y="30047"/>
                          <a:pt x="905548" y="5609"/>
                        </a:cubicBezTo>
                        <a:cubicBezTo>
                          <a:pt x="848389" y="-9228"/>
                          <a:pt x="783674" y="9795"/>
                          <a:pt x="724056" y="12162"/>
                        </a:cubicBezTo>
                        <a:cubicBezTo>
                          <a:pt x="667579" y="11206"/>
                          <a:pt x="610283" y="15530"/>
                          <a:pt x="554579" y="21127"/>
                        </a:cubicBezTo>
                        <a:cubicBezTo>
                          <a:pt x="429883" y="33733"/>
                          <a:pt x="278564" y="53576"/>
                          <a:pt x="179990" y="141727"/>
                        </a:cubicBezTo>
                        <a:cubicBezTo>
                          <a:pt x="83692" y="223190"/>
                          <a:pt x="11377" y="398674"/>
                          <a:pt x="0" y="521960"/>
                        </a:cubicBezTo>
                        <a:lnTo>
                          <a:pt x="1370565" y="521960"/>
                        </a:lnTo>
                        <a:cubicBezTo>
                          <a:pt x="1355547" y="394396"/>
                          <a:pt x="1330289" y="231609"/>
                          <a:pt x="1228120" y="140089"/>
                        </a:cubicBezTo>
                        <a:close/>
                      </a:path>
                    </a:pathLst>
                  </a:custGeom>
                  <a:solidFill>
                    <a:schemeClr val="tx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51C2C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26" name="Freeform: Shape 725">
                    <a:extLst>
                      <a:ext uri="{FF2B5EF4-FFF2-40B4-BE49-F238E27FC236}">
                        <a16:creationId xmlns:a16="http://schemas.microsoft.com/office/drawing/2014/main" id="{6375838F-C7C0-53F1-D518-D18FE39847D7}"/>
                      </a:ext>
                    </a:extLst>
                  </p:cNvPr>
                  <p:cNvSpPr/>
                  <p:nvPr/>
                </p:nvSpPr>
                <p:spPr>
                  <a:xfrm>
                    <a:off x="21590371" y="1738730"/>
                    <a:ext cx="474209" cy="328750"/>
                  </a:xfrm>
                  <a:custGeom>
                    <a:avLst/>
                    <a:gdLst>
                      <a:gd name="connsiteX0" fmla="*/ 382189 w 474209"/>
                      <a:gd name="connsiteY0" fmla="*/ 177897 h 328750"/>
                      <a:gd name="connsiteX1" fmla="*/ 370493 w 474209"/>
                      <a:gd name="connsiteY1" fmla="*/ 51744 h 328750"/>
                      <a:gd name="connsiteX2" fmla="*/ 252578 w 474209"/>
                      <a:gd name="connsiteY2" fmla="*/ 0 h 328750"/>
                      <a:gd name="connsiteX3" fmla="*/ 126289 w 474209"/>
                      <a:gd name="connsiteY3" fmla="*/ 51744 h 328750"/>
                      <a:gd name="connsiteX4" fmla="*/ 99666 w 474209"/>
                      <a:gd name="connsiteY4" fmla="*/ 177897 h 328750"/>
                      <a:gd name="connsiteX5" fmla="*/ 0 w 474209"/>
                      <a:gd name="connsiteY5" fmla="*/ 225045 h 328750"/>
                      <a:gd name="connsiteX6" fmla="*/ 239471 w 474209"/>
                      <a:gd name="connsiteY6" fmla="*/ 328670 h 328750"/>
                      <a:gd name="connsiteX7" fmla="*/ 474210 w 474209"/>
                      <a:gd name="connsiteY7" fmla="*/ 218491 h 328750"/>
                      <a:gd name="connsiteX8" fmla="*/ 382189 w 474209"/>
                      <a:gd name="connsiteY8" fmla="*/ 177897 h 3287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74209" h="328750">
                        <a:moveTo>
                          <a:pt x="382189" y="177897"/>
                        </a:moveTo>
                        <a:cubicBezTo>
                          <a:pt x="361391" y="152730"/>
                          <a:pt x="368491" y="91565"/>
                          <a:pt x="370493" y="51744"/>
                        </a:cubicBezTo>
                        <a:cubicBezTo>
                          <a:pt x="331173" y="34496"/>
                          <a:pt x="291898" y="17248"/>
                          <a:pt x="252578" y="0"/>
                        </a:cubicBezTo>
                        <a:cubicBezTo>
                          <a:pt x="210482" y="17248"/>
                          <a:pt x="168385" y="34496"/>
                          <a:pt x="126289" y="51744"/>
                        </a:cubicBezTo>
                        <a:cubicBezTo>
                          <a:pt x="123786" y="92430"/>
                          <a:pt x="123786" y="152093"/>
                          <a:pt x="99666" y="177897"/>
                        </a:cubicBezTo>
                        <a:cubicBezTo>
                          <a:pt x="78777" y="200196"/>
                          <a:pt x="33768" y="212757"/>
                          <a:pt x="0" y="225045"/>
                        </a:cubicBezTo>
                        <a:cubicBezTo>
                          <a:pt x="45282" y="308236"/>
                          <a:pt x="156280" y="326895"/>
                          <a:pt x="239471" y="328670"/>
                        </a:cubicBezTo>
                        <a:cubicBezTo>
                          <a:pt x="322754" y="330445"/>
                          <a:pt x="434343" y="303366"/>
                          <a:pt x="474210" y="218491"/>
                        </a:cubicBezTo>
                        <a:cubicBezTo>
                          <a:pt x="442535" y="209116"/>
                          <a:pt x="399119" y="198331"/>
                          <a:pt x="382189" y="177897"/>
                        </a:cubicBezTo>
                        <a:close/>
                      </a:path>
                    </a:pathLst>
                  </a:custGeom>
                  <a:solidFill>
                    <a:srgbClr val="894835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51C2C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27" name="Freeform: Shape 726">
                    <a:extLst>
                      <a:ext uri="{FF2B5EF4-FFF2-40B4-BE49-F238E27FC236}">
                        <a16:creationId xmlns:a16="http://schemas.microsoft.com/office/drawing/2014/main" id="{D9CC877F-4B75-A5E5-4F8D-8C1A9103B508}"/>
                      </a:ext>
                    </a:extLst>
                  </p:cNvPr>
                  <p:cNvSpPr/>
                  <p:nvPr/>
                </p:nvSpPr>
                <p:spPr>
                  <a:xfrm>
                    <a:off x="21712291" y="1738684"/>
                    <a:ext cx="248618" cy="187763"/>
                  </a:xfrm>
                  <a:custGeom>
                    <a:avLst/>
                    <a:gdLst>
                      <a:gd name="connsiteX0" fmla="*/ 130658 w 248618"/>
                      <a:gd name="connsiteY0" fmla="*/ 0 h 187763"/>
                      <a:gd name="connsiteX1" fmla="*/ 4369 w 248618"/>
                      <a:gd name="connsiteY1" fmla="*/ 51744 h 187763"/>
                      <a:gd name="connsiteX2" fmla="*/ 0 w 248618"/>
                      <a:gd name="connsiteY2" fmla="*/ 98938 h 187763"/>
                      <a:gd name="connsiteX3" fmla="*/ 67127 w 248618"/>
                      <a:gd name="connsiteY3" fmla="*/ 179126 h 187763"/>
                      <a:gd name="connsiteX4" fmla="*/ 165837 w 248618"/>
                      <a:gd name="connsiteY4" fmla="*/ 175212 h 187763"/>
                      <a:gd name="connsiteX5" fmla="*/ 248209 w 248618"/>
                      <a:gd name="connsiteY5" fmla="*/ 119008 h 187763"/>
                      <a:gd name="connsiteX6" fmla="*/ 248619 w 248618"/>
                      <a:gd name="connsiteY6" fmla="*/ 51790 h 187763"/>
                      <a:gd name="connsiteX7" fmla="*/ 130703 w 248618"/>
                      <a:gd name="connsiteY7" fmla="*/ 46 h 1877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48618" h="187763">
                        <a:moveTo>
                          <a:pt x="130658" y="0"/>
                        </a:moveTo>
                        <a:cubicBezTo>
                          <a:pt x="88561" y="17248"/>
                          <a:pt x="46465" y="34496"/>
                          <a:pt x="4369" y="51744"/>
                        </a:cubicBezTo>
                        <a:cubicBezTo>
                          <a:pt x="4369" y="51744"/>
                          <a:pt x="1274" y="85012"/>
                          <a:pt x="0" y="98938"/>
                        </a:cubicBezTo>
                        <a:cubicBezTo>
                          <a:pt x="18841" y="128337"/>
                          <a:pt x="38000" y="162515"/>
                          <a:pt x="67127" y="179126"/>
                        </a:cubicBezTo>
                        <a:cubicBezTo>
                          <a:pt x="92885" y="193825"/>
                          <a:pt x="138576" y="187909"/>
                          <a:pt x="165837" y="175212"/>
                        </a:cubicBezTo>
                        <a:cubicBezTo>
                          <a:pt x="194280" y="161923"/>
                          <a:pt x="224772" y="140852"/>
                          <a:pt x="248209" y="119008"/>
                        </a:cubicBezTo>
                        <a:cubicBezTo>
                          <a:pt x="246707" y="85877"/>
                          <a:pt x="248619" y="51790"/>
                          <a:pt x="248619" y="51790"/>
                        </a:cubicBezTo>
                        <a:cubicBezTo>
                          <a:pt x="209298" y="34542"/>
                          <a:pt x="170024" y="17294"/>
                          <a:pt x="130703" y="46"/>
                        </a:cubicBezTo>
                        <a:close/>
                      </a:path>
                    </a:pathLst>
                  </a:custGeom>
                  <a:solidFill>
                    <a:srgbClr val="793F2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51C2C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19" name="Freeform: Shape 718">
                  <a:extLst>
                    <a:ext uri="{FF2B5EF4-FFF2-40B4-BE49-F238E27FC236}">
                      <a16:creationId xmlns:a16="http://schemas.microsoft.com/office/drawing/2014/main" id="{E4DB337F-29CB-12E1-6A38-ECF0CC1D00B0}"/>
                    </a:ext>
                  </a:extLst>
                </p:cNvPr>
                <p:cNvSpPr/>
                <p:nvPr/>
              </p:nvSpPr>
              <p:spPr>
                <a:xfrm>
                  <a:off x="22060374" y="1583682"/>
                  <a:ext cx="70379" cy="127667"/>
                </a:xfrm>
                <a:custGeom>
                  <a:avLst/>
                  <a:gdLst>
                    <a:gd name="connsiteX0" fmla="*/ 33197 w 70379"/>
                    <a:gd name="connsiteY0" fmla="*/ 26802 h 127667"/>
                    <a:gd name="connsiteX1" fmla="*/ 3251 w 70379"/>
                    <a:gd name="connsiteY1" fmla="*/ 120552 h 127667"/>
                    <a:gd name="connsiteX2" fmla="*/ 44756 w 70379"/>
                    <a:gd name="connsiteY2" fmla="*/ 97433 h 127667"/>
                    <a:gd name="connsiteX3" fmla="*/ 68330 w 70379"/>
                    <a:gd name="connsiteY3" fmla="*/ 10874 h 127667"/>
                    <a:gd name="connsiteX4" fmla="*/ 33197 w 70379"/>
                    <a:gd name="connsiteY4" fmla="*/ 26802 h 1276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379" h="127667">
                      <a:moveTo>
                        <a:pt x="33197" y="26802"/>
                      </a:moveTo>
                      <a:cubicBezTo>
                        <a:pt x="16267" y="54154"/>
                        <a:pt x="-9036" y="96978"/>
                        <a:pt x="3251" y="120552"/>
                      </a:cubicBezTo>
                      <a:cubicBezTo>
                        <a:pt x="12854" y="138983"/>
                        <a:pt x="30921" y="118140"/>
                        <a:pt x="44756" y="97433"/>
                      </a:cubicBezTo>
                      <a:cubicBezTo>
                        <a:pt x="59273" y="75679"/>
                        <a:pt x="76339" y="38680"/>
                        <a:pt x="68330" y="10874"/>
                      </a:cubicBezTo>
                      <a:cubicBezTo>
                        <a:pt x="59182" y="-20801"/>
                        <a:pt x="33197" y="26802"/>
                        <a:pt x="33197" y="26802"/>
                      </a:cubicBezTo>
                      <a:close/>
                    </a:path>
                  </a:pathLst>
                </a:custGeom>
                <a:solidFill>
                  <a:srgbClr val="894835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20" name="Freeform: Shape 719">
                  <a:extLst>
                    <a:ext uri="{FF2B5EF4-FFF2-40B4-BE49-F238E27FC236}">
                      <a16:creationId xmlns:a16="http://schemas.microsoft.com/office/drawing/2014/main" id="{EB2AD66C-BD3E-8827-F971-02F1A28E1572}"/>
                    </a:ext>
                  </a:extLst>
                </p:cNvPr>
                <p:cNvSpPr/>
                <p:nvPr/>
              </p:nvSpPr>
              <p:spPr>
                <a:xfrm>
                  <a:off x="21654070" y="1366870"/>
                  <a:ext cx="466620" cy="528013"/>
                </a:xfrm>
                <a:custGeom>
                  <a:avLst/>
                  <a:gdLst>
                    <a:gd name="connsiteX0" fmla="*/ 263788 w 466620"/>
                    <a:gd name="connsiteY0" fmla="*/ 47 h 528013"/>
                    <a:gd name="connsiteX1" fmla="*/ 26957 w 466620"/>
                    <a:gd name="connsiteY1" fmla="*/ 93706 h 528013"/>
                    <a:gd name="connsiteX2" fmla="*/ 13304 w 466620"/>
                    <a:gd name="connsiteY2" fmla="*/ 377048 h 528013"/>
                    <a:gd name="connsiteX3" fmla="*/ 158297 w 466620"/>
                    <a:gd name="connsiteY3" fmla="*/ 525364 h 528013"/>
                    <a:gd name="connsiteX4" fmla="*/ 185284 w 466620"/>
                    <a:gd name="connsiteY4" fmla="*/ 527730 h 528013"/>
                    <a:gd name="connsiteX5" fmla="*/ 378017 w 466620"/>
                    <a:gd name="connsiteY5" fmla="*/ 409087 h 528013"/>
                    <a:gd name="connsiteX6" fmla="*/ 464531 w 466620"/>
                    <a:gd name="connsiteY6" fmla="*/ 132161 h 528013"/>
                    <a:gd name="connsiteX7" fmla="*/ 263788 w 466620"/>
                    <a:gd name="connsiteY7" fmla="*/ 47 h 528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6620" h="528013">
                      <a:moveTo>
                        <a:pt x="263788" y="47"/>
                      </a:moveTo>
                      <a:cubicBezTo>
                        <a:pt x="202396" y="1003"/>
                        <a:pt x="39700" y="15202"/>
                        <a:pt x="26957" y="93706"/>
                      </a:cubicBezTo>
                      <a:cubicBezTo>
                        <a:pt x="13668" y="175395"/>
                        <a:pt x="-17825" y="295905"/>
                        <a:pt x="13304" y="377048"/>
                      </a:cubicBezTo>
                      <a:cubicBezTo>
                        <a:pt x="36422" y="437348"/>
                        <a:pt x="92172" y="507387"/>
                        <a:pt x="158297" y="525364"/>
                      </a:cubicBezTo>
                      <a:cubicBezTo>
                        <a:pt x="166807" y="527685"/>
                        <a:pt x="176274" y="528504"/>
                        <a:pt x="185284" y="527730"/>
                      </a:cubicBezTo>
                      <a:cubicBezTo>
                        <a:pt x="258464" y="521404"/>
                        <a:pt x="333326" y="463926"/>
                        <a:pt x="378017" y="409087"/>
                      </a:cubicBezTo>
                      <a:cubicBezTo>
                        <a:pt x="436542" y="337273"/>
                        <a:pt x="447783" y="220723"/>
                        <a:pt x="464531" y="132161"/>
                      </a:cubicBezTo>
                      <a:cubicBezTo>
                        <a:pt x="485556" y="21027"/>
                        <a:pt x="342884" y="-1182"/>
                        <a:pt x="263788" y="47"/>
                      </a:cubicBezTo>
                      <a:close/>
                    </a:path>
                  </a:pathLst>
                </a:custGeom>
                <a:solidFill>
                  <a:srgbClr val="894835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21" name="Freeform: Shape 720">
                  <a:extLst>
                    <a:ext uri="{FF2B5EF4-FFF2-40B4-BE49-F238E27FC236}">
                      <a16:creationId xmlns:a16="http://schemas.microsoft.com/office/drawing/2014/main" id="{B196BC00-F445-0ABB-C5BE-2EF338EC1B7C}"/>
                    </a:ext>
                  </a:extLst>
                </p:cNvPr>
                <p:cNvSpPr/>
                <p:nvPr/>
              </p:nvSpPr>
              <p:spPr>
                <a:xfrm>
                  <a:off x="21629144" y="1533490"/>
                  <a:ext cx="51599" cy="132889"/>
                </a:xfrm>
                <a:custGeom>
                  <a:avLst/>
                  <a:gdLst>
                    <a:gd name="connsiteX0" fmla="*/ 14792 w 51599"/>
                    <a:gd name="connsiteY0" fmla="*/ 9322 h 132889"/>
                    <a:gd name="connsiteX1" fmla="*/ 2322 w 51599"/>
                    <a:gd name="connsiteY1" fmla="*/ 96882 h 132889"/>
                    <a:gd name="connsiteX2" fmla="*/ 39231 w 51599"/>
                    <a:gd name="connsiteY2" fmla="*/ 126873 h 132889"/>
                    <a:gd name="connsiteX3" fmla="*/ 43235 w 51599"/>
                    <a:gd name="connsiteY3" fmla="*/ 30848 h 132889"/>
                    <a:gd name="connsiteX4" fmla="*/ 14792 w 51599"/>
                    <a:gd name="connsiteY4" fmla="*/ 9367 h 1328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599" h="132889">
                      <a:moveTo>
                        <a:pt x="14792" y="9322"/>
                      </a:moveTo>
                      <a:cubicBezTo>
                        <a:pt x="-5096" y="39222"/>
                        <a:pt x="47" y="66209"/>
                        <a:pt x="2322" y="96882"/>
                      </a:cubicBezTo>
                      <a:cubicBezTo>
                        <a:pt x="4188" y="121640"/>
                        <a:pt x="20845" y="143985"/>
                        <a:pt x="39231" y="126873"/>
                      </a:cubicBezTo>
                      <a:cubicBezTo>
                        <a:pt x="59801" y="107714"/>
                        <a:pt x="50016" y="59929"/>
                        <a:pt x="43235" y="30848"/>
                      </a:cubicBezTo>
                      <a:cubicBezTo>
                        <a:pt x="43235" y="30848"/>
                        <a:pt x="34680" y="-20578"/>
                        <a:pt x="14792" y="9367"/>
                      </a:cubicBezTo>
                      <a:close/>
                    </a:path>
                  </a:pathLst>
                </a:custGeom>
                <a:solidFill>
                  <a:srgbClr val="894835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22" name="Freeform: Shape 721">
                  <a:extLst>
                    <a:ext uri="{FF2B5EF4-FFF2-40B4-BE49-F238E27FC236}">
                      <a16:creationId xmlns:a16="http://schemas.microsoft.com/office/drawing/2014/main" id="{6EF05A2A-62A6-9B87-B032-8068A42D8CBE}"/>
                    </a:ext>
                  </a:extLst>
                </p:cNvPr>
                <p:cNvSpPr/>
                <p:nvPr/>
              </p:nvSpPr>
              <p:spPr>
                <a:xfrm>
                  <a:off x="21596242" y="1276262"/>
                  <a:ext cx="589894" cy="377501"/>
                </a:xfrm>
                <a:custGeom>
                  <a:avLst/>
                  <a:gdLst>
                    <a:gd name="connsiteX0" fmla="*/ 34087 w 589894"/>
                    <a:gd name="connsiteY0" fmla="*/ 115412 h 377501"/>
                    <a:gd name="connsiteX1" fmla="*/ 0 w 589894"/>
                    <a:gd name="connsiteY1" fmla="*/ 349195 h 377501"/>
                    <a:gd name="connsiteX2" fmla="*/ 433524 w 589894"/>
                    <a:gd name="connsiteY2" fmla="*/ 161468 h 377501"/>
                    <a:gd name="connsiteX3" fmla="*/ 534054 w 589894"/>
                    <a:gd name="connsiteY3" fmla="*/ 377502 h 377501"/>
                    <a:gd name="connsiteX4" fmla="*/ 589894 w 589894"/>
                    <a:gd name="connsiteY4" fmla="*/ 177578 h 377501"/>
                    <a:gd name="connsiteX5" fmla="*/ 379959 w 589894"/>
                    <a:gd name="connsiteY5" fmla="*/ 0 h 377501"/>
                    <a:gd name="connsiteX6" fmla="*/ 34087 w 589894"/>
                    <a:gd name="connsiteY6" fmla="*/ 115412 h 3775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89894" h="377501">
                      <a:moveTo>
                        <a:pt x="34087" y="115412"/>
                      </a:moveTo>
                      <a:cubicBezTo>
                        <a:pt x="22709" y="193324"/>
                        <a:pt x="11332" y="271282"/>
                        <a:pt x="0" y="349195"/>
                      </a:cubicBezTo>
                      <a:cubicBezTo>
                        <a:pt x="153231" y="329034"/>
                        <a:pt x="433524" y="161468"/>
                        <a:pt x="433524" y="161468"/>
                      </a:cubicBezTo>
                      <a:cubicBezTo>
                        <a:pt x="442808" y="163925"/>
                        <a:pt x="475438" y="330308"/>
                        <a:pt x="534054" y="377502"/>
                      </a:cubicBezTo>
                      <a:cubicBezTo>
                        <a:pt x="552668" y="310876"/>
                        <a:pt x="571281" y="244204"/>
                        <a:pt x="589894" y="177578"/>
                      </a:cubicBezTo>
                      <a:cubicBezTo>
                        <a:pt x="519901" y="118370"/>
                        <a:pt x="449953" y="59208"/>
                        <a:pt x="379959" y="0"/>
                      </a:cubicBezTo>
                      <a:cubicBezTo>
                        <a:pt x="264684" y="38456"/>
                        <a:pt x="149362" y="76911"/>
                        <a:pt x="34087" y="115412"/>
                      </a:cubicBezTo>
                      <a:close/>
                    </a:path>
                  </a:pathLst>
                </a:custGeom>
                <a:solidFill>
                  <a:srgbClr val="24292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23" name="Freeform: Shape 722">
                  <a:extLst>
                    <a:ext uri="{FF2B5EF4-FFF2-40B4-BE49-F238E27FC236}">
                      <a16:creationId xmlns:a16="http://schemas.microsoft.com/office/drawing/2014/main" id="{47752945-352A-379B-B427-28BA09360D8E}"/>
                    </a:ext>
                  </a:extLst>
                </p:cNvPr>
                <p:cNvSpPr/>
                <p:nvPr/>
              </p:nvSpPr>
              <p:spPr>
                <a:xfrm>
                  <a:off x="21773547" y="1741233"/>
                  <a:ext cx="156507" cy="59447"/>
                </a:xfrm>
                <a:custGeom>
                  <a:avLst/>
                  <a:gdLst>
                    <a:gd name="connsiteX0" fmla="*/ 156507 w 156507"/>
                    <a:gd name="connsiteY0" fmla="*/ 13744 h 59447"/>
                    <a:gd name="connsiteX1" fmla="*/ 0 w 156507"/>
                    <a:gd name="connsiteY1" fmla="*/ 0 h 59447"/>
                    <a:gd name="connsiteX2" fmla="*/ 156507 w 156507"/>
                    <a:gd name="connsiteY2" fmla="*/ 13744 h 594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56507" h="59447">
                      <a:moveTo>
                        <a:pt x="156507" y="13744"/>
                      </a:moveTo>
                      <a:cubicBezTo>
                        <a:pt x="104354" y="9147"/>
                        <a:pt x="52154" y="4596"/>
                        <a:pt x="0" y="0"/>
                      </a:cubicBezTo>
                      <a:cubicBezTo>
                        <a:pt x="25304" y="89244"/>
                        <a:pt x="108586" y="64487"/>
                        <a:pt x="156507" y="13744"/>
                      </a:cubicBezTo>
                      <a:close/>
                    </a:path>
                  </a:pathLst>
                </a:custGeom>
                <a:solidFill>
                  <a:srgbClr val="D45247">
                    <a:alpha val="60000"/>
                  </a:srgbClr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710" name="Freeform: Shape 709">
                <a:extLst>
                  <a:ext uri="{FF2B5EF4-FFF2-40B4-BE49-F238E27FC236}">
                    <a16:creationId xmlns:a16="http://schemas.microsoft.com/office/drawing/2014/main" id="{D33CC009-C64A-E842-8066-A0C9CD319CCB}"/>
                  </a:ext>
                </a:extLst>
              </p:cNvPr>
              <p:cNvSpPr/>
              <p:nvPr/>
            </p:nvSpPr>
            <p:spPr>
              <a:xfrm>
                <a:off x="20753730" y="2186544"/>
                <a:ext cx="2088425" cy="269279"/>
              </a:xfrm>
              <a:custGeom>
                <a:avLst/>
                <a:gdLst>
                  <a:gd name="connsiteX0" fmla="*/ 131 w 2088425"/>
                  <a:gd name="connsiteY0" fmla="*/ 227457 h 269279"/>
                  <a:gd name="connsiteX1" fmla="*/ 41044 w 2088425"/>
                  <a:gd name="connsiteY1" fmla="*/ 269280 h 269279"/>
                  <a:gd name="connsiteX2" fmla="*/ 2022346 w 2088425"/>
                  <a:gd name="connsiteY2" fmla="*/ 269280 h 269279"/>
                  <a:gd name="connsiteX3" fmla="*/ 2070040 w 2088425"/>
                  <a:gd name="connsiteY3" fmla="*/ 227457 h 269279"/>
                  <a:gd name="connsiteX4" fmla="*/ 2088426 w 2088425"/>
                  <a:gd name="connsiteY4" fmla="*/ 0 h 269279"/>
                  <a:gd name="connsiteX5" fmla="*/ 18471 w 2088425"/>
                  <a:gd name="connsiteY5" fmla="*/ 0 h 269279"/>
                  <a:gd name="connsiteX6" fmla="*/ 85 w 2088425"/>
                  <a:gd name="connsiteY6" fmla="*/ 227457 h 269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88425" h="269279">
                    <a:moveTo>
                      <a:pt x="131" y="227457"/>
                    </a:moveTo>
                    <a:cubicBezTo>
                      <a:pt x="-1735" y="250575"/>
                      <a:pt x="16605" y="269280"/>
                      <a:pt x="41044" y="269280"/>
                    </a:cubicBezTo>
                    <a:lnTo>
                      <a:pt x="2022346" y="269280"/>
                    </a:lnTo>
                    <a:cubicBezTo>
                      <a:pt x="2046830" y="269280"/>
                      <a:pt x="2068174" y="250575"/>
                      <a:pt x="2070040" y="227457"/>
                    </a:cubicBezTo>
                    <a:cubicBezTo>
                      <a:pt x="2076184" y="151638"/>
                      <a:pt x="2082328" y="75819"/>
                      <a:pt x="2088426" y="0"/>
                    </a:cubicBezTo>
                    <a:lnTo>
                      <a:pt x="18471" y="0"/>
                    </a:lnTo>
                    <a:cubicBezTo>
                      <a:pt x="12327" y="75819"/>
                      <a:pt x="6183" y="151638"/>
                      <a:pt x="85" y="227457"/>
                    </a:cubicBezTo>
                    <a:close/>
                  </a:path>
                </a:pathLst>
              </a:custGeom>
              <a:solidFill>
                <a:srgbClr val="2C5663">
                  <a:alpha val="70000"/>
                </a:srgb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711" name="Graphic 4">
                <a:extLst>
                  <a:ext uri="{FF2B5EF4-FFF2-40B4-BE49-F238E27FC236}">
                    <a16:creationId xmlns:a16="http://schemas.microsoft.com/office/drawing/2014/main" id="{119AEAC3-5CDE-7288-8A23-F58B96033AF5}"/>
                  </a:ext>
                </a:extLst>
              </p:cNvPr>
              <p:cNvGrpSpPr/>
              <p:nvPr/>
            </p:nvGrpSpPr>
            <p:grpSpPr>
              <a:xfrm>
                <a:off x="21401298" y="2261816"/>
                <a:ext cx="793353" cy="118735"/>
                <a:chOff x="21401298" y="2261816"/>
                <a:chExt cx="793353" cy="118735"/>
              </a:xfrm>
            </p:grpSpPr>
            <p:sp>
              <p:nvSpPr>
                <p:cNvPr id="712" name="Freeform: Shape 711">
                  <a:extLst>
                    <a:ext uri="{FF2B5EF4-FFF2-40B4-BE49-F238E27FC236}">
                      <a16:creationId xmlns:a16="http://schemas.microsoft.com/office/drawing/2014/main" id="{8FAAA99B-620A-991A-A39F-E3CB53FF8395}"/>
                    </a:ext>
                  </a:extLst>
                </p:cNvPr>
                <p:cNvSpPr/>
                <p:nvPr/>
              </p:nvSpPr>
              <p:spPr>
                <a:xfrm>
                  <a:off x="21401298" y="2261816"/>
                  <a:ext cx="129679" cy="116868"/>
                </a:xfrm>
                <a:custGeom>
                  <a:avLst/>
                  <a:gdLst>
                    <a:gd name="connsiteX0" fmla="*/ 68837 w 129679"/>
                    <a:gd name="connsiteY0" fmla="*/ 46 h 116868"/>
                    <a:gd name="connsiteX1" fmla="*/ 118 w 129679"/>
                    <a:gd name="connsiteY1" fmla="*/ 58252 h 116868"/>
                    <a:gd name="connsiteX2" fmla="*/ 60919 w 129679"/>
                    <a:gd name="connsiteY2" fmla="*/ 116868 h 116868"/>
                    <a:gd name="connsiteX3" fmla="*/ 129547 w 129679"/>
                    <a:gd name="connsiteY3" fmla="*/ 58844 h 116868"/>
                    <a:gd name="connsiteX4" fmla="*/ 68837 w 129679"/>
                    <a:gd name="connsiteY4" fmla="*/ 0 h 1168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9679" h="116868">
                      <a:moveTo>
                        <a:pt x="68837" y="46"/>
                      </a:moveTo>
                      <a:cubicBezTo>
                        <a:pt x="33021" y="-137"/>
                        <a:pt x="2257" y="25940"/>
                        <a:pt x="118" y="58252"/>
                      </a:cubicBezTo>
                      <a:cubicBezTo>
                        <a:pt x="-2021" y="90519"/>
                        <a:pt x="25193" y="116732"/>
                        <a:pt x="60919" y="116868"/>
                      </a:cubicBezTo>
                      <a:cubicBezTo>
                        <a:pt x="96598" y="117005"/>
                        <a:pt x="127317" y="91065"/>
                        <a:pt x="129547" y="58844"/>
                      </a:cubicBezTo>
                      <a:cubicBezTo>
                        <a:pt x="131822" y="26578"/>
                        <a:pt x="104653" y="182"/>
                        <a:pt x="6883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13" name="Freeform: Shape 712">
                  <a:extLst>
                    <a:ext uri="{FF2B5EF4-FFF2-40B4-BE49-F238E27FC236}">
                      <a16:creationId xmlns:a16="http://schemas.microsoft.com/office/drawing/2014/main" id="{6B73D36B-8011-EBBE-7439-DDB65B16DBF0}"/>
                    </a:ext>
                  </a:extLst>
                </p:cNvPr>
                <p:cNvSpPr/>
                <p:nvPr/>
              </p:nvSpPr>
              <p:spPr>
                <a:xfrm>
                  <a:off x="21623358" y="2262953"/>
                  <a:ext cx="129319" cy="116642"/>
                </a:xfrm>
                <a:custGeom>
                  <a:avLst/>
                  <a:gdLst>
                    <a:gd name="connsiteX0" fmla="*/ 69046 w 129319"/>
                    <a:gd name="connsiteY0" fmla="*/ 1 h 116642"/>
                    <a:gd name="connsiteX1" fmla="*/ 144 w 129319"/>
                    <a:gd name="connsiteY1" fmla="*/ 58117 h 116642"/>
                    <a:gd name="connsiteX2" fmla="*/ 60308 w 129319"/>
                    <a:gd name="connsiteY2" fmla="*/ 116642 h 116642"/>
                    <a:gd name="connsiteX3" fmla="*/ 129164 w 129319"/>
                    <a:gd name="connsiteY3" fmla="*/ 58708 h 116642"/>
                    <a:gd name="connsiteX4" fmla="*/ 69046 w 129319"/>
                    <a:gd name="connsiteY4" fmla="*/ 1 h 116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9319" h="116642">
                      <a:moveTo>
                        <a:pt x="69046" y="1"/>
                      </a:moveTo>
                      <a:cubicBezTo>
                        <a:pt x="33367" y="-181"/>
                        <a:pt x="2466" y="25850"/>
                        <a:pt x="144" y="58117"/>
                      </a:cubicBezTo>
                      <a:cubicBezTo>
                        <a:pt x="-2222" y="90292"/>
                        <a:pt x="24765" y="116505"/>
                        <a:pt x="60308" y="116642"/>
                      </a:cubicBezTo>
                      <a:cubicBezTo>
                        <a:pt x="95851" y="116778"/>
                        <a:pt x="126661" y="90883"/>
                        <a:pt x="129164" y="58708"/>
                      </a:cubicBezTo>
                      <a:cubicBezTo>
                        <a:pt x="131622" y="26488"/>
                        <a:pt x="104725" y="137"/>
                        <a:pt x="69046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14" name="Freeform: Shape 713">
                  <a:extLst>
                    <a:ext uri="{FF2B5EF4-FFF2-40B4-BE49-F238E27FC236}">
                      <a16:creationId xmlns:a16="http://schemas.microsoft.com/office/drawing/2014/main" id="{49FC6A1C-7FD6-12A9-755D-3424E71613C1}"/>
                    </a:ext>
                  </a:extLst>
                </p:cNvPr>
                <p:cNvSpPr/>
                <p:nvPr/>
              </p:nvSpPr>
              <p:spPr>
                <a:xfrm>
                  <a:off x="21844738" y="2264091"/>
                  <a:ext cx="128964" cy="116460"/>
                </a:xfrm>
                <a:custGeom>
                  <a:avLst/>
                  <a:gdLst>
                    <a:gd name="connsiteX0" fmla="*/ 69252 w 128964"/>
                    <a:gd name="connsiteY0" fmla="*/ 1 h 116460"/>
                    <a:gd name="connsiteX1" fmla="*/ 168 w 128964"/>
                    <a:gd name="connsiteY1" fmla="*/ 58026 h 116460"/>
                    <a:gd name="connsiteX2" fmla="*/ 59740 w 128964"/>
                    <a:gd name="connsiteY2" fmla="*/ 116460 h 116460"/>
                    <a:gd name="connsiteX3" fmla="*/ 128778 w 128964"/>
                    <a:gd name="connsiteY3" fmla="*/ 58617 h 116460"/>
                    <a:gd name="connsiteX4" fmla="*/ 69297 w 128964"/>
                    <a:gd name="connsiteY4" fmla="*/ 1 h 1164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8964" h="116460">
                      <a:moveTo>
                        <a:pt x="69252" y="1"/>
                      </a:moveTo>
                      <a:cubicBezTo>
                        <a:pt x="33663" y="-181"/>
                        <a:pt x="2717" y="25850"/>
                        <a:pt x="168" y="58026"/>
                      </a:cubicBezTo>
                      <a:cubicBezTo>
                        <a:pt x="-2380" y="90155"/>
                        <a:pt x="24289" y="116278"/>
                        <a:pt x="59740" y="116460"/>
                      </a:cubicBezTo>
                      <a:cubicBezTo>
                        <a:pt x="95192" y="116596"/>
                        <a:pt x="126094" y="90747"/>
                        <a:pt x="128778" y="58617"/>
                      </a:cubicBezTo>
                      <a:cubicBezTo>
                        <a:pt x="131463" y="26442"/>
                        <a:pt x="104840" y="183"/>
                        <a:pt x="6929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15" name="Freeform: Shape 714">
                  <a:extLst>
                    <a:ext uri="{FF2B5EF4-FFF2-40B4-BE49-F238E27FC236}">
                      <a16:creationId xmlns:a16="http://schemas.microsoft.com/office/drawing/2014/main" id="{78A176FA-0A48-F0C7-529C-A9C4BCAB96A9}"/>
                    </a:ext>
                  </a:extLst>
                </p:cNvPr>
                <p:cNvSpPr/>
                <p:nvPr/>
              </p:nvSpPr>
              <p:spPr>
                <a:xfrm>
                  <a:off x="22065687" y="2264091"/>
                  <a:ext cx="128964" cy="116460"/>
                </a:xfrm>
                <a:custGeom>
                  <a:avLst/>
                  <a:gdLst>
                    <a:gd name="connsiteX0" fmla="*/ 69252 w 128964"/>
                    <a:gd name="connsiteY0" fmla="*/ 1 h 116460"/>
                    <a:gd name="connsiteX1" fmla="*/ 168 w 128964"/>
                    <a:gd name="connsiteY1" fmla="*/ 58026 h 116460"/>
                    <a:gd name="connsiteX2" fmla="*/ 59740 w 128964"/>
                    <a:gd name="connsiteY2" fmla="*/ 116460 h 116460"/>
                    <a:gd name="connsiteX3" fmla="*/ 128778 w 128964"/>
                    <a:gd name="connsiteY3" fmla="*/ 58617 h 116460"/>
                    <a:gd name="connsiteX4" fmla="*/ 69297 w 128964"/>
                    <a:gd name="connsiteY4" fmla="*/ 1 h 1164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8964" h="116460">
                      <a:moveTo>
                        <a:pt x="69252" y="1"/>
                      </a:moveTo>
                      <a:cubicBezTo>
                        <a:pt x="33663" y="-181"/>
                        <a:pt x="2717" y="25850"/>
                        <a:pt x="168" y="58026"/>
                      </a:cubicBezTo>
                      <a:cubicBezTo>
                        <a:pt x="-2380" y="90155"/>
                        <a:pt x="24288" y="116278"/>
                        <a:pt x="59740" y="116460"/>
                      </a:cubicBezTo>
                      <a:cubicBezTo>
                        <a:pt x="95192" y="116596"/>
                        <a:pt x="126093" y="90747"/>
                        <a:pt x="128778" y="58617"/>
                      </a:cubicBezTo>
                      <a:cubicBezTo>
                        <a:pt x="131463" y="26442"/>
                        <a:pt x="104840" y="183"/>
                        <a:pt x="69297" y="1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628" name="Graphic 4">
              <a:extLst>
                <a:ext uri="{FF2B5EF4-FFF2-40B4-BE49-F238E27FC236}">
                  <a16:creationId xmlns:a16="http://schemas.microsoft.com/office/drawing/2014/main" id="{04C30A4A-B983-E0A3-2010-2C54E5E89694}"/>
                </a:ext>
              </a:extLst>
            </p:cNvPr>
            <p:cNvGrpSpPr/>
            <p:nvPr/>
          </p:nvGrpSpPr>
          <p:grpSpPr>
            <a:xfrm>
              <a:off x="1488068" y="5688254"/>
              <a:ext cx="168736" cy="95240"/>
              <a:chOff x="22135302" y="817210"/>
              <a:chExt cx="1762880" cy="995026"/>
            </a:xfrm>
          </p:grpSpPr>
          <p:sp>
            <p:nvSpPr>
              <p:cNvPr id="701" name="Freeform: Shape 700">
                <a:extLst>
                  <a:ext uri="{FF2B5EF4-FFF2-40B4-BE49-F238E27FC236}">
                    <a16:creationId xmlns:a16="http://schemas.microsoft.com/office/drawing/2014/main" id="{A8C05A2F-ECD5-A795-07C9-43633220DF73}"/>
                  </a:ext>
                </a:extLst>
              </p:cNvPr>
              <p:cNvSpPr/>
              <p:nvPr/>
            </p:nvSpPr>
            <p:spPr>
              <a:xfrm>
                <a:off x="22135302" y="817210"/>
                <a:ext cx="1762880" cy="995026"/>
              </a:xfrm>
              <a:custGeom>
                <a:avLst/>
                <a:gdLst>
                  <a:gd name="connsiteX0" fmla="*/ 1659140 w 1762880"/>
                  <a:gd name="connsiteY0" fmla="*/ 43 h 995026"/>
                  <a:gd name="connsiteX1" fmla="*/ 391928 w 1762880"/>
                  <a:gd name="connsiteY1" fmla="*/ 43 h 995026"/>
                  <a:gd name="connsiteX2" fmla="*/ 271373 w 1762880"/>
                  <a:gd name="connsiteY2" fmla="*/ 105717 h 995026"/>
                  <a:gd name="connsiteX3" fmla="*/ 214714 w 1762880"/>
                  <a:gd name="connsiteY3" fmla="*/ 805744 h 995026"/>
                  <a:gd name="connsiteX4" fmla="*/ 0 w 1762880"/>
                  <a:gd name="connsiteY4" fmla="*/ 994973 h 995026"/>
                  <a:gd name="connsiteX5" fmla="*/ 1578634 w 1762880"/>
                  <a:gd name="connsiteY5" fmla="*/ 994973 h 995026"/>
                  <a:gd name="connsiteX6" fmla="*/ 1699189 w 1762880"/>
                  <a:gd name="connsiteY6" fmla="*/ 889300 h 995026"/>
                  <a:gd name="connsiteX7" fmla="*/ 1762584 w 1762880"/>
                  <a:gd name="connsiteY7" fmla="*/ 105762 h 995026"/>
                  <a:gd name="connsiteX8" fmla="*/ 1659140 w 1762880"/>
                  <a:gd name="connsiteY8" fmla="*/ 89 h 995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62880" h="995026">
                    <a:moveTo>
                      <a:pt x="1659140" y="43"/>
                    </a:moveTo>
                    <a:lnTo>
                      <a:pt x="391928" y="43"/>
                    </a:lnTo>
                    <a:cubicBezTo>
                      <a:pt x="334951" y="362"/>
                      <a:pt x="274377" y="45553"/>
                      <a:pt x="271373" y="105717"/>
                    </a:cubicBezTo>
                    <a:cubicBezTo>
                      <a:pt x="252487" y="339044"/>
                      <a:pt x="233601" y="572371"/>
                      <a:pt x="214714" y="805744"/>
                    </a:cubicBezTo>
                    <a:cubicBezTo>
                      <a:pt x="143128" y="868820"/>
                      <a:pt x="71587" y="931896"/>
                      <a:pt x="0" y="994973"/>
                    </a:cubicBezTo>
                    <a:lnTo>
                      <a:pt x="1578634" y="994973"/>
                    </a:lnTo>
                    <a:cubicBezTo>
                      <a:pt x="1637478" y="996884"/>
                      <a:pt x="1693865" y="947734"/>
                      <a:pt x="1699189" y="889300"/>
                    </a:cubicBezTo>
                    <a:cubicBezTo>
                      <a:pt x="1720306" y="628120"/>
                      <a:pt x="1741467" y="366941"/>
                      <a:pt x="1762584" y="105762"/>
                    </a:cubicBezTo>
                    <a:cubicBezTo>
                      <a:pt x="1767225" y="48238"/>
                      <a:pt x="1716665" y="-2414"/>
                      <a:pt x="1659140" y="89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702" name="Graphic 4">
                <a:extLst>
                  <a:ext uri="{FF2B5EF4-FFF2-40B4-BE49-F238E27FC236}">
                    <a16:creationId xmlns:a16="http://schemas.microsoft.com/office/drawing/2014/main" id="{1FE9E908-902D-3B37-F77F-A0FB347243CC}"/>
                  </a:ext>
                </a:extLst>
              </p:cNvPr>
              <p:cNvGrpSpPr/>
              <p:nvPr/>
            </p:nvGrpSpPr>
            <p:grpSpPr>
              <a:xfrm>
                <a:off x="22525182" y="1045529"/>
                <a:ext cx="1184385" cy="538332"/>
                <a:chOff x="22525182" y="1045529"/>
                <a:chExt cx="1184385" cy="538332"/>
              </a:xfrm>
              <a:solidFill>
                <a:srgbClr val="C8D7DE"/>
              </a:solidFill>
            </p:grpSpPr>
            <p:sp>
              <p:nvSpPr>
                <p:cNvPr id="703" name="Freeform: Shape 702">
                  <a:extLst>
                    <a:ext uri="{FF2B5EF4-FFF2-40B4-BE49-F238E27FC236}">
                      <a16:creationId xmlns:a16="http://schemas.microsoft.com/office/drawing/2014/main" id="{BAE2ED80-89B3-6262-85FC-44E68EDCB962}"/>
                    </a:ext>
                  </a:extLst>
                </p:cNvPr>
                <p:cNvSpPr/>
                <p:nvPr/>
              </p:nvSpPr>
              <p:spPr>
                <a:xfrm>
                  <a:off x="22564184" y="1045529"/>
                  <a:ext cx="1145383" cy="56295"/>
                </a:xfrm>
                <a:custGeom>
                  <a:avLst/>
                  <a:gdLst>
                    <a:gd name="connsiteX0" fmla="*/ 0 w 1145383"/>
                    <a:gd name="connsiteY0" fmla="*/ 56295 h 56295"/>
                    <a:gd name="connsiteX1" fmla="*/ 1140832 w 1145383"/>
                    <a:gd name="connsiteY1" fmla="*/ 56295 h 56295"/>
                    <a:gd name="connsiteX2" fmla="*/ 1145383 w 1145383"/>
                    <a:gd name="connsiteY2" fmla="*/ 0 h 56295"/>
                    <a:gd name="connsiteX3" fmla="*/ 4551 w 1145383"/>
                    <a:gd name="connsiteY3" fmla="*/ 0 h 56295"/>
                    <a:gd name="connsiteX4" fmla="*/ 0 w 1145383"/>
                    <a:gd name="connsiteY4" fmla="*/ 56295 h 562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45383" h="56295">
                      <a:moveTo>
                        <a:pt x="0" y="56295"/>
                      </a:moveTo>
                      <a:lnTo>
                        <a:pt x="1140832" y="56295"/>
                      </a:lnTo>
                      <a:cubicBezTo>
                        <a:pt x="1142652" y="33768"/>
                        <a:pt x="1143563" y="22527"/>
                        <a:pt x="1145383" y="0"/>
                      </a:cubicBezTo>
                      <a:lnTo>
                        <a:pt x="4551" y="0"/>
                      </a:lnTo>
                      <a:cubicBezTo>
                        <a:pt x="2730" y="22527"/>
                        <a:pt x="1820" y="33768"/>
                        <a:pt x="0" y="56295"/>
                      </a:cubicBezTo>
                      <a:close/>
                    </a:path>
                  </a:pathLst>
                </a:custGeom>
                <a:solidFill>
                  <a:srgbClr val="C8D7DE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04" name="Freeform: Shape 703">
                  <a:extLst>
                    <a:ext uri="{FF2B5EF4-FFF2-40B4-BE49-F238E27FC236}">
                      <a16:creationId xmlns:a16="http://schemas.microsoft.com/office/drawing/2014/main" id="{5B4E95BF-6949-1ABA-806D-D349F4868BBC}"/>
                    </a:ext>
                  </a:extLst>
                </p:cNvPr>
                <p:cNvSpPr/>
                <p:nvPr/>
              </p:nvSpPr>
              <p:spPr>
                <a:xfrm>
                  <a:off x="22551168" y="1206223"/>
                  <a:ext cx="1145383" cy="56295"/>
                </a:xfrm>
                <a:custGeom>
                  <a:avLst/>
                  <a:gdLst>
                    <a:gd name="connsiteX0" fmla="*/ 0 w 1145383"/>
                    <a:gd name="connsiteY0" fmla="*/ 56295 h 56295"/>
                    <a:gd name="connsiteX1" fmla="*/ 1140832 w 1145383"/>
                    <a:gd name="connsiteY1" fmla="*/ 56295 h 56295"/>
                    <a:gd name="connsiteX2" fmla="*/ 1145383 w 1145383"/>
                    <a:gd name="connsiteY2" fmla="*/ 0 h 56295"/>
                    <a:gd name="connsiteX3" fmla="*/ 4551 w 1145383"/>
                    <a:gd name="connsiteY3" fmla="*/ 0 h 56295"/>
                    <a:gd name="connsiteX4" fmla="*/ 0 w 1145383"/>
                    <a:gd name="connsiteY4" fmla="*/ 56295 h 562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45383" h="56295">
                      <a:moveTo>
                        <a:pt x="0" y="56295"/>
                      </a:moveTo>
                      <a:lnTo>
                        <a:pt x="1140832" y="56295"/>
                      </a:lnTo>
                      <a:cubicBezTo>
                        <a:pt x="1142653" y="33768"/>
                        <a:pt x="1143563" y="22527"/>
                        <a:pt x="1145383" y="0"/>
                      </a:cubicBezTo>
                      <a:lnTo>
                        <a:pt x="4551" y="0"/>
                      </a:lnTo>
                      <a:lnTo>
                        <a:pt x="0" y="56295"/>
                      </a:lnTo>
                      <a:close/>
                    </a:path>
                  </a:pathLst>
                </a:custGeom>
                <a:solidFill>
                  <a:srgbClr val="C8D7DE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05" name="Freeform: Shape 704">
                  <a:extLst>
                    <a:ext uri="{FF2B5EF4-FFF2-40B4-BE49-F238E27FC236}">
                      <a16:creationId xmlns:a16="http://schemas.microsoft.com/office/drawing/2014/main" id="{028F20A0-DF44-D00D-6F68-1D9733C055DD}"/>
                    </a:ext>
                  </a:extLst>
                </p:cNvPr>
                <p:cNvSpPr/>
                <p:nvPr/>
              </p:nvSpPr>
              <p:spPr>
                <a:xfrm>
                  <a:off x="22538198" y="1366872"/>
                  <a:ext cx="1145383" cy="56295"/>
                </a:xfrm>
                <a:custGeom>
                  <a:avLst/>
                  <a:gdLst>
                    <a:gd name="connsiteX0" fmla="*/ 0 w 1145383"/>
                    <a:gd name="connsiteY0" fmla="*/ 56295 h 56295"/>
                    <a:gd name="connsiteX1" fmla="*/ 1140833 w 1145383"/>
                    <a:gd name="connsiteY1" fmla="*/ 56295 h 56295"/>
                    <a:gd name="connsiteX2" fmla="*/ 1145384 w 1145383"/>
                    <a:gd name="connsiteY2" fmla="*/ 0 h 56295"/>
                    <a:gd name="connsiteX3" fmla="*/ 4551 w 1145383"/>
                    <a:gd name="connsiteY3" fmla="*/ 0 h 56295"/>
                    <a:gd name="connsiteX4" fmla="*/ 0 w 1145383"/>
                    <a:gd name="connsiteY4" fmla="*/ 56295 h 562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45383" h="56295">
                      <a:moveTo>
                        <a:pt x="0" y="56295"/>
                      </a:moveTo>
                      <a:lnTo>
                        <a:pt x="1140833" y="56295"/>
                      </a:lnTo>
                      <a:cubicBezTo>
                        <a:pt x="1142653" y="33768"/>
                        <a:pt x="1143563" y="22527"/>
                        <a:pt x="1145384" y="0"/>
                      </a:cubicBezTo>
                      <a:lnTo>
                        <a:pt x="4551" y="0"/>
                      </a:lnTo>
                      <a:cubicBezTo>
                        <a:pt x="2730" y="22527"/>
                        <a:pt x="1820" y="33768"/>
                        <a:pt x="0" y="56295"/>
                      </a:cubicBezTo>
                      <a:close/>
                    </a:path>
                  </a:pathLst>
                </a:custGeom>
                <a:solidFill>
                  <a:srgbClr val="C8D7DE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06" name="Freeform: Shape 705">
                  <a:extLst>
                    <a:ext uri="{FF2B5EF4-FFF2-40B4-BE49-F238E27FC236}">
                      <a16:creationId xmlns:a16="http://schemas.microsoft.com/office/drawing/2014/main" id="{0318B654-0311-554E-AE20-F969DCE38470}"/>
                    </a:ext>
                  </a:extLst>
                </p:cNvPr>
                <p:cNvSpPr/>
                <p:nvPr/>
              </p:nvSpPr>
              <p:spPr>
                <a:xfrm>
                  <a:off x="22525182" y="1527566"/>
                  <a:ext cx="799784" cy="56295"/>
                </a:xfrm>
                <a:custGeom>
                  <a:avLst/>
                  <a:gdLst>
                    <a:gd name="connsiteX0" fmla="*/ 0 w 799784"/>
                    <a:gd name="connsiteY0" fmla="*/ 56295 h 56295"/>
                    <a:gd name="connsiteX1" fmla="*/ 795233 w 799784"/>
                    <a:gd name="connsiteY1" fmla="*/ 56295 h 56295"/>
                    <a:gd name="connsiteX2" fmla="*/ 799784 w 799784"/>
                    <a:gd name="connsiteY2" fmla="*/ 0 h 56295"/>
                    <a:gd name="connsiteX3" fmla="*/ 4551 w 799784"/>
                    <a:gd name="connsiteY3" fmla="*/ 0 h 56295"/>
                    <a:gd name="connsiteX4" fmla="*/ 0 w 799784"/>
                    <a:gd name="connsiteY4" fmla="*/ 56295 h 562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9784" h="56295">
                      <a:moveTo>
                        <a:pt x="0" y="56295"/>
                      </a:moveTo>
                      <a:lnTo>
                        <a:pt x="795233" y="56295"/>
                      </a:lnTo>
                      <a:cubicBezTo>
                        <a:pt x="797053" y="33768"/>
                        <a:pt x="797964" y="22527"/>
                        <a:pt x="799784" y="0"/>
                      </a:cubicBezTo>
                      <a:lnTo>
                        <a:pt x="4551" y="0"/>
                      </a:lnTo>
                      <a:cubicBezTo>
                        <a:pt x="2730" y="22527"/>
                        <a:pt x="1820" y="33768"/>
                        <a:pt x="0" y="56295"/>
                      </a:cubicBezTo>
                      <a:close/>
                    </a:path>
                  </a:pathLst>
                </a:custGeom>
                <a:solidFill>
                  <a:srgbClr val="C8D7DE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29" name="Freeform: Shape 628">
              <a:extLst>
                <a:ext uri="{FF2B5EF4-FFF2-40B4-BE49-F238E27FC236}">
                  <a16:creationId xmlns:a16="http://schemas.microsoft.com/office/drawing/2014/main" id="{392BFBF0-AE0D-D2A4-0538-FAB9AB2400AC}"/>
                </a:ext>
              </a:extLst>
            </p:cNvPr>
            <p:cNvSpPr/>
            <p:nvPr/>
          </p:nvSpPr>
          <p:spPr>
            <a:xfrm>
              <a:off x="1552854" y="5830294"/>
              <a:ext cx="131758" cy="121467"/>
            </a:xfrm>
            <a:custGeom>
              <a:avLst/>
              <a:gdLst>
                <a:gd name="connsiteX0" fmla="*/ 1311323 w 1376549"/>
                <a:gd name="connsiteY0" fmla="*/ 0 h 1269033"/>
                <a:gd name="connsiteX1" fmla="*/ 185736 w 1376549"/>
                <a:gd name="connsiteY1" fmla="*/ 0 h 1269033"/>
                <a:gd name="connsiteX2" fmla="*/ 107232 w 1376549"/>
                <a:gd name="connsiteY2" fmla="*/ 71723 h 1269033"/>
                <a:gd name="connsiteX3" fmla="*/ 330 w 1376549"/>
                <a:gd name="connsiteY3" fmla="*/ 1197310 h 1269033"/>
                <a:gd name="connsiteX4" fmla="*/ 65227 w 1376549"/>
                <a:gd name="connsiteY4" fmla="*/ 1269033 h 1269033"/>
                <a:gd name="connsiteX5" fmla="*/ 1190813 w 1376549"/>
                <a:gd name="connsiteY5" fmla="*/ 1269033 h 1269033"/>
                <a:gd name="connsiteX6" fmla="*/ 1269317 w 1376549"/>
                <a:gd name="connsiteY6" fmla="*/ 1197310 h 1269033"/>
                <a:gd name="connsiteX7" fmla="*/ 1376219 w 1376549"/>
                <a:gd name="connsiteY7" fmla="*/ 71723 h 1269033"/>
                <a:gd name="connsiteX8" fmla="*/ 1311323 w 1376549"/>
                <a:gd name="connsiteY8" fmla="*/ 0 h 126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76549" h="1269033">
                  <a:moveTo>
                    <a:pt x="1311323" y="0"/>
                  </a:moveTo>
                  <a:lnTo>
                    <a:pt x="185736" y="0"/>
                  </a:lnTo>
                  <a:cubicBezTo>
                    <a:pt x="146143" y="0"/>
                    <a:pt x="110964" y="32084"/>
                    <a:pt x="107232" y="71723"/>
                  </a:cubicBezTo>
                  <a:cubicBezTo>
                    <a:pt x="71598" y="446904"/>
                    <a:pt x="35964" y="822084"/>
                    <a:pt x="330" y="1197310"/>
                  </a:cubicBezTo>
                  <a:cubicBezTo>
                    <a:pt x="-3447" y="1236903"/>
                    <a:pt x="25634" y="1269033"/>
                    <a:pt x="65227" y="1269033"/>
                  </a:cubicBezTo>
                  <a:lnTo>
                    <a:pt x="1190813" y="1269033"/>
                  </a:lnTo>
                  <a:cubicBezTo>
                    <a:pt x="1230406" y="1269033"/>
                    <a:pt x="1265585" y="1236949"/>
                    <a:pt x="1269317" y="1197310"/>
                  </a:cubicBezTo>
                  <a:cubicBezTo>
                    <a:pt x="1304952" y="822130"/>
                    <a:pt x="1340586" y="446949"/>
                    <a:pt x="1376219" y="71723"/>
                  </a:cubicBezTo>
                  <a:cubicBezTo>
                    <a:pt x="1379997" y="32130"/>
                    <a:pt x="1350916" y="0"/>
                    <a:pt x="1311323" y="0"/>
                  </a:cubicBezTo>
                  <a:close/>
                </a:path>
              </a:pathLst>
            </a:custGeom>
            <a:solidFill>
              <a:srgbClr val="34373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0" name="Freeform: Shape 629">
              <a:extLst>
                <a:ext uri="{FF2B5EF4-FFF2-40B4-BE49-F238E27FC236}">
                  <a16:creationId xmlns:a16="http://schemas.microsoft.com/office/drawing/2014/main" id="{00FD7A6D-A3F2-F313-00F6-2F33D7EC04AE}"/>
                </a:ext>
              </a:extLst>
            </p:cNvPr>
            <p:cNvSpPr/>
            <p:nvPr/>
          </p:nvSpPr>
          <p:spPr>
            <a:xfrm>
              <a:off x="1634989" y="5898967"/>
              <a:ext cx="7067" cy="7031"/>
            </a:xfrm>
            <a:custGeom>
              <a:avLst/>
              <a:gdLst>
                <a:gd name="connsiteX0" fmla="*/ 40396 w 73829"/>
                <a:gd name="connsiteY0" fmla="*/ 0 h 73452"/>
                <a:gd name="connsiteX1" fmla="*/ 165 w 73829"/>
                <a:gd name="connsiteY1" fmla="*/ 36726 h 73452"/>
                <a:gd name="connsiteX2" fmla="*/ 33433 w 73829"/>
                <a:gd name="connsiteY2" fmla="*/ 73452 h 73452"/>
                <a:gd name="connsiteX3" fmla="*/ 73664 w 73829"/>
                <a:gd name="connsiteY3" fmla="*/ 36726 h 73452"/>
                <a:gd name="connsiteX4" fmla="*/ 40396 w 73829"/>
                <a:gd name="connsiteY4" fmla="*/ 0 h 73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29" h="73452">
                  <a:moveTo>
                    <a:pt x="40396" y="0"/>
                  </a:moveTo>
                  <a:cubicBezTo>
                    <a:pt x="20099" y="0"/>
                    <a:pt x="2077" y="16474"/>
                    <a:pt x="165" y="36726"/>
                  </a:cubicBezTo>
                  <a:cubicBezTo>
                    <a:pt x="-1746" y="57023"/>
                    <a:pt x="13136" y="73452"/>
                    <a:pt x="33433" y="73452"/>
                  </a:cubicBezTo>
                  <a:cubicBezTo>
                    <a:pt x="53730" y="73452"/>
                    <a:pt x="71753" y="57023"/>
                    <a:pt x="73664" y="36726"/>
                  </a:cubicBezTo>
                  <a:cubicBezTo>
                    <a:pt x="75575" y="16429"/>
                    <a:pt x="60693" y="0"/>
                    <a:pt x="40396" y="0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1" name="Freeform: Shape 630">
              <a:extLst>
                <a:ext uri="{FF2B5EF4-FFF2-40B4-BE49-F238E27FC236}">
                  <a16:creationId xmlns:a16="http://schemas.microsoft.com/office/drawing/2014/main" id="{EBC57DE2-2AE1-0D79-D3CB-BA4E4B06DA37}"/>
                </a:ext>
              </a:extLst>
            </p:cNvPr>
            <p:cNvSpPr/>
            <p:nvPr/>
          </p:nvSpPr>
          <p:spPr>
            <a:xfrm>
              <a:off x="1686776" y="5802956"/>
              <a:ext cx="91427" cy="84284"/>
            </a:xfrm>
            <a:custGeom>
              <a:avLst/>
              <a:gdLst>
                <a:gd name="connsiteX0" fmla="*/ 909914 w 955193"/>
                <a:gd name="connsiteY0" fmla="*/ 0 h 880563"/>
                <a:gd name="connsiteX1" fmla="*/ 128880 w 955193"/>
                <a:gd name="connsiteY1" fmla="*/ 0 h 880563"/>
                <a:gd name="connsiteX2" fmla="*/ 74406 w 955193"/>
                <a:gd name="connsiteY2" fmla="*/ 49742 h 880563"/>
                <a:gd name="connsiteX3" fmla="*/ 225 w 955193"/>
                <a:gd name="connsiteY3" fmla="*/ 830822 h 880563"/>
                <a:gd name="connsiteX4" fmla="*/ 45279 w 955193"/>
                <a:gd name="connsiteY4" fmla="*/ 880563 h 880563"/>
                <a:gd name="connsiteX5" fmla="*/ 826314 w 955193"/>
                <a:gd name="connsiteY5" fmla="*/ 880563 h 880563"/>
                <a:gd name="connsiteX6" fmla="*/ 880788 w 955193"/>
                <a:gd name="connsiteY6" fmla="*/ 830822 h 880563"/>
                <a:gd name="connsiteX7" fmla="*/ 954969 w 955193"/>
                <a:gd name="connsiteY7" fmla="*/ 49742 h 880563"/>
                <a:gd name="connsiteX8" fmla="*/ 909914 w 955193"/>
                <a:gd name="connsiteY8" fmla="*/ 0 h 880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55193" h="880563">
                  <a:moveTo>
                    <a:pt x="909914" y="0"/>
                  </a:moveTo>
                  <a:lnTo>
                    <a:pt x="128880" y="0"/>
                  </a:lnTo>
                  <a:cubicBezTo>
                    <a:pt x="101392" y="0"/>
                    <a:pt x="76999" y="22300"/>
                    <a:pt x="74406" y="49742"/>
                  </a:cubicBezTo>
                  <a:cubicBezTo>
                    <a:pt x="49693" y="310102"/>
                    <a:pt x="24936" y="570462"/>
                    <a:pt x="225" y="830822"/>
                  </a:cubicBezTo>
                  <a:cubicBezTo>
                    <a:pt x="-2370" y="858310"/>
                    <a:pt x="17791" y="880563"/>
                    <a:pt x="45279" y="880563"/>
                  </a:cubicBezTo>
                  <a:lnTo>
                    <a:pt x="826314" y="880563"/>
                  </a:lnTo>
                  <a:cubicBezTo>
                    <a:pt x="853802" y="880563"/>
                    <a:pt x="878194" y="858264"/>
                    <a:pt x="880788" y="830822"/>
                  </a:cubicBezTo>
                  <a:cubicBezTo>
                    <a:pt x="905500" y="570462"/>
                    <a:pt x="930257" y="310102"/>
                    <a:pt x="954969" y="49742"/>
                  </a:cubicBezTo>
                  <a:cubicBezTo>
                    <a:pt x="957562" y="22254"/>
                    <a:pt x="937402" y="0"/>
                    <a:pt x="909914" y="0"/>
                  </a:cubicBez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32" name="Graphic 4">
              <a:extLst>
                <a:ext uri="{FF2B5EF4-FFF2-40B4-BE49-F238E27FC236}">
                  <a16:creationId xmlns:a16="http://schemas.microsoft.com/office/drawing/2014/main" id="{AB26C1E8-8150-D17F-0C9F-5DF735019E73}"/>
                </a:ext>
              </a:extLst>
            </p:cNvPr>
            <p:cNvGrpSpPr/>
            <p:nvPr/>
          </p:nvGrpSpPr>
          <p:grpSpPr>
            <a:xfrm>
              <a:off x="1701071" y="5819740"/>
              <a:ext cx="62470" cy="51553"/>
              <a:chOff x="24361048" y="2190913"/>
              <a:chExt cx="652674" cy="538605"/>
            </a:xfrm>
            <a:solidFill>
              <a:srgbClr val="FFFFFF"/>
            </a:solidFill>
          </p:grpSpPr>
          <p:grpSp>
            <p:nvGrpSpPr>
              <p:cNvPr id="692" name="Graphic 4">
                <a:extLst>
                  <a:ext uri="{FF2B5EF4-FFF2-40B4-BE49-F238E27FC236}">
                    <a16:creationId xmlns:a16="http://schemas.microsoft.com/office/drawing/2014/main" id="{97C452B7-3638-0FF4-0A8A-7D2BA1819365}"/>
                  </a:ext>
                </a:extLst>
              </p:cNvPr>
              <p:cNvGrpSpPr/>
              <p:nvPr/>
            </p:nvGrpSpPr>
            <p:grpSpPr>
              <a:xfrm>
                <a:off x="24361048" y="2190913"/>
                <a:ext cx="323066" cy="538605"/>
                <a:chOff x="24361048" y="2190913"/>
                <a:chExt cx="323066" cy="538605"/>
              </a:xfrm>
              <a:solidFill>
                <a:srgbClr val="FFFFFF"/>
              </a:solidFill>
            </p:grpSpPr>
            <p:sp>
              <p:nvSpPr>
                <p:cNvPr id="698" name="Freeform: Shape 697">
                  <a:extLst>
                    <a:ext uri="{FF2B5EF4-FFF2-40B4-BE49-F238E27FC236}">
                      <a16:creationId xmlns:a16="http://schemas.microsoft.com/office/drawing/2014/main" id="{BE0F9432-FC40-7B88-61CD-6761831D5608}"/>
                    </a:ext>
                  </a:extLst>
                </p:cNvPr>
                <p:cNvSpPr/>
                <p:nvPr/>
              </p:nvSpPr>
              <p:spPr>
                <a:xfrm>
                  <a:off x="24361048" y="2265139"/>
                  <a:ext cx="306632" cy="464379"/>
                </a:xfrm>
                <a:custGeom>
                  <a:avLst/>
                  <a:gdLst>
                    <a:gd name="connsiteX0" fmla="*/ 125 w 306632"/>
                    <a:gd name="connsiteY0" fmla="*/ 436209 h 464379"/>
                    <a:gd name="connsiteX1" fmla="*/ 25611 w 306632"/>
                    <a:gd name="connsiteY1" fmla="*/ 464379 h 464379"/>
                    <a:gd name="connsiteX2" fmla="*/ 234408 w 306632"/>
                    <a:gd name="connsiteY2" fmla="*/ 464379 h 464379"/>
                    <a:gd name="connsiteX3" fmla="*/ 265218 w 306632"/>
                    <a:gd name="connsiteY3" fmla="*/ 436209 h 464379"/>
                    <a:gd name="connsiteX4" fmla="*/ 306632 w 306632"/>
                    <a:gd name="connsiteY4" fmla="*/ 0 h 464379"/>
                    <a:gd name="connsiteX5" fmla="*/ 41494 w 306632"/>
                    <a:gd name="connsiteY5" fmla="*/ 0 h 464379"/>
                    <a:gd name="connsiteX6" fmla="*/ 79 w 306632"/>
                    <a:gd name="connsiteY6" fmla="*/ 436209 h 464379"/>
                    <a:gd name="connsiteX7" fmla="*/ 287473 w 306632"/>
                    <a:gd name="connsiteY7" fmla="*/ 17612 h 464379"/>
                    <a:gd name="connsiteX8" fmla="*/ 247697 w 306632"/>
                    <a:gd name="connsiteY8" fmla="*/ 436254 h 464379"/>
                    <a:gd name="connsiteX9" fmla="*/ 236092 w 306632"/>
                    <a:gd name="connsiteY9" fmla="*/ 446858 h 464379"/>
                    <a:gd name="connsiteX10" fmla="*/ 27294 w 306632"/>
                    <a:gd name="connsiteY10" fmla="*/ 446858 h 464379"/>
                    <a:gd name="connsiteX11" fmla="*/ 17692 w 306632"/>
                    <a:gd name="connsiteY11" fmla="*/ 436254 h 464379"/>
                    <a:gd name="connsiteX12" fmla="*/ 57467 w 306632"/>
                    <a:gd name="connsiteY12" fmla="*/ 17612 h 464379"/>
                    <a:gd name="connsiteX13" fmla="*/ 287473 w 306632"/>
                    <a:gd name="connsiteY13" fmla="*/ 17612 h 464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306632" h="464379">
                      <a:moveTo>
                        <a:pt x="125" y="436209"/>
                      </a:moveTo>
                      <a:cubicBezTo>
                        <a:pt x="-1330" y="451728"/>
                        <a:pt x="10092" y="464379"/>
                        <a:pt x="25611" y="464379"/>
                      </a:cubicBezTo>
                      <a:lnTo>
                        <a:pt x="234408" y="464379"/>
                      </a:lnTo>
                      <a:cubicBezTo>
                        <a:pt x="249927" y="464379"/>
                        <a:pt x="263762" y="451728"/>
                        <a:pt x="265218" y="436209"/>
                      </a:cubicBezTo>
                      <a:cubicBezTo>
                        <a:pt x="279007" y="290806"/>
                        <a:pt x="292843" y="145403"/>
                        <a:pt x="306632" y="0"/>
                      </a:cubicBezTo>
                      <a:lnTo>
                        <a:pt x="41494" y="0"/>
                      </a:lnTo>
                      <a:cubicBezTo>
                        <a:pt x="27704" y="145403"/>
                        <a:pt x="13869" y="290806"/>
                        <a:pt x="79" y="436209"/>
                      </a:cubicBezTo>
                      <a:close/>
                      <a:moveTo>
                        <a:pt x="287473" y="17612"/>
                      </a:moveTo>
                      <a:cubicBezTo>
                        <a:pt x="274229" y="157144"/>
                        <a:pt x="260986" y="296722"/>
                        <a:pt x="247697" y="436254"/>
                      </a:cubicBezTo>
                      <a:cubicBezTo>
                        <a:pt x="247151" y="442080"/>
                        <a:pt x="241918" y="446858"/>
                        <a:pt x="236092" y="446858"/>
                      </a:cubicBezTo>
                      <a:lnTo>
                        <a:pt x="27294" y="446858"/>
                      </a:lnTo>
                      <a:cubicBezTo>
                        <a:pt x="21470" y="446858"/>
                        <a:pt x="17146" y="442125"/>
                        <a:pt x="17692" y="436254"/>
                      </a:cubicBezTo>
                      <a:cubicBezTo>
                        <a:pt x="30935" y="296722"/>
                        <a:pt x="44179" y="157144"/>
                        <a:pt x="57467" y="17612"/>
                      </a:cubicBezTo>
                      <a:lnTo>
                        <a:pt x="287473" y="176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99" name="Freeform: Shape 698">
                  <a:extLst>
                    <a:ext uri="{FF2B5EF4-FFF2-40B4-BE49-F238E27FC236}">
                      <a16:creationId xmlns:a16="http://schemas.microsoft.com/office/drawing/2014/main" id="{15E5A4DE-C25D-BC3D-2328-45FC00E2E062}"/>
                    </a:ext>
                  </a:extLst>
                </p:cNvPr>
                <p:cNvSpPr/>
                <p:nvPr/>
              </p:nvSpPr>
              <p:spPr>
                <a:xfrm>
                  <a:off x="24391296" y="2190913"/>
                  <a:ext cx="292818" cy="95160"/>
                </a:xfrm>
                <a:custGeom>
                  <a:avLst/>
                  <a:gdLst>
                    <a:gd name="connsiteX0" fmla="*/ 282301 w 292818"/>
                    <a:gd name="connsiteY0" fmla="*/ 0 h 95160"/>
                    <a:gd name="connsiteX1" fmla="*/ 19620 w 292818"/>
                    <a:gd name="connsiteY1" fmla="*/ 0 h 95160"/>
                    <a:gd name="connsiteX2" fmla="*/ 6877 w 292818"/>
                    <a:gd name="connsiteY2" fmla="*/ 11605 h 95160"/>
                    <a:gd name="connsiteX3" fmla="*/ 50 w 292818"/>
                    <a:gd name="connsiteY3" fmla="*/ 83555 h 95160"/>
                    <a:gd name="connsiteX4" fmla="*/ 10563 w 292818"/>
                    <a:gd name="connsiteY4" fmla="*/ 95160 h 95160"/>
                    <a:gd name="connsiteX5" fmla="*/ 273244 w 292818"/>
                    <a:gd name="connsiteY5" fmla="*/ 95160 h 95160"/>
                    <a:gd name="connsiteX6" fmla="*/ 285942 w 292818"/>
                    <a:gd name="connsiteY6" fmla="*/ 83555 h 95160"/>
                    <a:gd name="connsiteX7" fmla="*/ 292768 w 292818"/>
                    <a:gd name="connsiteY7" fmla="*/ 11605 h 95160"/>
                    <a:gd name="connsiteX8" fmla="*/ 282255 w 292818"/>
                    <a:gd name="connsiteY8" fmla="*/ 0 h 95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92818" h="95160">
                      <a:moveTo>
                        <a:pt x="282301" y="0"/>
                      </a:moveTo>
                      <a:lnTo>
                        <a:pt x="19620" y="0"/>
                      </a:lnTo>
                      <a:cubicBezTo>
                        <a:pt x="13202" y="0"/>
                        <a:pt x="7514" y="5188"/>
                        <a:pt x="6877" y="11605"/>
                      </a:cubicBezTo>
                      <a:cubicBezTo>
                        <a:pt x="4146" y="40367"/>
                        <a:pt x="2780" y="54793"/>
                        <a:pt x="50" y="83555"/>
                      </a:cubicBezTo>
                      <a:cubicBezTo>
                        <a:pt x="-542" y="89972"/>
                        <a:pt x="4146" y="95160"/>
                        <a:pt x="10563" y="95160"/>
                      </a:cubicBezTo>
                      <a:lnTo>
                        <a:pt x="273244" y="95160"/>
                      </a:lnTo>
                      <a:cubicBezTo>
                        <a:pt x="279661" y="95160"/>
                        <a:pt x="285349" y="89972"/>
                        <a:pt x="285942" y="83555"/>
                      </a:cubicBezTo>
                      <a:cubicBezTo>
                        <a:pt x="288671" y="54793"/>
                        <a:pt x="290037" y="40367"/>
                        <a:pt x="292768" y="11605"/>
                      </a:cubicBezTo>
                      <a:cubicBezTo>
                        <a:pt x="293359" y="5188"/>
                        <a:pt x="288671" y="0"/>
                        <a:pt x="282255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00" name="Freeform: Shape 699">
                  <a:extLst>
                    <a:ext uri="{FF2B5EF4-FFF2-40B4-BE49-F238E27FC236}">
                      <a16:creationId xmlns:a16="http://schemas.microsoft.com/office/drawing/2014/main" id="{8AF7E898-B9F8-C0FE-0C23-83644720DC14}"/>
                    </a:ext>
                  </a:extLst>
                </p:cNvPr>
                <p:cNvSpPr/>
                <p:nvPr/>
              </p:nvSpPr>
              <p:spPr>
                <a:xfrm>
                  <a:off x="24444410" y="2389926"/>
                  <a:ext cx="205111" cy="214895"/>
                </a:xfrm>
                <a:custGeom>
                  <a:avLst/>
                  <a:gdLst>
                    <a:gd name="connsiteX0" fmla="*/ 0 w 205111"/>
                    <a:gd name="connsiteY0" fmla="*/ 214896 h 214895"/>
                    <a:gd name="connsiteX1" fmla="*/ 184724 w 205111"/>
                    <a:gd name="connsiteY1" fmla="*/ 214896 h 214895"/>
                    <a:gd name="connsiteX2" fmla="*/ 205112 w 205111"/>
                    <a:gd name="connsiteY2" fmla="*/ 0 h 214895"/>
                    <a:gd name="connsiteX3" fmla="*/ 20388 w 205111"/>
                    <a:gd name="connsiteY3" fmla="*/ 0 h 214895"/>
                    <a:gd name="connsiteX4" fmla="*/ 0 w 205111"/>
                    <a:gd name="connsiteY4" fmla="*/ 214896 h 214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5111" h="214895">
                      <a:moveTo>
                        <a:pt x="0" y="214896"/>
                      </a:moveTo>
                      <a:lnTo>
                        <a:pt x="184724" y="214896"/>
                      </a:lnTo>
                      <a:cubicBezTo>
                        <a:pt x="191550" y="143264"/>
                        <a:pt x="198331" y="71632"/>
                        <a:pt x="205112" y="0"/>
                      </a:cubicBezTo>
                      <a:lnTo>
                        <a:pt x="20388" y="0"/>
                      </a:lnTo>
                      <a:cubicBezTo>
                        <a:pt x="13607" y="71632"/>
                        <a:pt x="6781" y="143264"/>
                        <a:pt x="0" y="21489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93" name="Graphic 4">
                <a:extLst>
                  <a:ext uri="{FF2B5EF4-FFF2-40B4-BE49-F238E27FC236}">
                    <a16:creationId xmlns:a16="http://schemas.microsoft.com/office/drawing/2014/main" id="{8CC4A9C9-C1B9-AE8D-27B8-7D9A780D0B93}"/>
                  </a:ext>
                </a:extLst>
              </p:cNvPr>
              <p:cNvGrpSpPr/>
              <p:nvPr/>
            </p:nvGrpSpPr>
            <p:grpSpPr>
              <a:xfrm>
                <a:off x="24725170" y="2314152"/>
                <a:ext cx="288552" cy="283296"/>
                <a:chOff x="24725170" y="2314152"/>
                <a:chExt cx="288552" cy="283296"/>
              </a:xfrm>
              <a:solidFill>
                <a:srgbClr val="FFFFFF"/>
              </a:solidFill>
            </p:grpSpPr>
            <p:sp>
              <p:nvSpPr>
                <p:cNvPr id="694" name="Freeform: Shape 693">
                  <a:extLst>
                    <a:ext uri="{FF2B5EF4-FFF2-40B4-BE49-F238E27FC236}">
                      <a16:creationId xmlns:a16="http://schemas.microsoft.com/office/drawing/2014/main" id="{C35CB7D5-69B0-5AAB-365B-5A96FD2CA304}"/>
                    </a:ext>
                  </a:extLst>
                </p:cNvPr>
                <p:cNvSpPr/>
                <p:nvPr/>
              </p:nvSpPr>
              <p:spPr>
                <a:xfrm>
                  <a:off x="24855691" y="2363075"/>
                  <a:ext cx="102839" cy="101440"/>
                </a:xfrm>
                <a:custGeom>
                  <a:avLst/>
                  <a:gdLst>
                    <a:gd name="connsiteX0" fmla="*/ 73622 w 102839"/>
                    <a:gd name="connsiteY0" fmla="*/ 31220 h 101440"/>
                    <a:gd name="connsiteX1" fmla="*/ 62746 w 102839"/>
                    <a:gd name="connsiteY1" fmla="*/ 16884 h 101440"/>
                    <a:gd name="connsiteX2" fmla="*/ 55009 w 102839"/>
                    <a:gd name="connsiteY2" fmla="*/ 0 h 101440"/>
                    <a:gd name="connsiteX3" fmla="*/ 13596 w 102839"/>
                    <a:gd name="connsiteY3" fmla="*/ 37773 h 101440"/>
                    <a:gd name="connsiteX4" fmla="*/ 8589 w 102839"/>
                    <a:gd name="connsiteY4" fmla="*/ 90519 h 101440"/>
                    <a:gd name="connsiteX5" fmla="*/ 61426 w 102839"/>
                    <a:gd name="connsiteY5" fmla="*/ 90519 h 101440"/>
                    <a:gd name="connsiteX6" fmla="*/ 102839 w 102839"/>
                    <a:gd name="connsiteY6" fmla="*/ 52746 h 101440"/>
                    <a:gd name="connsiteX7" fmla="*/ 86774 w 102839"/>
                    <a:gd name="connsiteY7" fmla="*/ 43462 h 101440"/>
                    <a:gd name="connsiteX8" fmla="*/ 73577 w 102839"/>
                    <a:gd name="connsiteY8" fmla="*/ 31220 h 101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2839" h="101440">
                      <a:moveTo>
                        <a:pt x="73622" y="31220"/>
                      </a:moveTo>
                      <a:cubicBezTo>
                        <a:pt x="69617" y="26805"/>
                        <a:pt x="65932" y="22027"/>
                        <a:pt x="62746" y="16884"/>
                      </a:cubicBezTo>
                      <a:cubicBezTo>
                        <a:pt x="59605" y="11787"/>
                        <a:pt x="56784" y="6371"/>
                        <a:pt x="55009" y="0"/>
                      </a:cubicBezTo>
                      <a:cubicBezTo>
                        <a:pt x="38444" y="15109"/>
                        <a:pt x="30161" y="22664"/>
                        <a:pt x="13596" y="37773"/>
                      </a:cubicBezTo>
                      <a:cubicBezTo>
                        <a:pt x="-2333" y="52336"/>
                        <a:pt x="-4608" y="76001"/>
                        <a:pt x="8589" y="90519"/>
                      </a:cubicBezTo>
                      <a:cubicBezTo>
                        <a:pt x="21788" y="105081"/>
                        <a:pt x="45452" y="105081"/>
                        <a:pt x="61426" y="90519"/>
                      </a:cubicBezTo>
                      <a:cubicBezTo>
                        <a:pt x="77991" y="75409"/>
                        <a:pt x="86274" y="67855"/>
                        <a:pt x="102839" y="52746"/>
                      </a:cubicBezTo>
                      <a:cubicBezTo>
                        <a:pt x="96650" y="50379"/>
                        <a:pt x="91553" y="47057"/>
                        <a:pt x="86774" y="43462"/>
                      </a:cubicBezTo>
                      <a:cubicBezTo>
                        <a:pt x="81997" y="39821"/>
                        <a:pt x="77581" y="35679"/>
                        <a:pt x="73577" y="3122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95" name="Freeform: Shape 694">
                  <a:extLst>
                    <a:ext uri="{FF2B5EF4-FFF2-40B4-BE49-F238E27FC236}">
                      <a16:creationId xmlns:a16="http://schemas.microsoft.com/office/drawing/2014/main" id="{71B88C0A-68AD-A74C-0E41-D8662CB2B29F}"/>
                    </a:ext>
                  </a:extLst>
                </p:cNvPr>
                <p:cNvSpPr/>
                <p:nvPr/>
              </p:nvSpPr>
              <p:spPr>
                <a:xfrm>
                  <a:off x="24910928" y="2314152"/>
                  <a:ext cx="102794" cy="101440"/>
                </a:xfrm>
                <a:custGeom>
                  <a:avLst/>
                  <a:gdLst>
                    <a:gd name="connsiteX0" fmla="*/ 41414 w 102794"/>
                    <a:gd name="connsiteY0" fmla="*/ 10968 h 101440"/>
                    <a:gd name="connsiteX1" fmla="*/ 0 w 102794"/>
                    <a:gd name="connsiteY1" fmla="*/ 48741 h 101440"/>
                    <a:gd name="connsiteX2" fmla="*/ 16019 w 102794"/>
                    <a:gd name="connsiteY2" fmla="*/ 58025 h 101440"/>
                    <a:gd name="connsiteX3" fmla="*/ 29217 w 102794"/>
                    <a:gd name="connsiteY3" fmla="*/ 70221 h 101440"/>
                    <a:gd name="connsiteX4" fmla="*/ 40094 w 102794"/>
                    <a:gd name="connsiteY4" fmla="*/ 84557 h 101440"/>
                    <a:gd name="connsiteX5" fmla="*/ 47785 w 102794"/>
                    <a:gd name="connsiteY5" fmla="*/ 101441 h 101440"/>
                    <a:gd name="connsiteX6" fmla="*/ 89199 w 102794"/>
                    <a:gd name="connsiteY6" fmla="*/ 63668 h 101440"/>
                    <a:gd name="connsiteX7" fmla="*/ 94204 w 102794"/>
                    <a:gd name="connsiteY7" fmla="*/ 10922 h 101440"/>
                    <a:gd name="connsiteX8" fmla="*/ 41369 w 102794"/>
                    <a:gd name="connsiteY8" fmla="*/ 10922 h 101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2794" h="101440">
                      <a:moveTo>
                        <a:pt x="41414" y="10968"/>
                      </a:moveTo>
                      <a:cubicBezTo>
                        <a:pt x="24848" y="26077"/>
                        <a:pt x="16566" y="33632"/>
                        <a:pt x="0" y="48741"/>
                      </a:cubicBezTo>
                      <a:cubicBezTo>
                        <a:pt x="6144" y="51107"/>
                        <a:pt x="11286" y="54429"/>
                        <a:pt x="16019" y="58025"/>
                      </a:cubicBezTo>
                      <a:cubicBezTo>
                        <a:pt x="20844" y="61665"/>
                        <a:pt x="25212" y="65807"/>
                        <a:pt x="29217" y="70221"/>
                      </a:cubicBezTo>
                      <a:cubicBezTo>
                        <a:pt x="33222" y="74636"/>
                        <a:pt x="36909" y="79414"/>
                        <a:pt x="40094" y="84557"/>
                      </a:cubicBezTo>
                      <a:cubicBezTo>
                        <a:pt x="43234" y="89654"/>
                        <a:pt x="46056" y="95069"/>
                        <a:pt x="47785" y="101441"/>
                      </a:cubicBezTo>
                      <a:cubicBezTo>
                        <a:pt x="64351" y="86332"/>
                        <a:pt x="72633" y="78777"/>
                        <a:pt x="89199" y="63668"/>
                      </a:cubicBezTo>
                      <a:cubicBezTo>
                        <a:pt x="105127" y="49105"/>
                        <a:pt x="107403" y="25440"/>
                        <a:pt x="94204" y="10922"/>
                      </a:cubicBezTo>
                      <a:cubicBezTo>
                        <a:pt x="81007" y="-3641"/>
                        <a:pt x="57342" y="-3641"/>
                        <a:pt x="41369" y="1092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96" name="Freeform: Shape 695">
                  <a:extLst>
                    <a:ext uri="{FF2B5EF4-FFF2-40B4-BE49-F238E27FC236}">
                      <a16:creationId xmlns:a16="http://schemas.microsoft.com/office/drawing/2014/main" id="{18485852-4921-A561-0632-AAFCB73B1FFF}"/>
                    </a:ext>
                  </a:extLst>
                </p:cNvPr>
                <p:cNvSpPr/>
                <p:nvPr/>
              </p:nvSpPr>
              <p:spPr>
                <a:xfrm>
                  <a:off x="24725170" y="2447177"/>
                  <a:ext cx="100655" cy="101395"/>
                </a:xfrm>
                <a:custGeom>
                  <a:avLst/>
                  <a:gdLst>
                    <a:gd name="connsiteX0" fmla="*/ 13595 w 100655"/>
                    <a:gd name="connsiteY0" fmla="*/ 10877 h 101395"/>
                    <a:gd name="connsiteX1" fmla="*/ 8590 w 100655"/>
                    <a:gd name="connsiteY1" fmla="*/ 63622 h 101395"/>
                    <a:gd name="connsiteX2" fmla="*/ 42813 w 100655"/>
                    <a:gd name="connsiteY2" fmla="*/ 101395 h 101395"/>
                    <a:gd name="connsiteX3" fmla="*/ 53735 w 100655"/>
                    <a:gd name="connsiteY3" fmla="*/ 84511 h 101395"/>
                    <a:gd name="connsiteX4" fmla="*/ 67342 w 100655"/>
                    <a:gd name="connsiteY4" fmla="*/ 70176 h 101395"/>
                    <a:gd name="connsiteX5" fmla="*/ 82862 w 100655"/>
                    <a:gd name="connsiteY5" fmla="*/ 57979 h 101395"/>
                    <a:gd name="connsiteX6" fmla="*/ 100656 w 100655"/>
                    <a:gd name="connsiteY6" fmla="*/ 48695 h 101395"/>
                    <a:gd name="connsiteX7" fmla="*/ 66432 w 100655"/>
                    <a:gd name="connsiteY7" fmla="*/ 10922 h 101395"/>
                    <a:gd name="connsiteX8" fmla="*/ 13595 w 100655"/>
                    <a:gd name="connsiteY8" fmla="*/ 10922 h 101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0655" h="101395">
                      <a:moveTo>
                        <a:pt x="13595" y="10877"/>
                      </a:moveTo>
                      <a:cubicBezTo>
                        <a:pt x="-2333" y="25440"/>
                        <a:pt x="-4608" y="49105"/>
                        <a:pt x="8590" y="63622"/>
                      </a:cubicBezTo>
                      <a:cubicBezTo>
                        <a:pt x="22288" y="78731"/>
                        <a:pt x="29115" y="86286"/>
                        <a:pt x="42813" y="101395"/>
                      </a:cubicBezTo>
                      <a:cubicBezTo>
                        <a:pt x="45771" y="95024"/>
                        <a:pt x="49640" y="89563"/>
                        <a:pt x="53735" y="84511"/>
                      </a:cubicBezTo>
                      <a:cubicBezTo>
                        <a:pt x="57877" y="79369"/>
                        <a:pt x="62473" y="74590"/>
                        <a:pt x="67342" y="70176"/>
                      </a:cubicBezTo>
                      <a:cubicBezTo>
                        <a:pt x="72212" y="65761"/>
                        <a:pt x="77354" y="61620"/>
                        <a:pt x="82862" y="57979"/>
                      </a:cubicBezTo>
                      <a:cubicBezTo>
                        <a:pt x="88277" y="54384"/>
                        <a:pt x="94057" y="51016"/>
                        <a:pt x="100656" y="48695"/>
                      </a:cubicBezTo>
                      <a:cubicBezTo>
                        <a:pt x="86957" y="33586"/>
                        <a:pt x="80131" y="26032"/>
                        <a:pt x="66432" y="10922"/>
                      </a:cubicBezTo>
                      <a:cubicBezTo>
                        <a:pt x="53235" y="-3641"/>
                        <a:pt x="29569" y="-3641"/>
                        <a:pt x="13595" y="1092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97" name="Freeform: Shape 696">
                  <a:extLst>
                    <a:ext uri="{FF2B5EF4-FFF2-40B4-BE49-F238E27FC236}">
                      <a16:creationId xmlns:a16="http://schemas.microsoft.com/office/drawing/2014/main" id="{92840D03-8AD7-EDBF-54EE-3D2D3860AA25}"/>
                    </a:ext>
                  </a:extLst>
                </p:cNvPr>
                <p:cNvSpPr/>
                <p:nvPr/>
              </p:nvSpPr>
              <p:spPr>
                <a:xfrm>
                  <a:off x="24768119" y="2496008"/>
                  <a:ext cx="100654" cy="101440"/>
                </a:xfrm>
                <a:custGeom>
                  <a:avLst/>
                  <a:gdLst>
                    <a:gd name="connsiteX0" fmla="*/ 57842 w 100654"/>
                    <a:gd name="connsiteY0" fmla="*/ 0 h 101440"/>
                    <a:gd name="connsiteX1" fmla="*/ 46919 w 100654"/>
                    <a:gd name="connsiteY1" fmla="*/ 16884 h 101440"/>
                    <a:gd name="connsiteX2" fmla="*/ 33312 w 100654"/>
                    <a:gd name="connsiteY2" fmla="*/ 31220 h 101440"/>
                    <a:gd name="connsiteX3" fmla="*/ 17794 w 100654"/>
                    <a:gd name="connsiteY3" fmla="*/ 43462 h 101440"/>
                    <a:gd name="connsiteX4" fmla="*/ 0 w 100654"/>
                    <a:gd name="connsiteY4" fmla="*/ 52746 h 101440"/>
                    <a:gd name="connsiteX5" fmla="*/ 34223 w 100654"/>
                    <a:gd name="connsiteY5" fmla="*/ 90519 h 101440"/>
                    <a:gd name="connsiteX6" fmla="*/ 87059 w 100654"/>
                    <a:gd name="connsiteY6" fmla="*/ 90519 h 101440"/>
                    <a:gd name="connsiteX7" fmla="*/ 92066 w 100654"/>
                    <a:gd name="connsiteY7" fmla="*/ 37773 h 101440"/>
                    <a:gd name="connsiteX8" fmla="*/ 57842 w 100654"/>
                    <a:gd name="connsiteY8" fmla="*/ 0 h 101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0654" h="101440">
                      <a:moveTo>
                        <a:pt x="57842" y="0"/>
                      </a:moveTo>
                      <a:cubicBezTo>
                        <a:pt x="54884" y="6371"/>
                        <a:pt x="51016" y="11787"/>
                        <a:pt x="46919" y="16884"/>
                      </a:cubicBezTo>
                      <a:cubicBezTo>
                        <a:pt x="42779" y="22027"/>
                        <a:pt x="38182" y="26805"/>
                        <a:pt x="33312" y="31220"/>
                      </a:cubicBezTo>
                      <a:cubicBezTo>
                        <a:pt x="28443" y="35634"/>
                        <a:pt x="23300" y="39775"/>
                        <a:pt x="17794" y="43462"/>
                      </a:cubicBezTo>
                      <a:cubicBezTo>
                        <a:pt x="12378" y="47057"/>
                        <a:pt x="6599" y="50425"/>
                        <a:pt x="0" y="52746"/>
                      </a:cubicBezTo>
                      <a:cubicBezTo>
                        <a:pt x="13698" y="67855"/>
                        <a:pt x="20525" y="75409"/>
                        <a:pt x="34223" y="90519"/>
                      </a:cubicBezTo>
                      <a:cubicBezTo>
                        <a:pt x="47421" y="105081"/>
                        <a:pt x="71085" y="105081"/>
                        <a:pt x="87059" y="90519"/>
                      </a:cubicBezTo>
                      <a:cubicBezTo>
                        <a:pt x="102988" y="75955"/>
                        <a:pt x="105263" y="52291"/>
                        <a:pt x="92066" y="37773"/>
                      </a:cubicBezTo>
                      <a:cubicBezTo>
                        <a:pt x="78367" y="22664"/>
                        <a:pt x="71541" y="15109"/>
                        <a:pt x="57842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33" name="Freeform: Shape 632">
              <a:extLst>
                <a:ext uri="{FF2B5EF4-FFF2-40B4-BE49-F238E27FC236}">
                  <a16:creationId xmlns:a16="http://schemas.microsoft.com/office/drawing/2014/main" id="{C45C245D-0A12-58B0-D834-08BF95543A6C}"/>
                </a:ext>
              </a:extLst>
            </p:cNvPr>
            <p:cNvSpPr/>
            <p:nvPr/>
          </p:nvSpPr>
          <p:spPr>
            <a:xfrm>
              <a:off x="1170025" y="5654672"/>
              <a:ext cx="172580" cy="101932"/>
            </a:xfrm>
            <a:custGeom>
              <a:avLst/>
              <a:gdLst>
                <a:gd name="connsiteX0" fmla="*/ 1559566 w 1803045"/>
                <a:gd name="connsiteY0" fmla="*/ 490384 h 1064946"/>
                <a:gd name="connsiteX1" fmla="*/ 1573993 w 1803045"/>
                <a:gd name="connsiteY1" fmla="*/ 423849 h 1064946"/>
                <a:gd name="connsiteX2" fmla="*/ 1247007 w 1803045"/>
                <a:gd name="connsiteY2" fmla="*/ 55267 h 1064946"/>
                <a:gd name="connsiteX3" fmla="*/ 1019323 w 1803045"/>
                <a:gd name="connsiteY3" fmla="*/ 125261 h 1064946"/>
                <a:gd name="connsiteX4" fmla="*/ 742534 w 1803045"/>
                <a:gd name="connsiteY4" fmla="*/ 246 h 1064946"/>
                <a:gd name="connsiteX5" fmla="*/ 291580 w 1803045"/>
                <a:gd name="connsiteY5" fmla="*/ 396315 h 1064946"/>
                <a:gd name="connsiteX6" fmla="*/ 291398 w 1803045"/>
                <a:gd name="connsiteY6" fmla="*/ 492432 h 1064946"/>
                <a:gd name="connsiteX7" fmla="*/ 2094 w 1803045"/>
                <a:gd name="connsiteY7" fmla="*/ 777458 h 1064946"/>
                <a:gd name="connsiteX8" fmla="*/ 256765 w 1803045"/>
                <a:gd name="connsiteY8" fmla="*/ 1064896 h 1064946"/>
                <a:gd name="connsiteX9" fmla="*/ 1474008 w 1803045"/>
                <a:gd name="connsiteY9" fmla="*/ 1064896 h 1064946"/>
                <a:gd name="connsiteX10" fmla="*/ 1800949 w 1803045"/>
                <a:gd name="connsiteY10" fmla="*/ 777458 h 1064946"/>
                <a:gd name="connsiteX11" fmla="*/ 1559566 w 1803045"/>
                <a:gd name="connsiteY11" fmla="*/ 490293 h 1064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3045" h="1064946">
                  <a:moveTo>
                    <a:pt x="1559566" y="490384"/>
                  </a:moveTo>
                  <a:cubicBezTo>
                    <a:pt x="1566256" y="468812"/>
                    <a:pt x="1571126" y="446558"/>
                    <a:pt x="1573993" y="423849"/>
                  </a:cubicBezTo>
                  <a:cubicBezTo>
                    <a:pt x="1599251" y="224244"/>
                    <a:pt x="1441424" y="49032"/>
                    <a:pt x="1247007" y="55267"/>
                  </a:cubicBezTo>
                  <a:cubicBezTo>
                    <a:pt x="1164316" y="57952"/>
                    <a:pt x="1093367" y="82163"/>
                    <a:pt x="1019323" y="125261"/>
                  </a:cubicBezTo>
                  <a:cubicBezTo>
                    <a:pt x="948328" y="39384"/>
                    <a:pt x="848025" y="4160"/>
                    <a:pt x="742534" y="246"/>
                  </a:cubicBezTo>
                  <a:cubicBezTo>
                    <a:pt x="526591" y="-7764"/>
                    <a:pt x="319569" y="180919"/>
                    <a:pt x="291580" y="396315"/>
                  </a:cubicBezTo>
                  <a:cubicBezTo>
                    <a:pt x="287302" y="429310"/>
                    <a:pt x="287530" y="461667"/>
                    <a:pt x="291398" y="492432"/>
                  </a:cubicBezTo>
                  <a:cubicBezTo>
                    <a:pt x="148862" y="510499"/>
                    <a:pt x="20480" y="635559"/>
                    <a:pt x="2094" y="777458"/>
                  </a:cubicBezTo>
                  <a:cubicBezTo>
                    <a:pt x="-17566" y="929095"/>
                    <a:pt x="103808" y="1065351"/>
                    <a:pt x="256765" y="1064896"/>
                  </a:cubicBezTo>
                  <a:lnTo>
                    <a:pt x="1474008" y="1064896"/>
                  </a:lnTo>
                  <a:cubicBezTo>
                    <a:pt x="1633519" y="1067945"/>
                    <a:pt x="1780925" y="933601"/>
                    <a:pt x="1800949" y="777458"/>
                  </a:cubicBezTo>
                  <a:cubicBezTo>
                    <a:pt x="1819699" y="630917"/>
                    <a:pt x="1710522" y="493114"/>
                    <a:pt x="1559566" y="490293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34" name="Graphic 4">
              <a:extLst>
                <a:ext uri="{FF2B5EF4-FFF2-40B4-BE49-F238E27FC236}">
                  <a16:creationId xmlns:a16="http://schemas.microsoft.com/office/drawing/2014/main" id="{09532B3E-8226-9308-8681-55C325139B94}"/>
                </a:ext>
              </a:extLst>
            </p:cNvPr>
            <p:cNvGrpSpPr/>
            <p:nvPr/>
          </p:nvGrpSpPr>
          <p:grpSpPr>
            <a:xfrm>
              <a:off x="1221945" y="5683271"/>
              <a:ext cx="72442" cy="55869"/>
              <a:chOff x="19354958" y="765150"/>
              <a:chExt cx="756840" cy="583700"/>
            </a:xfrm>
          </p:grpSpPr>
          <p:sp>
            <p:nvSpPr>
              <p:cNvPr id="689" name="Freeform: Shape 688">
                <a:extLst>
                  <a:ext uri="{FF2B5EF4-FFF2-40B4-BE49-F238E27FC236}">
                    <a16:creationId xmlns:a16="http://schemas.microsoft.com/office/drawing/2014/main" id="{398083F2-BA44-CE72-FCEF-B04D8A80FA6E}"/>
                  </a:ext>
                </a:extLst>
              </p:cNvPr>
              <p:cNvSpPr/>
              <p:nvPr/>
            </p:nvSpPr>
            <p:spPr>
              <a:xfrm>
                <a:off x="19354958" y="765150"/>
                <a:ext cx="756840" cy="583700"/>
              </a:xfrm>
              <a:custGeom>
                <a:avLst/>
                <a:gdLst>
                  <a:gd name="connsiteX0" fmla="*/ 727501 w 756840"/>
                  <a:gd name="connsiteY0" fmla="*/ 66485 h 583700"/>
                  <a:gd name="connsiteX1" fmla="*/ 348816 w 756840"/>
                  <a:gd name="connsiteY1" fmla="*/ 66485 h 583700"/>
                  <a:gd name="connsiteX2" fmla="*/ 298847 w 756840"/>
                  <a:gd name="connsiteY2" fmla="*/ 86 h 583700"/>
                  <a:gd name="connsiteX3" fmla="*/ 105158 w 756840"/>
                  <a:gd name="connsiteY3" fmla="*/ 86 h 583700"/>
                  <a:gd name="connsiteX4" fmla="*/ 66293 w 756840"/>
                  <a:gd name="connsiteY4" fmla="*/ 25845 h 583700"/>
                  <a:gd name="connsiteX5" fmla="*/ 57055 w 756840"/>
                  <a:gd name="connsiteY5" fmla="*/ 99206 h 583700"/>
                  <a:gd name="connsiteX6" fmla="*/ 50364 w 756840"/>
                  <a:gd name="connsiteY6" fmla="*/ 152543 h 583700"/>
                  <a:gd name="connsiteX7" fmla="*/ 258 w 756840"/>
                  <a:gd name="connsiteY7" fmla="*/ 550979 h 583700"/>
                  <a:gd name="connsiteX8" fmla="*/ 29293 w 756840"/>
                  <a:gd name="connsiteY8" fmla="*/ 583700 h 583700"/>
                  <a:gd name="connsiteX9" fmla="*/ 662513 w 756840"/>
                  <a:gd name="connsiteY9" fmla="*/ 583700 h 583700"/>
                  <a:gd name="connsiteX10" fmla="*/ 699785 w 756840"/>
                  <a:gd name="connsiteY10" fmla="*/ 550979 h 583700"/>
                  <a:gd name="connsiteX11" fmla="*/ 756581 w 756840"/>
                  <a:gd name="connsiteY11" fmla="*/ 99252 h 583700"/>
                  <a:gd name="connsiteX12" fmla="*/ 727546 w 756840"/>
                  <a:gd name="connsiteY12" fmla="*/ 66530 h 583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56840" h="583700">
                    <a:moveTo>
                      <a:pt x="727501" y="66485"/>
                    </a:moveTo>
                    <a:lnTo>
                      <a:pt x="348816" y="66485"/>
                    </a:lnTo>
                    <a:cubicBezTo>
                      <a:pt x="328837" y="39907"/>
                      <a:pt x="318825" y="26618"/>
                      <a:pt x="298847" y="86"/>
                    </a:cubicBezTo>
                    <a:lnTo>
                      <a:pt x="105158" y="86"/>
                    </a:lnTo>
                    <a:cubicBezTo>
                      <a:pt x="73711" y="-1734"/>
                      <a:pt x="66293" y="25845"/>
                      <a:pt x="66293" y="25845"/>
                    </a:cubicBezTo>
                    <a:cubicBezTo>
                      <a:pt x="62607" y="55198"/>
                      <a:pt x="60741" y="69852"/>
                      <a:pt x="57055" y="99206"/>
                    </a:cubicBezTo>
                    <a:cubicBezTo>
                      <a:pt x="54369" y="120550"/>
                      <a:pt x="53050" y="131199"/>
                      <a:pt x="50364" y="152543"/>
                    </a:cubicBezTo>
                    <a:cubicBezTo>
                      <a:pt x="33663" y="285340"/>
                      <a:pt x="16960" y="418137"/>
                      <a:pt x="258" y="550979"/>
                    </a:cubicBezTo>
                    <a:cubicBezTo>
                      <a:pt x="-2017" y="569046"/>
                      <a:pt x="10999" y="583700"/>
                      <a:pt x="29293" y="583700"/>
                    </a:cubicBezTo>
                    <a:lnTo>
                      <a:pt x="662513" y="583700"/>
                    </a:lnTo>
                    <a:cubicBezTo>
                      <a:pt x="680808" y="583700"/>
                      <a:pt x="697510" y="569046"/>
                      <a:pt x="699785" y="550979"/>
                    </a:cubicBezTo>
                    <a:cubicBezTo>
                      <a:pt x="718718" y="400388"/>
                      <a:pt x="737649" y="249797"/>
                      <a:pt x="756581" y="99252"/>
                    </a:cubicBezTo>
                    <a:cubicBezTo>
                      <a:pt x="758857" y="81184"/>
                      <a:pt x="745887" y="66530"/>
                      <a:pt x="727546" y="66530"/>
                    </a:cubicBezTo>
                    <a:close/>
                  </a:path>
                </a:pathLst>
              </a:custGeom>
              <a:solidFill>
                <a:srgbClr val="F4B008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0" name="Freeform: Shape 689">
                <a:extLst>
                  <a:ext uri="{FF2B5EF4-FFF2-40B4-BE49-F238E27FC236}">
                    <a16:creationId xmlns:a16="http://schemas.microsoft.com/office/drawing/2014/main" id="{BFAB9718-59A7-38E5-0AEF-C29421B8C6FF}"/>
                  </a:ext>
                </a:extLst>
              </p:cNvPr>
              <p:cNvSpPr/>
              <p:nvPr/>
            </p:nvSpPr>
            <p:spPr>
              <a:xfrm>
                <a:off x="19586733" y="946497"/>
                <a:ext cx="293164" cy="287405"/>
              </a:xfrm>
              <a:custGeom>
                <a:avLst/>
                <a:gdLst>
                  <a:gd name="connsiteX0" fmla="*/ 164645 w 293164"/>
                  <a:gd name="connsiteY0" fmla="*/ 49 h 287405"/>
                  <a:gd name="connsiteX1" fmla="*/ 1038 w 293164"/>
                  <a:gd name="connsiteY1" fmla="*/ 143722 h 287405"/>
                  <a:gd name="connsiteX2" fmla="*/ 128510 w 293164"/>
                  <a:gd name="connsiteY2" fmla="*/ 287396 h 287405"/>
                  <a:gd name="connsiteX3" fmla="*/ 292117 w 293164"/>
                  <a:gd name="connsiteY3" fmla="*/ 143722 h 287405"/>
                  <a:gd name="connsiteX4" fmla="*/ 164645 w 293164"/>
                  <a:gd name="connsiteY4" fmla="*/ 49 h 287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3164" h="287405">
                    <a:moveTo>
                      <a:pt x="164645" y="49"/>
                    </a:moveTo>
                    <a:cubicBezTo>
                      <a:pt x="88644" y="2188"/>
                      <a:pt x="11323" y="67630"/>
                      <a:pt x="1038" y="143722"/>
                    </a:cubicBezTo>
                    <a:cubicBezTo>
                      <a:pt x="-8974" y="217857"/>
                      <a:pt x="54921" y="286486"/>
                      <a:pt x="128510" y="287396"/>
                    </a:cubicBezTo>
                    <a:cubicBezTo>
                      <a:pt x="206832" y="288352"/>
                      <a:pt x="281877" y="220497"/>
                      <a:pt x="292117" y="143722"/>
                    </a:cubicBezTo>
                    <a:cubicBezTo>
                      <a:pt x="301993" y="69360"/>
                      <a:pt x="240691" y="-2136"/>
                      <a:pt x="164645" y="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1" name="Freeform: Shape 690">
                <a:extLst>
                  <a:ext uri="{FF2B5EF4-FFF2-40B4-BE49-F238E27FC236}">
                    <a16:creationId xmlns:a16="http://schemas.microsoft.com/office/drawing/2014/main" id="{7D182B58-3291-4720-0029-D484BE8F03F7}"/>
                  </a:ext>
                </a:extLst>
              </p:cNvPr>
              <p:cNvSpPr/>
              <p:nvPr/>
            </p:nvSpPr>
            <p:spPr>
              <a:xfrm>
                <a:off x="19649180" y="1007301"/>
                <a:ext cx="168259" cy="165836"/>
              </a:xfrm>
              <a:custGeom>
                <a:avLst/>
                <a:gdLst>
                  <a:gd name="connsiteX0" fmla="*/ 149390 w 168259"/>
                  <a:gd name="connsiteY0" fmla="*/ 61802 h 165836"/>
                  <a:gd name="connsiteX1" fmla="*/ 108159 w 168259"/>
                  <a:gd name="connsiteY1" fmla="*/ 61802 h 165836"/>
                  <a:gd name="connsiteX2" fmla="*/ 113256 w 168259"/>
                  <a:gd name="connsiteY2" fmla="*/ 21116 h 165836"/>
                  <a:gd name="connsiteX3" fmla="*/ 94552 w 168259"/>
                  <a:gd name="connsiteY3" fmla="*/ 0 h 165836"/>
                  <a:gd name="connsiteX4" fmla="*/ 70523 w 168259"/>
                  <a:gd name="connsiteY4" fmla="*/ 21116 h 165836"/>
                  <a:gd name="connsiteX5" fmla="*/ 65426 w 168259"/>
                  <a:gd name="connsiteY5" fmla="*/ 61802 h 165836"/>
                  <a:gd name="connsiteX6" fmla="*/ 24194 w 168259"/>
                  <a:gd name="connsiteY6" fmla="*/ 61802 h 165836"/>
                  <a:gd name="connsiteX7" fmla="*/ 164 w 168259"/>
                  <a:gd name="connsiteY7" fmla="*/ 82918 h 165836"/>
                  <a:gd name="connsiteX8" fmla="*/ 18869 w 168259"/>
                  <a:gd name="connsiteY8" fmla="*/ 104035 h 165836"/>
                  <a:gd name="connsiteX9" fmla="*/ 60101 w 168259"/>
                  <a:gd name="connsiteY9" fmla="*/ 104035 h 165836"/>
                  <a:gd name="connsiteX10" fmla="*/ 55004 w 168259"/>
                  <a:gd name="connsiteY10" fmla="*/ 144720 h 165836"/>
                  <a:gd name="connsiteX11" fmla="*/ 73708 w 168259"/>
                  <a:gd name="connsiteY11" fmla="*/ 165837 h 165836"/>
                  <a:gd name="connsiteX12" fmla="*/ 97737 w 168259"/>
                  <a:gd name="connsiteY12" fmla="*/ 144720 h 165836"/>
                  <a:gd name="connsiteX13" fmla="*/ 102834 w 168259"/>
                  <a:gd name="connsiteY13" fmla="*/ 104035 h 165836"/>
                  <a:gd name="connsiteX14" fmla="*/ 144066 w 168259"/>
                  <a:gd name="connsiteY14" fmla="*/ 104035 h 165836"/>
                  <a:gd name="connsiteX15" fmla="*/ 168095 w 168259"/>
                  <a:gd name="connsiteY15" fmla="*/ 82918 h 165836"/>
                  <a:gd name="connsiteX16" fmla="*/ 149390 w 168259"/>
                  <a:gd name="connsiteY16" fmla="*/ 61802 h 165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68259" h="165836">
                    <a:moveTo>
                      <a:pt x="149390" y="61802"/>
                    </a:moveTo>
                    <a:lnTo>
                      <a:pt x="108159" y="61802"/>
                    </a:lnTo>
                    <a:cubicBezTo>
                      <a:pt x="110207" y="45510"/>
                      <a:pt x="111208" y="37363"/>
                      <a:pt x="113256" y="21116"/>
                    </a:cubicBezTo>
                    <a:cubicBezTo>
                      <a:pt x="114712" y="9466"/>
                      <a:pt x="106339" y="0"/>
                      <a:pt x="94552" y="0"/>
                    </a:cubicBezTo>
                    <a:cubicBezTo>
                      <a:pt x="82764" y="0"/>
                      <a:pt x="71979" y="9466"/>
                      <a:pt x="70523" y="21116"/>
                    </a:cubicBezTo>
                    <a:cubicBezTo>
                      <a:pt x="68474" y="37409"/>
                      <a:pt x="67473" y="45555"/>
                      <a:pt x="65426" y="61802"/>
                    </a:cubicBezTo>
                    <a:lnTo>
                      <a:pt x="24194" y="61802"/>
                    </a:lnTo>
                    <a:cubicBezTo>
                      <a:pt x="12361" y="61802"/>
                      <a:pt x="1621" y="71268"/>
                      <a:pt x="164" y="82918"/>
                    </a:cubicBezTo>
                    <a:cubicBezTo>
                      <a:pt x="-1292" y="94569"/>
                      <a:pt x="7082" y="104035"/>
                      <a:pt x="18869" y="104035"/>
                    </a:cubicBezTo>
                    <a:lnTo>
                      <a:pt x="60101" y="104035"/>
                    </a:lnTo>
                    <a:cubicBezTo>
                      <a:pt x="58053" y="120327"/>
                      <a:pt x="57051" y="128473"/>
                      <a:pt x="55004" y="144720"/>
                    </a:cubicBezTo>
                    <a:cubicBezTo>
                      <a:pt x="53548" y="156371"/>
                      <a:pt x="61921" y="165837"/>
                      <a:pt x="73708" y="165837"/>
                    </a:cubicBezTo>
                    <a:cubicBezTo>
                      <a:pt x="85495" y="165837"/>
                      <a:pt x="96281" y="156371"/>
                      <a:pt x="97737" y="144720"/>
                    </a:cubicBezTo>
                    <a:cubicBezTo>
                      <a:pt x="99785" y="128428"/>
                      <a:pt x="100787" y="120282"/>
                      <a:pt x="102834" y="104035"/>
                    </a:cubicBezTo>
                    <a:lnTo>
                      <a:pt x="144066" y="104035"/>
                    </a:lnTo>
                    <a:cubicBezTo>
                      <a:pt x="155853" y="104035"/>
                      <a:pt x="166639" y="94569"/>
                      <a:pt x="168095" y="82918"/>
                    </a:cubicBezTo>
                    <a:cubicBezTo>
                      <a:pt x="169551" y="71268"/>
                      <a:pt x="161177" y="61802"/>
                      <a:pt x="149390" y="61802"/>
                    </a:cubicBezTo>
                    <a:close/>
                  </a:path>
                </a:pathLst>
              </a:custGeom>
              <a:solidFill>
                <a:srgbClr val="005F78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35" name="Graphic 4">
              <a:extLst>
                <a:ext uri="{FF2B5EF4-FFF2-40B4-BE49-F238E27FC236}">
                  <a16:creationId xmlns:a16="http://schemas.microsoft.com/office/drawing/2014/main" id="{913C278C-0FC0-64B2-712A-B893122F86D4}"/>
                </a:ext>
              </a:extLst>
            </p:cNvPr>
            <p:cNvGrpSpPr/>
            <p:nvPr/>
          </p:nvGrpSpPr>
          <p:grpSpPr>
            <a:xfrm>
              <a:off x="1374059" y="5927542"/>
              <a:ext cx="156763" cy="194046"/>
              <a:chOff x="20944182" y="3317182"/>
              <a:chExt cx="1637796" cy="2027312"/>
            </a:xfrm>
          </p:grpSpPr>
          <p:sp>
            <p:nvSpPr>
              <p:cNvPr id="679" name="Freeform: Shape 678">
                <a:extLst>
                  <a:ext uri="{FF2B5EF4-FFF2-40B4-BE49-F238E27FC236}">
                    <a16:creationId xmlns:a16="http://schemas.microsoft.com/office/drawing/2014/main" id="{FE505FC4-3365-AEB7-16C0-8E15855A4C02}"/>
                  </a:ext>
                </a:extLst>
              </p:cNvPr>
              <p:cNvSpPr/>
              <p:nvPr/>
            </p:nvSpPr>
            <p:spPr>
              <a:xfrm>
                <a:off x="20944182" y="3317182"/>
                <a:ext cx="1637796" cy="2027312"/>
              </a:xfrm>
              <a:custGeom>
                <a:avLst/>
                <a:gdLst>
                  <a:gd name="connsiteX0" fmla="*/ 0 w 1637796"/>
                  <a:gd name="connsiteY0" fmla="*/ 2027313 h 2027312"/>
                  <a:gd name="connsiteX1" fmla="*/ 1445246 w 1637796"/>
                  <a:gd name="connsiteY1" fmla="*/ 2027313 h 2027312"/>
                  <a:gd name="connsiteX2" fmla="*/ 1637797 w 1637796"/>
                  <a:gd name="connsiteY2" fmla="*/ 0 h 2027312"/>
                  <a:gd name="connsiteX3" fmla="*/ 192551 w 1637796"/>
                  <a:gd name="connsiteY3" fmla="*/ 0 h 2027312"/>
                  <a:gd name="connsiteX4" fmla="*/ 0 w 1637796"/>
                  <a:gd name="connsiteY4" fmla="*/ 2027313 h 2027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7796" h="2027312">
                    <a:moveTo>
                      <a:pt x="0" y="2027313"/>
                    </a:moveTo>
                    <a:lnTo>
                      <a:pt x="1445246" y="2027313"/>
                    </a:lnTo>
                    <a:cubicBezTo>
                      <a:pt x="1509414" y="1351542"/>
                      <a:pt x="1573628" y="675771"/>
                      <a:pt x="1637797" y="0"/>
                    </a:cubicBezTo>
                    <a:lnTo>
                      <a:pt x="192551" y="0"/>
                    </a:lnTo>
                    <a:cubicBezTo>
                      <a:pt x="128383" y="675771"/>
                      <a:pt x="64168" y="1351542"/>
                      <a:pt x="0" y="2027313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0" name="Freeform: Shape 679">
                <a:extLst>
                  <a:ext uri="{FF2B5EF4-FFF2-40B4-BE49-F238E27FC236}">
                    <a16:creationId xmlns:a16="http://schemas.microsoft.com/office/drawing/2014/main" id="{0E3DC8CF-2F48-765D-7535-949CE8AC9083}"/>
                  </a:ext>
                </a:extLst>
              </p:cNvPr>
              <p:cNvSpPr/>
              <p:nvPr/>
            </p:nvSpPr>
            <p:spPr>
              <a:xfrm>
                <a:off x="21091587" y="3317228"/>
                <a:ext cx="1490391" cy="475119"/>
              </a:xfrm>
              <a:custGeom>
                <a:avLst/>
                <a:gdLst>
                  <a:gd name="connsiteX0" fmla="*/ 0 w 1490391"/>
                  <a:gd name="connsiteY0" fmla="*/ 475119 h 475119"/>
                  <a:gd name="connsiteX1" fmla="*/ 1445246 w 1490391"/>
                  <a:gd name="connsiteY1" fmla="*/ 475119 h 475119"/>
                  <a:gd name="connsiteX2" fmla="*/ 1490391 w 1490391"/>
                  <a:gd name="connsiteY2" fmla="*/ 0 h 475119"/>
                  <a:gd name="connsiteX3" fmla="*/ 45146 w 1490391"/>
                  <a:gd name="connsiteY3" fmla="*/ 0 h 475119"/>
                  <a:gd name="connsiteX4" fmla="*/ 0 w 1490391"/>
                  <a:gd name="connsiteY4" fmla="*/ 475119 h 475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90391" h="475119">
                    <a:moveTo>
                      <a:pt x="0" y="475119"/>
                    </a:moveTo>
                    <a:lnTo>
                      <a:pt x="1445246" y="475119"/>
                    </a:lnTo>
                    <a:cubicBezTo>
                      <a:pt x="1460310" y="316746"/>
                      <a:pt x="1475328" y="158373"/>
                      <a:pt x="1490391" y="0"/>
                    </a:cubicBezTo>
                    <a:lnTo>
                      <a:pt x="45146" y="0"/>
                    </a:lnTo>
                    <a:cubicBezTo>
                      <a:pt x="30082" y="158373"/>
                      <a:pt x="15064" y="316746"/>
                      <a:pt x="0" y="475119"/>
                    </a:cubicBezTo>
                    <a:close/>
                  </a:path>
                </a:pathLst>
              </a:custGeom>
              <a:solidFill>
                <a:srgbClr val="34373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681" name="Graphic 4">
                <a:extLst>
                  <a:ext uri="{FF2B5EF4-FFF2-40B4-BE49-F238E27FC236}">
                    <a16:creationId xmlns:a16="http://schemas.microsoft.com/office/drawing/2014/main" id="{7C40FABE-0357-C85F-6ADB-C3DBDDD4B7A2}"/>
                  </a:ext>
                </a:extLst>
              </p:cNvPr>
              <p:cNvGrpSpPr/>
              <p:nvPr/>
            </p:nvGrpSpPr>
            <p:grpSpPr>
              <a:xfrm>
                <a:off x="21184108" y="3521474"/>
                <a:ext cx="1173372" cy="1456350"/>
                <a:chOff x="21184108" y="3521474"/>
                <a:chExt cx="1173372" cy="1456350"/>
              </a:xfrm>
              <a:solidFill>
                <a:srgbClr val="C8D7DE"/>
              </a:solidFill>
            </p:grpSpPr>
            <p:sp>
              <p:nvSpPr>
                <p:cNvPr id="682" name="Freeform: Shape 681">
                  <a:extLst>
                    <a:ext uri="{FF2B5EF4-FFF2-40B4-BE49-F238E27FC236}">
                      <a16:creationId xmlns:a16="http://schemas.microsoft.com/office/drawing/2014/main" id="{ECA0D200-0DD2-AFF3-B80B-2B417CEF6158}"/>
                    </a:ext>
                  </a:extLst>
                </p:cNvPr>
                <p:cNvSpPr/>
                <p:nvPr/>
              </p:nvSpPr>
              <p:spPr>
                <a:xfrm>
                  <a:off x="21746515" y="3521474"/>
                  <a:ext cx="610965" cy="66534"/>
                </a:xfrm>
                <a:custGeom>
                  <a:avLst/>
                  <a:gdLst>
                    <a:gd name="connsiteX0" fmla="*/ 0 w 610965"/>
                    <a:gd name="connsiteY0" fmla="*/ 66535 h 66534"/>
                    <a:gd name="connsiteX1" fmla="*/ 604639 w 610965"/>
                    <a:gd name="connsiteY1" fmla="*/ 66535 h 66534"/>
                    <a:gd name="connsiteX2" fmla="*/ 610965 w 610965"/>
                    <a:gd name="connsiteY2" fmla="*/ 0 h 66534"/>
                    <a:gd name="connsiteX3" fmla="*/ 6326 w 610965"/>
                    <a:gd name="connsiteY3" fmla="*/ 0 h 66534"/>
                    <a:gd name="connsiteX4" fmla="*/ 0 w 610965"/>
                    <a:gd name="connsiteY4" fmla="*/ 66535 h 665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10965" h="66534">
                      <a:moveTo>
                        <a:pt x="0" y="66535"/>
                      </a:moveTo>
                      <a:lnTo>
                        <a:pt x="604639" y="66535"/>
                      </a:lnTo>
                      <a:cubicBezTo>
                        <a:pt x="607188" y="39912"/>
                        <a:pt x="608417" y="26623"/>
                        <a:pt x="610965" y="0"/>
                      </a:cubicBezTo>
                      <a:lnTo>
                        <a:pt x="6326" y="0"/>
                      </a:lnTo>
                      <a:cubicBezTo>
                        <a:pt x="3777" y="26623"/>
                        <a:pt x="2548" y="39912"/>
                        <a:pt x="0" y="66535"/>
                      </a:cubicBezTo>
                      <a:close/>
                    </a:path>
                  </a:pathLst>
                </a:custGeom>
                <a:solidFill>
                  <a:srgbClr val="C8D7DE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grpSp>
              <p:nvGrpSpPr>
                <p:cNvPr id="683" name="Graphic 4">
                  <a:extLst>
                    <a:ext uri="{FF2B5EF4-FFF2-40B4-BE49-F238E27FC236}">
                      <a16:creationId xmlns:a16="http://schemas.microsoft.com/office/drawing/2014/main" id="{E209EDF7-2FE5-D1D0-45A1-4E6783100EF3}"/>
                    </a:ext>
                  </a:extLst>
                </p:cNvPr>
                <p:cNvGrpSpPr/>
                <p:nvPr/>
              </p:nvGrpSpPr>
              <p:grpSpPr>
                <a:xfrm>
                  <a:off x="21184108" y="4140768"/>
                  <a:ext cx="1114527" cy="837056"/>
                  <a:chOff x="21184108" y="4140768"/>
                  <a:chExt cx="1114527" cy="837056"/>
                </a:xfrm>
                <a:solidFill>
                  <a:srgbClr val="C8D7DE"/>
                </a:solidFill>
              </p:grpSpPr>
              <p:sp>
                <p:nvSpPr>
                  <p:cNvPr id="684" name="Freeform: Shape 683">
                    <a:extLst>
                      <a:ext uri="{FF2B5EF4-FFF2-40B4-BE49-F238E27FC236}">
                        <a16:creationId xmlns:a16="http://schemas.microsoft.com/office/drawing/2014/main" id="{A57816BD-FD63-A845-118A-278FF7537C59}"/>
                      </a:ext>
                    </a:extLst>
                  </p:cNvPr>
                  <p:cNvSpPr/>
                  <p:nvPr/>
                </p:nvSpPr>
                <p:spPr>
                  <a:xfrm>
                    <a:off x="21238992" y="4333410"/>
                    <a:ext cx="1041348" cy="66534"/>
                  </a:xfrm>
                  <a:custGeom>
                    <a:avLst/>
                    <a:gdLst>
                      <a:gd name="connsiteX0" fmla="*/ 0 w 1041348"/>
                      <a:gd name="connsiteY0" fmla="*/ 66535 h 66534"/>
                      <a:gd name="connsiteX1" fmla="*/ 1035023 w 1041348"/>
                      <a:gd name="connsiteY1" fmla="*/ 66535 h 66534"/>
                      <a:gd name="connsiteX2" fmla="*/ 1041349 w 1041348"/>
                      <a:gd name="connsiteY2" fmla="*/ 0 h 66534"/>
                      <a:gd name="connsiteX3" fmla="*/ 6326 w 1041348"/>
                      <a:gd name="connsiteY3" fmla="*/ 0 h 66534"/>
                      <a:gd name="connsiteX4" fmla="*/ 0 w 1041348"/>
                      <a:gd name="connsiteY4" fmla="*/ 66535 h 66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041348" h="66534">
                        <a:moveTo>
                          <a:pt x="0" y="66535"/>
                        </a:moveTo>
                        <a:lnTo>
                          <a:pt x="1035023" y="66535"/>
                        </a:lnTo>
                        <a:cubicBezTo>
                          <a:pt x="1037571" y="39912"/>
                          <a:pt x="1038800" y="26623"/>
                          <a:pt x="1041349" y="0"/>
                        </a:cubicBezTo>
                        <a:lnTo>
                          <a:pt x="6326" y="0"/>
                        </a:lnTo>
                        <a:cubicBezTo>
                          <a:pt x="3777" y="26623"/>
                          <a:pt x="2549" y="39912"/>
                          <a:pt x="0" y="66535"/>
                        </a:cubicBezTo>
                        <a:close/>
                      </a:path>
                    </a:pathLst>
                  </a:custGeom>
                  <a:solidFill>
                    <a:srgbClr val="C8D7DE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51C2C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5" name="Freeform: Shape 684">
                    <a:extLst>
                      <a:ext uri="{FF2B5EF4-FFF2-40B4-BE49-F238E27FC236}">
                        <a16:creationId xmlns:a16="http://schemas.microsoft.com/office/drawing/2014/main" id="{8BDEF147-20A7-DC43-DAB5-5130CA405A71}"/>
                      </a:ext>
                    </a:extLst>
                  </p:cNvPr>
                  <p:cNvSpPr/>
                  <p:nvPr/>
                </p:nvSpPr>
                <p:spPr>
                  <a:xfrm>
                    <a:off x="21257287" y="4140768"/>
                    <a:ext cx="1041348" cy="66534"/>
                  </a:xfrm>
                  <a:custGeom>
                    <a:avLst/>
                    <a:gdLst>
                      <a:gd name="connsiteX0" fmla="*/ 0 w 1041348"/>
                      <a:gd name="connsiteY0" fmla="*/ 66535 h 66534"/>
                      <a:gd name="connsiteX1" fmla="*/ 1035023 w 1041348"/>
                      <a:gd name="connsiteY1" fmla="*/ 66535 h 66534"/>
                      <a:gd name="connsiteX2" fmla="*/ 1041349 w 1041348"/>
                      <a:gd name="connsiteY2" fmla="*/ 0 h 66534"/>
                      <a:gd name="connsiteX3" fmla="*/ 6326 w 1041348"/>
                      <a:gd name="connsiteY3" fmla="*/ 0 h 66534"/>
                      <a:gd name="connsiteX4" fmla="*/ 0 w 1041348"/>
                      <a:gd name="connsiteY4" fmla="*/ 66535 h 66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041348" h="66534">
                        <a:moveTo>
                          <a:pt x="0" y="66535"/>
                        </a:moveTo>
                        <a:lnTo>
                          <a:pt x="1035023" y="66535"/>
                        </a:lnTo>
                        <a:cubicBezTo>
                          <a:pt x="1037571" y="39912"/>
                          <a:pt x="1038800" y="26623"/>
                          <a:pt x="1041349" y="0"/>
                        </a:cubicBezTo>
                        <a:lnTo>
                          <a:pt x="6326" y="0"/>
                        </a:lnTo>
                        <a:cubicBezTo>
                          <a:pt x="3777" y="26623"/>
                          <a:pt x="2548" y="39912"/>
                          <a:pt x="0" y="66535"/>
                        </a:cubicBezTo>
                        <a:close/>
                      </a:path>
                    </a:pathLst>
                  </a:custGeom>
                  <a:solidFill>
                    <a:srgbClr val="C8D7DE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51C2C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6" name="Freeform: Shape 685">
                    <a:extLst>
                      <a:ext uri="{FF2B5EF4-FFF2-40B4-BE49-F238E27FC236}">
                        <a16:creationId xmlns:a16="http://schemas.microsoft.com/office/drawing/2014/main" id="{423E057D-FD3A-42E6-FB66-8449AFFA1D5F}"/>
                      </a:ext>
                    </a:extLst>
                  </p:cNvPr>
                  <p:cNvSpPr/>
                  <p:nvPr/>
                </p:nvSpPr>
                <p:spPr>
                  <a:xfrm>
                    <a:off x="21220697" y="4526051"/>
                    <a:ext cx="1041349" cy="66534"/>
                  </a:xfrm>
                  <a:custGeom>
                    <a:avLst/>
                    <a:gdLst>
                      <a:gd name="connsiteX0" fmla="*/ 0 w 1041349"/>
                      <a:gd name="connsiteY0" fmla="*/ 66535 h 66534"/>
                      <a:gd name="connsiteX1" fmla="*/ 1035023 w 1041349"/>
                      <a:gd name="connsiteY1" fmla="*/ 66535 h 66534"/>
                      <a:gd name="connsiteX2" fmla="*/ 1041349 w 1041349"/>
                      <a:gd name="connsiteY2" fmla="*/ 0 h 66534"/>
                      <a:gd name="connsiteX3" fmla="*/ 6326 w 1041349"/>
                      <a:gd name="connsiteY3" fmla="*/ 0 h 66534"/>
                      <a:gd name="connsiteX4" fmla="*/ 0 w 1041349"/>
                      <a:gd name="connsiteY4" fmla="*/ 66535 h 66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041349" h="66534">
                        <a:moveTo>
                          <a:pt x="0" y="66535"/>
                        </a:moveTo>
                        <a:lnTo>
                          <a:pt x="1035023" y="66535"/>
                        </a:lnTo>
                        <a:cubicBezTo>
                          <a:pt x="1037571" y="39912"/>
                          <a:pt x="1038800" y="26623"/>
                          <a:pt x="1041349" y="0"/>
                        </a:cubicBezTo>
                        <a:lnTo>
                          <a:pt x="6326" y="0"/>
                        </a:lnTo>
                        <a:cubicBezTo>
                          <a:pt x="3778" y="26623"/>
                          <a:pt x="2549" y="39912"/>
                          <a:pt x="0" y="66535"/>
                        </a:cubicBezTo>
                        <a:close/>
                      </a:path>
                    </a:pathLst>
                  </a:custGeom>
                  <a:solidFill>
                    <a:srgbClr val="C8D7DE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51C2C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7" name="Freeform: Shape 686">
                    <a:extLst>
                      <a:ext uri="{FF2B5EF4-FFF2-40B4-BE49-F238E27FC236}">
                        <a16:creationId xmlns:a16="http://schemas.microsoft.com/office/drawing/2014/main" id="{B533313A-B548-1719-16E9-AA9CC06403E4}"/>
                      </a:ext>
                    </a:extLst>
                  </p:cNvPr>
                  <p:cNvSpPr/>
                  <p:nvPr/>
                </p:nvSpPr>
                <p:spPr>
                  <a:xfrm>
                    <a:off x="21202403" y="4718648"/>
                    <a:ext cx="1041349" cy="66534"/>
                  </a:xfrm>
                  <a:custGeom>
                    <a:avLst/>
                    <a:gdLst>
                      <a:gd name="connsiteX0" fmla="*/ 0 w 1041349"/>
                      <a:gd name="connsiteY0" fmla="*/ 66535 h 66534"/>
                      <a:gd name="connsiteX1" fmla="*/ 1035023 w 1041349"/>
                      <a:gd name="connsiteY1" fmla="*/ 66535 h 66534"/>
                      <a:gd name="connsiteX2" fmla="*/ 1041349 w 1041349"/>
                      <a:gd name="connsiteY2" fmla="*/ 0 h 66534"/>
                      <a:gd name="connsiteX3" fmla="*/ 6326 w 1041349"/>
                      <a:gd name="connsiteY3" fmla="*/ 0 h 66534"/>
                      <a:gd name="connsiteX4" fmla="*/ 0 w 1041349"/>
                      <a:gd name="connsiteY4" fmla="*/ 66535 h 66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041349" h="66534">
                        <a:moveTo>
                          <a:pt x="0" y="66535"/>
                        </a:moveTo>
                        <a:lnTo>
                          <a:pt x="1035023" y="66535"/>
                        </a:lnTo>
                        <a:cubicBezTo>
                          <a:pt x="1037571" y="39912"/>
                          <a:pt x="1038800" y="26623"/>
                          <a:pt x="1041349" y="0"/>
                        </a:cubicBezTo>
                        <a:lnTo>
                          <a:pt x="6326" y="0"/>
                        </a:lnTo>
                        <a:cubicBezTo>
                          <a:pt x="3778" y="26623"/>
                          <a:pt x="2549" y="39912"/>
                          <a:pt x="0" y="66535"/>
                        </a:cubicBezTo>
                        <a:close/>
                      </a:path>
                    </a:pathLst>
                  </a:custGeom>
                  <a:solidFill>
                    <a:srgbClr val="C8D7DE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51C2C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8" name="Freeform: Shape 687">
                    <a:extLst>
                      <a:ext uri="{FF2B5EF4-FFF2-40B4-BE49-F238E27FC236}">
                        <a16:creationId xmlns:a16="http://schemas.microsoft.com/office/drawing/2014/main" id="{8550A83F-1DD0-F0AA-0376-32FEA0246BE3}"/>
                      </a:ext>
                    </a:extLst>
                  </p:cNvPr>
                  <p:cNvSpPr/>
                  <p:nvPr/>
                </p:nvSpPr>
                <p:spPr>
                  <a:xfrm>
                    <a:off x="21184108" y="4911290"/>
                    <a:ext cx="676043" cy="66534"/>
                  </a:xfrm>
                  <a:custGeom>
                    <a:avLst/>
                    <a:gdLst>
                      <a:gd name="connsiteX0" fmla="*/ 0 w 676043"/>
                      <a:gd name="connsiteY0" fmla="*/ 66535 h 66534"/>
                      <a:gd name="connsiteX1" fmla="*/ 669718 w 676043"/>
                      <a:gd name="connsiteY1" fmla="*/ 66535 h 66534"/>
                      <a:gd name="connsiteX2" fmla="*/ 676044 w 676043"/>
                      <a:gd name="connsiteY2" fmla="*/ 0 h 66534"/>
                      <a:gd name="connsiteX3" fmla="*/ 6325 w 676043"/>
                      <a:gd name="connsiteY3" fmla="*/ 0 h 66534"/>
                      <a:gd name="connsiteX4" fmla="*/ 0 w 676043"/>
                      <a:gd name="connsiteY4" fmla="*/ 66535 h 66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76043" h="66534">
                        <a:moveTo>
                          <a:pt x="0" y="66535"/>
                        </a:moveTo>
                        <a:lnTo>
                          <a:pt x="669718" y="66535"/>
                        </a:lnTo>
                        <a:cubicBezTo>
                          <a:pt x="672267" y="39912"/>
                          <a:pt x="673495" y="26623"/>
                          <a:pt x="676044" y="0"/>
                        </a:cubicBezTo>
                        <a:lnTo>
                          <a:pt x="6325" y="0"/>
                        </a:lnTo>
                        <a:cubicBezTo>
                          <a:pt x="3777" y="26623"/>
                          <a:pt x="2548" y="39912"/>
                          <a:pt x="0" y="66535"/>
                        </a:cubicBezTo>
                        <a:close/>
                      </a:path>
                    </a:pathLst>
                  </a:custGeom>
                  <a:solidFill>
                    <a:srgbClr val="C8D7DE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51C2C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636" name="Freeform: Shape 635">
              <a:extLst>
                <a:ext uri="{FF2B5EF4-FFF2-40B4-BE49-F238E27FC236}">
                  <a16:creationId xmlns:a16="http://schemas.microsoft.com/office/drawing/2014/main" id="{C940F26F-F699-80CD-AFBB-12FECC315A75}"/>
                </a:ext>
              </a:extLst>
            </p:cNvPr>
            <p:cNvSpPr/>
            <p:nvPr/>
          </p:nvSpPr>
          <p:spPr>
            <a:xfrm>
              <a:off x="1408571" y="5935662"/>
              <a:ext cx="32186" cy="29242"/>
            </a:xfrm>
            <a:custGeom>
              <a:avLst/>
              <a:gdLst>
                <a:gd name="connsiteX0" fmla="*/ 0 w 336269"/>
                <a:gd name="connsiteY0" fmla="*/ 305505 h 305505"/>
                <a:gd name="connsiteX1" fmla="*/ 307235 w 336269"/>
                <a:gd name="connsiteY1" fmla="*/ 305505 h 305505"/>
                <a:gd name="connsiteX2" fmla="*/ 336270 w 336269"/>
                <a:gd name="connsiteY2" fmla="*/ 0 h 305505"/>
                <a:gd name="connsiteX3" fmla="*/ 29035 w 336269"/>
                <a:gd name="connsiteY3" fmla="*/ 0 h 305505"/>
                <a:gd name="connsiteX4" fmla="*/ 0 w 336269"/>
                <a:gd name="connsiteY4" fmla="*/ 305505 h 305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69" h="305505">
                  <a:moveTo>
                    <a:pt x="0" y="305505"/>
                  </a:moveTo>
                  <a:lnTo>
                    <a:pt x="307235" y="305505"/>
                  </a:lnTo>
                  <a:cubicBezTo>
                    <a:pt x="316883" y="203655"/>
                    <a:pt x="326576" y="101850"/>
                    <a:pt x="336270" y="0"/>
                  </a:cubicBezTo>
                  <a:lnTo>
                    <a:pt x="29035" y="0"/>
                  </a:lnTo>
                  <a:cubicBezTo>
                    <a:pt x="19387" y="101850"/>
                    <a:pt x="9694" y="203655"/>
                    <a:pt x="0" y="305505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37" name="Graphic 4">
              <a:extLst>
                <a:ext uri="{FF2B5EF4-FFF2-40B4-BE49-F238E27FC236}">
                  <a16:creationId xmlns:a16="http://schemas.microsoft.com/office/drawing/2014/main" id="{3F06929C-ACED-9428-FACB-1117188A8DF5}"/>
                </a:ext>
              </a:extLst>
            </p:cNvPr>
            <p:cNvGrpSpPr/>
            <p:nvPr/>
          </p:nvGrpSpPr>
          <p:grpSpPr>
            <a:xfrm>
              <a:off x="1567314" y="6040816"/>
              <a:ext cx="179075" cy="129659"/>
              <a:chOff x="22963212" y="4500657"/>
              <a:chExt cx="1870895" cy="1354636"/>
            </a:xfrm>
          </p:grpSpPr>
          <p:sp>
            <p:nvSpPr>
              <p:cNvPr id="673" name="Freeform: Shape 672">
                <a:extLst>
                  <a:ext uri="{FF2B5EF4-FFF2-40B4-BE49-F238E27FC236}">
                    <a16:creationId xmlns:a16="http://schemas.microsoft.com/office/drawing/2014/main" id="{7EF6CA87-4183-8280-7F8C-834C983CE72D}"/>
                  </a:ext>
                </a:extLst>
              </p:cNvPr>
              <p:cNvSpPr/>
              <p:nvPr/>
            </p:nvSpPr>
            <p:spPr>
              <a:xfrm>
                <a:off x="23146797" y="4740174"/>
                <a:ext cx="1687310" cy="1115119"/>
              </a:xfrm>
              <a:custGeom>
                <a:avLst/>
                <a:gdLst>
                  <a:gd name="connsiteX0" fmla="*/ 1571262 w 1687310"/>
                  <a:gd name="connsiteY0" fmla="*/ 0 h 1115119"/>
                  <a:gd name="connsiteX1" fmla="*/ 1687311 w 1687310"/>
                  <a:gd name="connsiteY1" fmla="*/ 116049 h 1115119"/>
                  <a:gd name="connsiteX2" fmla="*/ 1687311 w 1687310"/>
                  <a:gd name="connsiteY2" fmla="*/ 999071 h 1115119"/>
                  <a:gd name="connsiteX3" fmla="*/ 1571262 w 1687310"/>
                  <a:gd name="connsiteY3" fmla="*/ 1115120 h 1115119"/>
                  <a:gd name="connsiteX4" fmla="*/ 116050 w 1687310"/>
                  <a:gd name="connsiteY4" fmla="*/ 1115120 h 1115119"/>
                  <a:gd name="connsiteX5" fmla="*/ 0 w 1687310"/>
                  <a:gd name="connsiteY5" fmla="*/ 999071 h 1115119"/>
                  <a:gd name="connsiteX6" fmla="*/ 0 w 1687310"/>
                  <a:gd name="connsiteY6" fmla="*/ 116049 h 1115119"/>
                  <a:gd name="connsiteX7" fmla="*/ 116050 w 1687310"/>
                  <a:gd name="connsiteY7" fmla="*/ 0 h 1115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87310" h="1115119">
                    <a:moveTo>
                      <a:pt x="1571262" y="0"/>
                    </a:moveTo>
                    <a:cubicBezTo>
                      <a:pt x="1635354" y="0"/>
                      <a:pt x="1687311" y="51957"/>
                      <a:pt x="1687311" y="116049"/>
                    </a:cubicBezTo>
                    <a:lnTo>
                      <a:pt x="1687311" y="999071"/>
                    </a:lnTo>
                    <a:cubicBezTo>
                      <a:pt x="1687311" y="1063163"/>
                      <a:pt x="1635354" y="1115120"/>
                      <a:pt x="1571262" y="1115120"/>
                    </a:cubicBezTo>
                    <a:lnTo>
                      <a:pt x="116050" y="1115120"/>
                    </a:lnTo>
                    <a:cubicBezTo>
                      <a:pt x="51957" y="1115120"/>
                      <a:pt x="0" y="1063163"/>
                      <a:pt x="0" y="999071"/>
                    </a:cubicBezTo>
                    <a:lnTo>
                      <a:pt x="0" y="116049"/>
                    </a:lnTo>
                    <a:cubicBezTo>
                      <a:pt x="0" y="51957"/>
                      <a:pt x="51957" y="0"/>
                      <a:pt x="116050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674" name="Graphic 4">
                <a:extLst>
                  <a:ext uri="{FF2B5EF4-FFF2-40B4-BE49-F238E27FC236}">
                    <a16:creationId xmlns:a16="http://schemas.microsoft.com/office/drawing/2014/main" id="{3D86AD7E-4084-1D5F-3133-F4585CDB455E}"/>
                  </a:ext>
                </a:extLst>
              </p:cNvPr>
              <p:cNvGrpSpPr/>
              <p:nvPr/>
            </p:nvGrpSpPr>
            <p:grpSpPr>
              <a:xfrm>
                <a:off x="23177152" y="4706633"/>
                <a:ext cx="1359505" cy="60891"/>
                <a:chOff x="23177152" y="4706633"/>
                <a:chExt cx="1359505" cy="60891"/>
              </a:xfrm>
              <a:solidFill>
                <a:srgbClr val="FFFFFF"/>
              </a:solidFill>
            </p:grpSpPr>
            <p:sp>
              <p:nvSpPr>
                <p:cNvPr id="677" name="Freeform: Shape 676">
                  <a:extLst>
                    <a:ext uri="{FF2B5EF4-FFF2-40B4-BE49-F238E27FC236}">
                      <a16:creationId xmlns:a16="http://schemas.microsoft.com/office/drawing/2014/main" id="{F796FB34-4CD8-4DF4-FCF7-E22B23C6F9CD}"/>
                    </a:ext>
                  </a:extLst>
                </p:cNvPr>
                <p:cNvSpPr/>
                <p:nvPr/>
              </p:nvSpPr>
              <p:spPr>
                <a:xfrm>
                  <a:off x="23177152" y="4706633"/>
                  <a:ext cx="187726" cy="60891"/>
                </a:xfrm>
                <a:custGeom>
                  <a:avLst/>
                  <a:gdLst>
                    <a:gd name="connsiteX0" fmla="*/ 157281 w 187726"/>
                    <a:gd name="connsiteY0" fmla="*/ 0 h 60891"/>
                    <a:gd name="connsiteX1" fmla="*/ 30446 w 187726"/>
                    <a:gd name="connsiteY1" fmla="*/ 0 h 60891"/>
                    <a:gd name="connsiteX2" fmla="*/ 0 w 187726"/>
                    <a:gd name="connsiteY2" fmla="*/ 30446 h 60891"/>
                    <a:gd name="connsiteX3" fmla="*/ 30446 w 187726"/>
                    <a:gd name="connsiteY3" fmla="*/ 60892 h 60891"/>
                    <a:gd name="connsiteX4" fmla="*/ 157281 w 187726"/>
                    <a:gd name="connsiteY4" fmla="*/ 60892 h 60891"/>
                    <a:gd name="connsiteX5" fmla="*/ 187727 w 187726"/>
                    <a:gd name="connsiteY5" fmla="*/ 30446 h 60891"/>
                    <a:gd name="connsiteX6" fmla="*/ 157281 w 187726"/>
                    <a:gd name="connsiteY6" fmla="*/ 0 h 60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7726" h="60891">
                      <a:moveTo>
                        <a:pt x="157281" y="0"/>
                      </a:moveTo>
                      <a:lnTo>
                        <a:pt x="30446" y="0"/>
                      </a:lnTo>
                      <a:cubicBezTo>
                        <a:pt x="13653" y="0"/>
                        <a:pt x="0" y="13607"/>
                        <a:pt x="0" y="30446"/>
                      </a:cubicBezTo>
                      <a:cubicBezTo>
                        <a:pt x="0" y="47284"/>
                        <a:pt x="13607" y="60892"/>
                        <a:pt x="30446" y="60892"/>
                      </a:cubicBezTo>
                      <a:lnTo>
                        <a:pt x="157281" y="60892"/>
                      </a:lnTo>
                      <a:cubicBezTo>
                        <a:pt x="174074" y="60892"/>
                        <a:pt x="187727" y="47284"/>
                        <a:pt x="187727" y="30446"/>
                      </a:cubicBezTo>
                      <a:cubicBezTo>
                        <a:pt x="187727" y="13607"/>
                        <a:pt x="174119" y="0"/>
                        <a:pt x="157281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78" name="Freeform: Shape 677">
                  <a:extLst>
                    <a:ext uri="{FF2B5EF4-FFF2-40B4-BE49-F238E27FC236}">
                      <a16:creationId xmlns:a16="http://schemas.microsoft.com/office/drawing/2014/main" id="{5AA240C5-30D0-FEE2-F60B-7234761E9823}"/>
                    </a:ext>
                  </a:extLst>
                </p:cNvPr>
                <p:cNvSpPr/>
                <p:nvPr/>
              </p:nvSpPr>
              <p:spPr>
                <a:xfrm>
                  <a:off x="24348931" y="4706633"/>
                  <a:ext cx="187726" cy="60891"/>
                </a:xfrm>
                <a:custGeom>
                  <a:avLst/>
                  <a:gdLst>
                    <a:gd name="connsiteX0" fmla="*/ 157281 w 187726"/>
                    <a:gd name="connsiteY0" fmla="*/ 0 h 60891"/>
                    <a:gd name="connsiteX1" fmla="*/ 30446 w 187726"/>
                    <a:gd name="connsiteY1" fmla="*/ 0 h 60891"/>
                    <a:gd name="connsiteX2" fmla="*/ 0 w 187726"/>
                    <a:gd name="connsiteY2" fmla="*/ 30446 h 60891"/>
                    <a:gd name="connsiteX3" fmla="*/ 30446 w 187726"/>
                    <a:gd name="connsiteY3" fmla="*/ 60892 h 60891"/>
                    <a:gd name="connsiteX4" fmla="*/ 157281 w 187726"/>
                    <a:gd name="connsiteY4" fmla="*/ 60892 h 60891"/>
                    <a:gd name="connsiteX5" fmla="*/ 187727 w 187726"/>
                    <a:gd name="connsiteY5" fmla="*/ 30446 h 60891"/>
                    <a:gd name="connsiteX6" fmla="*/ 157281 w 187726"/>
                    <a:gd name="connsiteY6" fmla="*/ 0 h 60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7726" h="60891">
                      <a:moveTo>
                        <a:pt x="157281" y="0"/>
                      </a:moveTo>
                      <a:lnTo>
                        <a:pt x="30446" y="0"/>
                      </a:lnTo>
                      <a:cubicBezTo>
                        <a:pt x="13653" y="0"/>
                        <a:pt x="0" y="13607"/>
                        <a:pt x="0" y="30446"/>
                      </a:cubicBezTo>
                      <a:cubicBezTo>
                        <a:pt x="0" y="47284"/>
                        <a:pt x="13607" y="60892"/>
                        <a:pt x="30446" y="60892"/>
                      </a:cubicBezTo>
                      <a:lnTo>
                        <a:pt x="157281" y="60892"/>
                      </a:lnTo>
                      <a:cubicBezTo>
                        <a:pt x="174074" y="60892"/>
                        <a:pt x="187727" y="47284"/>
                        <a:pt x="187727" y="30446"/>
                      </a:cubicBezTo>
                      <a:cubicBezTo>
                        <a:pt x="187727" y="13607"/>
                        <a:pt x="174119" y="0"/>
                        <a:pt x="157281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C2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675" name="Freeform: Shape 674">
                <a:extLst>
                  <a:ext uri="{FF2B5EF4-FFF2-40B4-BE49-F238E27FC236}">
                    <a16:creationId xmlns:a16="http://schemas.microsoft.com/office/drawing/2014/main" id="{ECA6CAF5-ADCA-204D-3124-6990C19431F6}"/>
                  </a:ext>
                </a:extLst>
              </p:cNvPr>
              <p:cNvSpPr/>
              <p:nvPr/>
            </p:nvSpPr>
            <p:spPr>
              <a:xfrm>
                <a:off x="23590606" y="4500657"/>
                <a:ext cx="532642" cy="393156"/>
              </a:xfrm>
              <a:custGeom>
                <a:avLst/>
                <a:gdLst>
                  <a:gd name="connsiteX0" fmla="*/ 407401 w 532642"/>
                  <a:gd name="connsiteY0" fmla="*/ 0 h 393156"/>
                  <a:gd name="connsiteX1" fmla="*/ 125242 w 532642"/>
                  <a:gd name="connsiteY1" fmla="*/ 0 h 393156"/>
                  <a:gd name="connsiteX2" fmla="*/ 0 w 532642"/>
                  <a:gd name="connsiteY2" fmla="*/ 134845 h 393156"/>
                  <a:gd name="connsiteX3" fmla="*/ 0 w 532642"/>
                  <a:gd name="connsiteY3" fmla="*/ 393157 h 393156"/>
                  <a:gd name="connsiteX4" fmla="*/ 532643 w 532642"/>
                  <a:gd name="connsiteY4" fmla="*/ 393157 h 393156"/>
                  <a:gd name="connsiteX5" fmla="*/ 532643 w 532642"/>
                  <a:gd name="connsiteY5" fmla="*/ 134845 h 393156"/>
                  <a:gd name="connsiteX6" fmla="*/ 407401 w 532642"/>
                  <a:gd name="connsiteY6" fmla="*/ 0 h 393156"/>
                  <a:gd name="connsiteX7" fmla="*/ 449906 w 532642"/>
                  <a:gd name="connsiteY7" fmla="*/ 304049 h 393156"/>
                  <a:gd name="connsiteX8" fmla="*/ 82736 w 532642"/>
                  <a:gd name="connsiteY8" fmla="*/ 304049 h 393156"/>
                  <a:gd name="connsiteX9" fmla="*/ 82736 w 532642"/>
                  <a:gd name="connsiteY9" fmla="*/ 134845 h 393156"/>
                  <a:gd name="connsiteX10" fmla="*/ 125242 w 532642"/>
                  <a:gd name="connsiteY10" fmla="*/ 89108 h 393156"/>
                  <a:gd name="connsiteX11" fmla="*/ 407401 w 532642"/>
                  <a:gd name="connsiteY11" fmla="*/ 89108 h 393156"/>
                  <a:gd name="connsiteX12" fmla="*/ 449906 w 532642"/>
                  <a:gd name="connsiteY12" fmla="*/ 134845 h 393156"/>
                  <a:gd name="connsiteX13" fmla="*/ 449906 w 532642"/>
                  <a:gd name="connsiteY13" fmla="*/ 304049 h 393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32642" h="393156">
                    <a:moveTo>
                      <a:pt x="407401" y="0"/>
                    </a:moveTo>
                    <a:lnTo>
                      <a:pt x="125242" y="0"/>
                    </a:lnTo>
                    <a:cubicBezTo>
                      <a:pt x="56204" y="0"/>
                      <a:pt x="0" y="60482"/>
                      <a:pt x="0" y="134845"/>
                    </a:cubicBezTo>
                    <a:lnTo>
                      <a:pt x="0" y="393157"/>
                    </a:lnTo>
                    <a:lnTo>
                      <a:pt x="532643" y="393157"/>
                    </a:lnTo>
                    <a:lnTo>
                      <a:pt x="532643" y="134845"/>
                    </a:lnTo>
                    <a:cubicBezTo>
                      <a:pt x="532643" y="60482"/>
                      <a:pt x="476484" y="0"/>
                      <a:pt x="407401" y="0"/>
                    </a:cubicBezTo>
                    <a:close/>
                    <a:moveTo>
                      <a:pt x="449906" y="304049"/>
                    </a:moveTo>
                    <a:lnTo>
                      <a:pt x="82736" y="304049"/>
                    </a:lnTo>
                    <a:lnTo>
                      <a:pt x="82736" y="134845"/>
                    </a:lnTo>
                    <a:cubicBezTo>
                      <a:pt x="82736" y="109633"/>
                      <a:pt x="101804" y="89108"/>
                      <a:pt x="125242" y="89108"/>
                    </a:cubicBezTo>
                    <a:lnTo>
                      <a:pt x="407401" y="89108"/>
                    </a:lnTo>
                    <a:cubicBezTo>
                      <a:pt x="430838" y="89108"/>
                      <a:pt x="449906" y="109633"/>
                      <a:pt x="449906" y="134845"/>
                    </a:cubicBezTo>
                    <a:lnTo>
                      <a:pt x="449906" y="304049"/>
                    </a:ln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6" name="Freeform: Shape 675">
                <a:extLst>
                  <a:ext uri="{FF2B5EF4-FFF2-40B4-BE49-F238E27FC236}">
                    <a16:creationId xmlns:a16="http://schemas.microsoft.com/office/drawing/2014/main" id="{87C2DCE7-D656-AC83-88B7-024DFDFF64EC}"/>
                  </a:ext>
                </a:extLst>
              </p:cNvPr>
              <p:cNvSpPr/>
              <p:nvPr/>
            </p:nvSpPr>
            <p:spPr>
              <a:xfrm>
                <a:off x="22963212" y="4740174"/>
                <a:ext cx="1687310" cy="1115119"/>
              </a:xfrm>
              <a:custGeom>
                <a:avLst/>
                <a:gdLst>
                  <a:gd name="connsiteX0" fmla="*/ 1571262 w 1687310"/>
                  <a:gd name="connsiteY0" fmla="*/ 0 h 1115119"/>
                  <a:gd name="connsiteX1" fmla="*/ 1687311 w 1687310"/>
                  <a:gd name="connsiteY1" fmla="*/ 116049 h 1115119"/>
                  <a:gd name="connsiteX2" fmla="*/ 1687311 w 1687310"/>
                  <a:gd name="connsiteY2" fmla="*/ 999071 h 1115119"/>
                  <a:gd name="connsiteX3" fmla="*/ 1571262 w 1687310"/>
                  <a:gd name="connsiteY3" fmla="*/ 1115120 h 1115119"/>
                  <a:gd name="connsiteX4" fmla="*/ 116049 w 1687310"/>
                  <a:gd name="connsiteY4" fmla="*/ 1115120 h 1115119"/>
                  <a:gd name="connsiteX5" fmla="*/ 0 w 1687310"/>
                  <a:gd name="connsiteY5" fmla="*/ 999071 h 1115119"/>
                  <a:gd name="connsiteX6" fmla="*/ 0 w 1687310"/>
                  <a:gd name="connsiteY6" fmla="*/ 116049 h 1115119"/>
                  <a:gd name="connsiteX7" fmla="*/ 116049 w 1687310"/>
                  <a:gd name="connsiteY7" fmla="*/ 0 h 1115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87310" h="1115119">
                    <a:moveTo>
                      <a:pt x="1571262" y="0"/>
                    </a:moveTo>
                    <a:cubicBezTo>
                      <a:pt x="1635354" y="0"/>
                      <a:pt x="1687311" y="51957"/>
                      <a:pt x="1687311" y="116049"/>
                    </a:cubicBezTo>
                    <a:lnTo>
                      <a:pt x="1687311" y="999071"/>
                    </a:lnTo>
                    <a:cubicBezTo>
                      <a:pt x="1687311" y="1063163"/>
                      <a:pt x="1635354" y="1115120"/>
                      <a:pt x="1571262" y="1115120"/>
                    </a:cubicBezTo>
                    <a:lnTo>
                      <a:pt x="116049" y="1115120"/>
                    </a:lnTo>
                    <a:cubicBezTo>
                      <a:pt x="51957" y="1115120"/>
                      <a:pt x="0" y="1063163"/>
                      <a:pt x="0" y="999071"/>
                    </a:cubicBezTo>
                    <a:lnTo>
                      <a:pt x="0" y="116049"/>
                    </a:lnTo>
                    <a:cubicBezTo>
                      <a:pt x="0" y="51957"/>
                      <a:pt x="51957" y="0"/>
                      <a:pt x="116049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38" name="Graphic 4">
              <a:extLst>
                <a:ext uri="{FF2B5EF4-FFF2-40B4-BE49-F238E27FC236}">
                  <a16:creationId xmlns:a16="http://schemas.microsoft.com/office/drawing/2014/main" id="{6957D7AB-7A48-292C-633D-A5267162A52D}"/>
                </a:ext>
              </a:extLst>
            </p:cNvPr>
            <p:cNvGrpSpPr/>
            <p:nvPr/>
          </p:nvGrpSpPr>
          <p:grpSpPr>
            <a:xfrm>
              <a:off x="1698077" y="6107696"/>
              <a:ext cx="90639" cy="62783"/>
              <a:chOff x="24478633" y="5199365"/>
              <a:chExt cx="946962" cy="655928"/>
            </a:xfrm>
          </p:grpSpPr>
          <p:sp>
            <p:nvSpPr>
              <p:cNvPr id="669" name="Freeform: Shape 668">
                <a:extLst>
                  <a:ext uri="{FF2B5EF4-FFF2-40B4-BE49-F238E27FC236}">
                    <a16:creationId xmlns:a16="http://schemas.microsoft.com/office/drawing/2014/main" id="{2A94EC40-FD73-38FA-1579-FD47B0620309}"/>
                  </a:ext>
                </a:extLst>
              </p:cNvPr>
              <p:cNvSpPr/>
              <p:nvPr/>
            </p:nvSpPr>
            <p:spPr>
              <a:xfrm>
                <a:off x="24595820" y="5199365"/>
                <a:ext cx="829775" cy="655928"/>
              </a:xfrm>
              <a:custGeom>
                <a:avLst/>
                <a:gdLst>
                  <a:gd name="connsiteX0" fmla="*/ 0 w 829775"/>
                  <a:gd name="connsiteY0" fmla="*/ 0 h 655928"/>
                  <a:gd name="connsiteX1" fmla="*/ 829775 w 829775"/>
                  <a:gd name="connsiteY1" fmla="*/ 0 h 655928"/>
                  <a:gd name="connsiteX2" fmla="*/ 829775 w 829775"/>
                  <a:gd name="connsiteY2" fmla="*/ 655929 h 655928"/>
                  <a:gd name="connsiteX3" fmla="*/ 0 w 829775"/>
                  <a:gd name="connsiteY3" fmla="*/ 655929 h 655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9775" h="655928">
                    <a:moveTo>
                      <a:pt x="0" y="0"/>
                    </a:moveTo>
                    <a:lnTo>
                      <a:pt x="829775" y="0"/>
                    </a:lnTo>
                    <a:lnTo>
                      <a:pt x="829775" y="655929"/>
                    </a:lnTo>
                    <a:lnTo>
                      <a:pt x="0" y="655929"/>
                    </a:lnTo>
                    <a:close/>
                  </a:path>
                </a:pathLst>
              </a:custGeom>
              <a:solidFill>
                <a:srgbClr val="DCE5E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0" name="Freeform: Shape 669">
                <a:extLst>
                  <a:ext uri="{FF2B5EF4-FFF2-40B4-BE49-F238E27FC236}">
                    <a16:creationId xmlns:a16="http://schemas.microsoft.com/office/drawing/2014/main" id="{53617F68-3F66-E8CB-B0F5-55204483F003}"/>
                  </a:ext>
                </a:extLst>
              </p:cNvPr>
              <p:cNvSpPr/>
              <p:nvPr/>
            </p:nvSpPr>
            <p:spPr>
              <a:xfrm>
                <a:off x="24478633" y="5199365"/>
                <a:ext cx="829775" cy="655928"/>
              </a:xfrm>
              <a:custGeom>
                <a:avLst/>
                <a:gdLst>
                  <a:gd name="connsiteX0" fmla="*/ 0 w 829775"/>
                  <a:gd name="connsiteY0" fmla="*/ 0 h 655928"/>
                  <a:gd name="connsiteX1" fmla="*/ 829775 w 829775"/>
                  <a:gd name="connsiteY1" fmla="*/ 0 h 655928"/>
                  <a:gd name="connsiteX2" fmla="*/ 829775 w 829775"/>
                  <a:gd name="connsiteY2" fmla="*/ 655929 h 655928"/>
                  <a:gd name="connsiteX3" fmla="*/ 0 w 829775"/>
                  <a:gd name="connsiteY3" fmla="*/ 655929 h 655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9775" h="655928">
                    <a:moveTo>
                      <a:pt x="0" y="0"/>
                    </a:moveTo>
                    <a:lnTo>
                      <a:pt x="829775" y="0"/>
                    </a:lnTo>
                    <a:lnTo>
                      <a:pt x="829775" y="655929"/>
                    </a:lnTo>
                    <a:lnTo>
                      <a:pt x="0" y="655929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1" name="Freeform: Shape 670">
                <a:extLst>
                  <a:ext uri="{FF2B5EF4-FFF2-40B4-BE49-F238E27FC236}">
                    <a16:creationId xmlns:a16="http://schemas.microsoft.com/office/drawing/2014/main" id="{1CD2DDFA-9395-95F7-D03B-A17F2CC989EF}"/>
                  </a:ext>
                </a:extLst>
              </p:cNvPr>
              <p:cNvSpPr/>
              <p:nvPr/>
            </p:nvSpPr>
            <p:spPr>
              <a:xfrm>
                <a:off x="24478633" y="5362789"/>
                <a:ext cx="829775" cy="116640"/>
              </a:xfrm>
              <a:custGeom>
                <a:avLst/>
                <a:gdLst>
                  <a:gd name="connsiteX0" fmla="*/ 0 w 829775"/>
                  <a:gd name="connsiteY0" fmla="*/ 0 h 116640"/>
                  <a:gd name="connsiteX1" fmla="*/ 829775 w 829775"/>
                  <a:gd name="connsiteY1" fmla="*/ 0 h 116640"/>
                  <a:gd name="connsiteX2" fmla="*/ 829775 w 829775"/>
                  <a:gd name="connsiteY2" fmla="*/ 116641 h 116640"/>
                  <a:gd name="connsiteX3" fmla="*/ 0 w 829775"/>
                  <a:gd name="connsiteY3" fmla="*/ 116641 h 116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9775" h="116640">
                    <a:moveTo>
                      <a:pt x="0" y="0"/>
                    </a:moveTo>
                    <a:lnTo>
                      <a:pt x="829775" y="0"/>
                    </a:lnTo>
                    <a:lnTo>
                      <a:pt x="829775" y="116641"/>
                    </a:lnTo>
                    <a:lnTo>
                      <a:pt x="0" y="116641"/>
                    </a:lnTo>
                    <a:close/>
                  </a:path>
                </a:pathLst>
              </a:custGeom>
              <a:solidFill>
                <a:srgbClr val="C8D7DE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2" name="Freeform: Shape 671">
                <a:extLst>
                  <a:ext uri="{FF2B5EF4-FFF2-40B4-BE49-F238E27FC236}">
                    <a16:creationId xmlns:a16="http://schemas.microsoft.com/office/drawing/2014/main" id="{00D307F7-7A9B-131A-E92C-2232F58E92D5}"/>
                  </a:ext>
                </a:extLst>
              </p:cNvPr>
              <p:cNvSpPr/>
              <p:nvPr/>
            </p:nvSpPr>
            <p:spPr>
              <a:xfrm>
                <a:off x="24478633" y="5421133"/>
                <a:ext cx="829775" cy="116640"/>
              </a:xfrm>
              <a:custGeom>
                <a:avLst/>
                <a:gdLst>
                  <a:gd name="connsiteX0" fmla="*/ 0 w 829775"/>
                  <a:gd name="connsiteY0" fmla="*/ 0 h 116640"/>
                  <a:gd name="connsiteX1" fmla="*/ 829775 w 829775"/>
                  <a:gd name="connsiteY1" fmla="*/ 0 h 116640"/>
                  <a:gd name="connsiteX2" fmla="*/ 829775 w 829775"/>
                  <a:gd name="connsiteY2" fmla="*/ 116641 h 116640"/>
                  <a:gd name="connsiteX3" fmla="*/ 0 w 829775"/>
                  <a:gd name="connsiteY3" fmla="*/ 116641 h 116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9775" h="116640">
                    <a:moveTo>
                      <a:pt x="0" y="0"/>
                    </a:moveTo>
                    <a:lnTo>
                      <a:pt x="829775" y="0"/>
                    </a:lnTo>
                    <a:lnTo>
                      <a:pt x="829775" y="116641"/>
                    </a:lnTo>
                    <a:lnTo>
                      <a:pt x="0" y="116641"/>
                    </a:ln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39" name="Freeform: Shape 638">
              <a:extLst>
                <a:ext uri="{FF2B5EF4-FFF2-40B4-BE49-F238E27FC236}">
                  <a16:creationId xmlns:a16="http://schemas.microsoft.com/office/drawing/2014/main" id="{9433B6BF-BAF3-9925-0B1C-AC50A681EFF7}"/>
                </a:ext>
              </a:extLst>
            </p:cNvPr>
            <p:cNvSpPr/>
            <p:nvPr/>
          </p:nvSpPr>
          <p:spPr>
            <a:xfrm>
              <a:off x="986695" y="5935026"/>
              <a:ext cx="246106" cy="280496"/>
            </a:xfrm>
            <a:custGeom>
              <a:avLst/>
              <a:gdLst>
                <a:gd name="connsiteX0" fmla="*/ 2405077 w 2571208"/>
                <a:gd name="connsiteY0" fmla="*/ 2222958 h 2930504"/>
                <a:gd name="connsiteX1" fmla="*/ 2119368 w 2571208"/>
                <a:gd name="connsiteY1" fmla="*/ 2232060 h 2930504"/>
                <a:gd name="connsiteX2" fmla="*/ 1947706 w 2571208"/>
                <a:gd name="connsiteY2" fmla="*/ 2179132 h 2930504"/>
                <a:gd name="connsiteX3" fmla="*/ 1117795 w 2571208"/>
                <a:gd name="connsiteY3" fmla="*/ 1094731 h 2930504"/>
                <a:gd name="connsiteX4" fmla="*/ 678855 w 2571208"/>
                <a:gd name="connsiteY4" fmla="*/ 282569 h 2930504"/>
                <a:gd name="connsiteX5" fmla="*/ 288111 w 2571208"/>
                <a:gd name="connsiteY5" fmla="*/ 0 h 2930504"/>
                <a:gd name="connsiteX6" fmla="*/ 4905 w 2571208"/>
                <a:gd name="connsiteY6" fmla="*/ 527319 h 2930504"/>
                <a:gd name="connsiteX7" fmla="*/ 282695 w 2571208"/>
                <a:gd name="connsiteY7" fmla="*/ 1556926 h 2930504"/>
                <a:gd name="connsiteX8" fmla="*/ 1571024 w 2571208"/>
                <a:gd name="connsiteY8" fmla="*/ 2823137 h 2930504"/>
                <a:gd name="connsiteX9" fmla="*/ 2227134 w 2571208"/>
                <a:gd name="connsiteY9" fmla="*/ 2834196 h 2930504"/>
                <a:gd name="connsiteX10" fmla="*/ 2267775 w 2571208"/>
                <a:gd name="connsiteY10" fmla="*/ 2799746 h 2930504"/>
                <a:gd name="connsiteX11" fmla="*/ 2559445 w 2571208"/>
                <a:gd name="connsiteY11" fmla="*/ 2545165 h 2930504"/>
                <a:gd name="connsiteX12" fmla="*/ 2405077 w 2571208"/>
                <a:gd name="connsiteY12" fmla="*/ 2222913 h 2930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71208" h="2930504">
                  <a:moveTo>
                    <a:pt x="2405077" y="2222958"/>
                  </a:moveTo>
                  <a:cubicBezTo>
                    <a:pt x="2389785" y="2212628"/>
                    <a:pt x="2164969" y="2237248"/>
                    <a:pt x="2119368" y="2232060"/>
                  </a:cubicBezTo>
                  <a:cubicBezTo>
                    <a:pt x="2056701" y="2224961"/>
                    <a:pt x="2003091" y="2211490"/>
                    <a:pt x="1947706" y="2179132"/>
                  </a:cubicBezTo>
                  <a:cubicBezTo>
                    <a:pt x="1909751" y="2156969"/>
                    <a:pt x="1288455" y="1462676"/>
                    <a:pt x="1117795" y="1094731"/>
                  </a:cubicBezTo>
                  <a:cubicBezTo>
                    <a:pt x="988457" y="815940"/>
                    <a:pt x="864443" y="529685"/>
                    <a:pt x="678855" y="282569"/>
                  </a:cubicBezTo>
                  <a:cubicBezTo>
                    <a:pt x="627111" y="217672"/>
                    <a:pt x="331936" y="0"/>
                    <a:pt x="288111" y="0"/>
                  </a:cubicBezTo>
                  <a:cubicBezTo>
                    <a:pt x="110350" y="72133"/>
                    <a:pt x="21470" y="312013"/>
                    <a:pt x="4905" y="527319"/>
                  </a:cubicBezTo>
                  <a:cubicBezTo>
                    <a:pt x="-14027" y="773161"/>
                    <a:pt x="10639" y="1257474"/>
                    <a:pt x="282695" y="1556926"/>
                  </a:cubicBezTo>
                  <a:cubicBezTo>
                    <a:pt x="727778" y="2046882"/>
                    <a:pt x="1185649" y="2623214"/>
                    <a:pt x="1571024" y="2823137"/>
                  </a:cubicBezTo>
                  <a:cubicBezTo>
                    <a:pt x="1789697" y="2936547"/>
                    <a:pt x="1906930" y="2988701"/>
                    <a:pt x="2227134" y="2834196"/>
                  </a:cubicBezTo>
                  <a:cubicBezTo>
                    <a:pt x="2240196" y="2827916"/>
                    <a:pt x="2254031" y="2815538"/>
                    <a:pt x="2267775" y="2799746"/>
                  </a:cubicBezTo>
                  <a:cubicBezTo>
                    <a:pt x="2391560" y="2724928"/>
                    <a:pt x="2488496" y="2619938"/>
                    <a:pt x="2559445" y="2545165"/>
                  </a:cubicBezTo>
                  <a:cubicBezTo>
                    <a:pt x="2559445" y="2545165"/>
                    <a:pt x="2634581" y="2313567"/>
                    <a:pt x="2405077" y="2222913"/>
                  </a:cubicBezTo>
                  <a:close/>
                </a:path>
              </a:pathLst>
            </a:custGeom>
            <a:solidFill>
              <a:schemeClr val="accent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40" name="Group 639">
              <a:extLst>
                <a:ext uri="{FF2B5EF4-FFF2-40B4-BE49-F238E27FC236}">
                  <a16:creationId xmlns:a16="http://schemas.microsoft.com/office/drawing/2014/main" id="{8A772558-C2F4-1103-08F3-C848FFB3C3E1}"/>
                </a:ext>
              </a:extLst>
            </p:cNvPr>
            <p:cNvGrpSpPr/>
            <p:nvPr/>
          </p:nvGrpSpPr>
          <p:grpSpPr>
            <a:xfrm>
              <a:off x="1153668" y="5936039"/>
              <a:ext cx="179399" cy="62488"/>
              <a:chOff x="7837573" y="1934754"/>
              <a:chExt cx="1760677" cy="613253"/>
            </a:xfrm>
          </p:grpSpPr>
          <p:sp>
            <p:nvSpPr>
              <p:cNvPr id="641" name="Freeform: Shape 640">
                <a:extLst>
                  <a:ext uri="{FF2B5EF4-FFF2-40B4-BE49-F238E27FC236}">
                    <a16:creationId xmlns:a16="http://schemas.microsoft.com/office/drawing/2014/main" id="{A9E1DDE7-7DB7-836B-0255-8BF0F4E854D4}"/>
                  </a:ext>
                </a:extLst>
              </p:cNvPr>
              <p:cNvSpPr/>
              <p:nvPr/>
            </p:nvSpPr>
            <p:spPr>
              <a:xfrm>
                <a:off x="8488881" y="2184154"/>
                <a:ext cx="393730" cy="123303"/>
              </a:xfrm>
              <a:custGeom>
                <a:avLst/>
                <a:gdLst>
                  <a:gd name="connsiteX0" fmla="*/ 1419 w 393730"/>
                  <a:gd name="connsiteY0" fmla="*/ 17895 h 123303"/>
                  <a:gd name="connsiteX1" fmla="*/ 97150 w 393730"/>
                  <a:gd name="connsiteY1" fmla="*/ 2266 h 123303"/>
                  <a:gd name="connsiteX2" fmla="*/ 153726 w 393730"/>
                  <a:gd name="connsiteY2" fmla="*/ 5237 h 123303"/>
                  <a:gd name="connsiteX3" fmla="*/ 395150 w 393730"/>
                  <a:gd name="connsiteY3" fmla="*/ 82305 h 123303"/>
                  <a:gd name="connsiteX4" fmla="*/ 135700 w 393730"/>
                  <a:gd name="connsiteY4" fmla="*/ 123690 h 123303"/>
                  <a:gd name="connsiteX5" fmla="*/ 1419 w 393730"/>
                  <a:gd name="connsiteY5" fmla="*/ 17895 h 123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3730" h="123303">
                    <a:moveTo>
                      <a:pt x="1419" y="17895"/>
                    </a:moveTo>
                    <a:lnTo>
                      <a:pt x="97150" y="2266"/>
                    </a:lnTo>
                    <a:cubicBezTo>
                      <a:pt x="117306" y="-1024"/>
                      <a:pt x="137425" y="29"/>
                      <a:pt x="153726" y="5237"/>
                    </a:cubicBezTo>
                    <a:lnTo>
                      <a:pt x="395150" y="82305"/>
                    </a:lnTo>
                    <a:cubicBezTo>
                      <a:pt x="285623" y="112558"/>
                      <a:pt x="135700" y="123690"/>
                      <a:pt x="135700" y="123690"/>
                    </a:cubicBezTo>
                    <a:lnTo>
                      <a:pt x="1419" y="17895"/>
                    </a:lnTo>
                    <a:close/>
                  </a:path>
                </a:pathLst>
              </a:custGeom>
              <a:solidFill>
                <a:srgbClr val="E8EAF0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2" name="Freeform: Shape 641">
                <a:extLst>
                  <a:ext uri="{FF2B5EF4-FFF2-40B4-BE49-F238E27FC236}">
                    <a16:creationId xmlns:a16="http://schemas.microsoft.com/office/drawing/2014/main" id="{7698C559-50AC-4776-F0F6-FFC91004A638}"/>
                  </a:ext>
                </a:extLst>
              </p:cNvPr>
              <p:cNvSpPr/>
              <p:nvPr/>
            </p:nvSpPr>
            <p:spPr>
              <a:xfrm>
                <a:off x="7905216" y="2120003"/>
                <a:ext cx="1693034" cy="392471"/>
              </a:xfrm>
              <a:custGeom>
                <a:avLst/>
                <a:gdLst>
                  <a:gd name="connsiteX0" fmla="*/ 1490504 w 1693034"/>
                  <a:gd name="connsiteY0" fmla="*/ 23805 h 392471"/>
                  <a:gd name="connsiteX1" fmla="*/ 1600987 w 1693034"/>
                  <a:gd name="connsiteY1" fmla="*/ 70734 h 392471"/>
                  <a:gd name="connsiteX2" fmla="*/ 1693746 w 1693034"/>
                  <a:gd name="connsiteY2" fmla="*/ 125324 h 392471"/>
                  <a:gd name="connsiteX3" fmla="*/ 1598087 w 1693034"/>
                  <a:gd name="connsiteY3" fmla="*/ 203240 h 392471"/>
                  <a:gd name="connsiteX4" fmla="*/ 1485638 w 1693034"/>
                  <a:gd name="connsiteY4" fmla="*/ 241165 h 392471"/>
                  <a:gd name="connsiteX5" fmla="*/ 1423696 w 1693034"/>
                  <a:gd name="connsiteY5" fmla="*/ 256672 h 392471"/>
                  <a:gd name="connsiteX6" fmla="*/ 680623 w 1693034"/>
                  <a:gd name="connsiteY6" fmla="*/ 380703 h 392471"/>
                  <a:gd name="connsiteX7" fmla="*/ 293883 w 1693034"/>
                  <a:gd name="connsiteY7" fmla="*/ 360798 h 392471"/>
                  <a:gd name="connsiteX8" fmla="*/ 8669 w 1693034"/>
                  <a:gd name="connsiteY8" fmla="*/ 282430 h 392471"/>
                  <a:gd name="connsiteX9" fmla="*/ 1534 w 1693034"/>
                  <a:gd name="connsiteY9" fmla="*/ 239391 h 392471"/>
                  <a:gd name="connsiteX10" fmla="*/ 58078 w 1693034"/>
                  <a:gd name="connsiteY10" fmla="*/ 216455 h 392471"/>
                  <a:gd name="connsiteX11" fmla="*/ 1327960 w 1693034"/>
                  <a:gd name="connsiteY11" fmla="*/ 4501 h 392471"/>
                  <a:gd name="connsiteX12" fmla="*/ 1490504 w 1693034"/>
                  <a:gd name="connsiteY12" fmla="*/ 23805 h 392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693034" h="392471">
                    <a:moveTo>
                      <a:pt x="1490504" y="23805"/>
                    </a:moveTo>
                    <a:lnTo>
                      <a:pt x="1600987" y="70734"/>
                    </a:lnTo>
                    <a:cubicBezTo>
                      <a:pt x="1621721" y="79540"/>
                      <a:pt x="1688177" y="103435"/>
                      <a:pt x="1693746" y="125324"/>
                    </a:cubicBezTo>
                    <a:cubicBezTo>
                      <a:pt x="1702946" y="161469"/>
                      <a:pt x="1632667" y="191574"/>
                      <a:pt x="1598087" y="203240"/>
                    </a:cubicBezTo>
                    <a:lnTo>
                      <a:pt x="1485638" y="241165"/>
                    </a:lnTo>
                    <a:cubicBezTo>
                      <a:pt x="1465432" y="247976"/>
                      <a:pt x="1444721" y="253162"/>
                      <a:pt x="1423696" y="256672"/>
                    </a:cubicBezTo>
                    <a:lnTo>
                      <a:pt x="680623" y="380703"/>
                    </a:lnTo>
                    <a:cubicBezTo>
                      <a:pt x="551796" y="402200"/>
                      <a:pt x="419849" y="395411"/>
                      <a:pt x="293883" y="360798"/>
                    </a:cubicBezTo>
                    <a:lnTo>
                      <a:pt x="8669" y="282430"/>
                    </a:lnTo>
                    <a:lnTo>
                      <a:pt x="1534" y="239391"/>
                    </a:lnTo>
                    <a:lnTo>
                      <a:pt x="58078" y="216455"/>
                    </a:lnTo>
                    <a:lnTo>
                      <a:pt x="1327960" y="4501"/>
                    </a:lnTo>
                    <a:cubicBezTo>
                      <a:pt x="1382867" y="-4664"/>
                      <a:pt x="1439245" y="2032"/>
                      <a:pt x="1490504" y="23805"/>
                    </a:cubicBezTo>
                    <a:close/>
                  </a:path>
                </a:pathLst>
              </a:custGeom>
              <a:solidFill>
                <a:srgbClr val="F7F9FF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3" name="Freeform: Shape 642">
                <a:extLst>
                  <a:ext uri="{FF2B5EF4-FFF2-40B4-BE49-F238E27FC236}">
                    <a16:creationId xmlns:a16="http://schemas.microsoft.com/office/drawing/2014/main" id="{BEAD3941-31DE-9CA4-F5C8-F70E96962142}"/>
                  </a:ext>
                </a:extLst>
              </p:cNvPr>
              <p:cNvSpPr/>
              <p:nvPr/>
            </p:nvSpPr>
            <p:spPr>
              <a:xfrm>
                <a:off x="7837573" y="1934754"/>
                <a:ext cx="665044" cy="401193"/>
              </a:xfrm>
              <a:custGeom>
                <a:avLst/>
                <a:gdLst>
                  <a:gd name="connsiteX0" fmla="*/ 97199 w 665044"/>
                  <a:gd name="connsiteY0" fmla="*/ 194 h 401193"/>
                  <a:gd name="connsiteX1" fmla="*/ 315265 w 665044"/>
                  <a:gd name="connsiteY1" fmla="*/ 211840 h 401193"/>
                  <a:gd name="connsiteX2" fmla="*/ 487783 w 665044"/>
                  <a:gd name="connsiteY2" fmla="*/ 292539 h 401193"/>
                  <a:gd name="connsiteX3" fmla="*/ 665563 w 665044"/>
                  <a:gd name="connsiteY3" fmla="*/ 311116 h 401193"/>
                  <a:gd name="connsiteX4" fmla="*/ 453939 w 665044"/>
                  <a:gd name="connsiteY4" fmla="*/ 346434 h 401193"/>
                  <a:gd name="connsiteX5" fmla="*/ 309976 w 665044"/>
                  <a:gd name="connsiteY5" fmla="*/ 370461 h 401193"/>
                  <a:gd name="connsiteX6" fmla="*/ 124704 w 665044"/>
                  <a:gd name="connsiteY6" fmla="*/ 401387 h 401193"/>
                  <a:gd name="connsiteX7" fmla="*/ 518 w 665044"/>
                  <a:gd name="connsiteY7" fmla="*/ 16329 h 401193"/>
                  <a:gd name="connsiteX8" fmla="*/ 97199 w 665044"/>
                  <a:gd name="connsiteY8" fmla="*/ 194 h 40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5044" h="401193">
                    <a:moveTo>
                      <a:pt x="97199" y="194"/>
                    </a:moveTo>
                    <a:lnTo>
                      <a:pt x="315265" y="211840"/>
                    </a:lnTo>
                    <a:cubicBezTo>
                      <a:pt x="362152" y="257347"/>
                      <a:pt x="422897" y="285761"/>
                      <a:pt x="487783" y="292539"/>
                    </a:cubicBezTo>
                    <a:lnTo>
                      <a:pt x="665563" y="311116"/>
                    </a:lnTo>
                    <a:lnTo>
                      <a:pt x="453939" y="346434"/>
                    </a:lnTo>
                    <a:lnTo>
                      <a:pt x="309976" y="370461"/>
                    </a:lnTo>
                    <a:lnTo>
                      <a:pt x="124704" y="401387"/>
                    </a:lnTo>
                    <a:lnTo>
                      <a:pt x="518" y="16329"/>
                    </a:lnTo>
                    <a:lnTo>
                      <a:pt x="97199" y="194"/>
                    </a:lnTo>
                    <a:close/>
                  </a:path>
                </a:pathLst>
              </a:custGeom>
              <a:solidFill>
                <a:srgbClr val="181A4B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4" name="Freeform: Shape 643">
                <a:extLst>
                  <a:ext uri="{FF2B5EF4-FFF2-40B4-BE49-F238E27FC236}">
                    <a16:creationId xmlns:a16="http://schemas.microsoft.com/office/drawing/2014/main" id="{60A3B2A3-B69A-60F0-51A8-776003910174}"/>
                  </a:ext>
                </a:extLst>
              </p:cNvPr>
              <p:cNvSpPr/>
              <p:nvPr/>
            </p:nvSpPr>
            <p:spPr>
              <a:xfrm>
                <a:off x="7866358" y="2035210"/>
                <a:ext cx="123021" cy="233584"/>
              </a:xfrm>
              <a:custGeom>
                <a:avLst/>
                <a:gdLst>
                  <a:gd name="connsiteX0" fmla="*/ 73840 w 123021"/>
                  <a:gd name="connsiteY0" fmla="*/ 233807 h 233584"/>
                  <a:gd name="connsiteX1" fmla="*/ 95 w 123021"/>
                  <a:gd name="connsiteY1" fmla="*/ 5149 h 233584"/>
                  <a:gd name="connsiteX2" fmla="*/ 29600 w 123021"/>
                  <a:gd name="connsiteY2" fmla="*/ 223 h 233584"/>
                  <a:gd name="connsiteX3" fmla="*/ 123117 w 123021"/>
                  <a:gd name="connsiteY3" fmla="*/ 225585 h 233584"/>
                  <a:gd name="connsiteX4" fmla="*/ 73840 w 123021"/>
                  <a:gd name="connsiteY4" fmla="*/ 233807 h 233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021" h="233584">
                    <a:moveTo>
                      <a:pt x="73840" y="233807"/>
                    </a:moveTo>
                    <a:lnTo>
                      <a:pt x="95" y="5149"/>
                    </a:lnTo>
                    <a:lnTo>
                      <a:pt x="29600" y="223"/>
                    </a:lnTo>
                    <a:lnTo>
                      <a:pt x="123117" y="225585"/>
                    </a:lnTo>
                    <a:lnTo>
                      <a:pt x="73840" y="233807"/>
                    </a:lnTo>
                    <a:close/>
                  </a:path>
                </a:pathLst>
              </a:custGeom>
              <a:solidFill>
                <a:schemeClr val="accent1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5" name="Freeform: Shape 644">
                <a:extLst>
                  <a:ext uri="{FF2B5EF4-FFF2-40B4-BE49-F238E27FC236}">
                    <a16:creationId xmlns:a16="http://schemas.microsoft.com/office/drawing/2014/main" id="{82BA0C80-039F-A17F-93B3-D5E560FFAE17}"/>
                  </a:ext>
                </a:extLst>
              </p:cNvPr>
              <p:cNvSpPr/>
              <p:nvPr/>
            </p:nvSpPr>
            <p:spPr>
              <a:xfrm>
                <a:off x="8288852" y="2311955"/>
                <a:ext cx="1202096" cy="200495"/>
              </a:xfrm>
              <a:custGeom>
                <a:avLst/>
                <a:gdLst>
                  <a:gd name="connsiteX0" fmla="*/ 1203873 w 1202096"/>
                  <a:gd name="connsiteY0" fmla="*/ 15104 h 200495"/>
                  <a:gd name="connsiteX1" fmla="*/ 1102243 w 1202096"/>
                  <a:gd name="connsiteY1" fmla="*/ 49375 h 200495"/>
                  <a:gd name="connsiteX2" fmla="*/ 1040301 w 1202096"/>
                  <a:gd name="connsiteY2" fmla="*/ 64888 h 200495"/>
                  <a:gd name="connsiteX3" fmla="*/ 297228 w 1202096"/>
                  <a:gd name="connsiteY3" fmla="*/ 188918 h 200495"/>
                  <a:gd name="connsiteX4" fmla="*/ 1776 w 1202096"/>
                  <a:gd name="connsiteY4" fmla="*/ 189018 h 200495"/>
                  <a:gd name="connsiteX5" fmla="*/ 1118693 w 1202096"/>
                  <a:gd name="connsiteY5" fmla="*/ 2594 h 200495"/>
                  <a:gd name="connsiteX6" fmla="*/ 1203873 w 1202096"/>
                  <a:gd name="connsiteY6" fmla="*/ 15104 h 200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02096" h="200495">
                    <a:moveTo>
                      <a:pt x="1203873" y="15104"/>
                    </a:moveTo>
                    <a:lnTo>
                      <a:pt x="1102243" y="49375"/>
                    </a:lnTo>
                    <a:cubicBezTo>
                      <a:pt x="1082043" y="56192"/>
                      <a:pt x="1061326" y="61378"/>
                      <a:pt x="1040301" y="64888"/>
                    </a:cubicBezTo>
                    <a:lnTo>
                      <a:pt x="297228" y="188918"/>
                    </a:lnTo>
                    <a:cubicBezTo>
                      <a:pt x="199207" y="205274"/>
                      <a:pt x="99390" y="205208"/>
                      <a:pt x="1776" y="189018"/>
                    </a:cubicBezTo>
                    <a:lnTo>
                      <a:pt x="1118693" y="2594"/>
                    </a:lnTo>
                    <a:cubicBezTo>
                      <a:pt x="1147692" y="-2244"/>
                      <a:pt x="1177471" y="2132"/>
                      <a:pt x="1203873" y="1510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6" name="Freeform: Shape 645">
                <a:extLst>
                  <a:ext uri="{FF2B5EF4-FFF2-40B4-BE49-F238E27FC236}">
                    <a16:creationId xmlns:a16="http://schemas.microsoft.com/office/drawing/2014/main" id="{D55848AD-8256-469B-8977-03DC77647A50}"/>
                  </a:ext>
                </a:extLst>
              </p:cNvPr>
              <p:cNvSpPr/>
              <p:nvPr/>
            </p:nvSpPr>
            <p:spPr>
              <a:xfrm>
                <a:off x="9055505" y="2238763"/>
                <a:ext cx="35685" cy="45028"/>
              </a:xfrm>
              <a:custGeom>
                <a:avLst/>
                <a:gdLst>
                  <a:gd name="connsiteX0" fmla="*/ 18847 w 35685"/>
                  <a:gd name="connsiteY0" fmla="*/ 45285 h 45028"/>
                  <a:gd name="connsiteX1" fmla="*/ 28184 w 35685"/>
                  <a:gd name="connsiteY1" fmla="*/ 43726 h 45028"/>
                  <a:gd name="connsiteX2" fmla="*/ 37625 w 35685"/>
                  <a:gd name="connsiteY2" fmla="*/ 30478 h 45028"/>
                  <a:gd name="connsiteX3" fmla="*/ 34236 w 35685"/>
                  <a:gd name="connsiteY3" fmla="*/ 10044 h 45028"/>
                  <a:gd name="connsiteX4" fmla="*/ 21027 w 35685"/>
                  <a:gd name="connsiteY4" fmla="*/ 571 h 45028"/>
                  <a:gd name="connsiteX5" fmla="*/ 11690 w 35685"/>
                  <a:gd name="connsiteY5" fmla="*/ 2131 h 45028"/>
                  <a:gd name="connsiteX6" fmla="*/ 2255 w 35685"/>
                  <a:gd name="connsiteY6" fmla="*/ 15384 h 45028"/>
                  <a:gd name="connsiteX7" fmla="*/ 5638 w 35685"/>
                  <a:gd name="connsiteY7" fmla="*/ 35812 h 45028"/>
                  <a:gd name="connsiteX8" fmla="*/ 18847 w 35685"/>
                  <a:gd name="connsiteY8" fmla="*/ 45285 h 45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685" h="45028">
                    <a:moveTo>
                      <a:pt x="18847" y="45285"/>
                    </a:moveTo>
                    <a:lnTo>
                      <a:pt x="28184" y="43726"/>
                    </a:lnTo>
                    <a:cubicBezTo>
                      <a:pt x="34434" y="42684"/>
                      <a:pt x="38663" y="36749"/>
                      <a:pt x="37625" y="30478"/>
                    </a:cubicBezTo>
                    <a:lnTo>
                      <a:pt x="34236" y="10044"/>
                    </a:lnTo>
                    <a:cubicBezTo>
                      <a:pt x="33193" y="3767"/>
                      <a:pt x="27283" y="-470"/>
                      <a:pt x="21027" y="571"/>
                    </a:cubicBezTo>
                    <a:lnTo>
                      <a:pt x="11690" y="2131"/>
                    </a:lnTo>
                    <a:cubicBezTo>
                      <a:pt x="5440" y="3172"/>
                      <a:pt x="1211" y="9107"/>
                      <a:pt x="2255" y="15384"/>
                    </a:cubicBezTo>
                    <a:lnTo>
                      <a:pt x="5638" y="35812"/>
                    </a:lnTo>
                    <a:cubicBezTo>
                      <a:pt x="6681" y="42089"/>
                      <a:pt x="12591" y="46327"/>
                      <a:pt x="18847" y="45285"/>
                    </a:cubicBezTo>
                    <a:close/>
                  </a:path>
                </a:pathLst>
              </a:custGeom>
              <a:solidFill>
                <a:srgbClr val="434345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7" name="Freeform: Shape 646">
                <a:extLst>
                  <a:ext uri="{FF2B5EF4-FFF2-40B4-BE49-F238E27FC236}">
                    <a16:creationId xmlns:a16="http://schemas.microsoft.com/office/drawing/2014/main" id="{AA208675-1D31-9245-512A-B0B2E597F769}"/>
                  </a:ext>
                </a:extLst>
              </p:cNvPr>
              <p:cNvSpPr/>
              <p:nvPr/>
            </p:nvSpPr>
            <p:spPr>
              <a:xfrm>
                <a:off x="8999973" y="2248032"/>
                <a:ext cx="35681" cy="45029"/>
              </a:xfrm>
              <a:custGeom>
                <a:avLst/>
                <a:gdLst>
                  <a:gd name="connsiteX0" fmla="*/ 18750 w 35681"/>
                  <a:gd name="connsiteY0" fmla="*/ 45302 h 45029"/>
                  <a:gd name="connsiteX1" fmla="*/ 28087 w 35681"/>
                  <a:gd name="connsiteY1" fmla="*/ 43742 h 45029"/>
                  <a:gd name="connsiteX2" fmla="*/ 37522 w 35681"/>
                  <a:gd name="connsiteY2" fmla="*/ 30494 h 45029"/>
                  <a:gd name="connsiteX3" fmla="*/ 34139 w 35681"/>
                  <a:gd name="connsiteY3" fmla="*/ 10060 h 45029"/>
                  <a:gd name="connsiteX4" fmla="*/ 20930 w 35681"/>
                  <a:gd name="connsiteY4" fmla="*/ 587 h 45029"/>
                  <a:gd name="connsiteX5" fmla="*/ 11593 w 35681"/>
                  <a:gd name="connsiteY5" fmla="*/ 2147 h 45029"/>
                  <a:gd name="connsiteX6" fmla="*/ 2158 w 35681"/>
                  <a:gd name="connsiteY6" fmla="*/ 15400 h 45029"/>
                  <a:gd name="connsiteX7" fmla="*/ 5541 w 35681"/>
                  <a:gd name="connsiteY7" fmla="*/ 35829 h 45029"/>
                  <a:gd name="connsiteX8" fmla="*/ 18750 w 35681"/>
                  <a:gd name="connsiteY8" fmla="*/ 45302 h 45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681" h="45029">
                    <a:moveTo>
                      <a:pt x="18750" y="45302"/>
                    </a:moveTo>
                    <a:lnTo>
                      <a:pt x="28087" y="43742"/>
                    </a:lnTo>
                    <a:cubicBezTo>
                      <a:pt x="34337" y="42701"/>
                      <a:pt x="38566" y="36765"/>
                      <a:pt x="37522" y="30494"/>
                    </a:cubicBezTo>
                    <a:lnTo>
                      <a:pt x="34139" y="10060"/>
                    </a:lnTo>
                    <a:cubicBezTo>
                      <a:pt x="33096" y="3784"/>
                      <a:pt x="27186" y="-454"/>
                      <a:pt x="20930" y="587"/>
                    </a:cubicBezTo>
                    <a:lnTo>
                      <a:pt x="11593" y="2147"/>
                    </a:lnTo>
                    <a:cubicBezTo>
                      <a:pt x="5343" y="3188"/>
                      <a:pt x="1114" y="9124"/>
                      <a:pt x="2158" y="15400"/>
                    </a:cubicBezTo>
                    <a:lnTo>
                      <a:pt x="5541" y="35829"/>
                    </a:lnTo>
                    <a:cubicBezTo>
                      <a:pt x="6584" y="42105"/>
                      <a:pt x="12494" y="46343"/>
                      <a:pt x="18750" y="45302"/>
                    </a:cubicBezTo>
                    <a:close/>
                  </a:path>
                </a:pathLst>
              </a:custGeom>
              <a:solidFill>
                <a:srgbClr val="434345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8" name="Freeform: Shape 647">
                <a:extLst>
                  <a:ext uri="{FF2B5EF4-FFF2-40B4-BE49-F238E27FC236}">
                    <a16:creationId xmlns:a16="http://schemas.microsoft.com/office/drawing/2014/main" id="{9DED9AEA-8470-1D57-11D5-1AC79CBC436D}"/>
                  </a:ext>
                </a:extLst>
              </p:cNvPr>
              <p:cNvSpPr/>
              <p:nvPr/>
            </p:nvSpPr>
            <p:spPr>
              <a:xfrm>
                <a:off x="8944436" y="2257301"/>
                <a:ext cx="35685" cy="45028"/>
              </a:xfrm>
              <a:custGeom>
                <a:avLst/>
                <a:gdLst>
                  <a:gd name="connsiteX0" fmla="*/ 18657 w 35685"/>
                  <a:gd name="connsiteY0" fmla="*/ 45318 h 45028"/>
                  <a:gd name="connsiteX1" fmla="*/ 27994 w 35685"/>
                  <a:gd name="connsiteY1" fmla="*/ 43758 h 45028"/>
                  <a:gd name="connsiteX2" fmla="*/ 37429 w 35685"/>
                  <a:gd name="connsiteY2" fmla="*/ 30510 h 45028"/>
                  <a:gd name="connsiteX3" fmla="*/ 34046 w 35685"/>
                  <a:gd name="connsiteY3" fmla="*/ 10076 h 45028"/>
                  <a:gd name="connsiteX4" fmla="*/ 20837 w 35685"/>
                  <a:gd name="connsiteY4" fmla="*/ 604 h 45028"/>
                  <a:gd name="connsiteX5" fmla="*/ 11500 w 35685"/>
                  <a:gd name="connsiteY5" fmla="*/ 2163 h 45028"/>
                  <a:gd name="connsiteX6" fmla="*/ 2059 w 35685"/>
                  <a:gd name="connsiteY6" fmla="*/ 15416 h 45028"/>
                  <a:gd name="connsiteX7" fmla="*/ 5448 w 35685"/>
                  <a:gd name="connsiteY7" fmla="*/ 35845 h 45028"/>
                  <a:gd name="connsiteX8" fmla="*/ 18657 w 35685"/>
                  <a:gd name="connsiteY8" fmla="*/ 45318 h 45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685" h="45028">
                    <a:moveTo>
                      <a:pt x="18657" y="45318"/>
                    </a:moveTo>
                    <a:lnTo>
                      <a:pt x="27994" y="43758"/>
                    </a:lnTo>
                    <a:cubicBezTo>
                      <a:pt x="34244" y="42717"/>
                      <a:pt x="38473" y="36782"/>
                      <a:pt x="37429" y="30510"/>
                    </a:cubicBezTo>
                    <a:lnTo>
                      <a:pt x="34046" y="10076"/>
                    </a:lnTo>
                    <a:cubicBezTo>
                      <a:pt x="33003" y="3800"/>
                      <a:pt x="27093" y="-438"/>
                      <a:pt x="20837" y="604"/>
                    </a:cubicBezTo>
                    <a:lnTo>
                      <a:pt x="11500" y="2163"/>
                    </a:lnTo>
                    <a:cubicBezTo>
                      <a:pt x="5250" y="3205"/>
                      <a:pt x="1021" y="9140"/>
                      <a:pt x="2059" y="15416"/>
                    </a:cubicBezTo>
                    <a:lnTo>
                      <a:pt x="5448" y="35845"/>
                    </a:lnTo>
                    <a:cubicBezTo>
                      <a:pt x="6491" y="42121"/>
                      <a:pt x="12401" y="46359"/>
                      <a:pt x="18657" y="45318"/>
                    </a:cubicBezTo>
                    <a:close/>
                  </a:path>
                </a:pathLst>
              </a:custGeom>
              <a:solidFill>
                <a:srgbClr val="434345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9" name="Freeform: Shape 648">
                <a:extLst>
                  <a:ext uri="{FF2B5EF4-FFF2-40B4-BE49-F238E27FC236}">
                    <a16:creationId xmlns:a16="http://schemas.microsoft.com/office/drawing/2014/main" id="{821F597A-29C0-5143-4CD0-12537BF4D442}"/>
                  </a:ext>
                </a:extLst>
              </p:cNvPr>
              <p:cNvSpPr/>
              <p:nvPr/>
            </p:nvSpPr>
            <p:spPr>
              <a:xfrm>
                <a:off x="8888904" y="2266570"/>
                <a:ext cx="35685" cy="45028"/>
              </a:xfrm>
              <a:custGeom>
                <a:avLst/>
                <a:gdLst>
                  <a:gd name="connsiteX0" fmla="*/ 18560 w 35685"/>
                  <a:gd name="connsiteY0" fmla="*/ 45334 h 45028"/>
                  <a:gd name="connsiteX1" fmla="*/ 27891 w 35685"/>
                  <a:gd name="connsiteY1" fmla="*/ 43774 h 45028"/>
                  <a:gd name="connsiteX2" fmla="*/ 37332 w 35685"/>
                  <a:gd name="connsiteY2" fmla="*/ 30527 h 45028"/>
                  <a:gd name="connsiteX3" fmla="*/ 33949 w 35685"/>
                  <a:gd name="connsiteY3" fmla="*/ 10093 h 45028"/>
                  <a:gd name="connsiteX4" fmla="*/ 20740 w 35685"/>
                  <a:gd name="connsiteY4" fmla="*/ 620 h 45028"/>
                  <a:gd name="connsiteX5" fmla="*/ 11403 w 35685"/>
                  <a:gd name="connsiteY5" fmla="*/ 2179 h 45028"/>
                  <a:gd name="connsiteX6" fmla="*/ 1962 w 35685"/>
                  <a:gd name="connsiteY6" fmla="*/ 15433 h 45028"/>
                  <a:gd name="connsiteX7" fmla="*/ 5351 w 35685"/>
                  <a:gd name="connsiteY7" fmla="*/ 35861 h 45028"/>
                  <a:gd name="connsiteX8" fmla="*/ 18560 w 35685"/>
                  <a:gd name="connsiteY8" fmla="*/ 45334 h 45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685" h="45028">
                    <a:moveTo>
                      <a:pt x="18560" y="45334"/>
                    </a:moveTo>
                    <a:lnTo>
                      <a:pt x="27891" y="43774"/>
                    </a:lnTo>
                    <a:cubicBezTo>
                      <a:pt x="34141" y="42733"/>
                      <a:pt x="38376" y="36798"/>
                      <a:pt x="37332" y="30527"/>
                    </a:cubicBezTo>
                    <a:lnTo>
                      <a:pt x="33949" y="10093"/>
                    </a:lnTo>
                    <a:cubicBezTo>
                      <a:pt x="32906" y="3816"/>
                      <a:pt x="26990" y="-422"/>
                      <a:pt x="20740" y="620"/>
                    </a:cubicBezTo>
                    <a:lnTo>
                      <a:pt x="11403" y="2179"/>
                    </a:lnTo>
                    <a:cubicBezTo>
                      <a:pt x="5153" y="3221"/>
                      <a:pt x="924" y="9156"/>
                      <a:pt x="1962" y="15433"/>
                    </a:cubicBezTo>
                    <a:lnTo>
                      <a:pt x="5351" y="35861"/>
                    </a:lnTo>
                    <a:cubicBezTo>
                      <a:pt x="6394" y="42138"/>
                      <a:pt x="12304" y="46375"/>
                      <a:pt x="18560" y="45334"/>
                    </a:cubicBezTo>
                    <a:close/>
                  </a:path>
                </a:pathLst>
              </a:custGeom>
              <a:solidFill>
                <a:srgbClr val="434345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0" name="Freeform: Shape 649">
                <a:extLst>
                  <a:ext uri="{FF2B5EF4-FFF2-40B4-BE49-F238E27FC236}">
                    <a16:creationId xmlns:a16="http://schemas.microsoft.com/office/drawing/2014/main" id="{65DEDAF0-0BD2-71CC-4678-3A7DE147C12B}"/>
                  </a:ext>
                </a:extLst>
              </p:cNvPr>
              <p:cNvSpPr/>
              <p:nvPr/>
            </p:nvSpPr>
            <p:spPr>
              <a:xfrm>
                <a:off x="8833371" y="2275839"/>
                <a:ext cx="35685" cy="45028"/>
              </a:xfrm>
              <a:custGeom>
                <a:avLst/>
                <a:gdLst>
                  <a:gd name="connsiteX0" fmla="*/ 18463 w 35685"/>
                  <a:gd name="connsiteY0" fmla="*/ 45350 h 45028"/>
                  <a:gd name="connsiteX1" fmla="*/ 27800 w 35685"/>
                  <a:gd name="connsiteY1" fmla="*/ 43791 h 45028"/>
                  <a:gd name="connsiteX2" fmla="*/ 37235 w 35685"/>
                  <a:gd name="connsiteY2" fmla="*/ 30543 h 45028"/>
                  <a:gd name="connsiteX3" fmla="*/ 33852 w 35685"/>
                  <a:gd name="connsiteY3" fmla="*/ 10109 h 45028"/>
                  <a:gd name="connsiteX4" fmla="*/ 20643 w 35685"/>
                  <a:gd name="connsiteY4" fmla="*/ 636 h 45028"/>
                  <a:gd name="connsiteX5" fmla="*/ 11306 w 35685"/>
                  <a:gd name="connsiteY5" fmla="*/ 2195 h 45028"/>
                  <a:gd name="connsiteX6" fmla="*/ 1865 w 35685"/>
                  <a:gd name="connsiteY6" fmla="*/ 15443 h 45028"/>
                  <a:gd name="connsiteX7" fmla="*/ 5254 w 35685"/>
                  <a:gd name="connsiteY7" fmla="*/ 35877 h 45028"/>
                  <a:gd name="connsiteX8" fmla="*/ 18463 w 35685"/>
                  <a:gd name="connsiteY8" fmla="*/ 45350 h 45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685" h="45028">
                    <a:moveTo>
                      <a:pt x="18463" y="45350"/>
                    </a:moveTo>
                    <a:lnTo>
                      <a:pt x="27800" y="43791"/>
                    </a:lnTo>
                    <a:cubicBezTo>
                      <a:pt x="34050" y="42749"/>
                      <a:pt x="38279" y="36814"/>
                      <a:pt x="37235" y="30543"/>
                    </a:cubicBezTo>
                    <a:lnTo>
                      <a:pt x="33852" y="10109"/>
                    </a:lnTo>
                    <a:cubicBezTo>
                      <a:pt x="32809" y="3832"/>
                      <a:pt x="26894" y="-406"/>
                      <a:pt x="20643" y="636"/>
                    </a:cubicBezTo>
                    <a:lnTo>
                      <a:pt x="11306" y="2195"/>
                    </a:lnTo>
                    <a:cubicBezTo>
                      <a:pt x="5051" y="3237"/>
                      <a:pt x="827" y="9172"/>
                      <a:pt x="1865" y="15443"/>
                    </a:cubicBezTo>
                    <a:lnTo>
                      <a:pt x="5254" y="35877"/>
                    </a:lnTo>
                    <a:cubicBezTo>
                      <a:pt x="6297" y="42154"/>
                      <a:pt x="12207" y="46392"/>
                      <a:pt x="18463" y="45350"/>
                    </a:cubicBezTo>
                    <a:close/>
                  </a:path>
                </a:pathLst>
              </a:custGeom>
              <a:solidFill>
                <a:srgbClr val="434345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1" name="Freeform: Shape 650">
                <a:extLst>
                  <a:ext uri="{FF2B5EF4-FFF2-40B4-BE49-F238E27FC236}">
                    <a16:creationId xmlns:a16="http://schemas.microsoft.com/office/drawing/2014/main" id="{DAC51698-25E6-EB63-22D9-58B19A63255B}"/>
                  </a:ext>
                </a:extLst>
              </p:cNvPr>
              <p:cNvSpPr/>
              <p:nvPr/>
            </p:nvSpPr>
            <p:spPr>
              <a:xfrm>
                <a:off x="8777839" y="2285108"/>
                <a:ext cx="35685" cy="45028"/>
              </a:xfrm>
              <a:custGeom>
                <a:avLst/>
                <a:gdLst>
                  <a:gd name="connsiteX0" fmla="*/ 18366 w 35685"/>
                  <a:gd name="connsiteY0" fmla="*/ 45366 h 45028"/>
                  <a:gd name="connsiteX1" fmla="*/ 27703 w 35685"/>
                  <a:gd name="connsiteY1" fmla="*/ 43807 h 45028"/>
                  <a:gd name="connsiteX2" fmla="*/ 37138 w 35685"/>
                  <a:gd name="connsiteY2" fmla="*/ 30553 h 45028"/>
                  <a:gd name="connsiteX3" fmla="*/ 33750 w 35685"/>
                  <a:gd name="connsiteY3" fmla="*/ 10125 h 45028"/>
                  <a:gd name="connsiteX4" fmla="*/ 20546 w 35685"/>
                  <a:gd name="connsiteY4" fmla="*/ 652 h 45028"/>
                  <a:gd name="connsiteX5" fmla="*/ 11209 w 35685"/>
                  <a:gd name="connsiteY5" fmla="*/ 2212 h 45028"/>
                  <a:gd name="connsiteX6" fmla="*/ 1768 w 35685"/>
                  <a:gd name="connsiteY6" fmla="*/ 15460 h 45028"/>
                  <a:gd name="connsiteX7" fmla="*/ 5157 w 35685"/>
                  <a:gd name="connsiteY7" fmla="*/ 35893 h 45028"/>
                  <a:gd name="connsiteX8" fmla="*/ 18366 w 35685"/>
                  <a:gd name="connsiteY8" fmla="*/ 45366 h 45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685" h="45028">
                    <a:moveTo>
                      <a:pt x="18366" y="45366"/>
                    </a:moveTo>
                    <a:lnTo>
                      <a:pt x="27703" y="43807"/>
                    </a:lnTo>
                    <a:cubicBezTo>
                      <a:pt x="33953" y="42765"/>
                      <a:pt x="38182" y="36830"/>
                      <a:pt x="37138" y="30553"/>
                    </a:cubicBezTo>
                    <a:lnTo>
                      <a:pt x="33750" y="10125"/>
                    </a:lnTo>
                    <a:cubicBezTo>
                      <a:pt x="32712" y="3848"/>
                      <a:pt x="26796" y="-389"/>
                      <a:pt x="20546" y="652"/>
                    </a:cubicBezTo>
                    <a:lnTo>
                      <a:pt x="11209" y="2212"/>
                    </a:lnTo>
                    <a:cubicBezTo>
                      <a:pt x="4954" y="3253"/>
                      <a:pt x="730" y="9188"/>
                      <a:pt x="1768" y="15460"/>
                    </a:cubicBezTo>
                    <a:lnTo>
                      <a:pt x="5157" y="35893"/>
                    </a:lnTo>
                    <a:cubicBezTo>
                      <a:pt x="6195" y="42170"/>
                      <a:pt x="12110" y="46408"/>
                      <a:pt x="18366" y="45366"/>
                    </a:cubicBezTo>
                    <a:close/>
                  </a:path>
                </a:pathLst>
              </a:custGeom>
              <a:solidFill>
                <a:srgbClr val="434345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2" name="Freeform: Shape 651">
                <a:extLst>
                  <a:ext uri="{FF2B5EF4-FFF2-40B4-BE49-F238E27FC236}">
                    <a16:creationId xmlns:a16="http://schemas.microsoft.com/office/drawing/2014/main" id="{8C579D00-7BA6-E9A3-01CD-2E1B9FCCF739}"/>
                  </a:ext>
                </a:extLst>
              </p:cNvPr>
              <p:cNvSpPr/>
              <p:nvPr/>
            </p:nvSpPr>
            <p:spPr>
              <a:xfrm>
                <a:off x="8722306" y="2294377"/>
                <a:ext cx="35685" cy="45028"/>
              </a:xfrm>
              <a:custGeom>
                <a:avLst/>
                <a:gdLst>
                  <a:gd name="connsiteX0" fmla="*/ 18269 w 35685"/>
                  <a:gd name="connsiteY0" fmla="*/ 45383 h 45028"/>
                  <a:gd name="connsiteX1" fmla="*/ 27600 w 35685"/>
                  <a:gd name="connsiteY1" fmla="*/ 43823 h 45028"/>
                  <a:gd name="connsiteX2" fmla="*/ 37041 w 35685"/>
                  <a:gd name="connsiteY2" fmla="*/ 30570 h 45028"/>
                  <a:gd name="connsiteX3" fmla="*/ 33653 w 35685"/>
                  <a:gd name="connsiteY3" fmla="*/ 10141 h 45028"/>
                  <a:gd name="connsiteX4" fmla="*/ 20449 w 35685"/>
                  <a:gd name="connsiteY4" fmla="*/ 668 h 45028"/>
                  <a:gd name="connsiteX5" fmla="*/ 11112 w 35685"/>
                  <a:gd name="connsiteY5" fmla="*/ 2228 h 45028"/>
                  <a:gd name="connsiteX6" fmla="*/ 1671 w 35685"/>
                  <a:gd name="connsiteY6" fmla="*/ 15476 h 45028"/>
                  <a:gd name="connsiteX7" fmla="*/ 5060 w 35685"/>
                  <a:gd name="connsiteY7" fmla="*/ 35910 h 45028"/>
                  <a:gd name="connsiteX8" fmla="*/ 18269 w 35685"/>
                  <a:gd name="connsiteY8" fmla="*/ 45383 h 45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685" h="45028">
                    <a:moveTo>
                      <a:pt x="18269" y="45383"/>
                    </a:moveTo>
                    <a:lnTo>
                      <a:pt x="27600" y="43823"/>
                    </a:lnTo>
                    <a:cubicBezTo>
                      <a:pt x="33856" y="42781"/>
                      <a:pt x="38085" y="36846"/>
                      <a:pt x="37041" y="30570"/>
                    </a:cubicBezTo>
                    <a:lnTo>
                      <a:pt x="33653" y="10141"/>
                    </a:lnTo>
                    <a:cubicBezTo>
                      <a:pt x="32615" y="3865"/>
                      <a:pt x="26699" y="-373"/>
                      <a:pt x="20449" y="668"/>
                    </a:cubicBezTo>
                    <a:lnTo>
                      <a:pt x="11112" y="2228"/>
                    </a:lnTo>
                    <a:cubicBezTo>
                      <a:pt x="4857" y="3269"/>
                      <a:pt x="633" y="9204"/>
                      <a:pt x="1671" y="15476"/>
                    </a:cubicBezTo>
                    <a:lnTo>
                      <a:pt x="5060" y="35910"/>
                    </a:lnTo>
                    <a:cubicBezTo>
                      <a:pt x="6098" y="42186"/>
                      <a:pt x="12013" y="46424"/>
                      <a:pt x="18269" y="45383"/>
                    </a:cubicBezTo>
                    <a:close/>
                  </a:path>
                </a:pathLst>
              </a:custGeom>
              <a:solidFill>
                <a:srgbClr val="434345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3" name="Freeform: Shape 652">
                <a:extLst>
                  <a:ext uri="{FF2B5EF4-FFF2-40B4-BE49-F238E27FC236}">
                    <a16:creationId xmlns:a16="http://schemas.microsoft.com/office/drawing/2014/main" id="{3CA64D1D-AE42-5AE1-8FEF-5FCF20079ADA}"/>
                  </a:ext>
                </a:extLst>
              </p:cNvPr>
              <p:cNvSpPr/>
              <p:nvPr/>
            </p:nvSpPr>
            <p:spPr>
              <a:xfrm>
                <a:off x="8666774" y="2303647"/>
                <a:ext cx="35685" cy="45028"/>
              </a:xfrm>
              <a:custGeom>
                <a:avLst/>
                <a:gdLst>
                  <a:gd name="connsiteX0" fmla="*/ 18172 w 35685"/>
                  <a:gd name="connsiteY0" fmla="*/ 45399 h 45028"/>
                  <a:gd name="connsiteX1" fmla="*/ 27503 w 35685"/>
                  <a:gd name="connsiteY1" fmla="*/ 43839 h 45028"/>
                  <a:gd name="connsiteX2" fmla="*/ 36944 w 35685"/>
                  <a:gd name="connsiteY2" fmla="*/ 30586 h 45028"/>
                  <a:gd name="connsiteX3" fmla="*/ 33556 w 35685"/>
                  <a:gd name="connsiteY3" fmla="*/ 10157 h 45028"/>
                  <a:gd name="connsiteX4" fmla="*/ 20352 w 35685"/>
                  <a:gd name="connsiteY4" fmla="*/ 685 h 45028"/>
                  <a:gd name="connsiteX5" fmla="*/ 11015 w 35685"/>
                  <a:gd name="connsiteY5" fmla="*/ 2244 h 45028"/>
                  <a:gd name="connsiteX6" fmla="*/ 1574 w 35685"/>
                  <a:gd name="connsiteY6" fmla="*/ 15492 h 45028"/>
                  <a:gd name="connsiteX7" fmla="*/ 4963 w 35685"/>
                  <a:gd name="connsiteY7" fmla="*/ 35926 h 45028"/>
                  <a:gd name="connsiteX8" fmla="*/ 18172 w 35685"/>
                  <a:gd name="connsiteY8" fmla="*/ 45399 h 45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685" h="45028">
                    <a:moveTo>
                      <a:pt x="18172" y="45399"/>
                    </a:moveTo>
                    <a:lnTo>
                      <a:pt x="27503" y="43839"/>
                    </a:lnTo>
                    <a:cubicBezTo>
                      <a:pt x="33759" y="42798"/>
                      <a:pt x="37988" y="36863"/>
                      <a:pt x="36944" y="30586"/>
                    </a:cubicBezTo>
                    <a:lnTo>
                      <a:pt x="33556" y="10157"/>
                    </a:lnTo>
                    <a:cubicBezTo>
                      <a:pt x="32518" y="3881"/>
                      <a:pt x="26602" y="-357"/>
                      <a:pt x="20352" y="685"/>
                    </a:cubicBezTo>
                    <a:lnTo>
                      <a:pt x="11015" y="2244"/>
                    </a:lnTo>
                    <a:cubicBezTo>
                      <a:pt x="4760" y="3286"/>
                      <a:pt x="536" y="9221"/>
                      <a:pt x="1574" y="15492"/>
                    </a:cubicBezTo>
                    <a:lnTo>
                      <a:pt x="4963" y="35926"/>
                    </a:lnTo>
                    <a:cubicBezTo>
                      <a:pt x="6001" y="42203"/>
                      <a:pt x="11916" y="46440"/>
                      <a:pt x="18172" y="45399"/>
                    </a:cubicBezTo>
                    <a:close/>
                  </a:path>
                </a:pathLst>
              </a:custGeom>
              <a:solidFill>
                <a:srgbClr val="434345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4" name="Freeform: Shape 653">
                <a:extLst>
                  <a:ext uri="{FF2B5EF4-FFF2-40B4-BE49-F238E27FC236}">
                    <a16:creationId xmlns:a16="http://schemas.microsoft.com/office/drawing/2014/main" id="{E9DCEC64-044F-6C51-33CC-ED5A523696AC}"/>
                  </a:ext>
                </a:extLst>
              </p:cNvPr>
              <p:cNvSpPr/>
              <p:nvPr/>
            </p:nvSpPr>
            <p:spPr>
              <a:xfrm>
                <a:off x="8611241" y="2312914"/>
                <a:ext cx="35684" cy="45030"/>
              </a:xfrm>
              <a:custGeom>
                <a:avLst/>
                <a:gdLst>
                  <a:gd name="connsiteX0" fmla="*/ 18075 w 35684"/>
                  <a:gd name="connsiteY0" fmla="*/ 45416 h 45030"/>
                  <a:gd name="connsiteX1" fmla="*/ 27406 w 35684"/>
                  <a:gd name="connsiteY1" fmla="*/ 43857 h 45030"/>
                  <a:gd name="connsiteX2" fmla="*/ 36847 w 35684"/>
                  <a:gd name="connsiteY2" fmla="*/ 30603 h 45030"/>
                  <a:gd name="connsiteX3" fmla="*/ 33459 w 35684"/>
                  <a:gd name="connsiteY3" fmla="*/ 10175 h 45030"/>
                  <a:gd name="connsiteX4" fmla="*/ 20255 w 35684"/>
                  <a:gd name="connsiteY4" fmla="*/ 702 h 45030"/>
                  <a:gd name="connsiteX5" fmla="*/ 10918 w 35684"/>
                  <a:gd name="connsiteY5" fmla="*/ 2262 h 45030"/>
                  <a:gd name="connsiteX6" fmla="*/ 1477 w 35684"/>
                  <a:gd name="connsiteY6" fmla="*/ 15510 h 45030"/>
                  <a:gd name="connsiteX7" fmla="*/ 4866 w 35684"/>
                  <a:gd name="connsiteY7" fmla="*/ 35943 h 45030"/>
                  <a:gd name="connsiteX8" fmla="*/ 18075 w 35684"/>
                  <a:gd name="connsiteY8" fmla="*/ 45416 h 45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684" h="45030">
                    <a:moveTo>
                      <a:pt x="18075" y="45416"/>
                    </a:moveTo>
                    <a:lnTo>
                      <a:pt x="27406" y="43857"/>
                    </a:lnTo>
                    <a:cubicBezTo>
                      <a:pt x="33662" y="42815"/>
                      <a:pt x="37885" y="36880"/>
                      <a:pt x="36847" y="30603"/>
                    </a:cubicBezTo>
                    <a:lnTo>
                      <a:pt x="33459" y="10175"/>
                    </a:lnTo>
                    <a:cubicBezTo>
                      <a:pt x="32421" y="3898"/>
                      <a:pt x="26505" y="-345"/>
                      <a:pt x="20255" y="702"/>
                    </a:cubicBezTo>
                    <a:lnTo>
                      <a:pt x="10918" y="2262"/>
                    </a:lnTo>
                    <a:cubicBezTo>
                      <a:pt x="4663" y="3303"/>
                      <a:pt x="439" y="9238"/>
                      <a:pt x="1477" y="15510"/>
                    </a:cubicBezTo>
                    <a:lnTo>
                      <a:pt x="4866" y="35943"/>
                    </a:lnTo>
                    <a:cubicBezTo>
                      <a:pt x="5904" y="42220"/>
                      <a:pt x="11819" y="46458"/>
                      <a:pt x="18075" y="45416"/>
                    </a:cubicBezTo>
                    <a:close/>
                  </a:path>
                </a:pathLst>
              </a:custGeom>
              <a:solidFill>
                <a:srgbClr val="434345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5" name="Freeform: Shape 654">
                <a:extLst>
                  <a:ext uri="{FF2B5EF4-FFF2-40B4-BE49-F238E27FC236}">
                    <a16:creationId xmlns:a16="http://schemas.microsoft.com/office/drawing/2014/main" id="{32B17B0F-0655-D9FC-CC9F-2E8F5EF5A725}"/>
                  </a:ext>
                </a:extLst>
              </p:cNvPr>
              <p:cNvSpPr/>
              <p:nvPr/>
            </p:nvSpPr>
            <p:spPr>
              <a:xfrm>
                <a:off x="8555709" y="2322183"/>
                <a:ext cx="35684" cy="45030"/>
              </a:xfrm>
              <a:custGeom>
                <a:avLst/>
                <a:gdLst>
                  <a:gd name="connsiteX0" fmla="*/ 17978 w 35684"/>
                  <a:gd name="connsiteY0" fmla="*/ 45433 h 45030"/>
                  <a:gd name="connsiteX1" fmla="*/ 27309 w 35684"/>
                  <a:gd name="connsiteY1" fmla="*/ 43873 h 45030"/>
                  <a:gd name="connsiteX2" fmla="*/ 36750 w 35684"/>
                  <a:gd name="connsiteY2" fmla="*/ 30620 h 45030"/>
                  <a:gd name="connsiteX3" fmla="*/ 33362 w 35684"/>
                  <a:gd name="connsiteY3" fmla="*/ 10191 h 45030"/>
                  <a:gd name="connsiteX4" fmla="*/ 20158 w 35684"/>
                  <a:gd name="connsiteY4" fmla="*/ 718 h 45030"/>
                  <a:gd name="connsiteX5" fmla="*/ 10821 w 35684"/>
                  <a:gd name="connsiteY5" fmla="*/ 2278 h 45030"/>
                  <a:gd name="connsiteX6" fmla="*/ 1380 w 35684"/>
                  <a:gd name="connsiteY6" fmla="*/ 15526 h 45030"/>
                  <a:gd name="connsiteX7" fmla="*/ 4769 w 35684"/>
                  <a:gd name="connsiteY7" fmla="*/ 35960 h 45030"/>
                  <a:gd name="connsiteX8" fmla="*/ 17978 w 35684"/>
                  <a:gd name="connsiteY8" fmla="*/ 45433 h 45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684" h="45030">
                    <a:moveTo>
                      <a:pt x="17978" y="45433"/>
                    </a:moveTo>
                    <a:lnTo>
                      <a:pt x="27309" y="43873"/>
                    </a:lnTo>
                    <a:cubicBezTo>
                      <a:pt x="33565" y="42831"/>
                      <a:pt x="37788" y="36896"/>
                      <a:pt x="36750" y="30620"/>
                    </a:cubicBezTo>
                    <a:lnTo>
                      <a:pt x="33362" y="10191"/>
                    </a:lnTo>
                    <a:cubicBezTo>
                      <a:pt x="32323" y="3915"/>
                      <a:pt x="26408" y="-329"/>
                      <a:pt x="20158" y="718"/>
                    </a:cubicBezTo>
                    <a:lnTo>
                      <a:pt x="10821" y="2278"/>
                    </a:lnTo>
                    <a:cubicBezTo>
                      <a:pt x="4566" y="3319"/>
                      <a:pt x="342" y="9254"/>
                      <a:pt x="1380" y="15526"/>
                    </a:cubicBezTo>
                    <a:lnTo>
                      <a:pt x="4769" y="35960"/>
                    </a:lnTo>
                    <a:cubicBezTo>
                      <a:pt x="5807" y="42236"/>
                      <a:pt x="11722" y="46474"/>
                      <a:pt x="17978" y="45433"/>
                    </a:cubicBezTo>
                    <a:close/>
                  </a:path>
                </a:pathLst>
              </a:custGeom>
              <a:solidFill>
                <a:srgbClr val="434345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6" name="Freeform: Shape 655">
                <a:extLst>
                  <a:ext uri="{FF2B5EF4-FFF2-40B4-BE49-F238E27FC236}">
                    <a16:creationId xmlns:a16="http://schemas.microsoft.com/office/drawing/2014/main" id="{9E5E45D8-D114-135C-FE40-21738939C57F}"/>
                  </a:ext>
                </a:extLst>
              </p:cNvPr>
              <p:cNvSpPr/>
              <p:nvPr/>
            </p:nvSpPr>
            <p:spPr>
              <a:xfrm>
                <a:off x="8500176" y="2331452"/>
                <a:ext cx="35684" cy="45030"/>
              </a:xfrm>
              <a:custGeom>
                <a:avLst/>
                <a:gdLst>
                  <a:gd name="connsiteX0" fmla="*/ 17875 w 35684"/>
                  <a:gd name="connsiteY0" fmla="*/ 45449 h 45030"/>
                  <a:gd name="connsiteX1" fmla="*/ 27212 w 35684"/>
                  <a:gd name="connsiteY1" fmla="*/ 43889 h 45030"/>
                  <a:gd name="connsiteX2" fmla="*/ 36653 w 35684"/>
                  <a:gd name="connsiteY2" fmla="*/ 30636 h 45030"/>
                  <a:gd name="connsiteX3" fmla="*/ 33265 w 35684"/>
                  <a:gd name="connsiteY3" fmla="*/ 10208 h 45030"/>
                  <a:gd name="connsiteX4" fmla="*/ 20061 w 35684"/>
                  <a:gd name="connsiteY4" fmla="*/ 734 h 45030"/>
                  <a:gd name="connsiteX5" fmla="*/ 10724 w 35684"/>
                  <a:gd name="connsiteY5" fmla="*/ 2294 h 45030"/>
                  <a:gd name="connsiteX6" fmla="*/ 1283 w 35684"/>
                  <a:gd name="connsiteY6" fmla="*/ 15542 h 45030"/>
                  <a:gd name="connsiteX7" fmla="*/ 4672 w 35684"/>
                  <a:gd name="connsiteY7" fmla="*/ 35976 h 45030"/>
                  <a:gd name="connsiteX8" fmla="*/ 17875 w 35684"/>
                  <a:gd name="connsiteY8" fmla="*/ 45449 h 45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684" h="45030">
                    <a:moveTo>
                      <a:pt x="17875" y="45449"/>
                    </a:moveTo>
                    <a:lnTo>
                      <a:pt x="27212" y="43889"/>
                    </a:lnTo>
                    <a:cubicBezTo>
                      <a:pt x="33468" y="42848"/>
                      <a:pt x="37691" y="36913"/>
                      <a:pt x="36653" y="30636"/>
                    </a:cubicBezTo>
                    <a:lnTo>
                      <a:pt x="33265" y="10208"/>
                    </a:lnTo>
                    <a:cubicBezTo>
                      <a:pt x="32226" y="3931"/>
                      <a:pt x="26311" y="-312"/>
                      <a:pt x="20061" y="734"/>
                    </a:cubicBezTo>
                    <a:lnTo>
                      <a:pt x="10724" y="2294"/>
                    </a:lnTo>
                    <a:cubicBezTo>
                      <a:pt x="4468" y="3336"/>
                      <a:pt x="245" y="9271"/>
                      <a:pt x="1283" y="15542"/>
                    </a:cubicBezTo>
                    <a:lnTo>
                      <a:pt x="4672" y="35976"/>
                    </a:lnTo>
                    <a:cubicBezTo>
                      <a:pt x="5710" y="42253"/>
                      <a:pt x="11625" y="46490"/>
                      <a:pt x="17875" y="45449"/>
                    </a:cubicBezTo>
                    <a:close/>
                  </a:path>
                </a:pathLst>
              </a:custGeom>
              <a:solidFill>
                <a:srgbClr val="434345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7" name="Freeform: Shape 656">
                <a:extLst>
                  <a:ext uri="{FF2B5EF4-FFF2-40B4-BE49-F238E27FC236}">
                    <a16:creationId xmlns:a16="http://schemas.microsoft.com/office/drawing/2014/main" id="{37805390-7901-E75C-E3C7-B46D63FDE4C4}"/>
                  </a:ext>
                </a:extLst>
              </p:cNvPr>
              <p:cNvSpPr/>
              <p:nvPr/>
            </p:nvSpPr>
            <p:spPr>
              <a:xfrm>
                <a:off x="8529019" y="2359244"/>
                <a:ext cx="444836" cy="154580"/>
              </a:xfrm>
              <a:custGeom>
                <a:avLst/>
                <a:gdLst>
                  <a:gd name="connsiteX0" fmla="*/ 12491 w 444836"/>
                  <a:gd name="connsiteY0" fmla="*/ 142813 h 154580"/>
                  <a:gd name="connsiteX1" fmla="*/ 157746 w 444836"/>
                  <a:gd name="connsiteY1" fmla="*/ 154760 h 154580"/>
                  <a:gd name="connsiteX2" fmla="*/ 446371 w 444836"/>
                  <a:gd name="connsiteY2" fmla="*/ 105152 h 154580"/>
                  <a:gd name="connsiteX3" fmla="*/ 429800 w 444836"/>
                  <a:gd name="connsiteY3" fmla="*/ 5220 h 154580"/>
                  <a:gd name="connsiteX4" fmla="*/ 1534 w 444836"/>
                  <a:gd name="connsiteY4" fmla="*/ 76700 h 154580"/>
                  <a:gd name="connsiteX5" fmla="*/ 12491 w 444836"/>
                  <a:gd name="connsiteY5" fmla="*/ 142813 h 154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4836" h="154580">
                    <a:moveTo>
                      <a:pt x="12491" y="142813"/>
                    </a:moveTo>
                    <a:lnTo>
                      <a:pt x="157746" y="154760"/>
                    </a:lnTo>
                    <a:cubicBezTo>
                      <a:pt x="157746" y="154760"/>
                      <a:pt x="325573" y="164101"/>
                      <a:pt x="446371" y="105152"/>
                    </a:cubicBezTo>
                    <a:lnTo>
                      <a:pt x="429800" y="5220"/>
                    </a:lnTo>
                    <a:cubicBezTo>
                      <a:pt x="384802" y="-21110"/>
                      <a:pt x="1534" y="76700"/>
                      <a:pt x="1534" y="76700"/>
                    </a:cubicBezTo>
                    <a:lnTo>
                      <a:pt x="12491" y="142813"/>
                    </a:lnTo>
                    <a:close/>
                  </a:path>
                </a:pathLst>
              </a:custGeom>
              <a:solidFill>
                <a:srgbClr val="181A4B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8" name="Freeform: Shape 657">
                <a:extLst>
                  <a:ext uri="{FF2B5EF4-FFF2-40B4-BE49-F238E27FC236}">
                    <a16:creationId xmlns:a16="http://schemas.microsoft.com/office/drawing/2014/main" id="{A501F500-EC38-4935-5986-00784A6674BD}"/>
                  </a:ext>
                </a:extLst>
              </p:cNvPr>
              <p:cNvSpPr/>
              <p:nvPr/>
            </p:nvSpPr>
            <p:spPr>
              <a:xfrm>
                <a:off x="8934839" y="2359380"/>
                <a:ext cx="39017" cy="113334"/>
              </a:xfrm>
              <a:custGeom>
                <a:avLst/>
                <a:gdLst>
                  <a:gd name="connsiteX0" fmla="*/ 1888 w 39017"/>
                  <a:gd name="connsiteY0" fmla="*/ 684 h 113334"/>
                  <a:gd name="connsiteX1" fmla="*/ 24335 w 39017"/>
                  <a:gd name="connsiteY1" fmla="*/ 5049 h 113334"/>
                  <a:gd name="connsiteX2" fmla="*/ 40906 w 39017"/>
                  <a:gd name="connsiteY2" fmla="*/ 104981 h 113334"/>
                  <a:gd name="connsiteX3" fmla="*/ 20678 w 39017"/>
                  <a:gd name="connsiteY3" fmla="*/ 114018 h 113334"/>
                  <a:gd name="connsiteX4" fmla="*/ 1888 w 39017"/>
                  <a:gd name="connsiteY4" fmla="*/ 684 h 113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017" h="113334">
                    <a:moveTo>
                      <a:pt x="1888" y="684"/>
                    </a:moveTo>
                    <a:cubicBezTo>
                      <a:pt x="12170" y="1087"/>
                      <a:pt x="19914" y="2459"/>
                      <a:pt x="24335" y="5049"/>
                    </a:cubicBezTo>
                    <a:lnTo>
                      <a:pt x="40906" y="104981"/>
                    </a:lnTo>
                    <a:cubicBezTo>
                      <a:pt x="34298" y="108210"/>
                      <a:pt x="27532" y="111191"/>
                      <a:pt x="20678" y="114018"/>
                    </a:cubicBezTo>
                    <a:lnTo>
                      <a:pt x="1888" y="684"/>
                    </a:lnTo>
                    <a:close/>
                  </a:path>
                </a:pathLst>
              </a:custGeom>
              <a:solidFill>
                <a:srgbClr val="B1B1B5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9" name="Freeform: Shape 658">
                <a:extLst>
                  <a:ext uri="{FF2B5EF4-FFF2-40B4-BE49-F238E27FC236}">
                    <a16:creationId xmlns:a16="http://schemas.microsoft.com/office/drawing/2014/main" id="{E2CEA2C2-277F-AB1D-CFE3-53612FAD0F0A}"/>
                  </a:ext>
                </a:extLst>
              </p:cNvPr>
              <p:cNvSpPr/>
              <p:nvPr/>
            </p:nvSpPr>
            <p:spPr>
              <a:xfrm>
                <a:off x="8470114" y="2337838"/>
                <a:ext cx="444710" cy="210169"/>
              </a:xfrm>
              <a:custGeom>
                <a:avLst/>
                <a:gdLst>
                  <a:gd name="connsiteX0" fmla="*/ 1431 w 444710"/>
                  <a:gd name="connsiteY0" fmla="*/ 210900 h 210169"/>
                  <a:gd name="connsiteX1" fmla="*/ 129017 w 444710"/>
                  <a:gd name="connsiteY1" fmla="*/ 189215 h 210169"/>
                  <a:gd name="connsiteX2" fmla="*/ 181924 w 444710"/>
                  <a:gd name="connsiteY2" fmla="*/ 170032 h 210169"/>
                  <a:gd name="connsiteX3" fmla="*/ 446141 w 444710"/>
                  <a:gd name="connsiteY3" fmla="*/ 731 h 210169"/>
                  <a:gd name="connsiteX4" fmla="*/ 122042 w 444710"/>
                  <a:gd name="connsiteY4" fmla="*/ 56831 h 210169"/>
                  <a:gd name="connsiteX5" fmla="*/ 1431 w 444710"/>
                  <a:gd name="connsiteY5" fmla="*/ 210900 h 210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4710" h="210169">
                    <a:moveTo>
                      <a:pt x="1431" y="210900"/>
                    </a:moveTo>
                    <a:lnTo>
                      <a:pt x="129017" y="189215"/>
                    </a:lnTo>
                    <a:cubicBezTo>
                      <a:pt x="149157" y="185793"/>
                      <a:pt x="167968" y="178971"/>
                      <a:pt x="181924" y="170032"/>
                    </a:cubicBezTo>
                    <a:lnTo>
                      <a:pt x="446141" y="731"/>
                    </a:lnTo>
                    <a:cubicBezTo>
                      <a:pt x="304583" y="11846"/>
                      <a:pt x="122042" y="56831"/>
                      <a:pt x="122042" y="56831"/>
                    </a:cubicBezTo>
                    <a:lnTo>
                      <a:pt x="1431" y="210900"/>
                    </a:lnTo>
                    <a:close/>
                  </a:path>
                </a:pathLst>
              </a:custGeom>
              <a:solidFill>
                <a:srgbClr val="E8EAF0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0" name="Freeform: Shape 659">
                <a:extLst>
                  <a:ext uri="{FF2B5EF4-FFF2-40B4-BE49-F238E27FC236}">
                    <a16:creationId xmlns:a16="http://schemas.microsoft.com/office/drawing/2014/main" id="{BF3DCD14-80E0-31CF-3BEA-037BFCF4DE16}"/>
                  </a:ext>
                </a:extLst>
              </p:cNvPr>
              <p:cNvSpPr/>
              <p:nvPr/>
            </p:nvSpPr>
            <p:spPr>
              <a:xfrm>
                <a:off x="7910774" y="2324431"/>
                <a:ext cx="302943" cy="140871"/>
              </a:xfrm>
              <a:custGeom>
                <a:avLst/>
                <a:gdLst>
                  <a:gd name="connsiteX0" fmla="*/ 330 w 302943"/>
                  <a:gd name="connsiteY0" fmla="*/ 141519 h 140871"/>
                  <a:gd name="connsiteX1" fmla="*/ 80056 w 302943"/>
                  <a:gd name="connsiteY1" fmla="*/ 128756 h 140871"/>
                  <a:gd name="connsiteX2" fmla="*/ 121907 w 302943"/>
                  <a:gd name="connsiteY2" fmla="*/ 113518 h 140871"/>
                  <a:gd name="connsiteX3" fmla="*/ 303273 w 302943"/>
                  <a:gd name="connsiteY3" fmla="*/ 647 h 140871"/>
                  <a:gd name="connsiteX4" fmla="*/ 25298 w 302943"/>
                  <a:gd name="connsiteY4" fmla="*/ 45284 h 140871"/>
                  <a:gd name="connsiteX5" fmla="*/ 330 w 302943"/>
                  <a:gd name="connsiteY5" fmla="*/ 141519 h 140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2943" h="140871">
                    <a:moveTo>
                      <a:pt x="330" y="141519"/>
                    </a:moveTo>
                    <a:lnTo>
                      <a:pt x="80056" y="128756"/>
                    </a:lnTo>
                    <a:cubicBezTo>
                      <a:pt x="95346" y="126303"/>
                      <a:pt x="109829" y="121030"/>
                      <a:pt x="121907" y="113518"/>
                    </a:cubicBezTo>
                    <a:lnTo>
                      <a:pt x="303273" y="647"/>
                    </a:lnTo>
                    <a:lnTo>
                      <a:pt x="25298" y="45284"/>
                    </a:lnTo>
                    <a:lnTo>
                      <a:pt x="330" y="141519"/>
                    </a:lnTo>
                    <a:close/>
                  </a:path>
                </a:pathLst>
              </a:custGeom>
              <a:solidFill>
                <a:srgbClr val="E8EAF0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1" name="Freeform: Shape 660">
                <a:extLst>
                  <a:ext uri="{FF2B5EF4-FFF2-40B4-BE49-F238E27FC236}">
                    <a16:creationId xmlns:a16="http://schemas.microsoft.com/office/drawing/2014/main" id="{409D53F2-2907-B6F4-4F29-933B6274F45F}"/>
                  </a:ext>
                </a:extLst>
              </p:cNvPr>
              <p:cNvSpPr/>
              <p:nvPr/>
            </p:nvSpPr>
            <p:spPr>
              <a:xfrm>
                <a:off x="9110457" y="2201655"/>
                <a:ext cx="97646" cy="123218"/>
              </a:xfrm>
              <a:custGeom>
                <a:avLst/>
                <a:gdLst>
                  <a:gd name="connsiteX0" fmla="*/ 48088 w 97646"/>
                  <a:gd name="connsiteY0" fmla="*/ 123204 h 123218"/>
                  <a:gd name="connsiteX1" fmla="*/ 73633 w 97646"/>
                  <a:gd name="connsiteY1" fmla="*/ 118939 h 123218"/>
                  <a:gd name="connsiteX2" fmla="*/ 99463 w 97646"/>
                  <a:gd name="connsiteY2" fmla="*/ 82678 h 123218"/>
                  <a:gd name="connsiteX3" fmla="*/ 90192 w 97646"/>
                  <a:gd name="connsiteY3" fmla="*/ 26766 h 123218"/>
                  <a:gd name="connsiteX4" fmla="*/ 54053 w 97646"/>
                  <a:gd name="connsiteY4" fmla="*/ 849 h 123218"/>
                  <a:gd name="connsiteX5" fmla="*/ 28508 w 97646"/>
                  <a:gd name="connsiteY5" fmla="*/ 5114 h 123218"/>
                  <a:gd name="connsiteX6" fmla="*/ 2678 w 97646"/>
                  <a:gd name="connsiteY6" fmla="*/ 41375 h 123218"/>
                  <a:gd name="connsiteX7" fmla="*/ 11949 w 97646"/>
                  <a:gd name="connsiteY7" fmla="*/ 97287 h 123218"/>
                  <a:gd name="connsiteX8" fmla="*/ 48088 w 97646"/>
                  <a:gd name="connsiteY8" fmla="*/ 123204 h 123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7646" h="123218">
                    <a:moveTo>
                      <a:pt x="48088" y="123204"/>
                    </a:moveTo>
                    <a:lnTo>
                      <a:pt x="73633" y="118939"/>
                    </a:lnTo>
                    <a:cubicBezTo>
                      <a:pt x="90742" y="116084"/>
                      <a:pt x="102308" y="99850"/>
                      <a:pt x="99463" y="82678"/>
                    </a:cubicBezTo>
                    <a:lnTo>
                      <a:pt x="90192" y="26766"/>
                    </a:lnTo>
                    <a:cubicBezTo>
                      <a:pt x="87347" y="9595"/>
                      <a:pt x="71167" y="-2006"/>
                      <a:pt x="54053" y="849"/>
                    </a:cubicBezTo>
                    <a:lnTo>
                      <a:pt x="28508" y="5114"/>
                    </a:lnTo>
                    <a:cubicBezTo>
                      <a:pt x="11394" y="7969"/>
                      <a:pt x="-172" y="24204"/>
                      <a:pt x="2678" y="41375"/>
                    </a:cubicBezTo>
                    <a:lnTo>
                      <a:pt x="11949" y="97287"/>
                    </a:lnTo>
                    <a:cubicBezTo>
                      <a:pt x="14794" y="114453"/>
                      <a:pt x="30974" y="126059"/>
                      <a:pt x="48088" y="12320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2" name="Freeform: Shape 661">
                <a:extLst>
                  <a:ext uri="{FF2B5EF4-FFF2-40B4-BE49-F238E27FC236}">
                    <a16:creationId xmlns:a16="http://schemas.microsoft.com/office/drawing/2014/main" id="{954E7445-E892-370A-C5C4-F87939618BFB}"/>
                  </a:ext>
                </a:extLst>
              </p:cNvPr>
              <p:cNvSpPr/>
              <p:nvPr/>
            </p:nvSpPr>
            <p:spPr>
              <a:xfrm>
                <a:off x="9116481" y="2207882"/>
                <a:ext cx="85597" cy="110760"/>
              </a:xfrm>
              <a:custGeom>
                <a:avLst/>
                <a:gdLst>
                  <a:gd name="connsiteX0" fmla="*/ 43173 w 85597"/>
                  <a:gd name="connsiteY0" fmla="*/ 110794 h 110760"/>
                  <a:gd name="connsiteX1" fmla="*/ 64560 w 85597"/>
                  <a:gd name="connsiteY1" fmla="*/ 107223 h 110760"/>
                  <a:gd name="connsiteX2" fmla="*/ 87463 w 85597"/>
                  <a:gd name="connsiteY2" fmla="*/ 75079 h 110760"/>
                  <a:gd name="connsiteX3" fmla="*/ 78955 w 85597"/>
                  <a:gd name="connsiteY3" fmla="*/ 23779 h 110760"/>
                  <a:gd name="connsiteX4" fmla="*/ 46919 w 85597"/>
                  <a:gd name="connsiteY4" fmla="*/ 800 h 110760"/>
                  <a:gd name="connsiteX5" fmla="*/ 25526 w 85597"/>
                  <a:gd name="connsiteY5" fmla="*/ 4370 h 110760"/>
                  <a:gd name="connsiteX6" fmla="*/ 2629 w 85597"/>
                  <a:gd name="connsiteY6" fmla="*/ 36520 h 110760"/>
                  <a:gd name="connsiteX7" fmla="*/ 11131 w 85597"/>
                  <a:gd name="connsiteY7" fmla="*/ 87820 h 110760"/>
                  <a:gd name="connsiteX8" fmla="*/ 43173 w 85597"/>
                  <a:gd name="connsiteY8" fmla="*/ 110794 h 110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597" h="110760">
                    <a:moveTo>
                      <a:pt x="43173" y="110794"/>
                    </a:moveTo>
                    <a:lnTo>
                      <a:pt x="64560" y="107223"/>
                    </a:lnTo>
                    <a:cubicBezTo>
                      <a:pt x="79735" y="104694"/>
                      <a:pt x="89984" y="90300"/>
                      <a:pt x="87463" y="75079"/>
                    </a:cubicBezTo>
                    <a:lnTo>
                      <a:pt x="78955" y="23779"/>
                    </a:lnTo>
                    <a:cubicBezTo>
                      <a:pt x="76435" y="8559"/>
                      <a:pt x="62089" y="-1730"/>
                      <a:pt x="46919" y="800"/>
                    </a:cubicBezTo>
                    <a:lnTo>
                      <a:pt x="25526" y="4370"/>
                    </a:lnTo>
                    <a:cubicBezTo>
                      <a:pt x="10357" y="6905"/>
                      <a:pt x="103" y="21300"/>
                      <a:pt x="2629" y="36520"/>
                    </a:cubicBezTo>
                    <a:lnTo>
                      <a:pt x="11131" y="87820"/>
                    </a:lnTo>
                    <a:cubicBezTo>
                      <a:pt x="13658" y="103041"/>
                      <a:pt x="28003" y="113329"/>
                      <a:pt x="43173" y="110794"/>
                    </a:cubicBezTo>
                    <a:close/>
                  </a:path>
                </a:pathLst>
              </a:custGeom>
              <a:solidFill>
                <a:srgbClr val="E8EAF0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3" name="Freeform: Shape 662">
                <a:extLst>
                  <a:ext uri="{FF2B5EF4-FFF2-40B4-BE49-F238E27FC236}">
                    <a16:creationId xmlns:a16="http://schemas.microsoft.com/office/drawing/2014/main" id="{E41D3FF8-6D95-8618-EEFC-A19DD74E616A}"/>
                  </a:ext>
                </a:extLst>
              </p:cNvPr>
              <p:cNvSpPr/>
              <p:nvPr/>
            </p:nvSpPr>
            <p:spPr>
              <a:xfrm>
                <a:off x="8386498" y="2322489"/>
                <a:ext cx="97645" cy="123218"/>
              </a:xfrm>
              <a:custGeom>
                <a:avLst/>
                <a:gdLst>
                  <a:gd name="connsiteX0" fmla="*/ 46822 w 97645"/>
                  <a:gd name="connsiteY0" fmla="*/ 123415 h 123218"/>
                  <a:gd name="connsiteX1" fmla="*/ 72367 w 97645"/>
                  <a:gd name="connsiteY1" fmla="*/ 119150 h 123218"/>
                  <a:gd name="connsiteX2" fmla="*/ 98197 w 97645"/>
                  <a:gd name="connsiteY2" fmla="*/ 82889 h 123218"/>
                  <a:gd name="connsiteX3" fmla="*/ 88926 w 97645"/>
                  <a:gd name="connsiteY3" fmla="*/ 26977 h 123218"/>
                  <a:gd name="connsiteX4" fmla="*/ 52787 w 97645"/>
                  <a:gd name="connsiteY4" fmla="*/ 1060 h 123218"/>
                  <a:gd name="connsiteX5" fmla="*/ 27242 w 97645"/>
                  <a:gd name="connsiteY5" fmla="*/ 5325 h 123218"/>
                  <a:gd name="connsiteX6" fmla="*/ 1412 w 97645"/>
                  <a:gd name="connsiteY6" fmla="*/ 41586 h 123218"/>
                  <a:gd name="connsiteX7" fmla="*/ 10683 w 97645"/>
                  <a:gd name="connsiteY7" fmla="*/ 97498 h 123218"/>
                  <a:gd name="connsiteX8" fmla="*/ 46822 w 97645"/>
                  <a:gd name="connsiteY8" fmla="*/ 123415 h 123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7645" h="123218">
                    <a:moveTo>
                      <a:pt x="46822" y="123415"/>
                    </a:moveTo>
                    <a:lnTo>
                      <a:pt x="72367" y="119150"/>
                    </a:lnTo>
                    <a:cubicBezTo>
                      <a:pt x="89481" y="116295"/>
                      <a:pt x="101042" y="100061"/>
                      <a:pt x="98197" y="82889"/>
                    </a:cubicBezTo>
                    <a:lnTo>
                      <a:pt x="88926" y="26977"/>
                    </a:lnTo>
                    <a:cubicBezTo>
                      <a:pt x="86081" y="9811"/>
                      <a:pt x="69901" y="-1794"/>
                      <a:pt x="52787" y="1060"/>
                    </a:cubicBezTo>
                    <a:lnTo>
                      <a:pt x="27242" y="5325"/>
                    </a:lnTo>
                    <a:cubicBezTo>
                      <a:pt x="10128" y="8180"/>
                      <a:pt x="-1433" y="24415"/>
                      <a:pt x="1412" y="41586"/>
                    </a:cubicBezTo>
                    <a:lnTo>
                      <a:pt x="10683" y="97498"/>
                    </a:lnTo>
                    <a:cubicBezTo>
                      <a:pt x="13528" y="114664"/>
                      <a:pt x="29708" y="126270"/>
                      <a:pt x="46822" y="12341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4" name="Freeform: Shape 663">
                <a:extLst>
                  <a:ext uri="{FF2B5EF4-FFF2-40B4-BE49-F238E27FC236}">
                    <a16:creationId xmlns:a16="http://schemas.microsoft.com/office/drawing/2014/main" id="{5A07B2FB-D05E-3D81-99A0-CAF0AF91DBE2}"/>
                  </a:ext>
                </a:extLst>
              </p:cNvPr>
              <p:cNvSpPr/>
              <p:nvPr/>
            </p:nvSpPr>
            <p:spPr>
              <a:xfrm>
                <a:off x="8392523" y="2328720"/>
                <a:ext cx="85597" cy="110756"/>
              </a:xfrm>
              <a:custGeom>
                <a:avLst/>
                <a:gdLst>
                  <a:gd name="connsiteX0" fmla="*/ 41907 w 85597"/>
                  <a:gd name="connsiteY0" fmla="*/ 111001 h 110756"/>
                  <a:gd name="connsiteX1" fmla="*/ 63294 w 85597"/>
                  <a:gd name="connsiteY1" fmla="*/ 107436 h 110756"/>
                  <a:gd name="connsiteX2" fmla="*/ 86197 w 85597"/>
                  <a:gd name="connsiteY2" fmla="*/ 75286 h 110756"/>
                  <a:gd name="connsiteX3" fmla="*/ 77695 w 85597"/>
                  <a:gd name="connsiteY3" fmla="*/ 23987 h 110756"/>
                  <a:gd name="connsiteX4" fmla="*/ 45653 w 85597"/>
                  <a:gd name="connsiteY4" fmla="*/ 1012 h 110756"/>
                  <a:gd name="connsiteX5" fmla="*/ 24266 w 85597"/>
                  <a:gd name="connsiteY5" fmla="*/ 4578 h 110756"/>
                  <a:gd name="connsiteX6" fmla="*/ 1363 w 85597"/>
                  <a:gd name="connsiteY6" fmla="*/ 36727 h 110756"/>
                  <a:gd name="connsiteX7" fmla="*/ 9865 w 85597"/>
                  <a:gd name="connsiteY7" fmla="*/ 88027 h 110756"/>
                  <a:gd name="connsiteX8" fmla="*/ 41907 w 85597"/>
                  <a:gd name="connsiteY8" fmla="*/ 111001 h 110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597" h="110756">
                    <a:moveTo>
                      <a:pt x="41907" y="111001"/>
                    </a:moveTo>
                    <a:lnTo>
                      <a:pt x="63294" y="107436"/>
                    </a:lnTo>
                    <a:cubicBezTo>
                      <a:pt x="78469" y="104901"/>
                      <a:pt x="88723" y="90507"/>
                      <a:pt x="86197" y="75286"/>
                    </a:cubicBezTo>
                    <a:lnTo>
                      <a:pt x="77695" y="23987"/>
                    </a:lnTo>
                    <a:cubicBezTo>
                      <a:pt x="75168" y="8766"/>
                      <a:pt x="60822" y="-1523"/>
                      <a:pt x="45653" y="1012"/>
                    </a:cubicBezTo>
                    <a:lnTo>
                      <a:pt x="24266" y="4578"/>
                    </a:lnTo>
                    <a:cubicBezTo>
                      <a:pt x="9090" y="7113"/>
                      <a:pt x="-1158" y="21507"/>
                      <a:pt x="1363" y="36727"/>
                    </a:cubicBezTo>
                    <a:lnTo>
                      <a:pt x="9865" y="88027"/>
                    </a:lnTo>
                    <a:cubicBezTo>
                      <a:pt x="12391" y="103248"/>
                      <a:pt x="26737" y="113536"/>
                      <a:pt x="41907" y="111001"/>
                    </a:cubicBezTo>
                    <a:close/>
                  </a:path>
                </a:pathLst>
              </a:custGeom>
              <a:solidFill>
                <a:srgbClr val="E8EAF0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5" name="Freeform: Shape 664">
                <a:extLst>
                  <a:ext uri="{FF2B5EF4-FFF2-40B4-BE49-F238E27FC236}">
                    <a16:creationId xmlns:a16="http://schemas.microsoft.com/office/drawing/2014/main" id="{1E689D34-7DD9-1C1E-58B4-E43E819ADA87}"/>
                  </a:ext>
                </a:extLst>
              </p:cNvPr>
              <p:cNvSpPr/>
              <p:nvPr/>
            </p:nvSpPr>
            <p:spPr>
              <a:xfrm>
                <a:off x="9347590" y="2158188"/>
                <a:ext cx="54133" cy="42426"/>
              </a:xfrm>
              <a:custGeom>
                <a:avLst/>
                <a:gdLst>
                  <a:gd name="connsiteX0" fmla="*/ 7631 w 54133"/>
                  <a:gd name="connsiteY0" fmla="*/ 4365 h 42426"/>
                  <a:gd name="connsiteX1" fmla="*/ 31671 w 54133"/>
                  <a:gd name="connsiteY1" fmla="*/ 353 h 42426"/>
                  <a:gd name="connsiteX2" fmla="*/ 37433 w 54133"/>
                  <a:gd name="connsiteY2" fmla="*/ 2662 h 42426"/>
                  <a:gd name="connsiteX3" fmla="*/ 55541 w 54133"/>
                  <a:gd name="connsiteY3" fmla="*/ 26739 h 42426"/>
                  <a:gd name="connsiteX4" fmla="*/ 51740 w 54133"/>
                  <a:gd name="connsiteY4" fmla="*/ 36289 h 42426"/>
                  <a:gd name="connsiteX5" fmla="*/ 13832 w 54133"/>
                  <a:gd name="connsiteY5" fmla="*/ 42615 h 42426"/>
                  <a:gd name="connsiteX6" fmla="*/ 6934 w 54133"/>
                  <a:gd name="connsiteY6" fmla="*/ 37644 h 42426"/>
                  <a:gd name="connsiteX7" fmla="*/ 2699 w 54133"/>
                  <a:gd name="connsiteY7" fmla="*/ 11248 h 42426"/>
                  <a:gd name="connsiteX8" fmla="*/ 7631 w 54133"/>
                  <a:gd name="connsiteY8" fmla="*/ 4365 h 42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4133" h="42426">
                    <a:moveTo>
                      <a:pt x="7631" y="4365"/>
                    </a:moveTo>
                    <a:lnTo>
                      <a:pt x="31671" y="353"/>
                    </a:lnTo>
                    <a:cubicBezTo>
                      <a:pt x="33868" y="-16"/>
                      <a:pt x="36092" y="871"/>
                      <a:pt x="37433" y="2662"/>
                    </a:cubicBezTo>
                    <a:lnTo>
                      <a:pt x="55541" y="26739"/>
                    </a:lnTo>
                    <a:cubicBezTo>
                      <a:pt x="58254" y="30343"/>
                      <a:pt x="56183" y="35545"/>
                      <a:pt x="51740" y="36289"/>
                    </a:cubicBezTo>
                    <a:lnTo>
                      <a:pt x="13832" y="42615"/>
                    </a:lnTo>
                    <a:cubicBezTo>
                      <a:pt x="10559" y="43161"/>
                      <a:pt x="7467" y="40934"/>
                      <a:pt x="6934" y="37644"/>
                    </a:cubicBezTo>
                    <a:lnTo>
                      <a:pt x="2699" y="11248"/>
                    </a:lnTo>
                    <a:cubicBezTo>
                      <a:pt x="2178" y="7986"/>
                      <a:pt x="4380" y="4905"/>
                      <a:pt x="7631" y="4365"/>
                    </a:cubicBezTo>
                    <a:close/>
                  </a:path>
                </a:pathLst>
              </a:custGeom>
              <a:solidFill>
                <a:srgbClr val="434345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6" name="Freeform: Shape 665">
                <a:extLst>
                  <a:ext uri="{FF2B5EF4-FFF2-40B4-BE49-F238E27FC236}">
                    <a16:creationId xmlns:a16="http://schemas.microsoft.com/office/drawing/2014/main" id="{CA8B8A5B-8705-CA40-34AE-1D9A34A9F366}"/>
                  </a:ext>
                </a:extLst>
              </p:cNvPr>
              <p:cNvSpPr/>
              <p:nvPr/>
            </p:nvSpPr>
            <p:spPr>
              <a:xfrm>
                <a:off x="9296158" y="2165740"/>
                <a:ext cx="47660" cy="36067"/>
              </a:xfrm>
              <a:custGeom>
                <a:avLst/>
                <a:gdLst>
                  <a:gd name="connsiteX0" fmla="*/ 46660 w 47660"/>
                  <a:gd name="connsiteY0" fmla="*/ 6933 h 36067"/>
                  <a:gd name="connsiteX1" fmla="*/ 50098 w 47660"/>
                  <a:gd name="connsiteY1" fmla="*/ 28370 h 36067"/>
                  <a:gd name="connsiteX2" fmla="*/ 43019 w 47660"/>
                  <a:gd name="connsiteY2" fmla="*/ 36338 h 36067"/>
                  <a:gd name="connsiteX3" fmla="*/ 17183 w 47660"/>
                  <a:gd name="connsiteY3" fmla="*/ 35032 h 36067"/>
                  <a:gd name="connsiteX4" fmla="*/ 3485 w 47660"/>
                  <a:gd name="connsiteY4" fmla="*/ 22671 h 36067"/>
                  <a:gd name="connsiteX5" fmla="*/ 2683 w 47660"/>
                  <a:gd name="connsiteY5" fmla="*/ 17833 h 36067"/>
                  <a:gd name="connsiteX6" fmla="*/ 12080 w 47660"/>
                  <a:gd name="connsiteY6" fmla="*/ 4646 h 36067"/>
                  <a:gd name="connsiteX7" fmla="*/ 37587 w 47660"/>
                  <a:gd name="connsiteY7" fmla="*/ 386 h 36067"/>
                  <a:gd name="connsiteX8" fmla="*/ 46660 w 47660"/>
                  <a:gd name="connsiteY8" fmla="*/ 6933 h 36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660" h="36067">
                    <a:moveTo>
                      <a:pt x="46660" y="6933"/>
                    </a:moveTo>
                    <a:lnTo>
                      <a:pt x="50098" y="28370"/>
                    </a:lnTo>
                    <a:cubicBezTo>
                      <a:pt x="50790" y="32684"/>
                      <a:pt x="47368" y="36542"/>
                      <a:pt x="43019" y="36338"/>
                    </a:cubicBezTo>
                    <a:cubicBezTo>
                      <a:pt x="32880" y="35859"/>
                      <a:pt x="17183" y="35032"/>
                      <a:pt x="17183" y="35032"/>
                    </a:cubicBezTo>
                    <a:cubicBezTo>
                      <a:pt x="10301" y="34624"/>
                      <a:pt x="4616" y="29494"/>
                      <a:pt x="3485" y="22671"/>
                    </a:cubicBezTo>
                    <a:lnTo>
                      <a:pt x="2683" y="17833"/>
                    </a:lnTo>
                    <a:cubicBezTo>
                      <a:pt x="1651" y="11589"/>
                      <a:pt x="5858" y="5682"/>
                      <a:pt x="12080" y="4646"/>
                    </a:cubicBezTo>
                    <a:lnTo>
                      <a:pt x="37587" y="386"/>
                    </a:lnTo>
                    <a:cubicBezTo>
                      <a:pt x="41893" y="-330"/>
                      <a:pt x="45962" y="2601"/>
                      <a:pt x="46660" y="6933"/>
                    </a:cubicBezTo>
                    <a:close/>
                  </a:path>
                </a:pathLst>
              </a:custGeom>
              <a:solidFill>
                <a:srgbClr val="434345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7" name="Freeform: Shape 666">
                <a:extLst>
                  <a:ext uri="{FF2B5EF4-FFF2-40B4-BE49-F238E27FC236}">
                    <a16:creationId xmlns:a16="http://schemas.microsoft.com/office/drawing/2014/main" id="{CF91883E-2CE7-D36F-394C-9184462E1404}"/>
                  </a:ext>
                </a:extLst>
              </p:cNvPr>
              <p:cNvSpPr/>
              <p:nvPr/>
            </p:nvSpPr>
            <p:spPr>
              <a:xfrm>
                <a:off x="9391973" y="2151944"/>
                <a:ext cx="88968" cy="38167"/>
              </a:xfrm>
              <a:custGeom>
                <a:avLst/>
                <a:gdLst>
                  <a:gd name="connsiteX0" fmla="*/ 5992 w 88968"/>
                  <a:gd name="connsiteY0" fmla="*/ 3474 h 38167"/>
                  <a:gd name="connsiteX1" fmla="*/ 25298 w 88968"/>
                  <a:gd name="connsiteY1" fmla="*/ 256 h 38167"/>
                  <a:gd name="connsiteX2" fmla="*/ 91700 w 88968"/>
                  <a:gd name="connsiteY2" fmla="*/ 28460 h 38167"/>
                  <a:gd name="connsiteX3" fmla="*/ 32949 w 88968"/>
                  <a:gd name="connsiteY3" fmla="*/ 38264 h 38167"/>
                  <a:gd name="connsiteX4" fmla="*/ 21591 w 88968"/>
                  <a:gd name="connsiteY4" fmla="*/ 33717 h 38167"/>
                  <a:gd name="connsiteX5" fmla="*/ 3521 w 88968"/>
                  <a:gd name="connsiteY5" fmla="*/ 9685 h 38167"/>
                  <a:gd name="connsiteX6" fmla="*/ 5992 w 88968"/>
                  <a:gd name="connsiteY6" fmla="*/ 3474 h 38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8968" h="38167">
                    <a:moveTo>
                      <a:pt x="5992" y="3474"/>
                    </a:moveTo>
                    <a:lnTo>
                      <a:pt x="25298" y="256"/>
                    </a:lnTo>
                    <a:lnTo>
                      <a:pt x="91700" y="28460"/>
                    </a:lnTo>
                    <a:lnTo>
                      <a:pt x="32949" y="38264"/>
                    </a:lnTo>
                    <a:cubicBezTo>
                      <a:pt x="28615" y="38986"/>
                      <a:pt x="24238" y="37233"/>
                      <a:pt x="21591" y="33717"/>
                    </a:cubicBezTo>
                    <a:lnTo>
                      <a:pt x="3521" y="9685"/>
                    </a:lnTo>
                    <a:cubicBezTo>
                      <a:pt x="1758" y="7343"/>
                      <a:pt x="3104" y="3959"/>
                      <a:pt x="5992" y="3474"/>
                    </a:cubicBezTo>
                    <a:close/>
                  </a:path>
                </a:pathLst>
              </a:custGeom>
              <a:solidFill>
                <a:srgbClr val="434345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8" name="Freeform: Shape 667">
                <a:extLst>
                  <a:ext uri="{FF2B5EF4-FFF2-40B4-BE49-F238E27FC236}">
                    <a16:creationId xmlns:a16="http://schemas.microsoft.com/office/drawing/2014/main" id="{76EF97A6-4999-C6DD-89DC-7F4E2FB41C1A}"/>
                  </a:ext>
                </a:extLst>
              </p:cNvPr>
              <p:cNvSpPr/>
              <p:nvPr/>
            </p:nvSpPr>
            <p:spPr>
              <a:xfrm>
                <a:off x="8751539" y="2167402"/>
                <a:ext cx="33294" cy="34072"/>
              </a:xfrm>
              <a:custGeom>
                <a:avLst/>
                <a:gdLst>
                  <a:gd name="connsiteX0" fmla="*/ 1563 w 33294"/>
                  <a:gd name="connsiteY0" fmla="*/ 1409 h 34072"/>
                  <a:gd name="connsiteX1" fmla="*/ 8341 w 33294"/>
                  <a:gd name="connsiteY1" fmla="*/ 279 h 34072"/>
                  <a:gd name="connsiteX2" fmla="*/ 34857 w 33294"/>
                  <a:gd name="connsiteY2" fmla="*/ 31448 h 34072"/>
                  <a:gd name="connsiteX3" fmla="*/ 17469 w 33294"/>
                  <a:gd name="connsiteY3" fmla="*/ 34352 h 34072"/>
                  <a:gd name="connsiteX4" fmla="*/ 1563 w 33294"/>
                  <a:gd name="connsiteY4" fmla="*/ 1409 h 3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294" h="34072">
                    <a:moveTo>
                      <a:pt x="1563" y="1409"/>
                    </a:moveTo>
                    <a:lnTo>
                      <a:pt x="8341" y="279"/>
                    </a:lnTo>
                    <a:lnTo>
                      <a:pt x="34857" y="31448"/>
                    </a:lnTo>
                    <a:lnTo>
                      <a:pt x="17469" y="34352"/>
                    </a:lnTo>
                    <a:lnTo>
                      <a:pt x="1563" y="1409"/>
                    </a:lnTo>
                    <a:close/>
                  </a:path>
                </a:pathLst>
              </a:custGeom>
              <a:solidFill>
                <a:srgbClr val="E8EAF0"/>
              </a:solidFill>
              <a:ln w="5477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788" name="TextBox 787">
            <a:extLst>
              <a:ext uri="{FF2B5EF4-FFF2-40B4-BE49-F238E27FC236}">
                <a16:creationId xmlns:a16="http://schemas.microsoft.com/office/drawing/2014/main" id="{ABD48CCC-46C6-C122-E67A-844A4F82FE85}"/>
              </a:ext>
            </a:extLst>
          </p:cNvPr>
          <p:cNvSpPr txBox="1">
            <a:spLocks/>
          </p:cNvSpPr>
          <p:nvPr/>
        </p:nvSpPr>
        <p:spPr>
          <a:xfrm>
            <a:off x="9650660" y="4999511"/>
            <a:ext cx="1877992" cy="923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  <a:sym typeface=""/>
              </a:rPr>
              <a:t>20%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increase in staff efficiency with dynamic workforce management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"/>
            </a:endParaRPr>
          </a:p>
        </p:txBody>
      </p:sp>
      <p:pic>
        <p:nvPicPr>
          <p:cNvPr id="493" name="Picture 492">
            <a:extLst>
              <a:ext uri="{FF2B5EF4-FFF2-40B4-BE49-F238E27FC236}">
                <a16:creationId xmlns:a16="http://schemas.microsoft.com/office/drawing/2014/main" id="{F3E58BF2-EE20-CC92-00D6-D4F84BA7405E}"/>
              </a:ext>
            </a:extLst>
          </p:cNvPr>
          <p:cNvPicPr>
            <a:picLocks/>
          </p:cNvPicPr>
          <p:nvPr/>
        </p:nvPicPr>
        <p:blipFill>
          <a:blip r:embed="rId26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5440" y="4213433"/>
            <a:ext cx="663508" cy="255967"/>
          </a:xfrm>
          <a:prstGeom prst="rect">
            <a:avLst/>
          </a:prstGeom>
        </p:spPr>
      </p:pic>
      <p:pic>
        <p:nvPicPr>
          <p:cNvPr id="494" name="Picture 6">
            <a:extLst>
              <a:ext uri="{FF2B5EF4-FFF2-40B4-BE49-F238E27FC236}">
                <a16:creationId xmlns:a16="http://schemas.microsoft.com/office/drawing/2014/main" id="{1A5330A6-1B68-3A89-1577-4C1298197D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BEBA8EAE-BF5A-486C-A8C5-ECC9F3942E4B}">
                <a14:imgProps xmlns:a14="http://schemas.microsoft.com/office/drawing/2010/main">
                  <a14:imgLayer r:embed="rId2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3052" y="4342143"/>
            <a:ext cx="1031277" cy="451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9" name="Picture 5">
            <a:extLst>
              <a:ext uri="{FF2B5EF4-FFF2-40B4-BE49-F238E27FC236}">
                <a16:creationId xmlns:a16="http://schemas.microsoft.com/office/drawing/2014/main" id="{256123E0-52FA-545F-5276-112EA36759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1178" y="3772916"/>
            <a:ext cx="868438" cy="229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0" name="Picture 399">
            <a:extLst>
              <a:ext uri="{FF2B5EF4-FFF2-40B4-BE49-F238E27FC236}">
                <a16:creationId xmlns:a16="http://schemas.microsoft.com/office/drawing/2014/main" id="{919B1DCF-7CE0-46DD-293E-5A2643249F44}"/>
              </a:ext>
            </a:extLst>
          </p:cNvPr>
          <p:cNvPicPr>
            <a:picLocks noChangeAspect="1"/>
          </p:cNvPicPr>
          <p:nvPr/>
        </p:nvPicPr>
        <p:blipFill>
          <a:blip r:embed="rId24" cstate="hqprint"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003" y="3775035"/>
            <a:ext cx="850208" cy="496662"/>
          </a:xfrm>
          <a:prstGeom prst="rect">
            <a:avLst/>
          </a:prstGeom>
        </p:spPr>
      </p:pic>
      <p:pic>
        <p:nvPicPr>
          <p:cNvPr id="401" name="Picture 400">
            <a:extLst>
              <a:ext uri="{FF2B5EF4-FFF2-40B4-BE49-F238E27FC236}">
                <a16:creationId xmlns:a16="http://schemas.microsoft.com/office/drawing/2014/main" id="{4F339ECB-5C27-2CBD-0A81-2F89BEAB52C9}"/>
              </a:ext>
            </a:extLst>
          </p:cNvPr>
          <p:cNvPicPr>
            <a:picLocks noChangeAspect="1"/>
          </p:cNvPicPr>
          <p:nvPr/>
        </p:nvPicPr>
        <p:blipFill>
          <a:blip r:embed="rId30" cstate="hqprint">
            <a:extLst>
              <a:ext uri="{BEBA8EAE-BF5A-486C-A8C5-ECC9F3942E4B}">
                <a14:imgProps xmlns:a14="http://schemas.microsoft.com/office/drawing/2010/main">
                  <a14:imgLayer r:embed="rId3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0699" y="4023366"/>
            <a:ext cx="644985" cy="334853"/>
          </a:xfrm>
          <a:prstGeom prst="rect">
            <a:avLst/>
          </a:prstGeom>
        </p:spPr>
      </p:pic>
      <p:pic>
        <p:nvPicPr>
          <p:cNvPr id="790" name="Picture 5">
            <a:extLst>
              <a:ext uri="{FF2B5EF4-FFF2-40B4-BE49-F238E27FC236}">
                <a16:creationId xmlns:a16="http://schemas.microsoft.com/office/drawing/2014/main" id="{25197220-6A0D-0BF8-CF1C-85F905D490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1638" y="4623557"/>
            <a:ext cx="868438" cy="229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E298759-026A-DAD8-C8E8-91098B18D303}"/>
              </a:ext>
            </a:extLst>
          </p:cNvPr>
          <p:cNvCxnSpPr>
            <a:cxnSpLocks/>
          </p:cNvCxnSpPr>
          <p:nvPr/>
        </p:nvCxnSpPr>
        <p:spPr>
          <a:xfrm>
            <a:off x="663348" y="5001095"/>
            <a:ext cx="1877992" cy="0"/>
          </a:xfrm>
          <a:prstGeom prst="line">
            <a:avLst/>
          </a:prstGeom>
          <a:ln w="6350">
            <a:solidFill>
              <a:srgbClr val="B3B3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C41927B-B6AD-BA97-DE5A-8BB95B1CF920}"/>
              </a:ext>
            </a:extLst>
          </p:cNvPr>
          <p:cNvCxnSpPr>
            <a:cxnSpLocks/>
          </p:cNvCxnSpPr>
          <p:nvPr/>
        </p:nvCxnSpPr>
        <p:spPr>
          <a:xfrm>
            <a:off x="2910176" y="5001095"/>
            <a:ext cx="1877992" cy="0"/>
          </a:xfrm>
          <a:prstGeom prst="line">
            <a:avLst/>
          </a:prstGeom>
          <a:ln w="6350">
            <a:solidFill>
              <a:srgbClr val="B3B3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0868DCD-3F48-11B2-D38F-F477DCCC9ED3}"/>
              </a:ext>
            </a:extLst>
          </p:cNvPr>
          <p:cNvCxnSpPr>
            <a:cxnSpLocks/>
          </p:cNvCxnSpPr>
          <p:nvPr/>
        </p:nvCxnSpPr>
        <p:spPr>
          <a:xfrm>
            <a:off x="5157004" y="5001095"/>
            <a:ext cx="1877992" cy="0"/>
          </a:xfrm>
          <a:prstGeom prst="line">
            <a:avLst/>
          </a:prstGeom>
          <a:ln w="6350">
            <a:solidFill>
              <a:srgbClr val="B3B3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D4303F4-3D6C-06A3-7E09-2C24B04655D2}"/>
              </a:ext>
            </a:extLst>
          </p:cNvPr>
          <p:cNvCxnSpPr>
            <a:cxnSpLocks/>
          </p:cNvCxnSpPr>
          <p:nvPr/>
        </p:nvCxnSpPr>
        <p:spPr>
          <a:xfrm>
            <a:off x="7403832" y="5001095"/>
            <a:ext cx="1877992" cy="0"/>
          </a:xfrm>
          <a:prstGeom prst="line">
            <a:avLst/>
          </a:prstGeom>
          <a:ln w="6350">
            <a:solidFill>
              <a:srgbClr val="B3B3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2F1F2D-BFFB-0DC2-67A2-98FBA831D870}"/>
              </a:ext>
            </a:extLst>
          </p:cNvPr>
          <p:cNvCxnSpPr>
            <a:cxnSpLocks/>
          </p:cNvCxnSpPr>
          <p:nvPr/>
        </p:nvCxnSpPr>
        <p:spPr>
          <a:xfrm>
            <a:off x="9650660" y="5001095"/>
            <a:ext cx="1877992" cy="0"/>
          </a:xfrm>
          <a:prstGeom prst="line">
            <a:avLst/>
          </a:prstGeom>
          <a:ln w="6350">
            <a:solidFill>
              <a:srgbClr val="B3B3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9030848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6F77E6-C3EF-6B39-AD5F-0F8E9B63A8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2" hidden="1">
            <a:extLst>
              <a:ext uri="{FF2B5EF4-FFF2-40B4-BE49-F238E27FC236}">
                <a16:creationId xmlns:a16="http://schemas.microsoft.com/office/drawing/2014/main" id="{21666C28-488A-0852-D026-4E7B32A449EF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0793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04" imgH="405" progId="TCLayout.ActiveDocument.1">
                  <p:embed/>
                </p:oleObj>
              </mc:Choice>
              <mc:Fallback>
                <p:oleObj name="think-cell Slide" r:id="rId26" imgW="404" imgH="405" progId="TCLayout.ActiveDocument.1">
                  <p:embed/>
                  <p:pic>
                    <p:nvPicPr>
                      <p:cNvPr id="40" name="Object 2" hidden="1">
                        <a:extLst>
                          <a:ext uri="{FF2B5EF4-FFF2-40B4-BE49-F238E27FC236}">
                            <a16:creationId xmlns:a16="http://schemas.microsoft.com/office/drawing/2014/main" id="{21666C28-488A-0852-D026-4E7B32A449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DB9E3F4B-4E85-0392-7A05-336BB4D0FA5E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0342"/>
            <a:ext cx="11082528" cy="71558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dirty="0"/>
              <a:t>B4 | We typically see AI &amp; digital driving at least 15-30% EBITDA uplift for airport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2A729DB-A4CE-ABE7-6040-C0E579F8BC00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3484563" y="2763838"/>
            <a:ext cx="0" cy="236538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91D4EC1-1CB0-ABFF-D023-82EB3E57B4AA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gray">
          <a:xfrm>
            <a:off x="4148138" y="3594100"/>
            <a:ext cx="0" cy="236538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5BC87F2-DC16-B59D-5641-65CF279CB542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4548188" y="4422775"/>
            <a:ext cx="0" cy="236538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6591001-62B3-AB1A-33F5-DC93D6AA813E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4813300" y="5253038"/>
            <a:ext cx="0" cy="236538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D98B7F18-7945-410A-5EDD-B2CF26FF99E6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56156406"/>
              </p:ext>
            </p:extLst>
          </p:nvPr>
        </p:nvGraphicFramePr>
        <p:xfrm>
          <a:off x="2736850" y="1971675"/>
          <a:ext cx="2159000" cy="4311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79EEAB0B-0C3A-1983-4FF8-32E36019883A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3509963" y="2360613"/>
            <a:ext cx="6667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~5-10%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C8F9DC5-114C-D836-D59F-CEB594D67E83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4173538" y="3190875"/>
            <a:ext cx="6667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~5-10%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175AD02-A854-8437-4284-F4BE9DA802FA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4573588" y="4019550"/>
            <a:ext cx="5683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~3-6%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3A43BEF-069D-019A-2514-CF2CBE972E60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4838700" y="4849813"/>
            <a:ext cx="5683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~2-4%</a:t>
            </a:r>
            <a:endParaRPr kumimoji="0" lang="en-US" alt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6C4D872-F4B4-C99E-6B14-44DCFE087752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4838700" y="5678488"/>
            <a:ext cx="7651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~15-30%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1118C95-D638-14BD-1C44-60DC2AADA128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9124950" y="1084263"/>
            <a:ext cx="138113" cy="138113"/>
          </a:xfrm>
          <a:prstGeom prst="rect">
            <a:avLst/>
          </a:prstGeom>
          <a:solidFill>
            <a:schemeClr val="accent2"/>
          </a:solidFill>
          <a:ln w="9525" cap="sq" cmpd="sng" algn="ctr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585DF60-4A2D-466C-30BC-9EFF068EAF8D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0455275" y="1084263"/>
            <a:ext cx="138113" cy="138113"/>
          </a:xfrm>
          <a:prstGeom prst="rect">
            <a:avLst/>
          </a:prstGeom>
          <a:noFill/>
          <a:ln w="9525" cap="sq" cmpd="sng" algn="ctr">
            <a:solidFill>
              <a:schemeClr val="accent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CCEC3646-2D77-FEE5-8EF0-76454B6D9364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9313863" y="1081088"/>
            <a:ext cx="10398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Conservative case</a:t>
            </a:r>
            <a:endParaRPr kumimoji="0" lang="en-GB" sz="1000" b="0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F52C005-C552-5E80-3543-1AF378F30B0F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10644188" y="1081088"/>
            <a:ext cx="7159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Full potential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50D46A4-F60D-4D19-E576-F763AD287F80}"/>
              </a:ext>
            </a:extLst>
          </p:cNvPr>
          <p:cNvSpPr txBox="1">
            <a:spLocks/>
          </p:cNvSpPr>
          <p:nvPr/>
        </p:nvSpPr>
        <p:spPr>
          <a:xfrm>
            <a:off x="2772982" y="1696676"/>
            <a:ext cx="2801112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Source Sans Pro" panose="020B0503030403020204" pitchFamily="34" charset="0"/>
                <a:cs typeface="Arial" panose="020B0604020202020204" pitchFamily="34" charset="0"/>
              </a:rPr>
              <a:t>Value range, </a:t>
            </a:r>
            <a:r>
              <a: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Source Sans Pro" panose="020B0503030403020204" pitchFamily="34" charset="0"/>
                <a:cs typeface="Arial" panose="020B0604020202020204" pitchFamily="34" charset="0"/>
              </a:rPr>
              <a:t>% EBITDA</a:t>
            </a:r>
            <a:endParaRPr kumimoji="0" lang="en-AU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Source Sans Pro" panose="020B0503030403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CAF52612-B54A-7530-9E26-AD753C7E3150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54736" y="2293914"/>
            <a:ext cx="361987" cy="361353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0A2B330D-15E8-669D-D6E5-FE9FB63BD272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554736" y="3134645"/>
            <a:ext cx="361987" cy="36135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4388BE3-9B74-36EE-BD0A-A03B323C2A39}"/>
              </a:ext>
            </a:extLst>
          </p:cNvPr>
          <p:cNvSpPr txBox="1">
            <a:spLocks/>
          </p:cNvSpPr>
          <p:nvPr/>
        </p:nvSpPr>
        <p:spPr>
          <a:xfrm>
            <a:off x="1020605" y="5616805"/>
            <a:ext cx="1377155" cy="4308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Source Sans Pro" panose="020B0503030403020204" pitchFamily="34" charset="0"/>
                <a:cs typeface="Arial" panose="020B0604020202020204" pitchFamily="34" charset="0"/>
              </a:rPr>
              <a:t>Total value at stak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25F94EA-888D-ABAF-2BF1-D6937EAC6D87}"/>
              </a:ext>
            </a:extLst>
          </p:cNvPr>
          <p:cNvSpPr txBox="1">
            <a:spLocks/>
          </p:cNvSpPr>
          <p:nvPr/>
        </p:nvSpPr>
        <p:spPr>
          <a:xfrm>
            <a:off x="1020605" y="1696676"/>
            <a:ext cx="1640036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Source Sans Pro" panose="020B0503030403020204" pitchFamily="34" charset="0"/>
                <a:cs typeface="Arial" panose="020B0604020202020204" pitchFamily="34" charset="0"/>
              </a:rPr>
              <a:t>Core are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601E8EB-6C34-73D7-90E7-E4E68A61B08A}"/>
              </a:ext>
            </a:extLst>
          </p:cNvPr>
          <p:cNvSpPr txBox="1">
            <a:spLocks/>
          </p:cNvSpPr>
          <p:nvPr/>
        </p:nvSpPr>
        <p:spPr>
          <a:xfrm>
            <a:off x="1020605" y="2151425"/>
            <a:ext cx="1640036" cy="64633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Source Sans Pro" panose="020B0503030403020204" pitchFamily="34" charset="0"/>
                <a:cs typeface="Arial" panose="020B0604020202020204" pitchFamily="34" charset="0"/>
                <a:sym typeface="Theinhardt Pan Medium" panose="020B0604020101020102" pitchFamily="34" charset="0"/>
              </a:rPr>
              <a:t>Customer insights &amp; Commercial revenu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CC380BA-B95B-EDCD-FA26-ECC5B058F935}"/>
              </a:ext>
            </a:extLst>
          </p:cNvPr>
          <p:cNvSpPr txBox="1">
            <a:spLocks/>
          </p:cNvSpPr>
          <p:nvPr/>
        </p:nvSpPr>
        <p:spPr>
          <a:xfrm>
            <a:off x="1020605" y="3099878"/>
            <a:ext cx="1640036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Source Sans Pro" panose="020B0503030403020204" pitchFamily="34" charset="0"/>
                <a:cs typeface="Arial" panose="020B0604020202020204" pitchFamily="34" charset="0"/>
                <a:sym typeface="Theinhardt Pan Medium" panose="020B0604020101020102" pitchFamily="34" charset="0"/>
              </a:rPr>
              <a:t>Operational performance</a:t>
            </a:r>
            <a:endParaRPr kumimoji="0" lang="en-US" sz="1400" b="1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Source Sans Pro" panose="020B0503030403020204" pitchFamily="34" charset="0"/>
              <a:cs typeface="Arial" panose="020B0604020202020204" pitchFamily="34" charset="0"/>
              <a:sym typeface="Theinhardt Pan Medium" panose="020B0604020101020102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F66C174-247B-E517-7B91-BECA7F7E8EB8}"/>
              </a:ext>
            </a:extLst>
          </p:cNvPr>
          <p:cNvSpPr txBox="1">
            <a:spLocks/>
          </p:cNvSpPr>
          <p:nvPr/>
        </p:nvSpPr>
        <p:spPr>
          <a:xfrm>
            <a:off x="1020605" y="3917468"/>
            <a:ext cx="1640036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Source Sans Pro" panose="020B0503030403020204" pitchFamily="34" charset="0"/>
                <a:cs typeface="Arial" panose="020B0604020202020204" pitchFamily="34" charset="0"/>
                <a:sym typeface="Theinhardt Pan Medium" panose="020B0604020101020102" pitchFamily="34" charset="0"/>
              </a:rPr>
              <a:t>Capex &amp; asset management</a:t>
            </a:r>
            <a:endParaRPr kumimoji="0" lang="en-US" sz="1400" b="1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Source Sans Pro" panose="020B0503030403020204" pitchFamily="34" charset="0"/>
              <a:cs typeface="Arial" panose="020B0604020202020204" pitchFamily="34" charset="0"/>
              <a:sym typeface="Theinhardt Pan Medium" panose="020B0604020101020102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FF9D479-DA8C-342C-007C-DCF551F47630}"/>
              </a:ext>
            </a:extLst>
          </p:cNvPr>
          <p:cNvSpPr txBox="1">
            <a:spLocks/>
          </p:cNvSpPr>
          <p:nvPr/>
        </p:nvSpPr>
        <p:spPr>
          <a:xfrm>
            <a:off x="1020605" y="4627634"/>
            <a:ext cx="1640036" cy="64633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Source Sans Pro" panose="020B0503030403020204" pitchFamily="34" charset="0"/>
                <a:cs typeface="Arial" panose="020B0604020202020204" pitchFamily="34" charset="0"/>
                <a:sym typeface="Theinhardt Pan Medium" panose="020B0604020101020102" pitchFamily="34" charset="0"/>
              </a:rPr>
              <a:t>Digitized administrative functions</a:t>
            </a:r>
            <a:endParaRPr kumimoji="0" lang="en-US" sz="1400" b="1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Source Sans Pro" panose="020B0503030403020204" pitchFamily="34" charset="0"/>
              <a:cs typeface="Arial" panose="020B0604020202020204" pitchFamily="34" charset="0"/>
              <a:sym typeface="Theinhardt Pan Medium" panose="020B0604020101020102" pitchFamily="34" charset="0"/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A5EF4644-6E31-6D30-D682-26E53C84AC83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554736" y="4769824"/>
            <a:ext cx="361950" cy="361950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BE3BEF0-E263-F96E-1009-A6353AA4F8E5}"/>
              </a:ext>
            </a:extLst>
          </p:cNvPr>
          <p:cNvCxnSpPr>
            <a:cxnSpLocks/>
          </p:cNvCxnSpPr>
          <p:nvPr/>
        </p:nvCxnSpPr>
        <p:spPr>
          <a:xfrm>
            <a:off x="554736" y="1986042"/>
            <a:ext cx="10907131" cy="0"/>
          </a:xfrm>
          <a:prstGeom prst="line">
            <a:avLst/>
          </a:prstGeom>
          <a:ln w="1270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CustomIcon">
            <a:extLst>
              <a:ext uri="{FF2B5EF4-FFF2-40B4-BE49-F238E27FC236}">
                <a16:creationId xmlns:a16="http://schemas.microsoft.com/office/drawing/2014/main" id="{A053DF58-693C-0236-522B-24654AE93E5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554736" y="3975376"/>
            <a:ext cx="308176" cy="315070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3A24856-7C75-7D5C-8541-C1C621D8B48D}"/>
              </a:ext>
            </a:extLst>
          </p:cNvPr>
          <p:cNvCxnSpPr>
            <a:cxnSpLocks/>
          </p:cNvCxnSpPr>
          <p:nvPr/>
        </p:nvCxnSpPr>
        <p:spPr>
          <a:xfrm>
            <a:off x="554736" y="2894956"/>
            <a:ext cx="10907131" cy="0"/>
          </a:xfrm>
          <a:prstGeom prst="line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8EB2DC7-2ABA-D2CF-88FB-6BC035BB5D68}"/>
              </a:ext>
            </a:extLst>
          </p:cNvPr>
          <p:cNvCxnSpPr>
            <a:cxnSpLocks/>
          </p:cNvCxnSpPr>
          <p:nvPr/>
        </p:nvCxnSpPr>
        <p:spPr>
          <a:xfrm>
            <a:off x="554736" y="3735687"/>
            <a:ext cx="10907131" cy="0"/>
          </a:xfrm>
          <a:prstGeom prst="line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9D8EE2A-93F8-306E-9C4C-05EA25490EA0}"/>
              </a:ext>
            </a:extLst>
          </p:cNvPr>
          <p:cNvCxnSpPr>
            <a:cxnSpLocks/>
          </p:cNvCxnSpPr>
          <p:nvPr/>
        </p:nvCxnSpPr>
        <p:spPr>
          <a:xfrm>
            <a:off x="554736" y="4530135"/>
            <a:ext cx="10907131" cy="0"/>
          </a:xfrm>
          <a:prstGeom prst="line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E0611726-E34C-0412-696F-104D8AA68D9C}"/>
              </a:ext>
            </a:extLst>
          </p:cNvPr>
          <p:cNvCxnSpPr>
            <a:cxnSpLocks/>
          </p:cNvCxnSpPr>
          <p:nvPr/>
        </p:nvCxnSpPr>
        <p:spPr>
          <a:xfrm>
            <a:off x="554736" y="5371465"/>
            <a:ext cx="10907131" cy="0"/>
          </a:xfrm>
          <a:prstGeom prst="line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CF9D27E7-1F18-060D-B0BD-BF237DA3E7C3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04134090"/>
              </p:ext>
            </p:extLst>
          </p:nvPr>
        </p:nvGraphicFramePr>
        <p:xfrm>
          <a:off x="5686425" y="1971675"/>
          <a:ext cx="889000" cy="909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E8036E8C-8812-DD7E-4270-64BF941ADDFC}"/>
              </a:ext>
            </a:extLst>
          </p:cNvPr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811519758"/>
              </p:ext>
            </p:extLst>
          </p:nvPr>
        </p:nvGraphicFramePr>
        <p:xfrm>
          <a:off x="5686425" y="2813050"/>
          <a:ext cx="889000" cy="1057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id="{7962E803-93BE-8E5E-AEAA-64775FA3FFD0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007567376"/>
              </p:ext>
            </p:extLst>
          </p:nvPr>
        </p:nvGraphicFramePr>
        <p:xfrm>
          <a:off x="5686425" y="3643313"/>
          <a:ext cx="889000" cy="1057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003CAE54-8CA9-EB51-A5C6-E68876DC3029}"/>
              </a:ext>
            </a:extLst>
          </p:cNvPr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918572246"/>
              </p:ext>
            </p:extLst>
          </p:nvPr>
        </p:nvGraphicFramePr>
        <p:xfrm>
          <a:off x="5686425" y="4416425"/>
          <a:ext cx="889000" cy="1057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128" name="TextBox 127">
            <a:extLst>
              <a:ext uri="{FF2B5EF4-FFF2-40B4-BE49-F238E27FC236}">
                <a16:creationId xmlns:a16="http://schemas.microsoft.com/office/drawing/2014/main" id="{EC375D49-A0A8-EE3C-7D50-12EFD5C56E91}"/>
              </a:ext>
            </a:extLst>
          </p:cNvPr>
          <p:cNvSpPr txBox="1">
            <a:spLocks/>
          </p:cNvSpPr>
          <p:nvPr/>
        </p:nvSpPr>
        <p:spPr>
          <a:xfrm>
            <a:off x="6771192" y="2937800"/>
            <a:ext cx="4662908" cy="72327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44145" marR="0" lvl="1" indent="-144145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00"/>
              </a:spcAft>
              <a:buClr>
                <a:srgbClr val="FFFFFF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-enabled dynamic gate allocation and staffing 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44145" marR="0" lvl="1" indent="-144145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00"/>
              </a:spcAft>
              <a:buClr>
                <a:srgbClr val="FFFFFF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ve delay &amp; disruption recovery</a:t>
            </a:r>
          </a:p>
          <a:p>
            <a:pPr marL="144145" marR="0" lvl="1" indent="-144145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00"/>
              </a:spcAft>
              <a:buClr>
                <a:srgbClr val="FFFFFF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llaborative data platform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6EFE2E9B-46F8-79FC-EBBF-A94DC4B183C2}"/>
              </a:ext>
            </a:extLst>
          </p:cNvPr>
          <p:cNvSpPr txBox="1">
            <a:spLocks/>
          </p:cNvSpPr>
          <p:nvPr/>
        </p:nvSpPr>
        <p:spPr>
          <a:xfrm>
            <a:off x="6771192" y="3779502"/>
            <a:ext cx="4662908" cy="72327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44145" marR="0" lvl="1" indent="-144145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00"/>
              </a:spcAft>
              <a:buClr>
                <a:srgbClr val="FFFFFF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gital twin to improve asset planning and constructi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44145" marR="0" lvl="1" indent="-144145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00"/>
              </a:spcAft>
              <a:buClr>
                <a:srgbClr val="FFFFFF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edictive repair &amp; maintenance tools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44145" marR="0" lvl="1" indent="-144145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00"/>
              </a:spcAft>
              <a:buClr>
                <a:srgbClr val="FFFFFF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mart energy systems to optimize utility consumpti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53DE60B5-FBD7-8BED-4C5B-7935EF0523EB}"/>
              </a:ext>
            </a:extLst>
          </p:cNvPr>
          <p:cNvSpPr txBox="1">
            <a:spLocks/>
          </p:cNvSpPr>
          <p:nvPr/>
        </p:nvSpPr>
        <p:spPr>
          <a:xfrm>
            <a:off x="6771192" y="4692125"/>
            <a:ext cx="4662908" cy="46935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10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Theinhardt Light" panose="020B0404020101020102" pitchFamily="34" charset="0"/>
              <a:buChar char="—"/>
              <a:defRPr sz="1100"/>
            </a:lvl2pPr>
            <a:lvl3pPr marL="400050" lvl="2" indent="-17145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Theinhardt Light" panose="020B0404020101020102" pitchFamily="34" charset="0"/>
              <a:buChar char="•"/>
              <a:defRPr sz="1100"/>
            </a:lvl3pPr>
            <a:lvl4pPr marL="571500" lvl="3" indent="-163513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Theinhardt Light" panose="020B0404020101020102" pitchFamily="34" charset="0"/>
              <a:buChar char="»"/>
              <a:defRPr sz="1100"/>
            </a:lvl4pPr>
            <a:lvl5pPr marL="742950" lvl="4" indent="-163513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Theinhardt Light" panose="020B0404020101020102" pitchFamily="34" charset="0"/>
              <a:buChar char="›"/>
              <a:defRPr sz="1100"/>
            </a:lvl5pPr>
            <a:lvl6pPr marL="914400" lvl="5" indent="-163513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/>
            </a:lvl6pPr>
            <a:lvl7pPr marL="914400" lvl="6" indent="-163513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/>
            </a:lvl7pPr>
            <a:lvl8pPr marL="914400" lvl="7" indent="-163513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/>
            </a:lvl8pPr>
            <a:lvl9pPr marL="914400" lvl="8" indent="-163513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/>
            </a:lvl9pPr>
          </a:lstStyle>
          <a:p>
            <a:pPr marL="144463" marR="0" lvl="1" indent="-144463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00"/>
              </a:spcAft>
              <a:buClr>
                <a:srgbClr val="FFFFFF"/>
              </a:buClr>
              <a:buSzPct val="100000"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mated variance analysis to reduce manual reporting</a:t>
            </a:r>
          </a:p>
          <a:p>
            <a:pPr marL="144463" marR="0" lvl="1" indent="-144463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00"/>
              </a:spcAft>
              <a:buClr>
                <a:srgbClr val="FFFFFF"/>
              </a:buClr>
              <a:buSzPct val="100000"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lling budget forecasts and anomaly detection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BFE716F8-6709-2C26-D6BF-5FA4DFB7F966}"/>
              </a:ext>
            </a:extLst>
          </p:cNvPr>
          <p:cNvSpPr txBox="1">
            <a:spLocks/>
          </p:cNvSpPr>
          <p:nvPr/>
        </p:nvSpPr>
        <p:spPr>
          <a:xfrm>
            <a:off x="5486400" y="1204233"/>
            <a:ext cx="1641475" cy="73866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Source Sans Pro" panose="020B0503030403020204" pitchFamily="34" charset="0"/>
                <a:cs typeface="Arial" panose="020B0604020202020204" pitchFamily="34" charset="0"/>
              </a:rPr>
              <a:t>Top area of impact</a:t>
            </a:r>
            <a:r>
              <a:rPr kumimoji="0" lang="en-AU" sz="1600" b="1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Source Sans Pro" panose="020B0503030403020204" pitchFamily="34" charset="0"/>
                <a:cs typeface="Arial" panose="020B0604020202020204" pitchFamily="34" charset="0"/>
              </a:rPr>
              <a:t>1</a:t>
            </a:r>
            <a:r>
              <a: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Source Sans Pro" panose="020B0503030403020204" pitchFamily="34" charset="0"/>
                <a:cs typeface="Arial" panose="020B0604020202020204" pitchFamily="34" charset="0"/>
              </a:rPr>
              <a:t>, % respondents 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94E9B7D5-3BC6-50AA-6374-873A5D3C477F}"/>
              </a:ext>
            </a:extLst>
          </p:cNvPr>
          <p:cNvSpPr txBox="1">
            <a:spLocks/>
          </p:cNvSpPr>
          <p:nvPr/>
        </p:nvSpPr>
        <p:spPr>
          <a:xfrm>
            <a:off x="5965825" y="2305063"/>
            <a:ext cx="360363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Source Sans Pro" panose="020B0503030403020204" pitchFamily="34" charset="0"/>
                <a:cs typeface="Arial" panose="020B0604020202020204" pitchFamily="34" charset="0"/>
              </a:rPr>
              <a:t>25%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C631E1CC-8D8C-0B51-9C46-F2CD48CB9E7A}"/>
              </a:ext>
            </a:extLst>
          </p:cNvPr>
          <p:cNvSpPr txBox="1">
            <a:spLocks/>
          </p:cNvSpPr>
          <p:nvPr/>
        </p:nvSpPr>
        <p:spPr>
          <a:xfrm>
            <a:off x="5972175" y="3234882"/>
            <a:ext cx="358775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Source Sans Pro" panose="020B0503030403020204" pitchFamily="34" charset="0"/>
                <a:cs typeface="Arial" panose="020B0604020202020204" pitchFamily="34" charset="0"/>
              </a:rPr>
              <a:t>42%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E05E188B-15CF-B6EB-712D-35E995EC17DA}"/>
              </a:ext>
            </a:extLst>
          </p:cNvPr>
          <p:cNvSpPr txBox="1">
            <a:spLocks/>
          </p:cNvSpPr>
          <p:nvPr/>
        </p:nvSpPr>
        <p:spPr>
          <a:xfrm>
            <a:off x="5997575" y="4073164"/>
            <a:ext cx="260350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Source Sans Pro" panose="020B0503030403020204" pitchFamily="34" charset="0"/>
                <a:cs typeface="Arial" panose="020B0604020202020204" pitchFamily="34" charset="0"/>
              </a:rPr>
              <a:t>8%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C851CA7E-A5A8-FFB6-077B-08506C2863D9}"/>
              </a:ext>
            </a:extLst>
          </p:cNvPr>
          <p:cNvSpPr txBox="1">
            <a:spLocks/>
          </p:cNvSpPr>
          <p:nvPr/>
        </p:nvSpPr>
        <p:spPr>
          <a:xfrm>
            <a:off x="5965825" y="4833737"/>
            <a:ext cx="360363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Source Sans Pro" panose="020B0503030403020204" pitchFamily="34" charset="0"/>
                <a:cs typeface="Arial" panose="020B0604020202020204" pitchFamily="34" charset="0"/>
              </a:rPr>
              <a:t>25%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264F1CFE-70AB-DE28-0ED6-5983612C2366}"/>
              </a:ext>
            </a:extLst>
          </p:cNvPr>
          <p:cNvSpPr txBox="1">
            <a:spLocks/>
          </p:cNvSpPr>
          <p:nvPr/>
        </p:nvSpPr>
        <p:spPr>
          <a:xfrm>
            <a:off x="6771192" y="1696676"/>
            <a:ext cx="2720947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Source Sans Pro" panose="020B0503030403020204" pitchFamily="34" charset="0"/>
                <a:cs typeface="Arial" panose="020B0604020202020204" pitchFamily="34" charset="0"/>
              </a:rPr>
              <a:t>Examples</a:t>
            </a:r>
          </a:p>
        </p:txBody>
      </p:sp>
      <p:sp>
        <p:nvSpPr>
          <p:cNvPr id="3" name="4. Footnote">
            <a:extLst>
              <a:ext uri="{FF2B5EF4-FFF2-40B4-BE49-F238E27FC236}">
                <a16:creationId xmlns:a16="http://schemas.microsoft.com/office/drawing/2014/main" id="{048A7688-A4B5-D878-487A-AB0D1485C28D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554736" y="6338655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.	</a:t>
            </a: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Source Sans Pro" panose="020B0503030403020204" pitchFamily="34" charset="0"/>
                <a:cs typeface="Arial" panose="020B0604020202020204" pitchFamily="34" charset="0"/>
              </a:rPr>
              <a:t>Question: In what area have you seen the biggest impact?, McKinsey Airport Survey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8375370-68A2-1738-FAC8-0D9C7273E87E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>
          <a:xfrm>
            <a:off x="6771192" y="2072253"/>
            <a:ext cx="4662908" cy="7232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44145" marR="0" lvl="1" indent="-144145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00"/>
              </a:spcAft>
              <a:buClr>
                <a:srgbClr val="FFFFFF"/>
              </a:buClr>
              <a:buSzPct val="100000"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ulti-data source customer segmentation &amp; recognition</a:t>
            </a:r>
          </a:p>
          <a:p>
            <a:pPr marL="144145" marR="0" lvl="1" indent="-144145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00"/>
              </a:spcAft>
              <a:buClr>
                <a:srgbClr val="FFFFFF"/>
              </a:buClr>
              <a:buSzPct val="100000"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dvanced pricing models for service, parking, lounges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44145" marR="0" lvl="1" indent="-144145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00"/>
              </a:spcAft>
              <a:buClr>
                <a:srgbClr val="FFFFFF"/>
              </a:buClr>
              <a:buSzPct val="100000"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well time managem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400344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162556-2F75-8FDA-310E-C22582C5BA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F48CC039-00AD-B6FB-A726-9ACDAADAA920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01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61" imgH="464" progId="TCLayout.ActiveDocument.1">
                  <p:embed/>
                </p:oleObj>
              </mc:Choice>
              <mc:Fallback>
                <p:oleObj name="think-cell Slide" r:id="rId11" imgW="461" imgH="464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F48CC039-00AD-B6FB-A726-9ACDAADAA9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: Top Corners Rounded 6">
            <a:extLst>
              <a:ext uri="{FF2B5EF4-FFF2-40B4-BE49-F238E27FC236}">
                <a16:creationId xmlns:a16="http://schemas.microsoft.com/office/drawing/2014/main" id="{01E7E23A-5EFC-0D52-1E75-92C140E97BBD}"/>
              </a:ext>
            </a:extLst>
          </p:cNvPr>
          <p:cNvSpPr/>
          <p:nvPr/>
        </p:nvSpPr>
        <p:spPr>
          <a:xfrm rot="16200000">
            <a:off x="7812628" y="1830928"/>
            <a:ext cx="4503736" cy="4255008"/>
          </a:xfrm>
          <a:prstGeom prst="round2SameRect">
            <a:avLst/>
          </a:prstGeom>
          <a:solidFill>
            <a:schemeClr val="bg1">
              <a:lumMod val="90000"/>
              <a:lumOff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rgbClr val="051C2C"/>
              </a:solidFill>
              <a:latin typeface="Arial"/>
            </a:endParaRPr>
          </a:p>
        </p:txBody>
      </p:sp>
      <p:pic>
        <p:nvPicPr>
          <p:cNvPr id="1036" name="Picture 12">
            <a:extLst>
              <a:ext uri="{FF2B5EF4-FFF2-40B4-BE49-F238E27FC236}">
                <a16:creationId xmlns:a16="http://schemas.microsoft.com/office/drawing/2014/main" id="{BCD68B9F-4004-E5FE-B78D-DBC348DB0A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6432" y="2057446"/>
            <a:ext cx="2075347" cy="1310166"/>
          </a:xfrm>
          <a:prstGeom prst="rect">
            <a:avLst/>
          </a:prstGeom>
          <a:noFill/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2. Slide Title">
            <a:extLst>
              <a:ext uri="{FF2B5EF4-FFF2-40B4-BE49-F238E27FC236}">
                <a16:creationId xmlns:a16="http://schemas.microsoft.com/office/drawing/2014/main" id="{53EA938E-8991-E1BA-2B37-8A298EFA5B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rIns="0">
            <a:noAutofit/>
          </a:bodyPr>
          <a:lstStyle/>
          <a:p>
            <a:r>
              <a:rPr lang="en-GB" noProof="0" dirty="0"/>
              <a:t>B4 | Airports are beginning to pilot and scale Agentic AI 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F887074-2C78-AED2-3D3F-CD1CE24C5CFB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649803" y="2607349"/>
            <a:ext cx="6239728" cy="0"/>
          </a:xfrm>
          <a:prstGeom prst="line">
            <a:avLst/>
          </a:prstGeom>
          <a:ln w="6350" cap="flat">
            <a:solidFill>
              <a:srgbClr val="757575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64CEE1D-8916-74C7-1F6C-026D8D967A6C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649803" y="3697939"/>
            <a:ext cx="6239728" cy="0"/>
          </a:xfrm>
          <a:prstGeom prst="line">
            <a:avLst/>
          </a:prstGeom>
          <a:ln w="6350" cap="flat">
            <a:solidFill>
              <a:srgbClr val="757575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37F4E55C-B018-59B1-0A53-171C3E892A8A}"/>
              </a:ext>
            </a:extLst>
          </p:cNvPr>
          <p:cNvCxnSpPr>
            <a:cxnSpLocks/>
          </p:cNvCxnSpPr>
          <p:nvPr/>
        </p:nvCxnSpPr>
        <p:spPr>
          <a:xfrm>
            <a:off x="649803" y="1798161"/>
            <a:ext cx="6239728" cy="0"/>
          </a:xfrm>
          <a:prstGeom prst="straightConnector1">
            <a:avLst/>
          </a:prstGeom>
          <a:ln w="12700" cap="flat">
            <a:solidFill>
              <a:srgbClr val="75757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798A5F1-F59F-4F46-E3AE-4832E1FC9BDB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649803" y="5157861"/>
            <a:ext cx="6239728" cy="0"/>
          </a:xfrm>
          <a:prstGeom prst="line">
            <a:avLst/>
          </a:prstGeom>
          <a:ln w="6350" cap="flat">
            <a:solidFill>
              <a:srgbClr val="757575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3. Subtitle">
            <a:extLst>
              <a:ext uri="{FF2B5EF4-FFF2-40B4-BE49-F238E27FC236}">
                <a16:creationId xmlns:a16="http://schemas.microsoft.com/office/drawing/2014/main" id="{ED8429F6-E729-2D9F-E1D5-D8D2AC3AF56D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684116" y="1480363"/>
            <a:ext cx="1462617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irports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1817448C-4C9A-6080-DE1E-1E62D1B561CF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2449855" y="1480363"/>
            <a:ext cx="4439676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Use Cases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040A258-B943-343C-E5FD-888B92FB1589}"/>
              </a:ext>
            </a:extLst>
          </p:cNvPr>
          <p:cNvSpPr txBox="1">
            <a:spLocks/>
          </p:cNvSpPr>
          <p:nvPr/>
        </p:nvSpPr>
        <p:spPr>
          <a:xfrm>
            <a:off x="2449855" y="1877388"/>
            <a:ext cx="4439676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91987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aunched a GenAI-powered virtual agent for terminal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4BFABD1-3AA1-DDB8-AE97-4188C528330F}"/>
              </a:ext>
            </a:extLst>
          </p:cNvPr>
          <p:cNvSpPr txBox="1">
            <a:spLocks/>
          </p:cNvSpPr>
          <p:nvPr/>
        </p:nvSpPr>
        <p:spPr>
          <a:xfrm>
            <a:off x="2449855" y="2783312"/>
            <a:ext cx="4439676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91987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ntroduced “</a:t>
            </a:r>
            <a:r>
              <a:rPr kumimoji="0" lang="en-GB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I@Fraport</a:t>
            </a: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” program, including “</a:t>
            </a:r>
            <a:r>
              <a:rPr kumimoji="0" lang="en-GB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FraportGPT</a:t>
            </a: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,” an internal chatbot designed to assist employees with daily operation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25EAE78-F22D-BFB9-BCFF-AC2696D037B7}"/>
              </a:ext>
            </a:extLst>
          </p:cNvPr>
          <p:cNvSpPr txBox="1">
            <a:spLocks/>
          </p:cNvSpPr>
          <p:nvPr/>
        </p:nvSpPr>
        <p:spPr>
          <a:xfrm>
            <a:off x="2449855" y="3873902"/>
            <a:ext cx="4439676" cy="196977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91987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mplemented an AI-driven virtual assistant (accessible through website &amp; WhatsApp): provides real-time flight, parking, and baggage updates with multilingual functionality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A561588-2E30-5694-596B-D56DAB1091E7}"/>
              </a:ext>
            </a:extLst>
          </p:cNvPr>
          <p:cNvSpPr txBox="1">
            <a:spLocks/>
          </p:cNvSpPr>
          <p:nvPr/>
        </p:nvSpPr>
        <p:spPr>
          <a:xfrm>
            <a:off x="2449855" y="5333823"/>
            <a:ext cx="4439676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91987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>
                <a:solidFill>
                  <a:srgbClr val="FFFFFF"/>
                </a:solidFill>
              </a:rPr>
              <a:t>Implemented AI-driven turnaround solution enhancing aircraft handling with real-time insights, and predictive disruption alerts</a:t>
            </a:r>
            <a:endParaRPr lang="en-US" dirty="0"/>
          </a:p>
        </p:txBody>
      </p:sp>
      <p:pic>
        <p:nvPicPr>
          <p:cNvPr id="1028" name="Picture 4" descr="Schiphol Unveils New Logo and Brand Identity">
            <a:extLst>
              <a:ext uri="{FF2B5EF4-FFF2-40B4-BE49-F238E27FC236}">
                <a16:creationId xmlns:a16="http://schemas.microsoft.com/office/drawing/2014/main" id="{45F54905-846A-9B0B-5533-2A494BF82E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biLevel thresh="25000"/>
          </a:blip>
          <a:srcRect/>
          <a:stretch/>
        </p:blipFill>
        <p:spPr bwMode="auto">
          <a:xfrm>
            <a:off x="684117" y="5325116"/>
            <a:ext cx="930000" cy="52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4">
            <a:extLst>
              <a:ext uri="{FF2B5EF4-FFF2-40B4-BE49-F238E27FC236}">
                <a16:creationId xmlns:a16="http://schemas.microsoft.com/office/drawing/2014/main" id="{42CF5FF7-078A-2060-9F9E-B125FBBAAE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/>
          <a:srcRect/>
          <a:stretch/>
        </p:blipFill>
        <p:spPr bwMode="auto">
          <a:xfrm>
            <a:off x="684116" y="3897521"/>
            <a:ext cx="930000" cy="429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">
            <a:extLst>
              <a:ext uri="{FF2B5EF4-FFF2-40B4-BE49-F238E27FC236}">
                <a16:creationId xmlns:a16="http://schemas.microsoft.com/office/drawing/2014/main" id="{771F3B8F-71E3-E0D8-5607-DCC15A032F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/>
          <a:srcRect/>
          <a:stretch/>
        </p:blipFill>
        <p:spPr bwMode="auto">
          <a:xfrm>
            <a:off x="684116" y="2779869"/>
            <a:ext cx="930001" cy="399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558266D1-459B-C77E-922A-BB7696507E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800" y="1835049"/>
            <a:ext cx="862631" cy="444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16CFFB5A-A61C-9E56-E264-4D446E8DCF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0906" y="3219677"/>
            <a:ext cx="2075347" cy="1308450"/>
          </a:xfrm>
          <a:prstGeom prst="rect">
            <a:avLst/>
          </a:prstGeom>
          <a:noFill/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846955EC-EFA4-AD3B-C2AE-C59CB1BE24FF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701853" y="4327271"/>
            <a:ext cx="2075347" cy="1308450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70005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AED1C4B-CE5A-8000-0909-E1FF250675A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ED1C4B-CE5A-8000-0909-E1FF250675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F37D2B0B-012B-2CC7-7B07-140DAF48290E}"/>
              </a:ext>
            </a:extLst>
          </p:cNvPr>
          <p:cNvSpPr/>
          <p:nvPr/>
        </p:nvSpPr>
        <p:spPr>
          <a:xfrm>
            <a:off x="340620" y="1490834"/>
            <a:ext cx="2566050" cy="1156216"/>
          </a:xfrm>
          <a:prstGeom prst="roundRect">
            <a:avLst/>
          </a:prstGeom>
          <a:solidFill>
            <a:schemeClr val="bg1">
              <a:lumMod val="90000"/>
              <a:lumOff val="10000"/>
              <a:alpha val="72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4907584C-D673-4ED8-7B58-65265C54FB49}"/>
              </a:ext>
            </a:extLst>
          </p:cNvPr>
          <p:cNvSpPr/>
          <p:nvPr/>
        </p:nvSpPr>
        <p:spPr>
          <a:xfrm>
            <a:off x="340620" y="3219178"/>
            <a:ext cx="2566050" cy="1156216"/>
          </a:xfrm>
          <a:prstGeom prst="roundRect">
            <a:avLst/>
          </a:prstGeom>
          <a:solidFill>
            <a:schemeClr val="bg1">
              <a:lumMod val="90000"/>
              <a:lumOff val="10000"/>
              <a:alpha val="72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B7EE1418-5B44-9512-3321-1C3B7EC10F4D}"/>
              </a:ext>
            </a:extLst>
          </p:cNvPr>
          <p:cNvSpPr/>
          <p:nvPr/>
        </p:nvSpPr>
        <p:spPr>
          <a:xfrm>
            <a:off x="340620" y="4947521"/>
            <a:ext cx="2566050" cy="1156216"/>
          </a:xfrm>
          <a:prstGeom prst="roundRect">
            <a:avLst/>
          </a:prstGeom>
          <a:solidFill>
            <a:schemeClr val="bg1">
              <a:lumMod val="90000"/>
              <a:lumOff val="10000"/>
              <a:alpha val="72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F94822D-038D-3345-FD37-C9A8611CD0B3}"/>
              </a:ext>
            </a:extLst>
          </p:cNvPr>
          <p:cNvSpPr/>
          <p:nvPr/>
        </p:nvSpPr>
        <p:spPr>
          <a:xfrm>
            <a:off x="9212581" y="1490834"/>
            <a:ext cx="2566050" cy="1156216"/>
          </a:xfrm>
          <a:prstGeom prst="roundRect">
            <a:avLst/>
          </a:prstGeom>
          <a:solidFill>
            <a:schemeClr val="bg1">
              <a:lumMod val="90000"/>
              <a:lumOff val="10000"/>
              <a:alpha val="72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A3803820-2766-A1AB-F331-3F865661FD61}"/>
              </a:ext>
            </a:extLst>
          </p:cNvPr>
          <p:cNvSpPr/>
          <p:nvPr/>
        </p:nvSpPr>
        <p:spPr>
          <a:xfrm>
            <a:off x="9212581" y="3219178"/>
            <a:ext cx="2566050" cy="1156216"/>
          </a:xfrm>
          <a:prstGeom prst="roundRect">
            <a:avLst/>
          </a:prstGeom>
          <a:solidFill>
            <a:schemeClr val="bg1">
              <a:lumMod val="90000"/>
              <a:lumOff val="10000"/>
              <a:alpha val="72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97D4C303-AFD3-9673-4084-127C17E96BAE}"/>
              </a:ext>
            </a:extLst>
          </p:cNvPr>
          <p:cNvSpPr/>
          <p:nvPr/>
        </p:nvSpPr>
        <p:spPr>
          <a:xfrm>
            <a:off x="9212581" y="4947521"/>
            <a:ext cx="2566050" cy="1156216"/>
          </a:xfrm>
          <a:prstGeom prst="roundRect">
            <a:avLst/>
          </a:prstGeom>
          <a:solidFill>
            <a:schemeClr val="bg1">
              <a:lumMod val="90000"/>
              <a:lumOff val="10000"/>
              <a:alpha val="72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6EFA43BB-5A6D-41A8-99A6-209063232CE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554736" y="545942"/>
            <a:ext cx="11082528" cy="35779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rIns="0">
            <a:spAutoFit/>
          </a:bodyPr>
          <a:lstStyle/>
          <a:p>
            <a:r>
              <a:rPr lang="en-US" dirty="0"/>
              <a:t>C1 | Many European airports are advancing expansion plans</a:t>
            </a:r>
            <a:endParaRPr lang="en-US" b="0" dirty="0"/>
          </a:p>
        </p:txBody>
      </p:sp>
      <p:sp>
        <p:nvSpPr>
          <p:cNvPr id="4" name="Freeform 106">
            <a:extLst>
              <a:ext uri="{FF2B5EF4-FFF2-40B4-BE49-F238E27FC236}">
                <a16:creationId xmlns:a16="http://schemas.microsoft.com/office/drawing/2014/main" id="{B7CC498E-4D36-CAEF-ACC9-E449D6BB16E8}"/>
              </a:ext>
            </a:extLst>
          </p:cNvPr>
          <p:cNvSpPr>
            <a:spLocks noEditPoints="1"/>
          </p:cNvSpPr>
          <p:nvPr/>
        </p:nvSpPr>
        <p:spPr bwMode="gray">
          <a:xfrm>
            <a:off x="3566527" y="903732"/>
            <a:ext cx="5058946" cy="5736436"/>
          </a:xfrm>
          <a:custGeom>
            <a:avLst/>
            <a:gdLst>
              <a:gd name="T0" fmla="*/ 87 w 3181"/>
              <a:gd name="T1" fmla="*/ 1302 h 3607"/>
              <a:gd name="T2" fmla="*/ 243 w 3181"/>
              <a:gd name="T3" fmla="*/ 1273 h 3607"/>
              <a:gd name="T4" fmla="*/ 271 w 3181"/>
              <a:gd name="T5" fmla="*/ 2236 h 3607"/>
              <a:gd name="T6" fmla="*/ 588 w 3181"/>
              <a:gd name="T7" fmla="*/ 1992 h 3607"/>
              <a:gd name="T8" fmla="*/ 400 w 3181"/>
              <a:gd name="T9" fmla="*/ 2491 h 3607"/>
              <a:gd name="T10" fmla="*/ 483 w 3181"/>
              <a:gd name="T11" fmla="*/ 2077 h 3607"/>
              <a:gd name="T12" fmla="*/ 690 w 3181"/>
              <a:gd name="T13" fmla="*/ 1850 h 3607"/>
              <a:gd name="T14" fmla="*/ 621 w 3181"/>
              <a:gd name="T15" fmla="*/ 1887 h 3607"/>
              <a:gd name="T16" fmla="*/ 26 w 3181"/>
              <a:gd name="T17" fmla="*/ 3236 h 3607"/>
              <a:gd name="T18" fmla="*/ 514 w 3181"/>
              <a:gd name="T19" fmla="*/ 2766 h 3607"/>
              <a:gd name="T20" fmla="*/ 826 w 3181"/>
              <a:gd name="T21" fmla="*/ 2450 h 3607"/>
              <a:gd name="T22" fmla="*/ 1010 w 3181"/>
              <a:gd name="T23" fmla="*/ 2154 h 3607"/>
              <a:gd name="T24" fmla="*/ 1440 w 3181"/>
              <a:gd name="T25" fmla="*/ 2236 h 3607"/>
              <a:gd name="T26" fmla="*/ 1683 w 3181"/>
              <a:gd name="T27" fmla="*/ 1770 h 3607"/>
              <a:gd name="T28" fmla="*/ 1467 w 3181"/>
              <a:gd name="T29" fmla="*/ 1620 h 3607"/>
              <a:gd name="T30" fmla="*/ 1357 w 3181"/>
              <a:gd name="T31" fmla="*/ 1652 h 3607"/>
              <a:gd name="T32" fmla="*/ 1336 w 3181"/>
              <a:gd name="T33" fmla="*/ 2013 h 3607"/>
              <a:gd name="T34" fmla="*/ 1097 w 3181"/>
              <a:gd name="T35" fmla="*/ 1911 h 3607"/>
              <a:gd name="T36" fmla="*/ 964 w 3181"/>
              <a:gd name="T37" fmla="*/ 1865 h 3607"/>
              <a:gd name="T38" fmla="*/ 959 w 3181"/>
              <a:gd name="T39" fmla="*/ 1744 h 3607"/>
              <a:gd name="T40" fmla="*/ 1071 w 3181"/>
              <a:gd name="T41" fmla="*/ 1620 h 3607"/>
              <a:gd name="T42" fmla="*/ 1200 w 3181"/>
              <a:gd name="T43" fmla="*/ 1373 h 3607"/>
              <a:gd name="T44" fmla="*/ 1335 w 3181"/>
              <a:gd name="T45" fmla="*/ 1167 h 3607"/>
              <a:gd name="T46" fmla="*/ 1580 w 3181"/>
              <a:gd name="T47" fmla="*/ 1047 h 3607"/>
              <a:gd name="T48" fmla="*/ 1753 w 3181"/>
              <a:gd name="T49" fmla="*/ 1309 h 3607"/>
              <a:gd name="T50" fmla="*/ 2183 w 3181"/>
              <a:gd name="T51" fmla="*/ 946 h 3607"/>
              <a:gd name="T52" fmla="*/ 2873 w 3181"/>
              <a:gd name="T53" fmla="*/ 1606 h 3607"/>
              <a:gd name="T54" fmla="*/ 2698 w 3181"/>
              <a:gd name="T55" fmla="*/ 2207 h 3607"/>
              <a:gd name="T56" fmla="*/ 2994 w 3181"/>
              <a:gd name="T57" fmla="*/ 2877 h 3607"/>
              <a:gd name="T58" fmla="*/ 2180 w 3181"/>
              <a:gd name="T59" fmla="*/ 3380 h 3607"/>
              <a:gd name="T60" fmla="*/ 2222 w 3181"/>
              <a:gd name="T61" fmla="*/ 3013 h 3607"/>
              <a:gd name="T62" fmla="*/ 2280 w 3181"/>
              <a:gd name="T63" fmla="*/ 2641 h 3607"/>
              <a:gd name="T64" fmla="*/ 2078 w 3181"/>
              <a:gd name="T65" fmla="*/ 2676 h 3607"/>
              <a:gd name="T66" fmla="*/ 1809 w 3181"/>
              <a:gd name="T67" fmla="*/ 3309 h 3607"/>
              <a:gd name="T68" fmla="*/ 1591 w 3181"/>
              <a:gd name="T69" fmla="*/ 3212 h 3607"/>
              <a:gd name="T70" fmla="*/ 1292 w 3181"/>
              <a:gd name="T71" fmla="*/ 3083 h 3607"/>
              <a:gd name="T72" fmla="*/ 925 w 3181"/>
              <a:gd name="T73" fmla="*/ 3037 h 3607"/>
              <a:gd name="T74" fmla="*/ 711 w 3181"/>
              <a:gd name="T75" fmla="*/ 3275 h 3607"/>
              <a:gd name="T76" fmla="*/ 2035 w 3181"/>
              <a:gd name="T77" fmla="*/ 579 h 3607"/>
              <a:gd name="T78" fmla="*/ 1938 w 3181"/>
              <a:gd name="T79" fmla="*/ 494 h 3607"/>
              <a:gd name="T80" fmla="*/ 1988 w 3181"/>
              <a:gd name="T81" fmla="*/ 3302 h 3607"/>
              <a:gd name="T82" fmla="*/ 1843 w 3181"/>
              <a:gd name="T83" fmla="*/ 3360 h 3607"/>
              <a:gd name="T84" fmla="*/ 2494 w 3181"/>
              <a:gd name="T85" fmla="*/ 3374 h 3607"/>
              <a:gd name="T86" fmla="*/ 1003 w 3181"/>
              <a:gd name="T87" fmla="*/ 3302 h 3607"/>
              <a:gd name="T88" fmla="*/ 1398 w 3181"/>
              <a:gd name="T89" fmla="*/ 3057 h 3607"/>
              <a:gd name="T90" fmla="*/ 867 w 3181"/>
              <a:gd name="T91" fmla="*/ 2351 h 3607"/>
              <a:gd name="T92" fmla="*/ 1100 w 3181"/>
              <a:gd name="T93" fmla="*/ 2049 h 3607"/>
              <a:gd name="T94" fmla="*/ 1131 w 3181"/>
              <a:gd name="T95" fmla="*/ 2217 h 3607"/>
              <a:gd name="T96" fmla="*/ 1535 w 3181"/>
              <a:gd name="T97" fmla="*/ 1969 h 3607"/>
              <a:gd name="T98" fmla="*/ 1709 w 3181"/>
              <a:gd name="T99" fmla="*/ 155 h 3607"/>
              <a:gd name="T100" fmla="*/ 1251 w 3181"/>
              <a:gd name="T101" fmla="*/ 1244 h 3607"/>
              <a:gd name="T102" fmla="*/ 1474 w 3181"/>
              <a:gd name="T103" fmla="*/ 1809 h 3607"/>
              <a:gd name="T104" fmla="*/ 1484 w 3181"/>
              <a:gd name="T105" fmla="*/ 1832 h 3607"/>
              <a:gd name="T106" fmla="*/ 1428 w 3181"/>
              <a:gd name="T107" fmla="*/ 2001 h 3607"/>
              <a:gd name="T108" fmla="*/ 1398 w 3181"/>
              <a:gd name="T109" fmla="*/ 1882 h 3607"/>
              <a:gd name="T110" fmla="*/ 1306 w 3181"/>
              <a:gd name="T111" fmla="*/ 1154 h 3607"/>
              <a:gd name="T112" fmla="*/ 1331 w 3181"/>
              <a:gd name="T113" fmla="*/ 1142 h 3607"/>
              <a:gd name="T114" fmla="*/ 917 w 3181"/>
              <a:gd name="T115" fmla="*/ 1889 h 3607"/>
              <a:gd name="T116" fmla="*/ 1469 w 3181"/>
              <a:gd name="T117" fmla="*/ 1065 h 3607"/>
              <a:gd name="T118" fmla="*/ 1187 w 3181"/>
              <a:gd name="T119" fmla="*/ 1383 h 3607"/>
              <a:gd name="T120" fmla="*/ 1105 w 3181"/>
              <a:gd name="T121" fmla="*/ 1623 h 3607"/>
              <a:gd name="T122" fmla="*/ 1199 w 3181"/>
              <a:gd name="T123" fmla="*/ 548 h 3607"/>
              <a:gd name="T124" fmla="*/ 1241 w 3181"/>
              <a:gd name="T125" fmla="*/ 400 h 36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181" h="3607">
                <a:moveTo>
                  <a:pt x="526" y="1649"/>
                </a:moveTo>
                <a:lnTo>
                  <a:pt x="526" y="1650"/>
                </a:lnTo>
                <a:lnTo>
                  <a:pt x="526" y="1652"/>
                </a:lnTo>
                <a:lnTo>
                  <a:pt x="527" y="1654"/>
                </a:lnTo>
                <a:lnTo>
                  <a:pt x="527" y="1656"/>
                </a:lnTo>
                <a:lnTo>
                  <a:pt x="527" y="1657"/>
                </a:lnTo>
                <a:lnTo>
                  <a:pt x="529" y="1661"/>
                </a:lnTo>
                <a:lnTo>
                  <a:pt x="531" y="1662"/>
                </a:lnTo>
                <a:lnTo>
                  <a:pt x="527" y="1664"/>
                </a:lnTo>
                <a:lnTo>
                  <a:pt x="531" y="1664"/>
                </a:lnTo>
                <a:lnTo>
                  <a:pt x="532" y="1666"/>
                </a:lnTo>
                <a:lnTo>
                  <a:pt x="532" y="1667"/>
                </a:lnTo>
                <a:lnTo>
                  <a:pt x="531" y="1667"/>
                </a:lnTo>
                <a:lnTo>
                  <a:pt x="529" y="1666"/>
                </a:lnTo>
                <a:lnTo>
                  <a:pt x="531" y="1667"/>
                </a:lnTo>
                <a:lnTo>
                  <a:pt x="532" y="1669"/>
                </a:lnTo>
                <a:lnTo>
                  <a:pt x="532" y="1671"/>
                </a:lnTo>
                <a:lnTo>
                  <a:pt x="532" y="1673"/>
                </a:lnTo>
                <a:lnTo>
                  <a:pt x="532" y="1674"/>
                </a:lnTo>
                <a:lnTo>
                  <a:pt x="532" y="1676"/>
                </a:lnTo>
                <a:lnTo>
                  <a:pt x="531" y="1674"/>
                </a:lnTo>
                <a:lnTo>
                  <a:pt x="529" y="1673"/>
                </a:lnTo>
                <a:lnTo>
                  <a:pt x="527" y="1671"/>
                </a:lnTo>
                <a:lnTo>
                  <a:pt x="527" y="1667"/>
                </a:lnTo>
                <a:lnTo>
                  <a:pt x="526" y="1667"/>
                </a:lnTo>
                <a:lnTo>
                  <a:pt x="526" y="1666"/>
                </a:lnTo>
                <a:lnTo>
                  <a:pt x="526" y="1664"/>
                </a:lnTo>
                <a:lnTo>
                  <a:pt x="526" y="1662"/>
                </a:lnTo>
                <a:lnTo>
                  <a:pt x="522" y="1661"/>
                </a:lnTo>
                <a:lnTo>
                  <a:pt x="520" y="1659"/>
                </a:lnTo>
                <a:lnTo>
                  <a:pt x="522" y="1659"/>
                </a:lnTo>
                <a:lnTo>
                  <a:pt x="520" y="1659"/>
                </a:lnTo>
                <a:lnTo>
                  <a:pt x="519" y="1656"/>
                </a:lnTo>
                <a:lnTo>
                  <a:pt x="520" y="1654"/>
                </a:lnTo>
                <a:lnTo>
                  <a:pt x="520" y="1652"/>
                </a:lnTo>
                <a:lnTo>
                  <a:pt x="522" y="1652"/>
                </a:lnTo>
                <a:lnTo>
                  <a:pt x="520" y="1650"/>
                </a:lnTo>
                <a:lnTo>
                  <a:pt x="522" y="1650"/>
                </a:lnTo>
                <a:lnTo>
                  <a:pt x="522" y="1647"/>
                </a:lnTo>
                <a:lnTo>
                  <a:pt x="524" y="1647"/>
                </a:lnTo>
                <a:lnTo>
                  <a:pt x="526" y="1649"/>
                </a:lnTo>
                <a:close/>
                <a:moveTo>
                  <a:pt x="531" y="1647"/>
                </a:moveTo>
                <a:lnTo>
                  <a:pt x="532" y="1647"/>
                </a:lnTo>
                <a:lnTo>
                  <a:pt x="532" y="1649"/>
                </a:lnTo>
                <a:lnTo>
                  <a:pt x="531" y="1650"/>
                </a:lnTo>
                <a:lnTo>
                  <a:pt x="531" y="1652"/>
                </a:lnTo>
                <a:lnTo>
                  <a:pt x="531" y="1654"/>
                </a:lnTo>
                <a:lnTo>
                  <a:pt x="531" y="1650"/>
                </a:lnTo>
                <a:lnTo>
                  <a:pt x="534" y="1650"/>
                </a:lnTo>
                <a:lnTo>
                  <a:pt x="534" y="1652"/>
                </a:lnTo>
                <a:lnTo>
                  <a:pt x="532" y="1654"/>
                </a:lnTo>
                <a:lnTo>
                  <a:pt x="536" y="1652"/>
                </a:lnTo>
                <a:lnTo>
                  <a:pt x="536" y="1654"/>
                </a:lnTo>
                <a:lnTo>
                  <a:pt x="536" y="1656"/>
                </a:lnTo>
                <a:lnTo>
                  <a:pt x="534" y="1656"/>
                </a:lnTo>
                <a:lnTo>
                  <a:pt x="534" y="1657"/>
                </a:lnTo>
                <a:lnTo>
                  <a:pt x="537" y="1657"/>
                </a:lnTo>
                <a:lnTo>
                  <a:pt x="539" y="1659"/>
                </a:lnTo>
                <a:lnTo>
                  <a:pt x="539" y="1661"/>
                </a:lnTo>
                <a:lnTo>
                  <a:pt x="537" y="1659"/>
                </a:lnTo>
                <a:lnTo>
                  <a:pt x="536" y="1659"/>
                </a:lnTo>
                <a:lnTo>
                  <a:pt x="536" y="1661"/>
                </a:lnTo>
                <a:lnTo>
                  <a:pt x="537" y="1661"/>
                </a:lnTo>
                <a:lnTo>
                  <a:pt x="539" y="1664"/>
                </a:lnTo>
                <a:lnTo>
                  <a:pt x="537" y="1662"/>
                </a:lnTo>
                <a:lnTo>
                  <a:pt x="536" y="1662"/>
                </a:lnTo>
                <a:lnTo>
                  <a:pt x="537" y="1664"/>
                </a:lnTo>
                <a:lnTo>
                  <a:pt x="537" y="1666"/>
                </a:lnTo>
                <a:lnTo>
                  <a:pt x="536" y="1666"/>
                </a:lnTo>
                <a:lnTo>
                  <a:pt x="536" y="1669"/>
                </a:lnTo>
                <a:lnTo>
                  <a:pt x="534" y="1666"/>
                </a:lnTo>
                <a:lnTo>
                  <a:pt x="536" y="1664"/>
                </a:lnTo>
                <a:lnTo>
                  <a:pt x="536" y="1662"/>
                </a:lnTo>
                <a:lnTo>
                  <a:pt x="534" y="1661"/>
                </a:lnTo>
                <a:lnTo>
                  <a:pt x="532" y="1657"/>
                </a:lnTo>
                <a:lnTo>
                  <a:pt x="532" y="1659"/>
                </a:lnTo>
                <a:lnTo>
                  <a:pt x="534" y="1661"/>
                </a:lnTo>
                <a:lnTo>
                  <a:pt x="534" y="1662"/>
                </a:lnTo>
                <a:lnTo>
                  <a:pt x="534" y="1664"/>
                </a:lnTo>
                <a:lnTo>
                  <a:pt x="534" y="1666"/>
                </a:lnTo>
                <a:lnTo>
                  <a:pt x="532" y="1664"/>
                </a:lnTo>
                <a:lnTo>
                  <a:pt x="532" y="1662"/>
                </a:lnTo>
                <a:lnTo>
                  <a:pt x="531" y="1661"/>
                </a:lnTo>
                <a:lnTo>
                  <a:pt x="529" y="1659"/>
                </a:lnTo>
                <a:lnTo>
                  <a:pt x="527" y="1657"/>
                </a:lnTo>
                <a:lnTo>
                  <a:pt x="527" y="1656"/>
                </a:lnTo>
                <a:lnTo>
                  <a:pt x="527" y="1652"/>
                </a:lnTo>
                <a:lnTo>
                  <a:pt x="527" y="1649"/>
                </a:lnTo>
                <a:lnTo>
                  <a:pt x="526" y="1649"/>
                </a:lnTo>
                <a:lnTo>
                  <a:pt x="527" y="1647"/>
                </a:lnTo>
                <a:lnTo>
                  <a:pt x="527" y="1649"/>
                </a:lnTo>
                <a:lnTo>
                  <a:pt x="529" y="1647"/>
                </a:lnTo>
                <a:lnTo>
                  <a:pt x="531" y="1647"/>
                </a:lnTo>
                <a:close/>
                <a:moveTo>
                  <a:pt x="519" y="1657"/>
                </a:moveTo>
                <a:lnTo>
                  <a:pt x="519" y="1659"/>
                </a:lnTo>
                <a:lnTo>
                  <a:pt x="520" y="1659"/>
                </a:lnTo>
                <a:lnTo>
                  <a:pt x="522" y="1662"/>
                </a:lnTo>
                <a:lnTo>
                  <a:pt x="524" y="1662"/>
                </a:lnTo>
                <a:lnTo>
                  <a:pt x="524" y="1664"/>
                </a:lnTo>
                <a:lnTo>
                  <a:pt x="522" y="1666"/>
                </a:lnTo>
                <a:lnTo>
                  <a:pt x="520" y="1666"/>
                </a:lnTo>
                <a:lnTo>
                  <a:pt x="519" y="1666"/>
                </a:lnTo>
                <a:lnTo>
                  <a:pt x="520" y="1667"/>
                </a:lnTo>
                <a:lnTo>
                  <a:pt x="519" y="1667"/>
                </a:lnTo>
                <a:lnTo>
                  <a:pt x="517" y="1667"/>
                </a:lnTo>
                <a:lnTo>
                  <a:pt x="515" y="1666"/>
                </a:lnTo>
                <a:lnTo>
                  <a:pt x="515" y="1664"/>
                </a:lnTo>
                <a:lnTo>
                  <a:pt x="514" y="1664"/>
                </a:lnTo>
                <a:lnTo>
                  <a:pt x="512" y="1662"/>
                </a:lnTo>
                <a:lnTo>
                  <a:pt x="515" y="1662"/>
                </a:lnTo>
                <a:lnTo>
                  <a:pt x="514" y="1661"/>
                </a:lnTo>
                <a:lnTo>
                  <a:pt x="512" y="1661"/>
                </a:lnTo>
                <a:lnTo>
                  <a:pt x="512" y="1659"/>
                </a:lnTo>
                <a:lnTo>
                  <a:pt x="512" y="1657"/>
                </a:lnTo>
                <a:lnTo>
                  <a:pt x="514" y="1659"/>
                </a:lnTo>
                <a:lnTo>
                  <a:pt x="515" y="1659"/>
                </a:lnTo>
                <a:lnTo>
                  <a:pt x="515" y="1657"/>
                </a:lnTo>
                <a:lnTo>
                  <a:pt x="517" y="1657"/>
                </a:lnTo>
                <a:lnTo>
                  <a:pt x="519" y="1657"/>
                </a:lnTo>
                <a:close/>
                <a:moveTo>
                  <a:pt x="522" y="1695"/>
                </a:moveTo>
                <a:lnTo>
                  <a:pt x="520" y="1696"/>
                </a:lnTo>
                <a:lnTo>
                  <a:pt x="522" y="1696"/>
                </a:lnTo>
                <a:lnTo>
                  <a:pt x="519" y="1698"/>
                </a:lnTo>
                <a:lnTo>
                  <a:pt x="522" y="1700"/>
                </a:lnTo>
                <a:lnTo>
                  <a:pt x="524" y="1700"/>
                </a:lnTo>
                <a:lnTo>
                  <a:pt x="526" y="1702"/>
                </a:lnTo>
                <a:lnTo>
                  <a:pt x="526" y="1703"/>
                </a:lnTo>
                <a:lnTo>
                  <a:pt x="524" y="1703"/>
                </a:lnTo>
                <a:lnTo>
                  <a:pt x="522" y="1702"/>
                </a:lnTo>
                <a:lnTo>
                  <a:pt x="524" y="1703"/>
                </a:lnTo>
                <a:lnTo>
                  <a:pt x="522" y="1703"/>
                </a:lnTo>
                <a:lnTo>
                  <a:pt x="526" y="1705"/>
                </a:lnTo>
                <a:lnTo>
                  <a:pt x="526" y="1707"/>
                </a:lnTo>
                <a:lnTo>
                  <a:pt x="524" y="1707"/>
                </a:lnTo>
                <a:lnTo>
                  <a:pt x="526" y="1708"/>
                </a:lnTo>
                <a:lnTo>
                  <a:pt x="524" y="1708"/>
                </a:lnTo>
                <a:lnTo>
                  <a:pt x="522" y="1708"/>
                </a:lnTo>
                <a:lnTo>
                  <a:pt x="522" y="1710"/>
                </a:lnTo>
                <a:lnTo>
                  <a:pt x="524" y="1710"/>
                </a:lnTo>
                <a:lnTo>
                  <a:pt x="526" y="1710"/>
                </a:lnTo>
                <a:lnTo>
                  <a:pt x="526" y="1712"/>
                </a:lnTo>
                <a:lnTo>
                  <a:pt x="526" y="1715"/>
                </a:lnTo>
                <a:lnTo>
                  <a:pt x="522" y="1713"/>
                </a:lnTo>
                <a:lnTo>
                  <a:pt x="522" y="1712"/>
                </a:lnTo>
                <a:lnTo>
                  <a:pt x="520" y="1708"/>
                </a:lnTo>
                <a:lnTo>
                  <a:pt x="519" y="1705"/>
                </a:lnTo>
                <a:lnTo>
                  <a:pt x="520" y="1703"/>
                </a:lnTo>
                <a:lnTo>
                  <a:pt x="519" y="1703"/>
                </a:lnTo>
                <a:lnTo>
                  <a:pt x="519" y="1700"/>
                </a:lnTo>
                <a:lnTo>
                  <a:pt x="519" y="1698"/>
                </a:lnTo>
                <a:lnTo>
                  <a:pt x="519" y="1696"/>
                </a:lnTo>
                <a:lnTo>
                  <a:pt x="519" y="1695"/>
                </a:lnTo>
                <a:lnTo>
                  <a:pt x="522" y="1695"/>
                </a:lnTo>
                <a:close/>
                <a:moveTo>
                  <a:pt x="527" y="1678"/>
                </a:moveTo>
                <a:lnTo>
                  <a:pt x="529" y="1679"/>
                </a:lnTo>
                <a:lnTo>
                  <a:pt x="531" y="1681"/>
                </a:lnTo>
                <a:lnTo>
                  <a:pt x="532" y="1683"/>
                </a:lnTo>
                <a:lnTo>
                  <a:pt x="532" y="1684"/>
                </a:lnTo>
                <a:lnTo>
                  <a:pt x="534" y="1684"/>
                </a:lnTo>
                <a:lnTo>
                  <a:pt x="532" y="1686"/>
                </a:lnTo>
                <a:lnTo>
                  <a:pt x="531" y="1688"/>
                </a:lnTo>
                <a:lnTo>
                  <a:pt x="532" y="1690"/>
                </a:lnTo>
                <a:lnTo>
                  <a:pt x="531" y="1690"/>
                </a:lnTo>
                <a:lnTo>
                  <a:pt x="529" y="1688"/>
                </a:lnTo>
                <a:lnTo>
                  <a:pt x="529" y="1686"/>
                </a:lnTo>
                <a:lnTo>
                  <a:pt x="529" y="1684"/>
                </a:lnTo>
                <a:lnTo>
                  <a:pt x="529" y="1683"/>
                </a:lnTo>
                <a:lnTo>
                  <a:pt x="527" y="1683"/>
                </a:lnTo>
                <a:lnTo>
                  <a:pt x="527" y="1684"/>
                </a:lnTo>
                <a:lnTo>
                  <a:pt x="527" y="1683"/>
                </a:lnTo>
                <a:lnTo>
                  <a:pt x="526" y="1683"/>
                </a:lnTo>
                <a:lnTo>
                  <a:pt x="526" y="1681"/>
                </a:lnTo>
                <a:lnTo>
                  <a:pt x="526" y="1679"/>
                </a:lnTo>
                <a:lnTo>
                  <a:pt x="526" y="1678"/>
                </a:lnTo>
                <a:lnTo>
                  <a:pt x="524" y="1676"/>
                </a:lnTo>
                <a:lnTo>
                  <a:pt x="527" y="1678"/>
                </a:lnTo>
                <a:close/>
                <a:moveTo>
                  <a:pt x="548" y="1657"/>
                </a:moveTo>
                <a:lnTo>
                  <a:pt x="546" y="1659"/>
                </a:lnTo>
                <a:lnTo>
                  <a:pt x="544" y="1656"/>
                </a:lnTo>
                <a:lnTo>
                  <a:pt x="544" y="1659"/>
                </a:lnTo>
                <a:lnTo>
                  <a:pt x="546" y="1659"/>
                </a:lnTo>
                <a:lnTo>
                  <a:pt x="546" y="1662"/>
                </a:lnTo>
                <a:lnTo>
                  <a:pt x="543" y="1662"/>
                </a:lnTo>
                <a:lnTo>
                  <a:pt x="543" y="1659"/>
                </a:lnTo>
                <a:lnTo>
                  <a:pt x="543" y="1657"/>
                </a:lnTo>
                <a:lnTo>
                  <a:pt x="543" y="1661"/>
                </a:lnTo>
                <a:lnTo>
                  <a:pt x="543" y="1662"/>
                </a:lnTo>
                <a:lnTo>
                  <a:pt x="541" y="1662"/>
                </a:lnTo>
                <a:lnTo>
                  <a:pt x="541" y="1661"/>
                </a:lnTo>
                <a:lnTo>
                  <a:pt x="541" y="1659"/>
                </a:lnTo>
                <a:lnTo>
                  <a:pt x="541" y="1657"/>
                </a:lnTo>
                <a:lnTo>
                  <a:pt x="543" y="1656"/>
                </a:lnTo>
                <a:lnTo>
                  <a:pt x="543" y="1654"/>
                </a:lnTo>
                <a:lnTo>
                  <a:pt x="543" y="1652"/>
                </a:lnTo>
                <a:lnTo>
                  <a:pt x="543" y="1650"/>
                </a:lnTo>
                <a:lnTo>
                  <a:pt x="543" y="1649"/>
                </a:lnTo>
                <a:lnTo>
                  <a:pt x="544" y="1649"/>
                </a:lnTo>
                <a:lnTo>
                  <a:pt x="544" y="1650"/>
                </a:lnTo>
                <a:lnTo>
                  <a:pt x="544" y="1654"/>
                </a:lnTo>
                <a:lnTo>
                  <a:pt x="544" y="1656"/>
                </a:lnTo>
                <a:lnTo>
                  <a:pt x="548" y="1657"/>
                </a:lnTo>
                <a:close/>
                <a:moveTo>
                  <a:pt x="546" y="1654"/>
                </a:moveTo>
                <a:lnTo>
                  <a:pt x="548" y="1652"/>
                </a:lnTo>
                <a:lnTo>
                  <a:pt x="549" y="1654"/>
                </a:lnTo>
                <a:lnTo>
                  <a:pt x="548" y="1656"/>
                </a:lnTo>
                <a:lnTo>
                  <a:pt x="544" y="1654"/>
                </a:lnTo>
                <a:lnTo>
                  <a:pt x="544" y="1650"/>
                </a:lnTo>
                <a:lnTo>
                  <a:pt x="544" y="1649"/>
                </a:lnTo>
                <a:lnTo>
                  <a:pt x="544" y="1647"/>
                </a:lnTo>
                <a:lnTo>
                  <a:pt x="544" y="1645"/>
                </a:lnTo>
                <a:lnTo>
                  <a:pt x="546" y="1647"/>
                </a:lnTo>
                <a:lnTo>
                  <a:pt x="546" y="1650"/>
                </a:lnTo>
                <a:lnTo>
                  <a:pt x="546" y="1652"/>
                </a:lnTo>
                <a:lnTo>
                  <a:pt x="546" y="1654"/>
                </a:lnTo>
                <a:close/>
                <a:moveTo>
                  <a:pt x="541" y="1647"/>
                </a:moveTo>
                <a:lnTo>
                  <a:pt x="541" y="1649"/>
                </a:lnTo>
                <a:lnTo>
                  <a:pt x="541" y="1650"/>
                </a:lnTo>
                <a:lnTo>
                  <a:pt x="543" y="1652"/>
                </a:lnTo>
                <a:lnTo>
                  <a:pt x="543" y="1656"/>
                </a:lnTo>
                <a:lnTo>
                  <a:pt x="541" y="1656"/>
                </a:lnTo>
                <a:lnTo>
                  <a:pt x="539" y="1654"/>
                </a:lnTo>
                <a:lnTo>
                  <a:pt x="539" y="1652"/>
                </a:lnTo>
                <a:lnTo>
                  <a:pt x="539" y="1650"/>
                </a:lnTo>
                <a:lnTo>
                  <a:pt x="539" y="1649"/>
                </a:lnTo>
                <a:lnTo>
                  <a:pt x="541" y="1647"/>
                </a:lnTo>
                <a:close/>
                <a:moveTo>
                  <a:pt x="537" y="1645"/>
                </a:moveTo>
                <a:lnTo>
                  <a:pt x="537" y="1647"/>
                </a:lnTo>
                <a:lnTo>
                  <a:pt x="537" y="1649"/>
                </a:lnTo>
                <a:lnTo>
                  <a:pt x="537" y="1650"/>
                </a:lnTo>
                <a:lnTo>
                  <a:pt x="539" y="1654"/>
                </a:lnTo>
                <a:lnTo>
                  <a:pt x="539" y="1656"/>
                </a:lnTo>
                <a:lnTo>
                  <a:pt x="539" y="1657"/>
                </a:lnTo>
                <a:lnTo>
                  <a:pt x="537" y="1656"/>
                </a:lnTo>
                <a:lnTo>
                  <a:pt x="537" y="1654"/>
                </a:lnTo>
                <a:lnTo>
                  <a:pt x="537" y="1652"/>
                </a:lnTo>
                <a:lnTo>
                  <a:pt x="537" y="1650"/>
                </a:lnTo>
                <a:lnTo>
                  <a:pt x="536" y="1649"/>
                </a:lnTo>
                <a:lnTo>
                  <a:pt x="537" y="1645"/>
                </a:lnTo>
                <a:close/>
                <a:moveTo>
                  <a:pt x="553" y="1656"/>
                </a:moveTo>
                <a:lnTo>
                  <a:pt x="551" y="1656"/>
                </a:lnTo>
                <a:lnTo>
                  <a:pt x="551" y="1659"/>
                </a:lnTo>
                <a:lnTo>
                  <a:pt x="548" y="1659"/>
                </a:lnTo>
                <a:lnTo>
                  <a:pt x="548" y="1656"/>
                </a:lnTo>
                <a:lnTo>
                  <a:pt x="549" y="1656"/>
                </a:lnTo>
                <a:lnTo>
                  <a:pt x="551" y="1654"/>
                </a:lnTo>
                <a:lnTo>
                  <a:pt x="553" y="1656"/>
                </a:lnTo>
                <a:close/>
                <a:moveTo>
                  <a:pt x="553" y="1652"/>
                </a:moveTo>
                <a:lnTo>
                  <a:pt x="554" y="1652"/>
                </a:lnTo>
                <a:lnTo>
                  <a:pt x="553" y="1654"/>
                </a:lnTo>
                <a:lnTo>
                  <a:pt x="551" y="1654"/>
                </a:lnTo>
                <a:lnTo>
                  <a:pt x="551" y="1650"/>
                </a:lnTo>
                <a:lnTo>
                  <a:pt x="553" y="1652"/>
                </a:lnTo>
                <a:close/>
                <a:moveTo>
                  <a:pt x="536" y="1673"/>
                </a:moveTo>
                <a:lnTo>
                  <a:pt x="536" y="1674"/>
                </a:lnTo>
                <a:lnTo>
                  <a:pt x="536" y="1676"/>
                </a:lnTo>
                <a:lnTo>
                  <a:pt x="534" y="1674"/>
                </a:lnTo>
                <a:lnTo>
                  <a:pt x="534" y="1671"/>
                </a:lnTo>
                <a:lnTo>
                  <a:pt x="536" y="1673"/>
                </a:lnTo>
                <a:close/>
                <a:moveTo>
                  <a:pt x="526" y="1686"/>
                </a:moveTo>
                <a:lnTo>
                  <a:pt x="527" y="1686"/>
                </a:lnTo>
                <a:lnTo>
                  <a:pt x="527" y="1690"/>
                </a:lnTo>
                <a:lnTo>
                  <a:pt x="526" y="1688"/>
                </a:lnTo>
                <a:lnTo>
                  <a:pt x="526" y="1686"/>
                </a:lnTo>
                <a:close/>
                <a:moveTo>
                  <a:pt x="507" y="1657"/>
                </a:moveTo>
                <a:lnTo>
                  <a:pt x="509" y="1659"/>
                </a:lnTo>
                <a:lnTo>
                  <a:pt x="505" y="1659"/>
                </a:lnTo>
                <a:lnTo>
                  <a:pt x="505" y="1657"/>
                </a:lnTo>
                <a:lnTo>
                  <a:pt x="507" y="1657"/>
                </a:lnTo>
                <a:close/>
                <a:moveTo>
                  <a:pt x="527" y="1676"/>
                </a:moveTo>
                <a:lnTo>
                  <a:pt x="526" y="1673"/>
                </a:lnTo>
                <a:lnTo>
                  <a:pt x="527" y="1674"/>
                </a:lnTo>
                <a:lnTo>
                  <a:pt x="527" y="1676"/>
                </a:lnTo>
                <a:close/>
                <a:moveTo>
                  <a:pt x="527" y="1693"/>
                </a:moveTo>
                <a:lnTo>
                  <a:pt x="527" y="1695"/>
                </a:lnTo>
                <a:lnTo>
                  <a:pt x="527" y="1693"/>
                </a:lnTo>
                <a:close/>
                <a:moveTo>
                  <a:pt x="526" y="1673"/>
                </a:moveTo>
                <a:lnTo>
                  <a:pt x="524" y="1671"/>
                </a:lnTo>
                <a:lnTo>
                  <a:pt x="526" y="1671"/>
                </a:lnTo>
                <a:lnTo>
                  <a:pt x="526" y="1673"/>
                </a:lnTo>
                <a:close/>
                <a:moveTo>
                  <a:pt x="347" y="1278"/>
                </a:moveTo>
                <a:lnTo>
                  <a:pt x="351" y="1278"/>
                </a:lnTo>
                <a:lnTo>
                  <a:pt x="351" y="1280"/>
                </a:lnTo>
                <a:lnTo>
                  <a:pt x="352" y="1278"/>
                </a:lnTo>
                <a:lnTo>
                  <a:pt x="352" y="1281"/>
                </a:lnTo>
                <a:lnTo>
                  <a:pt x="354" y="1281"/>
                </a:lnTo>
                <a:lnTo>
                  <a:pt x="352" y="1281"/>
                </a:lnTo>
                <a:lnTo>
                  <a:pt x="354" y="1283"/>
                </a:lnTo>
                <a:lnTo>
                  <a:pt x="352" y="1283"/>
                </a:lnTo>
                <a:lnTo>
                  <a:pt x="352" y="1286"/>
                </a:lnTo>
                <a:lnTo>
                  <a:pt x="354" y="1288"/>
                </a:lnTo>
                <a:lnTo>
                  <a:pt x="354" y="1290"/>
                </a:lnTo>
                <a:lnTo>
                  <a:pt x="356" y="1290"/>
                </a:lnTo>
                <a:lnTo>
                  <a:pt x="357" y="1292"/>
                </a:lnTo>
                <a:lnTo>
                  <a:pt x="357" y="1293"/>
                </a:lnTo>
                <a:lnTo>
                  <a:pt x="357" y="1295"/>
                </a:lnTo>
                <a:lnTo>
                  <a:pt x="356" y="1295"/>
                </a:lnTo>
                <a:lnTo>
                  <a:pt x="356" y="1297"/>
                </a:lnTo>
                <a:lnTo>
                  <a:pt x="352" y="1298"/>
                </a:lnTo>
                <a:lnTo>
                  <a:pt x="354" y="1300"/>
                </a:lnTo>
                <a:lnTo>
                  <a:pt x="354" y="1302"/>
                </a:lnTo>
                <a:lnTo>
                  <a:pt x="356" y="1303"/>
                </a:lnTo>
                <a:lnTo>
                  <a:pt x="357" y="1303"/>
                </a:lnTo>
                <a:lnTo>
                  <a:pt x="357" y="1305"/>
                </a:lnTo>
                <a:lnTo>
                  <a:pt x="357" y="1307"/>
                </a:lnTo>
                <a:lnTo>
                  <a:pt x="359" y="1309"/>
                </a:lnTo>
                <a:lnTo>
                  <a:pt x="359" y="1310"/>
                </a:lnTo>
                <a:lnTo>
                  <a:pt x="361" y="1310"/>
                </a:lnTo>
                <a:lnTo>
                  <a:pt x="362" y="1309"/>
                </a:lnTo>
                <a:lnTo>
                  <a:pt x="362" y="1307"/>
                </a:lnTo>
                <a:lnTo>
                  <a:pt x="362" y="1305"/>
                </a:lnTo>
                <a:lnTo>
                  <a:pt x="364" y="1303"/>
                </a:lnTo>
                <a:lnTo>
                  <a:pt x="366" y="1305"/>
                </a:lnTo>
                <a:lnTo>
                  <a:pt x="369" y="1305"/>
                </a:lnTo>
                <a:lnTo>
                  <a:pt x="371" y="1305"/>
                </a:lnTo>
                <a:lnTo>
                  <a:pt x="371" y="1303"/>
                </a:lnTo>
                <a:lnTo>
                  <a:pt x="373" y="1303"/>
                </a:lnTo>
                <a:lnTo>
                  <a:pt x="374" y="1303"/>
                </a:lnTo>
                <a:lnTo>
                  <a:pt x="376" y="1302"/>
                </a:lnTo>
                <a:lnTo>
                  <a:pt x="378" y="1300"/>
                </a:lnTo>
                <a:lnTo>
                  <a:pt x="381" y="1300"/>
                </a:lnTo>
                <a:lnTo>
                  <a:pt x="383" y="1303"/>
                </a:lnTo>
                <a:lnTo>
                  <a:pt x="386" y="1303"/>
                </a:lnTo>
                <a:lnTo>
                  <a:pt x="390" y="1303"/>
                </a:lnTo>
                <a:lnTo>
                  <a:pt x="388" y="1305"/>
                </a:lnTo>
                <a:lnTo>
                  <a:pt x="385" y="1305"/>
                </a:lnTo>
                <a:lnTo>
                  <a:pt x="381" y="1305"/>
                </a:lnTo>
                <a:lnTo>
                  <a:pt x="379" y="1305"/>
                </a:lnTo>
                <a:lnTo>
                  <a:pt x="378" y="1305"/>
                </a:lnTo>
                <a:lnTo>
                  <a:pt x="374" y="1307"/>
                </a:lnTo>
                <a:lnTo>
                  <a:pt x="373" y="1307"/>
                </a:lnTo>
                <a:lnTo>
                  <a:pt x="374" y="1310"/>
                </a:lnTo>
                <a:lnTo>
                  <a:pt x="373" y="1314"/>
                </a:lnTo>
                <a:lnTo>
                  <a:pt x="371" y="1314"/>
                </a:lnTo>
                <a:lnTo>
                  <a:pt x="369" y="1314"/>
                </a:lnTo>
                <a:lnTo>
                  <a:pt x="368" y="1315"/>
                </a:lnTo>
                <a:lnTo>
                  <a:pt x="366" y="1315"/>
                </a:lnTo>
                <a:lnTo>
                  <a:pt x="364" y="1315"/>
                </a:lnTo>
                <a:lnTo>
                  <a:pt x="364" y="1317"/>
                </a:lnTo>
                <a:lnTo>
                  <a:pt x="368" y="1319"/>
                </a:lnTo>
                <a:lnTo>
                  <a:pt x="368" y="1320"/>
                </a:lnTo>
                <a:lnTo>
                  <a:pt x="366" y="1320"/>
                </a:lnTo>
                <a:lnTo>
                  <a:pt x="366" y="1322"/>
                </a:lnTo>
                <a:lnTo>
                  <a:pt x="368" y="1322"/>
                </a:lnTo>
                <a:lnTo>
                  <a:pt x="371" y="1324"/>
                </a:lnTo>
                <a:lnTo>
                  <a:pt x="371" y="1326"/>
                </a:lnTo>
                <a:lnTo>
                  <a:pt x="373" y="1324"/>
                </a:lnTo>
                <a:lnTo>
                  <a:pt x="376" y="1324"/>
                </a:lnTo>
                <a:lnTo>
                  <a:pt x="378" y="1326"/>
                </a:lnTo>
                <a:lnTo>
                  <a:pt x="376" y="1329"/>
                </a:lnTo>
                <a:lnTo>
                  <a:pt x="378" y="1329"/>
                </a:lnTo>
                <a:lnTo>
                  <a:pt x="376" y="1332"/>
                </a:lnTo>
                <a:lnTo>
                  <a:pt x="376" y="1334"/>
                </a:lnTo>
                <a:lnTo>
                  <a:pt x="374" y="1336"/>
                </a:lnTo>
                <a:lnTo>
                  <a:pt x="373" y="1336"/>
                </a:lnTo>
                <a:lnTo>
                  <a:pt x="371" y="1337"/>
                </a:lnTo>
                <a:lnTo>
                  <a:pt x="369" y="1337"/>
                </a:lnTo>
                <a:lnTo>
                  <a:pt x="368" y="1339"/>
                </a:lnTo>
                <a:lnTo>
                  <a:pt x="368" y="1341"/>
                </a:lnTo>
                <a:lnTo>
                  <a:pt x="366" y="1341"/>
                </a:lnTo>
                <a:lnTo>
                  <a:pt x="366" y="1343"/>
                </a:lnTo>
                <a:lnTo>
                  <a:pt x="364" y="1343"/>
                </a:lnTo>
                <a:lnTo>
                  <a:pt x="366" y="1343"/>
                </a:lnTo>
                <a:lnTo>
                  <a:pt x="368" y="1341"/>
                </a:lnTo>
                <a:lnTo>
                  <a:pt x="368" y="1343"/>
                </a:lnTo>
                <a:lnTo>
                  <a:pt x="364" y="1344"/>
                </a:lnTo>
                <a:lnTo>
                  <a:pt x="366" y="1346"/>
                </a:lnTo>
                <a:lnTo>
                  <a:pt x="369" y="1344"/>
                </a:lnTo>
                <a:lnTo>
                  <a:pt x="371" y="1346"/>
                </a:lnTo>
                <a:lnTo>
                  <a:pt x="374" y="1346"/>
                </a:lnTo>
                <a:lnTo>
                  <a:pt x="376" y="1346"/>
                </a:lnTo>
                <a:lnTo>
                  <a:pt x="378" y="1346"/>
                </a:lnTo>
                <a:lnTo>
                  <a:pt x="379" y="1346"/>
                </a:lnTo>
                <a:lnTo>
                  <a:pt x="379" y="1348"/>
                </a:lnTo>
                <a:lnTo>
                  <a:pt x="378" y="1349"/>
                </a:lnTo>
                <a:lnTo>
                  <a:pt x="378" y="1353"/>
                </a:lnTo>
                <a:lnTo>
                  <a:pt x="379" y="1354"/>
                </a:lnTo>
                <a:lnTo>
                  <a:pt x="381" y="1358"/>
                </a:lnTo>
                <a:lnTo>
                  <a:pt x="383" y="1360"/>
                </a:lnTo>
                <a:lnTo>
                  <a:pt x="386" y="1363"/>
                </a:lnTo>
                <a:lnTo>
                  <a:pt x="388" y="1361"/>
                </a:lnTo>
                <a:lnTo>
                  <a:pt x="390" y="1363"/>
                </a:lnTo>
                <a:lnTo>
                  <a:pt x="390" y="1365"/>
                </a:lnTo>
                <a:lnTo>
                  <a:pt x="388" y="1365"/>
                </a:lnTo>
                <a:lnTo>
                  <a:pt x="390" y="1366"/>
                </a:lnTo>
                <a:lnTo>
                  <a:pt x="388" y="1368"/>
                </a:lnTo>
                <a:lnTo>
                  <a:pt x="390" y="1370"/>
                </a:lnTo>
                <a:lnTo>
                  <a:pt x="391" y="1368"/>
                </a:lnTo>
                <a:lnTo>
                  <a:pt x="393" y="1368"/>
                </a:lnTo>
                <a:lnTo>
                  <a:pt x="393" y="1370"/>
                </a:lnTo>
                <a:lnTo>
                  <a:pt x="395" y="1372"/>
                </a:lnTo>
                <a:lnTo>
                  <a:pt x="393" y="1373"/>
                </a:lnTo>
                <a:lnTo>
                  <a:pt x="393" y="1375"/>
                </a:lnTo>
                <a:lnTo>
                  <a:pt x="391" y="1375"/>
                </a:lnTo>
                <a:lnTo>
                  <a:pt x="391" y="1378"/>
                </a:lnTo>
                <a:lnTo>
                  <a:pt x="390" y="1378"/>
                </a:lnTo>
                <a:lnTo>
                  <a:pt x="390" y="1380"/>
                </a:lnTo>
                <a:lnTo>
                  <a:pt x="386" y="1382"/>
                </a:lnTo>
                <a:lnTo>
                  <a:pt x="385" y="1380"/>
                </a:lnTo>
                <a:lnTo>
                  <a:pt x="383" y="1380"/>
                </a:lnTo>
                <a:lnTo>
                  <a:pt x="385" y="1382"/>
                </a:lnTo>
                <a:lnTo>
                  <a:pt x="386" y="1383"/>
                </a:lnTo>
                <a:lnTo>
                  <a:pt x="385" y="1383"/>
                </a:lnTo>
                <a:lnTo>
                  <a:pt x="381" y="1383"/>
                </a:lnTo>
                <a:lnTo>
                  <a:pt x="379" y="1383"/>
                </a:lnTo>
                <a:lnTo>
                  <a:pt x="378" y="1383"/>
                </a:lnTo>
                <a:lnTo>
                  <a:pt x="376" y="1385"/>
                </a:lnTo>
                <a:lnTo>
                  <a:pt x="378" y="1385"/>
                </a:lnTo>
                <a:lnTo>
                  <a:pt x="381" y="1385"/>
                </a:lnTo>
                <a:lnTo>
                  <a:pt x="385" y="1385"/>
                </a:lnTo>
                <a:lnTo>
                  <a:pt x="386" y="1387"/>
                </a:lnTo>
                <a:lnTo>
                  <a:pt x="386" y="1385"/>
                </a:lnTo>
                <a:lnTo>
                  <a:pt x="388" y="1387"/>
                </a:lnTo>
                <a:lnTo>
                  <a:pt x="390" y="1389"/>
                </a:lnTo>
                <a:lnTo>
                  <a:pt x="388" y="1390"/>
                </a:lnTo>
                <a:lnTo>
                  <a:pt x="386" y="1392"/>
                </a:lnTo>
                <a:lnTo>
                  <a:pt x="385" y="1392"/>
                </a:lnTo>
                <a:lnTo>
                  <a:pt x="381" y="1392"/>
                </a:lnTo>
                <a:lnTo>
                  <a:pt x="379" y="1390"/>
                </a:lnTo>
                <a:lnTo>
                  <a:pt x="378" y="1390"/>
                </a:lnTo>
                <a:lnTo>
                  <a:pt x="374" y="1390"/>
                </a:lnTo>
                <a:lnTo>
                  <a:pt x="378" y="1390"/>
                </a:lnTo>
                <a:lnTo>
                  <a:pt x="379" y="1390"/>
                </a:lnTo>
                <a:lnTo>
                  <a:pt x="381" y="1392"/>
                </a:lnTo>
                <a:lnTo>
                  <a:pt x="383" y="1392"/>
                </a:lnTo>
                <a:lnTo>
                  <a:pt x="385" y="1394"/>
                </a:lnTo>
                <a:lnTo>
                  <a:pt x="386" y="1394"/>
                </a:lnTo>
                <a:lnTo>
                  <a:pt x="385" y="1395"/>
                </a:lnTo>
                <a:lnTo>
                  <a:pt x="383" y="1395"/>
                </a:lnTo>
                <a:lnTo>
                  <a:pt x="381" y="1395"/>
                </a:lnTo>
                <a:lnTo>
                  <a:pt x="381" y="1397"/>
                </a:lnTo>
                <a:lnTo>
                  <a:pt x="385" y="1397"/>
                </a:lnTo>
                <a:lnTo>
                  <a:pt x="381" y="1399"/>
                </a:lnTo>
                <a:lnTo>
                  <a:pt x="385" y="1399"/>
                </a:lnTo>
                <a:lnTo>
                  <a:pt x="383" y="1400"/>
                </a:lnTo>
                <a:lnTo>
                  <a:pt x="385" y="1400"/>
                </a:lnTo>
                <a:lnTo>
                  <a:pt x="386" y="1397"/>
                </a:lnTo>
                <a:lnTo>
                  <a:pt x="388" y="1397"/>
                </a:lnTo>
                <a:lnTo>
                  <a:pt x="388" y="1400"/>
                </a:lnTo>
                <a:lnTo>
                  <a:pt x="386" y="1400"/>
                </a:lnTo>
                <a:lnTo>
                  <a:pt x="388" y="1402"/>
                </a:lnTo>
                <a:lnTo>
                  <a:pt x="386" y="1404"/>
                </a:lnTo>
                <a:lnTo>
                  <a:pt x="385" y="1404"/>
                </a:lnTo>
                <a:lnTo>
                  <a:pt x="383" y="1404"/>
                </a:lnTo>
                <a:lnTo>
                  <a:pt x="383" y="1407"/>
                </a:lnTo>
                <a:lnTo>
                  <a:pt x="381" y="1407"/>
                </a:lnTo>
                <a:lnTo>
                  <a:pt x="379" y="1407"/>
                </a:lnTo>
                <a:lnTo>
                  <a:pt x="376" y="1406"/>
                </a:lnTo>
                <a:lnTo>
                  <a:pt x="376" y="1404"/>
                </a:lnTo>
                <a:lnTo>
                  <a:pt x="376" y="1402"/>
                </a:lnTo>
                <a:lnTo>
                  <a:pt x="374" y="1400"/>
                </a:lnTo>
                <a:lnTo>
                  <a:pt x="373" y="1399"/>
                </a:lnTo>
                <a:lnTo>
                  <a:pt x="373" y="1397"/>
                </a:lnTo>
                <a:lnTo>
                  <a:pt x="373" y="1400"/>
                </a:lnTo>
                <a:lnTo>
                  <a:pt x="369" y="1399"/>
                </a:lnTo>
                <a:lnTo>
                  <a:pt x="368" y="1399"/>
                </a:lnTo>
                <a:lnTo>
                  <a:pt x="364" y="1399"/>
                </a:lnTo>
                <a:lnTo>
                  <a:pt x="366" y="1400"/>
                </a:lnTo>
                <a:lnTo>
                  <a:pt x="368" y="1400"/>
                </a:lnTo>
                <a:lnTo>
                  <a:pt x="369" y="1400"/>
                </a:lnTo>
                <a:lnTo>
                  <a:pt x="371" y="1402"/>
                </a:lnTo>
                <a:lnTo>
                  <a:pt x="373" y="1404"/>
                </a:lnTo>
                <a:lnTo>
                  <a:pt x="374" y="1406"/>
                </a:lnTo>
                <a:lnTo>
                  <a:pt x="376" y="1407"/>
                </a:lnTo>
                <a:lnTo>
                  <a:pt x="376" y="1409"/>
                </a:lnTo>
                <a:lnTo>
                  <a:pt x="379" y="1411"/>
                </a:lnTo>
                <a:lnTo>
                  <a:pt x="378" y="1412"/>
                </a:lnTo>
                <a:lnTo>
                  <a:pt x="376" y="1412"/>
                </a:lnTo>
                <a:lnTo>
                  <a:pt x="374" y="1411"/>
                </a:lnTo>
                <a:lnTo>
                  <a:pt x="373" y="1409"/>
                </a:lnTo>
                <a:lnTo>
                  <a:pt x="369" y="1409"/>
                </a:lnTo>
                <a:lnTo>
                  <a:pt x="368" y="1407"/>
                </a:lnTo>
                <a:lnTo>
                  <a:pt x="368" y="1409"/>
                </a:lnTo>
                <a:lnTo>
                  <a:pt x="369" y="1409"/>
                </a:lnTo>
                <a:lnTo>
                  <a:pt x="371" y="1411"/>
                </a:lnTo>
                <a:lnTo>
                  <a:pt x="373" y="1411"/>
                </a:lnTo>
                <a:lnTo>
                  <a:pt x="374" y="1414"/>
                </a:lnTo>
                <a:lnTo>
                  <a:pt x="374" y="1416"/>
                </a:lnTo>
                <a:lnTo>
                  <a:pt x="373" y="1416"/>
                </a:lnTo>
                <a:lnTo>
                  <a:pt x="371" y="1416"/>
                </a:lnTo>
                <a:lnTo>
                  <a:pt x="369" y="1414"/>
                </a:lnTo>
                <a:lnTo>
                  <a:pt x="368" y="1414"/>
                </a:lnTo>
                <a:lnTo>
                  <a:pt x="371" y="1417"/>
                </a:lnTo>
                <a:lnTo>
                  <a:pt x="368" y="1417"/>
                </a:lnTo>
                <a:lnTo>
                  <a:pt x="366" y="1417"/>
                </a:lnTo>
                <a:lnTo>
                  <a:pt x="364" y="1417"/>
                </a:lnTo>
                <a:lnTo>
                  <a:pt x="364" y="1416"/>
                </a:lnTo>
                <a:lnTo>
                  <a:pt x="364" y="1417"/>
                </a:lnTo>
                <a:lnTo>
                  <a:pt x="366" y="1421"/>
                </a:lnTo>
                <a:lnTo>
                  <a:pt x="364" y="1421"/>
                </a:lnTo>
                <a:lnTo>
                  <a:pt x="361" y="1423"/>
                </a:lnTo>
                <a:lnTo>
                  <a:pt x="359" y="1423"/>
                </a:lnTo>
                <a:lnTo>
                  <a:pt x="357" y="1421"/>
                </a:lnTo>
                <a:lnTo>
                  <a:pt x="354" y="1419"/>
                </a:lnTo>
                <a:lnTo>
                  <a:pt x="354" y="1417"/>
                </a:lnTo>
                <a:lnTo>
                  <a:pt x="354" y="1416"/>
                </a:lnTo>
                <a:lnTo>
                  <a:pt x="352" y="1414"/>
                </a:lnTo>
                <a:lnTo>
                  <a:pt x="354" y="1412"/>
                </a:lnTo>
                <a:lnTo>
                  <a:pt x="352" y="1412"/>
                </a:lnTo>
                <a:lnTo>
                  <a:pt x="352" y="1414"/>
                </a:lnTo>
                <a:lnTo>
                  <a:pt x="354" y="1417"/>
                </a:lnTo>
                <a:lnTo>
                  <a:pt x="352" y="1419"/>
                </a:lnTo>
                <a:lnTo>
                  <a:pt x="354" y="1421"/>
                </a:lnTo>
                <a:lnTo>
                  <a:pt x="354" y="1423"/>
                </a:lnTo>
                <a:lnTo>
                  <a:pt x="356" y="1423"/>
                </a:lnTo>
                <a:lnTo>
                  <a:pt x="356" y="1424"/>
                </a:lnTo>
                <a:lnTo>
                  <a:pt x="356" y="1426"/>
                </a:lnTo>
                <a:lnTo>
                  <a:pt x="356" y="1424"/>
                </a:lnTo>
                <a:lnTo>
                  <a:pt x="354" y="1424"/>
                </a:lnTo>
                <a:lnTo>
                  <a:pt x="354" y="1423"/>
                </a:lnTo>
                <a:lnTo>
                  <a:pt x="352" y="1423"/>
                </a:lnTo>
                <a:lnTo>
                  <a:pt x="349" y="1421"/>
                </a:lnTo>
                <a:lnTo>
                  <a:pt x="349" y="1423"/>
                </a:lnTo>
                <a:lnTo>
                  <a:pt x="351" y="1424"/>
                </a:lnTo>
                <a:lnTo>
                  <a:pt x="351" y="1426"/>
                </a:lnTo>
                <a:lnTo>
                  <a:pt x="347" y="1426"/>
                </a:lnTo>
                <a:lnTo>
                  <a:pt x="345" y="1424"/>
                </a:lnTo>
                <a:lnTo>
                  <a:pt x="344" y="1426"/>
                </a:lnTo>
                <a:lnTo>
                  <a:pt x="344" y="1429"/>
                </a:lnTo>
                <a:lnTo>
                  <a:pt x="347" y="1429"/>
                </a:lnTo>
                <a:lnTo>
                  <a:pt x="345" y="1431"/>
                </a:lnTo>
                <a:lnTo>
                  <a:pt x="347" y="1429"/>
                </a:lnTo>
                <a:lnTo>
                  <a:pt x="349" y="1429"/>
                </a:lnTo>
                <a:lnTo>
                  <a:pt x="349" y="1428"/>
                </a:lnTo>
                <a:lnTo>
                  <a:pt x="352" y="1426"/>
                </a:lnTo>
                <a:lnTo>
                  <a:pt x="349" y="1428"/>
                </a:lnTo>
                <a:lnTo>
                  <a:pt x="349" y="1429"/>
                </a:lnTo>
                <a:lnTo>
                  <a:pt x="347" y="1429"/>
                </a:lnTo>
                <a:lnTo>
                  <a:pt x="345" y="1431"/>
                </a:lnTo>
                <a:lnTo>
                  <a:pt x="345" y="1433"/>
                </a:lnTo>
                <a:lnTo>
                  <a:pt x="344" y="1434"/>
                </a:lnTo>
                <a:lnTo>
                  <a:pt x="344" y="1436"/>
                </a:lnTo>
                <a:lnTo>
                  <a:pt x="342" y="1438"/>
                </a:lnTo>
                <a:lnTo>
                  <a:pt x="340" y="1438"/>
                </a:lnTo>
                <a:lnTo>
                  <a:pt x="339" y="1436"/>
                </a:lnTo>
                <a:lnTo>
                  <a:pt x="337" y="1436"/>
                </a:lnTo>
                <a:lnTo>
                  <a:pt x="335" y="1436"/>
                </a:lnTo>
                <a:lnTo>
                  <a:pt x="334" y="1438"/>
                </a:lnTo>
                <a:lnTo>
                  <a:pt x="335" y="1436"/>
                </a:lnTo>
                <a:lnTo>
                  <a:pt x="337" y="1436"/>
                </a:lnTo>
                <a:lnTo>
                  <a:pt x="339" y="1436"/>
                </a:lnTo>
                <a:lnTo>
                  <a:pt x="340" y="1438"/>
                </a:lnTo>
                <a:lnTo>
                  <a:pt x="339" y="1434"/>
                </a:lnTo>
                <a:lnTo>
                  <a:pt x="337" y="1434"/>
                </a:lnTo>
                <a:lnTo>
                  <a:pt x="335" y="1436"/>
                </a:lnTo>
                <a:lnTo>
                  <a:pt x="334" y="1438"/>
                </a:lnTo>
                <a:lnTo>
                  <a:pt x="330" y="1438"/>
                </a:lnTo>
                <a:lnTo>
                  <a:pt x="328" y="1440"/>
                </a:lnTo>
                <a:lnTo>
                  <a:pt x="328" y="1441"/>
                </a:lnTo>
                <a:lnTo>
                  <a:pt x="325" y="1443"/>
                </a:lnTo>
                <a:lnTo>
                  <a:pt x="325" y="1445"/>
                </a:lnTo>
                <a:lnTo>
                  <a:pt x="323" y="1445"/>
                </a:lnTo>
                <a:lnTo>
                  <a:pt x="323" y="1443"/>
                </a:lnTo>
                <a:lnTo>
                  <a:pt x="320" y="1443"/>
                </a:lnTo>
                <a:lnTo>
                  <a:pt x="318" y="1443"/>
                </a:lnTo>
                <a:lnTo>
                  <a:pt x="318" y="1441"/>
                </a:lnTo>
                <a:lnTo>
                  <a:pt x="322" y="1443"/>
                </a:lnTo>
                <a:lnTo>
                  <a:pt x="323" y="1443"/>
                </a:lnTo>
                <a:lnTo>
                  <a:pt x="323" y="1441"/>
                </a:lnTo>
                <a:lnTo>
                  <a:pt x="322" y="1440"/>
                </a:lnTo>
                <a:lnTo>
                  <a:pt x="320" y="1440"/>
                </a:lnTo>
                <a:lnTo>
                  <a:pt x="318" y="1441"/>
                </a:lnTo>
                <a:lnTo>
                  <a:pt x="318" y="1438"/>
                </a:lnTo>
                <a:lnTo>
                  <a:pt x="320" y="1438"/>
                </a:lnTo>
                <a:lnTo>
                  <a:pt x="318" y="1438"/>
                </a:lnTo>
                <a:lnTo>
                  <a:pt x="317" y="1438"/>
                </a:lnTo>
                <a:lnTo>
                  <a:pt x="315" y="1436"/>
                </a:lnTo>
                <a:lnTo>
                  <a:pt x="313" y="1438"/>
                </a:lnTo>
                <a:lnTo>
                  <a:pt x="311" y="1438"/>
                </a:lnTo>
                <a:lnTo>
                  <a:pt x="311" y="1440"/>
                </a:lnTo>
                <a:lnTo>
                  <a:pt x="313" y="1440"/>
                </a:lnTo>
                <a:lnTo>
                  <a:pt x="317" y="1441"/>
                </a:lnTo>
                <a:lnTo>
                  <a:pt x="318" y="1443"/>
                </a:lnTo>
                <a:lnTo>
                  <a:pt x="315" y="1441"/>
                </a:lnTo>
                <a:lnTo>
                  <a:pt x="313" y="1440"/>
                </a:lnTo>
                <a:lnTo>
                  <a:pt x="311" y="1440"/>
                </a:lnTo>
                <a:lnTo>
                  <a:pt x="310" y="1440"/>
                </a:lnTo>
                <a:lnTo>
                  <a:pt x="308" y="1440"/>
                </a:lnTo>
                <a:lnTo>
                  <a:pt x="306" y="1440"/>
                </a:lnTo>
                <a:lnTo>
                  <a:pt x="303" y="1440"/>
                </a:lnTo>
                <a:lnTo>
                  <a:pt x="301" y="1440"/>
                </a:lnTo>
                <a:lnTo>
                  <a:pt x="300" y="1440"/>
                </a:lnTo>
                <a:lnTo>
                  <a:pt x="298" y="1440"/>
                </a:lnTo>
                <a:lnTo>
                  <a:pt x="296" y="1440"/>
                </a:lnTo>
                <a:lnTo>
                  <a:pt x="294" y="1441"/>
                </a:lnTo>
                <a:lnTo>
                  <a:pt x="293" y="1441"/>
                </a:lnTo>
                <a:lnTo>
                  <a:pt x="291" y="1441"/>
                </a:lnTo>
                <a:lnTo>
                  <a:pt x="288" y="1443"/>
                </a:lnTo>
                <a:lnTo>
                  <a:pt x="286" y="1443"/>
                </a:lnTo>
                <a:lnTo>
                  <a:pt x="284" y="1445"/>
                </a:lnTo>
                <a:lnTo>
                  <a:pt x="283" y="1445"/>
                </a:lnTo>
                <a:lnTo>
                  <a:pt x="281" y="1445"/>
                </a:lnTo>
                <a:lnTo>
                  <a:pt x="279" y="1446"/>
                </a:lnTo>
                <a:lnTo>
                  <a:pt x="277" y="1448"/>
                </a:lnTo>
                <a:lnTo>
                  <a:pt x="276" y="1448"/>
                </a:lnTo>
                <a:lnTo>
                  <a:pt x="274" y="1450"/>
                </a:lnTo>
                <a:lnTo>
                  <a:pt x="272" y="1450"/>
                </a:lnTo>
                <a:lnTo>
                  <a:pt x="271" y="1451"/>
                </a:lnTo>
                <a:lnTo>
                  <a:pt x="269" y="1451"/>
                </a:lnTo>
                <a:lnTo>
                  <a:pt x="267" y="1453"/>
                </a:lnTo>
                <a:lnTo>
                  <a:pt x="266" y="1455"/>
                </a:lnTo>
                <a:lnTo>
                  <a:pt x="262" y="1455"/>
                </a:lnTo>
                <a:lnTo>
                  <a:pt x="260" y="1455"/>
                </a:lnTo>
                <a:lnTo>
                  <a:pt x="259" y="1453"/>
                </a:lnTo>
                <a:lnTo>
                  <a:pt x="257" y="1453"/>
                </a:lnTo>
                <a:lnTo>
                  <a:pt x="255" y="1453"/>
                </a:lnTo>
                <a:lnTo>
                  <a:pt x="254" y="1451"/>
                </a:lnTo>
                <a:lnTo>
                  <a:pt x="252" y="1451"/>
                </a:lnTo>
                <a:lnTo>
                  <a:pt x="250" y="1451"/>
                </a:lnTo>
                <a:lnTo>
                  <a:pt x="249" y="1450"/>
                </a:lnTo>
                <a:lnTo>
                  <a:pt x="245" y="1450"/>
                </a:lnTo>
                <a:lnTo>
                  <a:pt x="243" y="1448"/>
                </a:lnTo>
                <a:lnTo>
                  <a:pt x="240" y="1448"/>
                </a:lnTo>
                <a:lnTo>
                  <a:pt x="238" y="1448"/>
                </a:lnTo>
                <a:lnTo>
                  <a:pt x="237" y="1448"/>
                </a:lnTo>
                <a:lnTo>
                  <a:pt x="233" y="1448"/>
                </a:lnTo>
                <a:lnTo>
                  <a:pt x="230" y="1450"/>
                </a:lnTo>
                <a:lnTo>
                  <a:pt x="228" y="1450"/>
                </a:lnTo>
                <a:lnTo>
                  <a:pt x="228" y="1451"/>
                </a:lnTo>
                <a:lnTo>
                  <a:pt x="226" y="1451"/>
                </a:lnTo>
                <a:lnTo>
                  <a:pt x="225" y="1453"/>
                </a:lnTo>
                <a:lnTo>
                  <a:pt x="223" y="1455"/>
                </a:lnTo>
                <a:lnTo>
                  <a:pt x="221" y="1457"/>
                </a:lnTo>
                <a:lnTo>
                  <a:pt x="220" y="1458"/>
                </a:lnTo>
                <a:lnTo>
                  <a:pt x="218" y="1458"/>
                </a:lnTo>
                <a:lnTo>
                  <a:pt x="215" y="1458"/>
                </a:lnTo>
                <a:lnTo>
                  <a:pt x="213" y="1460"/>
                </a:lnTo>
                <a:lnTo>
                  <a:pt x="211" y="1460"/>
                </a:lnTo>
                <a:lnTo>
                  <a:pt x="209" y="1460"/>
                </a:lnTo>
                <a:lnTo>
                  <a:pt x="206" y="1458"/>
                </a:lnTo>
                <a:lnTo>
                  <a:pt x="204" y="1458"/>
                </a:lnTo>
                <a:lnTo>
                  <a:pt x="201" y="1458"/>
                </a:lnTo>
                <a:lnTo>
                  <a:pt x="199" y="1458"/>
                </a:lnTo>
                <a:lnTo>
                  <a:pt x="198" y="1458"/>
                </a:lnTo>
                <a:lnTo>
                  <a:pt x="196" y="1458"/>
                </a:lnTo>
                <a:lnTo>
                  <a:pt x="194" y="1458"/>
                </a:lnTo>
                <a:lnTo>
                  <a:pt x="192" y="1457"/>
                </a:lnTo>
                <a:lnTo>
                  <a:pt x="191" y="1455"/>
                </a:lnTo>
                <a:lnTo>
                  <a:pt x="189" y="1455"/>
                </a:lnTo>
                <a:lnTo>
                  <a:pt x="187" y="1455"/>
                </a:lnTo>
                <a:lnTo>
                  <a:pt x="187" y="1453"/>
                </a:lnTo>
                <a:lnTo>
                  <a:pt x="186" y="1453"/>
                </a:lnTo>
                <a:lnTo>
                  <a:pt x="184" y="1453"/>
                </a:lnTo>
                <a:lnTo>
                  <a:pt x="181" y="1451"/>
                </a:lnTo>
                <a:lnTo>
                  <a:pt x="179" y="1450"/>
                </a:lnTo>
                <a:lnTo>
                  <a:pt x="177" y="1448"/>
                </a:lnTo>
                <a:lnTo>
                  <a:pt x="177" y="1446"/>
                </a:lnTo>
                <a:lnTo>
                  <a:pt x="174" y="1445"/>
                </a:lnTo>
                <a:lnTo>
                  <a:pt x="172" y="1443"/>
                </a:lnTo>
                <a:lnTo>
                  <a:pt x="172" y="1441"/>
                </a:lnTo>
                <a:lnTo>
                  <a:pt x="170" y="1438"/>
                </a:lnTo>
                <a:lnTo>
                  <a:pt x="169" y="1438"/>
                </a:lnTo>
                <a:lnTo>
                  <a:pt x="167" y="1436"/>
                </a:lnTo>
                <a:lnTo>
                  <a:pt x="165" y="1434"/>
                </a:lnTo>
                <a:lnTo>
                  <a:pt x="164" y="1434"/>
                </a:lnTo>
                <a:lnTo>
                  <a:pt x="162" y="1433"/>
                </a:lnTo>
                <a:lnTo>
                  <a:pt x="160" y="1433"/>
                </a:lnTo>
                <a:lnTo>
                  <a:pt x="158" y="1431"/>
                </a:lnTo>
                <a:lnTo>
                  <a:pt x="157" y="1431"/>
                </a:lnTo>
                <a:lnTo>
                  <a:pt x="155" y="1429"/>
                </a:lnTo>
                <a:lnTo>
                  <a:pt x="153" y="1428"/>
                </a:lnTo>
                <a:lnTo>
                  <a:pt x="153" y="1426"/>
                </a:lnTo>
                <a:lnTo>
                  <a:pt x="152" y="1424"/>
                </a:lnTo>
                <a:lnTo>
                  <a:pt x="150" y="1421"/>
                </a:lnTo>
                <a:lnTo>
                  <a:pt x="150" y="1419"/>
                </a:lnTo>
                <a:lnTo>
                  <a:pt x="148" y="1416"/>
                </a:lnTo>
                <a:lnTo>
                  <a:pt x="148" y="1414"/>
                </a:lnTo>
                <a:lnTo>
                  <a:pt x="147" y="1412"/>
                </a:lnTo>
                <a:lnTo>
                  <a:pt x="145" y="1411"/>
                </a:lnTo>
                <a:lnTo>
                  <a:pt x="145" y="1407"/>
                </a:lnTo>
                <a:lnTo>
                  <a:pt x="143" y="1406"/>
                </a:lnTo>
                <a:lnTo>
                  <a:pt x="141" y="1404"/>
                </a:lnTo>
                <a:lnTo>
                  <a:pt x="140" y="1400"/>
                </a:lnTo>
                <a:lnTo>
                  <a:pt x="138" y="1399"/>
                </a:lnTo>
                <a:lnTo>
                  <a:pt x="136" y="1397"/>
                </a:lnTo>
                <a:lnTo>
                  <a:pt x="135" y="1394"/>
                </a:lnTo>
                <a:lnTo>
                  <a:pt x="133" y="1392"/>
                </a:lnTo>
                <a:lnTo>
                  <a:pt x="131" y="1392"/>
                </a:lnTo>
                <a:lnTo>
                  <a:pt x="130" y="1392"/>
                </a:lnTo>
                <a:lnTo>
                  <a:pt x="130" y="1394"/>
                </a:lnTo>
                <a:lnTo>
                  <a:pt x="126" y="1392"/>
                </a:lnTo>
                <a:lnTo>
                  <a:pt x="123" y="1392"/>
                </a:lnTo>
                <a:lnTo>
                  <a:pt x="121" y="1392"/>
                </a:lnTo>
                <a:lnTo>
                  <a:pt x="119" y="1390"/>
                </a:lnTo>
                <a:lnTo>
                  <a:pt x="119" y="1389"/>
                </a:lnTo>
                <a:lnTo>
                  <a:pt x="118" y="1387"/>
                </a:lnTo>
                <a:lnTo>
                  <a:pt x="116" y="1387"/>
                </a:lnTo>
                <a:lnTo>
                  <a:pt x="113" y="1387"/>
                </a:lnTo>
                <a:lnTo>
                  <a:pt x="111" y="1385"/>
                </a:lnTo>
                <a:lnTo>
                  <a:pt x="109" y="1385"/>
                </a:lnTo>
                <a:lnTo>
                  <a:pt x="107" y="1383"/>
                </a:lnTo>
                <a:lnTo>
                  <a:pt x="106" y="1383"/>
                </a:lnTo>
                <a:lnTo>
                  <a:pt x="104" y="1383"/>
                </a:lnTo>
                <a:lnTo>
                  <a:pt x="104" y="1382"/>
                </a:lnTo>
                <a:lnTo>
                  <a:pt x="102" y="1380"/>
                </a:lnTo>
                <a:lnTo>
                  <a:pt x="99" y="1382"/>
                </a:lnTo>
                <a:lnTo>
                  <a:pt x="99" y="1380"/>
                </a:lnTo>
                <a:lnTo>
                  <a:pt x="97" y="1380"/>
                </a:lnTo>
                <a:lnTo>
                  <a:pt x="96" y="1380"/>
                </a:lnTo>
                <a:lnTo>
                  <a:pt x="92" y="1378"/>
                </a:lnTo>
                <a:lnTo>
                  <a:pt x="90" y="1378"/>
                </a:lnTo>
                <a:lnTo>
                  <a:pt x="89" y="1377"/>
                </a:lnTo>
                <a:lnTo>
                  <a:pt x="92" y="1375"/>
                </a:lnTo>
                <a:lnTo>
                  <a:pt x="92" y="1373"/>
                </a:lnTo>
                <a:lnTo>
                  <a:pt x="96" y="1370"/>
                </a:lnTo>
                <a:lnTo>
                  <a:pt x="97" y="1372"/>
                </a:lnTo>
                <a:lnTo>
                  <a:pt x="97" y="1370"/>
                </a:lnTo>
                <a:lnTo>
                  <a:pt x="94" y="1368"/>
                </a:lnTo>
                <a:lnTo>
                  <a:pt x="94" y="1366"/>
                </a:lnTo>
                <a:lnTo>
                  <a:pt x="96" y="1366"/>
                </a:lnTo>
                <a:lnTo>
                  <a:pt x="97" y="1363"/>
                </a:lnTo>
                <a:lnTo>
                  <a:pt x="99" y="1361"/>
                </a:lnTo>
                <a:lnTo>
                  <a:pt x="101" y="1361"/>
                </a:lnTo>
                <a:lnTo>
                  <a:pt x="101" y="1365"/>
                </a:lnTo>
                <a:lnTo>
                  <a:pt x="101" y="1366"/>
                </a:lnTo>
                <a:lnTo>
                  <a:pt x="101" y="1368"/>
                </a:lnTo>
                <a:lnTo>
                  <a:pt x="101" y="1370"/>
                </a:lnTo>
                <a:lnTo>
                  <a:pt x="104" y="1372"/>
                </a:lnTo>
                <a:lnTo>
                  <a:pt x="106" y="1370"/>
                </a:lnTo>
                <a:lnTo>
                  <a:pt x="107" y="1370"/>
                </a:lnTo>
                <a:lnTo>
                  <a:pt x="109" y="1370"/>
                </a:lnTo>
                <a:lnTo>
                  <a:pt x="111" y="1372"/>
                </a:lnTo>
                <a:lnTo>
                  <a:pt x="114" y="1372"/>
                </a:lnTo>
                <a:lnTo>
                  <a:pt x="116" y="1372"/>
                </a:lnTo>
                <a:lnTo>
                  <a:pt x="119" y="1372"/>
                </a:lnTo>
                <a:lnTo>
                  <a:pt x="118" y="1370"/>
                </a:lnTo>
                <a:lnTo>
                  <a:pt x="119" y="1370"/>
                </a:lnTo>
                <a:lnTo>
                  <a:pt x="118" y="1368"/>
                </a:lnTo>
                <a:lnTo>
                  <a:pt x="119" y="1368"/>
                </a:lnTo>
                <a:lnTo>
                  <a:pt x="121" y="1368"/>
                </a:lnTo>
                <a:lnTo>
                  <a:pt x="121" y="1370"/>
                </a:lnTo>
                <a:lnTo>
                  <a:pt x="119" y="1368"/>
                </a:lnTo>
                <a:lnTo>
                  <a:pt x="119" y="1370"/>
                </a:lnTo>
                <a:lnTo>
                  <a:pt x="123" y="1370"/>
                </a:lnTo>
                <a:lnTo>
                  <a:pt x="121" y="1368"/>
                </a:lnTo>
                <a:lnTo>
                  <a:pt x="123" y="1370"/>
                </a:lnTo>
                <a:lnTo>
                  <a:pt x="121" y="1368"/>
                </a:lnTo>
                <a:lnTo>
                  <a:pt x="121" y="1366"/>
                </a:lnTo>
                <a:lnTo>
                  <a:pt x="121" y="1365"/>
                </a:lnTo>
                <a:lnTo>
                  <a:pt x="119" y="1365"/>
                </a:lnTo>
                <a:lnTo>
                  <a:pt x="121" y="1365"/>
                </a:lnTo>
                <a:lnTo>
                  <a:pt x="121" y="1366"/>
                </a:lnTo>
                <a:lnTo>
                  <a:pt x="123" y="1366"/>
                </a:lnTo>
                <a:lnTo>
                  <a:pt x="124" y="1366"/>
                </a:lnTo>
                <a:lnTo>
                  <a:pt x="124" y="1370"/>
                </a:lnTo>
                <a:lnTo>
                  <a:pt x="126" y="1370"/>
                </a:lnTo>
                <a:lnTo>
                  <a:pt x="124" y="1368"/>
                </a:lnTo>
                <a:lnTo>
                  <a:pt x="126" y="1368"/>
                </a:lnTo>
                <a:lnTo>
                  <a:pt x="126" y="1366"/>
                </a:lnTo>
                <a:lnTo>
                  <a:pt x="128" y="1368"/>
                </a:lnTo>
                <a:lnTo>
                  <a:pt x="130" y="1368"/>
                </a:lnTo>
                <a:lnTo>
                  <a:pt x="128" y="1366"/>
                </a:lnTo>
                <a:lnTo>
                  <a:pt x="131" y="1366"/>
                </a:lnTo>
                <a:lnTo>
                  <a:pt x="130" y="1365"/>
                </a:lnTo>
                <a:lnTo>
                  <a:pt x="128" y="1365"/>
                </a:lnTo>
                <a:lnTo>
                  <a:pt x="128" y="1363"/>
                </a:lnTo>
                <a:lnTo>
                  <a:pt x="126" y="1361"/>
                </a:lnTo>
                <a:lnTo>
                  <a:pt x="128" y="1361"/>
                </a:lnTo>
                <a:lnTo>
                  <a:pt x="130" y="1360"/>
                </a:lnTo>
                <a:lnTo>
                  <a:pt x="131" y="1358"/>
                </a:lnTo>
                <a:lnTo>
                  <a:pt x="133" y="1358"/>
                </a:lnTo>
                <a:lnTo>
                  <a:pt x="135" y="1356"/>
                </a:lnTo>
                <a:lnTo>
                  <a:pt x="136" y="1358"/>
                </a:lnTo>
                <a:lnTo>
                  <a:pt x="138" y="1358"/>
                </a:lnTo>
                <a:lnTo>
                  <a:pt x="136" y="1356"/>
                </a:lnTo>
                <a:lnTo>
                  <a:pt x="140" y="1356"/>
                </a:lnTo>
                <a:lnTo>
                  <a:pt x="140" y="1358"/>
                </a:lnTo>
                <a:lnTo>
                  <a:pt x="141" y="1358"/>
                </a:lnTo>
                <a:lnTo>
                  <a:pt x="143" y="1360"/>
                </a:lnTo>
                <a:lnTo>
                  <a:pt x="147" y="1360"/>
                </a:lnTo>
                <a:lnTo>
                  <a:pt x="145" y="1358"/>
                </a:lnTo>
                <a:lnTo>
                  <a:pt x="143" y="1358"/>
                </a:lnTo>
                <a:lnTo>
                  <a:pt x="141" y="1356"/>
                </a:lnTo>
                <a:lnTo>
                  <a:pt x="140" y="1354"/>
                </a:lnTo>
                <a:lnTo>
                  <a:pt x="138" y="1354"/>
                </a:lnTo>
                <a:lnTo>
                  <a:pt x="136" y="1354"/>
                </a:lnTo>
                <a:lnTo>
                  <a:pt x="135" y="1354"/>
                </a:lnTo>
                <a:lnTo>
                  <a:pt x="131" y="1356"/>
                </a:lnTo>
                <a:lnTo>
                  <a:pt x="130" y="1356"/>
                </a:lnTo>
                <a:lnTo>
                  <a:pt x="128" y="1356"/>
                </a:lnTo>
                <a:lnTo>
                  <a:pt x="126" y="1356"/>
                </a:lnTo>
                <a:lnTo>
                  <a:pt x="124" y="1354"/>
                </a:lnTo>
                <a:lnTo>
                  <a:pt x="123" y="1354"/>
                </a:lnTo>
                <a:lnTo>
                  <a:pt x="124" y="1353"/>
                </a:lnTo>
                <a:lnTo>
                  <a:pt x="126" y="1353"/>
                </a:lnTo>
                <a:lnTo>
                  <a:pt x="128" y="1351"/>
                </a:lnTo>
                <a:lnTo>
                  <a:pt x="128" y="1353"/>
                </a:lnTo>
                <a:lnTo>
                  <a:pt x="130" y="1353"/>
                </a:lnTo>
                <a:lnTo>
                  <a:pt x="131" y="1353"/>
                </a:lnTo>
                <a:lnTo>
                  <a:pt x="131" y="1351"/>
                </a:lnTo>
                <a:lnTo>
                  <a:pt x="131" y="1353"/>
                </a:lnTo>
                <a:lnTo>
                  <a:pt x="131" y="1351"/>
                </a:lnTo>
                <a:lnTo>
                  <a:pt x="130" y="1351"/>
                </a:lnTo>
                <a:lnTo>
                  <a:pt x="128" y="1351"/>
                </a:lnTo>
                <a:lnTo>
                  <a:pt x="128" y="1349"/>
                </a:lnTo>
                <a:lnTo>
                  <a:pt x="128" y="1348"/>
                </a:lnTo>
                <a:lnTo>
                  <a:pt x="130" y="1348"/>
                </a:lnTo>
                <a:lnTo>
                  <a:pt x="130" y="1346"/>
                </a:lnTo>
                <a:lnTo>
                  <a:pt x="130" y="1348"/>
                </a:lnTo>
                <a:lnTo>
                  <a:pt x="130" y="1346"/>
                </a:lnTo>
                <a:lnTo>
                  <a:pt x="133" y="1344"/>
                </a:lnTo>
                <a:lnTo>
                  <a:pt x="133" y="1343"/>
                </a:lnTo>
                <a:lnTo>
                  <a:pt x="133" y="1344"/>
                </a:lnTo>
                <a:lnTo>
                  <a:pt x="135" y="1344"/>
                </a:lnTo>
                <a:lnTo>
                  <a:pt x="135" y="1343"/>
                </a:lnTo>
                <a:lnTo>
                  <a:pt x="136" y="1343"/>
                </a:lnTo>
                <a:lnTo>
                  <a:pt x="138" y="1344"/>
                </a:lnTo>
                <a:lnTo>
                  <a:pt x="138" y="1343"/>
                </a:lnTo>
                <a:lnTo>
                  <a:pt x="140" y="1341"/>
                </a:lnTo>
                <a:lnTo>
                  <a:pt x="138" y="1341"/>
                </a:lnTo>
                <a:lnTo>
                  <a:pt x="136" y="1341"/>
                </a:lnTo>
                <a:lnTo>
                  <a:pt x="135" y="1343"/>
                </a:lnTo>
                <a:lnTo>
                  <a:pt x="135" y="1341"/>
                </a:lnTo>
                <a:lnTo>
                  <a:pt x="133" y="1343"/>
                </a:lnTo>
                <a:lnTo>
                  <a:pt x="131" y="1341"/>
                </a:lnTo>
                <a:lnTo>
                  <a:pt x="130" y="1341"/>
                </a:lnTo>
                <a:lnTo>
                  <a:pt x="128" y="1344"/>
                </a:lnTo>
                <a:lnTo>
                  <a:pt x="128" y="1343"/>
                </a:lnTo>
                <a:lnTo>
                  <a:pt x="126" y="1344"/>
                </a:lnTo>
                <a:lnTo>
                  <a:pt x="126" y="1343"/>
                </a:lnTo>
                <a:lnTo>
                  <a:pt x="124" y="1343"/>
                </a:lnTo>
                <a:lnTo>
                  <a:pt x="126" y="1341"/>
                </a:lnTo>
                <a:lnTo>
                  <a:pt x="126" y="1339"/>
                </a:lnTo>
                <a:lnTo>
                  <a:pt x="124" y="1341"/>
                </a:lnTo>
                <a:lnTo>
                  <a:pt x="124" y="1339"/>
                </a:lnTo>
                <a:lnTo>
                  <a:pt x="124" y="1341"/>
                </a:lnTo>
                <a:lnTo>
                  <a:pt x="126" y="1339"/>
                </a:lnTo>
                <a:lnTo>
                  <a:pt x="126" y="1337"/>
                </a:lnTo>
                <a:lnTo>
                  <a:pt x="124" y="1336"/>
                </a:lnTo>
                <a:lnTo>
                  <a:pt x="126" y="1336"/>
                </a:lnTo>
                <a:lnTo>
                  <a:pt x="126" y="1334"/>
                </a:lnTo>
                <a:lnTo>
                  <a:pt x="124" y="1336"/>
                </a:lnTo>
                <a:lnTo>
                  <a:pt x="123" y="1334"/>
                </a:lnTo>
                <a:lnTo>
                  <a:pt x="124" y="1332"/>
                </a:lnTo>
                <a:lnTo>
                  <a:pt x="126" y="1331"/>
                </a:lnTo>
                <a:lnTo>
                  <a:pt x="124" y="1331"/>
                </a:lnTo>
                <a:lnTo>
                  <a:pt x="124" y="1329"/>
                </a:lnTo>
                <a:lnTo>
                  <a:pt x="124" y="1327"/>
                </a:lnTo>
                <a:lnTo>
                  <a:pt x="126" y="1329"/>
                </a:lnTo>
                <a:lnTo>
                  <a:pt x="128" y="1327"/>
                </a:lnTo>
                <a:lnTo>
                  <a:pt x="128" y="1326"/>
                </a:lnTo>
                <a:lnTo>
                  <a:pt x="126" y="1326"/>
                </a:lnTo>
                <a:lnTo>
                  <a:pt x="124" y="1327"/>
                </a:lnTo>
                <a:lnTo>
                  <a:pt x="128" y="1326"/>
                </a:lnTo>
                <a:lnTo>
                  <a:pt x="128" y="1324"/>
                </a:lnTo>
                <a:lnTo>
                  <a:pt x="128" y="1326"/>
                </a:lnTo>
                <a:lnTo>
                  <a:pt x="130" y="1324"/>
                </a:lnTo>
                <a:lnTo>
                  <a:pt x="131" y="1322"/>
                </a:lnTo>
                <a:lnTo>
                  <a:pt x="130" y="1320"/>
                </a:lnTo>
                <a:lnTo>
                  <a:pt x="128" y="1320"/>
                </a:lnTo>
                <a:lnTo>
                  <a:pt x="130" y="1319"/>
                </a:lnTo>
                <a:lnTo>
                  <a:pt x="128" y="1319"/>
                </a:lnTo>
                <a:lnTo>
                  <a:pt x="130" y="1319"/>
                </a:lnTo>
                <a:lnTo>
                  <a:pt x="130" y="1317"/>
                </a:lnTo>
                <a:lnTo>
                  <a:pt x="130" y="1319"/>
                </a:lnTo>
                <a:lnTo>
                  <a:pt x="128" y="1317"/>
                </a:lnTo>
                <a:lnTo>
                  <a:pt x="126" y="1317"/>
                </a:lnTo>
                <a:lnTo>
                  <a:pt x="124" y="1317"/>
                </a:lnTo>
                <a:lnTo>
                  <a:pt x="124" y="1319"/>
                </a:lnTo>
                <a:lnTo>
                  <a:pt x="123" y="1317"/>
                </a:lnTo>
                <a:lnTo>
                  <a:pt x="121" y="1315"/>
                </a:lnTo>
                <a:lnTo>
                  <a:pt x="123" y="1317"/>
                </a:lnTo>
                <a:lnTo>
                  <a:pt x="121" y="1315"/>
                </a:lnTo>
                <a:lnTo>
                  <a:pt x="123" y="1314"/>
                </a:lnTo>
                <a:lnTo>
                  <a:pt x="119" y="1314"/>
                </a:lnTo>
                <a:lnTo>
                  <a:pt x="121" y="1317"/>
                </a:lnTo>
                <a:lnTo>
                  <a:pt x="119" y="1314"/>
                </a:lnTo>
                <a:lnTo>
                  <a:pt x="118" y="1312"/>
                </a:lnTo>
                <a:lnTo>
                  <a:pt x="116" y="1312"/>
                </a:lnTo>
                <a:lnTo>
                  <a:pt x="114" y="1310"/>
                </a:lnTo>
                <a:lnTo>
                  <a:pt x="113" y="1310"/>
                </a:lnTo>
                <a:lnTo>
                  <a:pt x="111" y="1309"/>
                </a:lnTo>
                <a:lnTo>
                  <a:pt x="109" y="1309"/>
                </a:lnTo>
                <a:lnTo>
                  <a:pt x="109" y="1307"/>
                </a:lnTo>
                <a:lnTo>
                  <a:pt x="107" y="1305"/>
                </a:lnTo>
                <a:lnTo>
                  <a:pt x="104" y="1303"/>
                </a:lnTo>
                <a:lnTo>
                  <a:pt x="102" y="1305"/>
                </a:lnTo>
                <a:lnTo>
                  <a:pt x="101" y="1305"/>
                </a:lnTo>
                <a:lnTo>
                  <a:pt x="101" y="1303"/>
                </a:lnTo>
                <a:lnTo>
                  <a:pt x="97" y="1302"/>
                </a:lnTo>
                <a:lnTo>
                  <a:pt x="96" y="1303"/>
                </a:lnTo>
                <a:lnTo>
                  <a:pt x="94" y="1305"/>
                </a:lnTo>
                <a:lnTo>
                  <a:pt x="92" y="1305"/>
                </a:lnTo>
                <a:lnTo>
                  <a:pt x="90" y="1303"/>
                </a:lnTo>
                <a:lnTo>
                  <a:pt x="89" y="1303"/>
                </a:lnTo>
                <a:lnTo>
                  <a:pt x="87" y="1302"/>
                </a:lnTo>
                <a:lnTo>
                  <a:pt x="87" y="1300"/>
                </a:lnTo>
                <a:lnTo>
                  <a:pt x="87" y="1298"/>
                </a:lnTo>
                <a:lnTo>
                  <a:pt x="87" y="1297"/>
                </a:lnTo>
                <a:lnTo>
                  <a:pt x="87" y="1295"/>
                </a:lnTo>
                <a:lnTo>
                  <a:pt x="87" y="1293"/>
                </a:lnTo>
                <a:lnTo>
                  <a:pt x="87" y="1290"/>
                </a:lnTo>
                <a:lnTo>
                  <a:pt x="89" y="1292"/>
                </a:lnTo>
                <a:lnTo>
                  <a:pt x="90" y="1292"/>
                </a:lnTo>
                <a:lnTo>
                  <a:pt x="92" y="1290"/>
                </a:lnTo>
                <a:lnTo>
                  <a:pt x="94" y="1292"/>
                </a:lnTo>
                <a:lnTo>
                  <a:pt x="96" y="1293"/>
                </a:lnTo>
                <a:lnTo>
                  <a:pt x="97" y="1295"/>
                </a:lnTo>
                <a:lnTo>
                  <a:pt x="99" y="1297"/>
                </a:lnTo>
                <a:lnTo>
                  <a:pt x="101" y="1295"/>
                </a:lnTo>
                <a:lnTo>
                  <a:pt x="102" y="1295"/>
                </a:lnTo>
                <a:lnTo>
                  <a:pt x="104" y="1295"/>
                </a:lnTo>
                <a:lnTo>
                  <a:pt x="106" y="1295"/>
                </a:lnTo>
                <a:lnTo>
                  <a:pt x="109" y="1295"/>
                </a:lnTo>
                <a:lnTo>
                  <a:pt x="109" y="1297"/>
                </a:lnTo>
                <a:lnTo>
                  <a:pt x="107" y="1297"/>
                </a:lnTo>
                <a:lnTo>
                  <a:pt x="109" y="1298"/>
                </a:lnTo>
                <a:lnTo>
                  <a:pt x="109" y="1297"/>
                </a:lnTo>
                <a:lnTo>
                  <a:pt x="109" y="1298"/>
                </a:lnTo>
                <a:lnTo>
                  <a:pt x="111" y="1300"/>
                </a:lnTo>
                <a:lnTo>
                  <a:pt x="113" y="1298"/>
                </a:lnTo>
                <a:lnTo>
                  <a:pt x="113" y="1297"/>
                </a:lnTo>
                <a:lnTo>
                  <a:pt x="113" y="1295"/>
                </a:lnTo>
                <a:lnTo>
                  <a:pt x="114" y="1295"/>
                </a:lnTo>
                <a:lnTo>
                  <a:pt x="116" y="1295"/>
                </a:lnTo>
                <a:lnTo>
                  <a:pt x="118" y="1297"/>
                </a:lnTo>
                <a:lnTo>
                  <a:pt x="116" y="1297"/>
                </a:lnTo>
                <a:lnTo>
                  <a:pt x="114" y="1298"/>
                </a:lnTo>
                <a:lnTo>
                  <a:pt x="113" y="1298"/>
                </a:lnTo>
                <a:lnTo>
                  <a:pt x="114" y="1300"/>
                </a:lnTo>
                <a:lnTo>
                  <a:pt x="114" y="1302"/>
                </a:lnTo>
                <a:lnTo>
                  <a:pt x="114" y="1300"/>
                </a:lnTo>
                <a:lnTo>
                  <a:pt x="116" y="1298"/>
                </a:lnTo>
                <a:lnTo>
                  <a:pt x="118" y="1300"/>
                </a:lnTo>
                <a:lnTo>
                  <a:pt x="116" y="1302"/>
                </a:lnTo>
                <a:lnTo>
                  <a:pt x="118" y="1302"/>
                </a:lnTo>
                <a:lnTo>
                  <a:pt x="118" y="1298"/>
                </a:lnTo>
                <a:lnTo>
                  <a:pt x="119" y="1297"/>
                </a:lnTo>
                <a:lnTo>
                  <a:pt x="121" y="1298"/>
                </a:lnTo>
                <a:lnTo>
                  <a:pt x="121" y="1300"/>
                </a:lnTo>
                <a:lnTo>
                  <a:pt x="123" y="1298"/>
                </a:lnTo>
                <a:lnTo>
                  <a:pt x="123" y="1300"/>
                </a:lnTo>
                <a:lnTo>
                  <a:pt x="124" y="1298"/>
                </a:lnTo>
                <a:lnTo>
                  <a:pt x="126" y="1300"/>
                </a:lnTo>
                <a:lnTo>
                  <a:pt x="128" y="1298"/>
                </a:lnTo>
                <a:lnTo>
                  <a:pt x="126" y="1298"/>
                </a:lnTo>
                <a:lnTo>
                  <a:pt x="124" y="1297"/>
                </a:lnTo>
                <a:lnTo>
                  <a:pt x="126" y="1298"/>
                </a:lnTo>
                <a:lnTo>
                  <a:pt x="128" y="1297"/>
                </a:lnTo>
                <a:lnTo>
                  <a:pt x="130" y="1297"/>
                </a:lnTo>
                <a:lnTo>
                  <a:pt x="128" y="1298"/>
                </a:lnTo>
                <a:lnTo>
                  <a:pt x="130" y="1297"/>
                </a:lnTo>
                <a:lnTo>
                  <a:pt x="130" y="1298"/>
                </a:lnTo>
                <a:lnTo>
                  <a:pt x="126" y="1300"/>
                </a:lnTo>
                <a:lnTo>
                  <a:pt x="128" y="1300"/>
                </a:lnTo>
                <a:lnTo>
                  <a:pt x="130" y="1300"/>
                </a:lnTo>
                <a:lnTo>
                  <a:pt x="128" y="1302"/>
                </a:lnTo>
                <a:lnTo>
                  <a:pt x="130" y="1303"/>
                </a:lnTo>
                <a:lnTo>
                  <a:pt x="130" y="1305"/>
                </a:lnTo>
                <a:lnTo>
                  <a:pt x="130" y="1302"/>
                </a:lnTo>
                <a:lnTo>
                  <a:pt x="131" y="1300"/>
                </a:lnTo>
                <a:lnTo>
                  <a:pt x="135" y="1300"/>
                </a:lnTo>
                <a:lnTo>
                  <a:pt x="135" y="1302"/>
                </a:lnTo>
                <a:lnTo>
                  <a:pt x="136" y="1302"/>
                </a:lnTo>
                <a:lnTo>
                  <a:pt x="138" y="1302"/>
                </a:lnTo>
                <a:lnTo>
                  <a:pt x="140" y="1302"/>
                </a:lnTo>
                <a:lnTo>
                  <a:pt x="140" y="1303"/>
                </a:lnTo>
                <a:lnTo>
                  <a:pt x="141" y="1305"/>
                </a:lnTo>
                <a:lnTo>
                  <a:pt x="141" y="1307"/>
                </a:lnTo>
                <a:lnTo>
                  <a:pt x="145" y="1307"/>
                </a:lnTo>
                <a:lnTo>
                  <a:pt x="147" y="1307"/>
                </a:lnTo>
                <a:lnTo>
                  <a:pt x="148" y="1309"/>
                </a:lnTo>
                <a:lnTo>
                  <a:pt x="150" y="1310"/>
                </a:lnTo>
                <a:lnTo>
                  <a:pt x="152" y="1312"/>
                </a:lnTo>
                <a:lnTo>
                  <a:pt x="153" y="1312"/>
                </a:lnTo>
                <a:lnTo>
                  <a:pt x="155" y="1310"/>
                </a:lnTo>
                <a:lnTo>
                  <a:pt x="153" y="1309"/>
                </a:lnTo>
                <a:lnTo>
                  <a:pt x="155" y="1307"/>
                </a:lnTo>
                <a:lnTo>
                  <a:pt x="157" y="1307"/>
                </a:lnTo>
                <a:lnTo>
                  <a:pt x="158" y="1305"/>
                </a:lnTo>
                <a:lnTo>
                  <a:pt x="160" y="1303"/>
                </a:lnTo>
                <a:lnTo>
                  <a:pt x="160" y="1302"/>
                </a:lnTo>
                <a:lnTo>
                  <a:pt x="160" y="1300"/>
                </a:lnTo>
                <a:lnTo>
                  <a:pt x="158" y="1300"/>
                </a:lnTo>
                <a:lnTo>
                  <a:pt x="157" y="1302"/>
                </a:lnTo>
                <a:lnTo>
                  <a:pt x="155" y="1302"/>
                </a:lnTo>
                <a:lnTo>
                  <a:pt x="153" y="1303"/>
                </a:lnTo>
                <a:lnTo>
                  <a:pt x="152" y="1303"/>
                </a:lnTo>
                <a:lnTo>
                  <a:pt x="148" y="1303"/>
                </a:lnTo>
                <a:lnTo>
                  <a:pt x="147" y="1302"/>
                </a:lnTo>
                <a:lnTo>
                  <a:pt x="145" y="1300"/>
                </a:lnTo>
                <a:lnTo>
                  <a:pt x="143" y="1298"/>
                </a:lnTo>
                <a:lnTo>
                  <a:pt x="141" y="1297"/>
                </a:lnTo>
                <a:lnTo>
                  <a:pt x="141" y="1295"/>
                </a:lnTo>
                <a:lnTo>
                  <a:pt x="138" y="1295"/>
                </a:lnTo>
                <a:lnTo>
                  <a:pt x="140" y="1295"/>
                </a:lnTo>
                <a:lnTo>
                  <a:pt x="138" y="1295"/>
                </a:lnTo>
                <a:lnTo>
                  <a:pt x="136" y="1293"/>
                </a:lnTo>
                <a:lnTo>
                  <a:pt x="138" y="1292"/>
                </a:lnTo>
                <a:lnTo>
                  <a:pt x="138" y="1293"/>
                </a:lnTo>
                <a:lnTo>
                  <a:pt x="140" y="1292"/>
                </a:lnTo>
                <a:lnTo>
                  <a:pt x="138" y="1293"/>
                </a:lnTo>
                <a:lnTo>
                  <a:pt x="140" y="1293"/>
                </a:lnTo>
                <a:lnTo>
                  <a:pt x="140" y="1292"/>
                </a:lnTo>
                <a:lnTo>
                  <a:pt x="138" y="1292"/>
                </a:lnTo>
                <a:lnTo>
                  <a:pt x="140" y="1292"/>
                </a:lnTo>
                <a:lnTo>
                  <a:pt x="141" y="1290"/>
                </a:lnTo>
                <a:lnTo>
                  <a:pt x="143" y="1290"/>
                </a:lnTo>
                <a:lnTo>
                  <a:pt x="145" y="1288"/>
                </a:lnTo>
                <a:lnTo>
                  <a:pt x="147" y="1288"/>
                </a:lnTo>
                <a:lnTo>
                  <a:pt x="150" y="1288"/>
                </a:lnTo>
                <a:lnTo>
                  <a:pt x="152" y="1288"/>
                </a:lnTo>
                <a:lnTo>
                  <a:pt x="153" y="1286"/>
                </a:lnTo>
                <a:lnTo>
                  <a:pt x="157" y="1286"/>
                </a:lnTo>
                <a:lnTo>
                  <a:pt x="160" y="1286"/>
                </a:lnTo>
                <a:lnTo>
                  <a:pt x="160" y="1285"/>
                </a:lnTo>
                <a:lnTo>
                  <a:pt x="160" y="1286"/>
                </a:lnTo>
                <a:lnTo>
                  <a:pt x="160" y="1285"/>
                </a:lnTo>
                <a:lnTo>
                  <a:pt x="162" y="1285"/>
                </a:lnTo>
                <a:lnTo>
                  <a:pt x="164" y="1283"/>
                </a:lnTo>
                <a:lnTo>
                  <a:pt x="164" y="1286"/>
                </a:lnTo>
                <a:lnTo>
                  <a:pt x="167" y="1286"/>
                </a:lnTo>
                <a:lnTo>
                  <a:pt x="169" y="1285"/>
                </a:lnTo>
                <a:lnTo>
                  <a:pt x="167" y="1285"/>
                </a:lnTo>
                <a:lnTo>
                  <a:pt x="167" y="1286"/>
                </a:lnTo>
                <a:lnTo>
                  <a:pt x="167" y="1285"/>
                </a:lnTo>
                <a:lnTo>
                  <a:pt x="165" y="1285"/>
                </a:lnTo>
                <a:lnTo>
                  <a:pt x="164" y="1283"/>
                </a:lnTo>
                <a:lnTo>
                  <a:pt x="162" y="1283"/>
                </a:lnTo>
                <a:lnTo>
                  <a:pt x="164" y="1281"/>
                </a:lnTo>
                <a:lnTo>
                  <a:pt x="164" y="1278"/>
                </a:lnTo>
                <a:lnTo>
                  <a:pt x="162" y="1278"/>
                </a:lnTo>
                <a:lnTo>
                  <a:pt x="160" y="1280"/>
                </a:lnTo>
                <a:lnTo>
                  <a:pt x="160" y="1278"/>
                </a:lnTo>
                <a:lnTo>
                  <a:pt x="160" y="1276"/>
                </a:lnTo>
                <a:lnTo>
                  <a:pt x="160" y="1275"/>
                </a:lnTo>
                <a:lnTo>
                  <a:pt x="160" y="1278"/>
                </a:lnTo>
                <a:lnTo>
                  <a:pt x="158" y="1278"/>
                </a:lnTo>
                <a:lnTo>
                  <a:pt x="157" y="1280"/>
                </a:lnTo>
                <a:lnTo>
                  <a:pt x="155" y="1280"/>
                </a:lnTo>
                <a:lnTo>
                  <a:pt x="153" y="1280"/>
                </a:lnTo>
                <a:lnTo>
                  <a:pt x="155" y="1280"/>
                </a:lnTo>
                <a:lnTo>
                  <a:pt x="153" y="1278"/>
                </a:lnTo>
                <a:lnTo>
                  <a:pt x="153" y="1276"/>
                </a:lnTo>
                <a:lnTo>
                  <a:pt x="152" y="1275"/>
                </a:lnTo>
                <a:lnTo>
                  <a:pt x="153" y="1273"/>
                </a:lnTo>
                <a:lnTo>
                  <a:pt x="157" y="1275"/>
                </a:lnTo>
                <a:lnTo>
                  <a:pt x="158" y="1275"/>
                </a:lnTo>
                <a:lnTo>
                  <a:pt x="160" y="1273"/>
                </a:lnTo>
                <a:lnTo>
                  <a:pt x="162" y="1271"/>
                </a:lnTo>
                <a:lnTo>
                  <a:pt x="164" y="1271"/>
                </a:lnTo>
                <a:lnTo>
                  <a:pt x="160" y="1271"/>
                </a:lnTo>
                <a:lnTo>
                  <a:pt x="158" y="1273"/>
                </a:lnTo>
                <a:lnTo>
                  <a:pt x="157" y="1273"/>
                </a:lnTo>
                <a:lnTo>
                  <a:pt x="153" y="1273"/>
                </a:lnTo>
                <a:lnTo>
                  <a:pt x="157" y="1271"/>
                </a:lnTo>
                <a:lnTo>
                  <a:pt x="157" y="1269"/>
                </a:lnTo>
                <a:lnTo>
                  <a:pt x="157" y="1271"/>
                </a:lnTo>
                <a:lnTo>
                  <a:pt x="153" y="1271"/>
                </a:lnTo>
                <a:lnTo>
                  <a:pt x="153" y="1269"/>
                </a:lnTo>
                <a:lnTo>
                  <a:pt x="152" y="1271"/>
                </a:lnTo>
                <a:lnTo>
                  <a:pt x="150" y="1271"/>
                </a:lnTo>
                <a:lnTo>
                  <a:pt x="152" y="1268"/>
                </a:lnTo>
                <a:lnTo>
                  <a:pt x="152" y="1266"/>
                </a:lnTo>
                <a:lnTo>
                  <a:pt x="152" y="1264"/>
                </a:lnTo>
                <a:lnTo>
                  <a:pt x="152" y="1263"/>
                </a:lnTo>
                <a:lnTo>
                  <a:pt x="150" y="1266"/>
                </a:lnTo>
                <a:lnTo>
                  <a:pt x="150" y="1268"/>
                </a:lnTo>
                <a:lnTo>
                  <a:pt x="148" y="1269"/>
                </a:lnTo>
                <a:lnTo>
                  <a:pt x="148" y="1268"/>
                </a:lnTo>
                <a:lnTo>
                  <a:pt x="150" y="1266"/>
                </a:lnTo>
                <a:lnTo>
                  <a:pt x="150" y="1263"/>
                </a:lnTo>
                <a:lnTo>
                  <a:pt x="148" y="1263"/>
                </a:lnTo>
                <a:lnTo>
                  <a:pt x="148" y="1266"/>
                </a:lnTo>
                <a:lnTo>
                  <a:pt x="147" y="1268"/>
                </a:lnTo>
                <a:lnTo>
                  <a:pt x="147" y="1269"/>
                </a:lnTo>
                <a:lnTo>
                  <a:pt x="145" y="1268"/>
                </a:lnTo>
                <a:lnTo>
                  <a:pt x="145" y="1266"/>
                </a:lnTo>
                <a:lnTo>
                  <a:pt x="147" y="1264"/>
                </a:lnTo>
                <a:lnTo>
                  <a:pt x="148" y="1263"/>
                </a:lnTo>
                <a:lnTo>
                  <a:pt x="148" y="1261"/>
                </a:lnTo>
                <a:lnTo>
                  <a:pt x="147" y="1261"/>
                </a:lnTo>
                <a:lnTo>
                  <a:pt x="147" y="1259"/>
                </a:lnTo>
                <a:lnTo>
                  <a:pt x="145" y="1261"/>
                </a:lnTo>
                <a:lnTo>
                  <a:pt x="145" y="1264"/>
                </a:lnTo>
                <a:lnTo>
                  <a:pt x="145" y="1266"/>
                </a:lnTo>
                <a:lnTo>
                  <a:pt x="143" y="1268"/>
                </a:lnTo>
                <a:lnTo>
                  <a:pt x="143" y="1269"/>
                </a:lnTo>
                <a:lnTo>
                  <a:pt x="143" y="1268"/>
                </a:lnTo>
                <a:lnTo>
                  <a:pt x="141" y="1268"/>
                </a:lnTo>
                <a:lnTo>
                  <a:pt x="143" y="1268"/>
                </a:lnTo>
                <a:lnTo>
                  <a:pt x="141" y="1266"/>
                </a:lnTo>
                <a:lnTo>
                  <a:pt x="140" y="1264"/>
                </a:lnTo>
                <a:lnTo>
                  <a:pt x="141" y="1264"/>
                </a:lnTo>
                <a:lnTo>
                  <a:pt x="141" y="1263"/>
                </a:lnTo>
                <a:lnTo>
                  <a:pt x="145" y="1263"/>
                </a:lnTo>
                <a:lnTo>
                  <a:pt x="143" y="1261"/>
                </a:lnTo>
                <a:lnTo>
                  <a:pt x="143" y="1259"/>
                </a:lnTo>
                <a:lnTo>
                  <a:pt x="143" y="1261"/>
                </a:lnTo>
                <a:lnTo>
                  <a:pt x="140" y="1263"/>
                </a:lnTo>
                <a:lnTo>
                  <a:pt x="140" y="1261"/>
                </a:lnTo>
                <a:lnTo>
                  <a:pt x="140" y="1259"/>
                </a:lnTo>
                <a:lnTo>
                  <a:pt x="140" y="1261"/>
                </a:lnTo>
                <a:lnTo>
                  <a:pt x="138" y="1263"/>
                </a:lnTo>
                <a:lnTo>
                  <a:pt x="136" y="1263"/>
                </a:lnTo>
                <a:lnTo>
                  <a:pt x="135" y="1263"/>
                </a:lnTo>
                <a:lnTo>
                  <a:pt x="135" y="1261"/>
                </a:lnTo>
                <a:lnTo>
                  <a:pt x="133" y="1261"/>
                </a:lnTo>
                <a:lnTo>
                  <a:pt x="135" y="1258"/>
                </a:lnTo>
                <a:lnTo>
                  <a:pt x="133" y="1258"/>
                </a:lnTo>
                <a:lnTo>
                  <a:pt x="131" y="1259"/>
                </a:lnTo>
                <a:lnTo>
                  <a:pt x="131" y="1263"/>
                </a:lnTo>
                <a:lnTo>
                  <a:pt x="130" y="1263"/>
                </a:lnTo>
                <a:lnTo>
                  <a:pt x="128" y="1263"/>
                </a:lnTo>
                <a:lnTo>
                  <a:pt x="126" y="1261"/>
                </a:lnTo>
                <a:lnTo>
                  <a:pt x="124" y="1259"/>
                </a:lnTo>
                <a:lnTo>
                  <a:pt x="124" y="1261"/>
                </a:lnTo>
                <a:lnTo>
                  <a:pt x="123" y="1259"/>
                </a:lnTo>
                <a:lnTo>
                  <a:pt x="123" y="1261"/>
                </a:lnTo>
                <a:lnTo>
                  <a:pt x="119" y="1259"/>
                </a:lnTo>
                <a:lnTo>
                  <a:pt x="118" y="1259"/>
                </a:lnTo>
                <a:lnTo>
                  <a:pt x="116" y="1259"/>
                </a:lnTo>
                <a:lnTo>
                  <a:pt x="114" y="1261"/>
                </a:lnTo>
                <a:lnTo>
                  <a:pt x="113" y="1261"/>
                </a:lnTo>
                <a:lnTo>
                  <a:pt x="109" y="1259"/>
                </a:lnTo>
                <a:lnTo>
                  <a:pt x="107" y="1258"/>
                </a:lnTo>
                <a:lnTo>
                  <a:pt x="107" y="1256"/>
                </a:lnTo>
                <a:lnTo>
                  <a:pt x="107" y="1254"/>
                </a:lnTo>
                <a:lnTo>
                  <a:pt x="107" y="1256"/>
                </a:lnTo>
                <a:lnTo>
                  <a:pt x="109" y="1254"/>
                </a:lnTo>
                <a:lnTo>
                  <a:pt x="106" y="1252"/>
                </a:lnTo>
                <a:lnTo>
                  <a:pt x="107" y="1254"/>
                </a:lnTo>
                <a:lnTo>
                  <a:pt x="106" y="1252"/>
                </a:lnTo>
                <a:lnTo>
                  <a:pt x="104" y="1249"/>
                </a:lnTo>
                <a:lnTo>
                  <a:pt x="102" y="1249"/>
                </a:lnTo>
                <a:lnTo>
                  <a:pt x="99" y="1247"/>
                </a:lnTo>
                <a:lnTo>
                  <a:pt x="97" y="1247"/>
                </a:lnTo>
                <a:lnTo>
                  <a:pt x="96" y="1246"/>
                </a:lnTo>
                <a:lnTo>
                  <a:pt x="96" y="1244"/>
                </a:lnTo>
                <a:lnTo>
                  <a:pt x="97" y="1244"/>
                </a:lnTo>
                <a:lnTo>
                  <a:pt x="99" y="1244"/>
                </a:lnTo>
                <a:lnTo>
                  <a:pt x="101" y="1244"/>
                </a:lnTo>
                <a:lnTo>
                  <a:pt x="102" y="1241"/>
                </a:lnTo>
                <a:lnTo>
                  <a:pt x="104" y="1241"/>
                </a:lnTo>
                <a:lnTo>
                  <a:pt x="106" y="1239"/>
                </a:lnTo>
                <a:lnTo>
                  <a:pt x="107" y="1241"/>
                </a:lnTo>
                <a:lnTo>
                  <a:pt x="107" y="1242"/>
                </a:lnTo>
                <a:lnTo>
                  <a:pt x="107" y="1246"/>
                </a:lnTo>
                <a:lnTo>
                  <a:pt x="109" y="1246"/>
                </a:lnTo>
                <a:lnTo>
                  <a:pt x="109" y="1247"/>
                </a:lnTo>
                <a:lnTo>
                  <a:pt x="113" y="1249"/>
                </a:lnTo>
                <a:lnTo>
                  <a:pt x="113" y="1251"/>
                </a:lnTo>
                <a:lnTo>
                  <a:pt x="113" y="1252"/>
                </a:lnTo>
                <a:lnTo>
                  <a:pt x="116" y="1252"/>
                </a:lnTo>
                <a:lnTo>
                  <a:pt x="113" y="1251"/>
                </a:lnTo>
                <a:lnTo>
                  <a:pt x="113" y="1247"/>
                </a:lnTo>
                <a:lnTo>
                  <a:pt x="113" y="1246"/>
                </a:lnTo>
                <a:lnTo>
                  <a:pt x="111" y="1246"/>
                </a:lnTo>
                <a:lnTo>
                  <a:pt x="113" y="1246"/>
                </a:lnTo>
                <a:lnTo>
                  <a:pt x="111" y="1246"/>
                </a:lnTo>
                <a:lnTo>
                  <a:pt x="111" y="1242"/>
                </a:lnTo>
                <a:lnTo>
                  <a:pt x="113" y="1242"/>
                </a:lnTo>
                <a:lnTo>
                  <a:pt x="114" y="1242"/>
                </a:lnTo>
                <a:lnTo>
                  <a:pt x="116" y="1244"/>
                </a:lnTo>
                <a:lnTo>
                  <a:pt x="116" y="1246"/>
                </a:lnTo>
                <a:lnTo>
                  <a:pt x="118" y="1247"/>
                </a:lnTo>
                <a:lnTo>
                  <a:pt x="118" y="1249"/>
                </a:lnTo>
                <a:lnTo>
                  <a:pt x="118" y="1246"/>
                </a:lnTo>
                <a:lnTo>
                  <a:pt x="116" y="1246"/>
                </a:lnTo>
                <a:lnTo>
                  <a:pt x="116" y="1244"/>
                </a:lnTo>
                <a:lnTo>
                  <a:pt x="114" y="1241"/>
                </a:lnTo>
                <a:lnTo>
                  <a:pt x="114" y="1239"/>
                </a:lnTo>
                <a:lnTo>
                  <a:pt x="114" y="1235"/>
                </a:lnTo>
                <a:lnTo>
                  <a:pt x="114" y="1234"/>
                </a:lnTo>
                <a:lnTo>
                  <a:pt x="114" y="1232"/>
                </a:lnTo>
                <a:lnTo>
                  <a:pt x="116" y="1230"/>
                </a:lnTo>
                <a:lnTo>
                  <a:pt x="118" y="1232"/>
                </a:lnTo>
                <a:lnTo>
                  <a:pt x="119" y="1234"/>
                </a:lnTo>
                <a:lnTo>
                  <a:pt x="119" y="1237"/>
                </a:lnTo>
                <a:lnTo>
                  <a:pt x="121" y="1237"/>
                </a:lnTo>
                <a:lnTo>
                  <a:pt x="121" y="1239"/>
                </a:lnTo>
                <a:lnTo>
                  <a:pt x="123" y="1242"/>
                </a:lnTo>
                <a:lnTo>
                  <a:pt x="126" y="1244"/>
                </a:lnTo>
                <a:lnTo>
                  <a:pt x="124" y="1246"/>
                </a:lnTo>
                <a:lnTo>
                  <a:pt x="126" y="1246"/>
                </a:lnTo>
                <a:lnTo>
                  <a:pt x="126" y="1249"/>
                </a:lnTo>
                <a:lnTo>
                  <a:pt x="124" y="1249"/>
                </a:lnTo>
                <a:lnTo>
                  <a:pt x="124" y="1252"/>
                </a:lnTo>
                <a:lnTo>
                  <a:pt x="126" y="1249"/>
                </a:lnTo>
                <a:lnTo>
                  <a:pt x="126" y="1251"/>
                </a:lnTo>
                <a:lnTo>
                  <a:pt x="128" y="1251"/>
                </a:lnTo>
                <a:lnTo>
                  <a:pt x="128" y="1252"/>
                </a:lnTo>
                <a:lnTo>
                  <a:pt x="130" y="1252"/>
                </a:lnTo>
                <a:lnTo>
                  <a:pt x="130" y="1251"/>
                </a:lnTo>
                <a:lnTo>
                  <a:pt x="133" y="1251"/>
                </a:lnTo>
                <a:lnTo>
                  <a:pt x="135" y="1251"/>
                </a:lnTo>
                <a:lnTo>
                  <a:pt x="131" y="1249"/>
                </a:lnTo>
                <a:lnTo>
                  <a:pt x="130" y="1247"/>
                </a:lnTo>
                <a:lnTo>
                  <a:pt x="128" y="1247"/>
                </a:lnTo>
                <a:lnTo>
                  <a:pt x="128" y="1244"/>
                </a:lnTo>
                <a:lnTo>
                  <a:pt x="130" y="1244"/>
                </a:lnTo>
                <a:lnTo>
                  <a:pt x="133" y="1246"/>
                </a:lnTo>
                <a:lnTo>
                  <a:pt x="135" y="1246"/>
                </a:lnTo>
                <a:lnTo>
                  <a:pt x="136" y="1246"/>
                </a:lnTo>
                <a:lnTo>
                  <a:pt x="136" y="1247"/>
                </a:lnTo>
                <a:lnTo>
                  <a:pt x="138" y="1246"/>
                </a:lnTo>
                <a:lnTo>
                  <a:pt x="140" y="1246"/>
                </a:lnTo>
                <a:lnTo>
                  <a:pt x="138" y="1244"/>
                </a:lnTo>
                <a:lnTo>
                  <a:pt x="136" y="1244"/>
                </a:lnTo>
                <a:lnTo>
                  <a:pt x="135" y="1244"/>
                </a:lnTo>
                <a:lnTo>
                  <a:pt x="133" y="1244"/>
                </a:lnTo>
                <a:lnTo>
                  <a:pt x="130" y="1242"/>
                </a:lnTo>
                <a:lnTo>
                  <a:pt x="128" y="1241"/>
                </a:lnTo>
                <a:lnTo>
                  <a:pt x="126" y="1239"/>
                </a:lnTo>
                <a:lnTo>
                  <a:pt x="124" y="1237"/>
                </a:lnTo>
                <a:lnTo>
                  <a:pt x="124" y="1235"/>
                </a:lnTo>
                <a:lnTo>
                  <a:pt x="124" y="1234"/>
                </a:lnTo>
                <a:lnTo>
                  <a:pt x="124" y="1232"/>
                </a:lnTo>
                <a:lnTo>
                  <a:pt x="124" y="1229"/>
                </a:lnTo>
                <a:lnTo>
                  <a:pt x="128" y="1227"/>
                </a:lnTo>
                <a:lnTo>
                  <a:pt x="130" y="1229"/>
                </a:lnTo>
                <a:lnTo>
                  <a:pt x="131" y="1230"/>
                </a:lnTo>
                <a:lnTo>
                  <a:pt x="131" y="1232"/>
                </a:lnTo>
                <a:lnTo>
                  <a:pt x="131" y="1234"/>
                </a:lnTo>
                <a:lnTo>
                  <a:pt x="135" y="1234"/>
                </a:lnTo>
                <a:lnTo>
                  <a:pt x="135" y="1237"/>
                </a:lnTo>
                <a:lnTo>
                  <a:pt x="136" y="1237"/>
                </a:lnTo>
                <a:lnTo>
                  <a:pt x="138" y="1239"/>
                </a:lnTo>
                <a:lnTo>
                  <a:pt x="140" y="1241"/>
                </a:lnTo>
                <a:lnTo>
                  <a:pt x="141" y="1241"/>
                </a:lnTo>
                <a:lnTo>
                  <a:pt x="140" y="1239"/>
                </a:lnTo>
                <a:lnTo>
                  <a:pt x="138" y="1239"/>
                </a:lnTo>
                <a:lnTo>
                  <a:pt x="138" y="1237"/>
                </a:lnTo>
                <a:lnTo>
                  <a:pt x="136" y="1235"/>
                </a:lnTo>
                <a:lnTo>
                  <a:pt x="135" y="1234"/>
                </a:lnTo>
                <a:lnTo>
                  <a:pt x="133" y="1232"/>
                </a:lnTo>
                <a:lnTo>
                  <a:pt x="133" y="1230"/>
                </a:lnTo>
                <a:lnTo>
                  <a:pt x="133" y="1229"/>
                </a:lnTo>
                <a:lnTo>
                  <a:pt x="131" y="1227"/>
                </a:lnTo>
                <a:lnTo>
                  <a:pt x="131" y="1224"/>
                </a:lnTo>
                <a:lnTo>
                  <a:pt x="131" y="1222"/>
                </a:lnTo>
                <a:lnTo>
                  <a:pt x="130" y="1222"/>
                </a:lnTo>
                <a:lnTo>
                  <a:pt x="131" y="1220"/>
                </a:lnTo>
                <a:lnTo>
                  <a:pt x="133" y="1218"/>
                </a:lnTo>
                <a:lnTo>
                  <a:pt x="136" y="1220"/>
                </a:lnTo>
                <a:lnTo>
                  <a:pt x="136" y="1222"/>
                </a:lnTo>
                <a:lnTo>
                  <a:pt x="138" y="1224"/>
                </a:lnTo>
                <a:lnTo>
                  <a:pt x="140" y="1225"/>
                </a:lnTo>
                <a:lnTo>
                  <a:pt x="140" y="1227"/>
                </a:lnTo>
                <a:lnTo>
                  <a:pt x="141" y="1225"/>
                </a:lnTo>
                <a:lnTo>
                  <a:pt x="140" y="1229"/>
                </a:lnTo>
                <a:lnTo>
                  <a:pt x="141" y="1230"/>
                </a:lnTo>
                <a:lnTo>
                  <a:pt x="141" y="1229"/>
                </a:lnTo>
                <a:lnTo>
                  <a:pt x="141" y="1225"/>
                </a:lnTo>
                <a:lnTo>
                  <a:pt x="140" y="1224"/>
                </a:lnTo>
                <a:lnTo>
                  <a:pt x="138" y="1220"/>
                </a:lnTo>
                <a:lnTo>
                  <a:pt x="138" y="1218"/>
                </a:lnTo>
                <a:lnTo>
                  <a:pt x="138" y="1217"/>
                </a:lnTo>
                <a:lnTo>
                  <a:pt x="140" y="1218"/>
                </a:lnTo>
                <a:lnTo>
                  <a:pt x="141" y="1217"/>
                </a:lnTo>
                <a:lnTo>
                  <a:pt x="143" y="1218"/>
                </a:lnTo>
                <a:lnTo>
                  <a:pt x="143" y="1222"/>
                </a:lnTo>
                <a:lnTo>
                  <a:pt x="145" y="1224"/>
                </a:lnTo>
                <a:lnTo>
                  <a:pt x="143" y="1220"/>
                </a:lnTo>
                <a:lnTo>
                  <a:pt x="143" y="1218"/>
                </a:lnTo>
                <a:lnTo>
                  <a:pt x="141" y="1217"/>
                </a:lnTo>
                <a:lnTo>
                  <a:pt x="140" y="1217"/>
                </a:lnTo>
                <a:lnTo>
                  <a:pt x="143" y="1215"/>
                </a:lnTo>
                <a:lnTo>
                  <a:pt x="145" y="1215"/>
                </a:lnTo>
                <a:lnTo>
                  <a:pt x="147" y="1215"/>
                </a:lnTo>
                <a:lnTo>
                  <a:pt x="148" y="1217"/>
                </a:lnTo>
                <a:lnTo>
                  <a:pt x="150" y="1218"/>
                </a:lnTo>
                <a:lnTo>
                  <a:pt x="150" y="1220"/>
                </a:lnTo>
                <a:lnTo>
                  <a:pt x="152" y="1222"/>
                </a:lnTo>
                <a:lnTo>
                  <a:pt x="152" y="1225"/>
                </a:lnTo>
                <a:lnTo>
                  <a:pt x="150" y="1227"/>
                </a:lnTo>
                <a:lnTo>
                  <a:pt x="148" y="1227"/>
                </a:lnTo>
                <a:lnTo>
                  <a:pt x="148" y="1229"/>
                </a:lnTo>
                <a:lnTo>
                  <a:pt x="148" y="1227"/>
                </a:lnTo>
                <a:lnTo>
                  <a:pt x="150" y="1227"/>
                </a:lnTo>
                <a:lnTo>
                  <a:pt x="153" y="1227"/>
                </a:lnTo>
                <a:lnTo>
                  <a:pt x="153" y="1229"/>
                </a:lnTo>
                <a:lnTo>
                  <a:pt x="153" y="1230"/>
                </a:lnTo>
                <a:lnTo>
                  <a:pt x="152" y="1232"/>
                </a:lnTo>
                <a:lnTo>
                  <a:pt x="150" y="1232"/>
                </a:lnTo>
                <a:lnTo>
                  <a:pt x="148" y="1234"/>
                </a:lnTo>
                <a:lnTo>
                  <a:pt x="150" y="1235"/>
                </a:lnTo>
                <a:lnTo>
                  <a:pt x="150" y="1234"/>
                </a:lnTo>
                <a:lnTo>
                  <a:pt x="152" y="1234"/>
                </a:lnTo>
                <a:lnTo>
                  <a:pt x="155" y="1230"/>
                </a:lnTo>
                <a:lnTo>
                  <a:pt x="153" y="1234"/>
                </a:lnTo>
                <a:lnTo>
                  <a:pt x="152" y="1235"/>
                </a:lnTo>
                <a:lnTo>
                  <a:pt x="153" y="1235"/>
                </a:lnTo>
                <a:lnTo>
                  <a:pt x="155" y="1234"/>
                </a:lnTo>
                <a:lnTo>
                  <a:pt x="155" y="1232"/>
                </a:lnTo>
                <a:lnTo>
                  <a:pt x="157" y="1232"/>
                </a:lnTo>
                <a:lnTo>
                  <a:pt x="155" y="1234"/>
                </a:lnTo>
                <a:lnTo>
                  <a:pt x="153" y="1237"/>
                </a:lnTo>
                <a:lnTo>
                  <a:pt x="152" y="1237"/>
                </a:lnTo>
                <a:lnTo>
                  <a:pt x="150" y="1239"/>
                </a:lnTo>
                <a:lnTo>
                  <a:pt x="148" y="1239"/>
                </a:lnTo>
                <a:lnTo>
                  <a:pt x="152" y="1239"/>
                </a:lnTo>
                <a:lnTo>
                  <a:pt x="153" y="1237"/>
                </a:lnTo>
                <a:lnTo>
                  <a:pt x="155" y="1235"/>
                </a:lnTo>
                <a:lnTo>
                  <a:pt x="155" y="1237"/>
                </a:lnTo>
                <a:lnTo>
                  <a:pt x="155" y="1239"/>
                </a:lnTo>
                <a:lnTo>
                  <a:pt x="152" y="1241"/>
                </a:lnTo>
                <a:lnTo>
                  <a:pt x="152" y="1242"/>
                </a:lnTo>
                <a:lnTo>
                  <a:pt x="155" y="1241"/>
                </a:lnTo>
                <a:lnTo>
                  <a:pt x="155" y="1239"/>
                </a:lnTo>
                <a:lnTo>
                  <a:pt x="157" y="1237"/>
                </a:lnTo>
                <a:lnTo>
                  <a:pt x="157" y="1235"/>
                </a:lnTo>
                <a:lnTo>
                  <a:pt x="158" y="1234"/>
                </a:lnTo>
                <a:lnTo>
                  <a:pt x="160" y="1232"/>
                </a:lnTo>
                <a:lnTo>
                  <a:pt x="160" y="1234"/>
                </a:lnTo>
                <a:lnTo>
                  <a:pt x="162" y="1234"/>
                </a:lnTo>
                <a:lnTo>
                  <a:pt x="160" y="1235"/>
                </a:lnTo>
                <a:lnTo>
                  <a:pt x="162" y="1237"/>
                </a:lnTo>
                <a:lnTo>
                  <a:pt x="162" y="1241"/>
                </a:lnTo>
                <a:lnTo>
                  <a:pt x="160" y="1242"/>
                </a:lnTo>
                <a:lnTo>
                  <a:pt x="160" y="1244"/>
                </a:lnTo>
                <a:lnTo>
                  <a:pt x="158" y="1246"/>
                </a:lnTo>
                <a:lnTo>
                  <a:pt x="157" y="1247"/>
                </a:lnTo>
                <a:lnTo>
                  <a:pt x="155" y="1249"/>
                </a:lnTo>
                <a:lnTo>
                  <a:pt x="157" y="1247"/>
                </a:lnTo>
                <a:lnTo>
                  <a:pt x="158" y="1246"/>
                </a:lnTo>
                <a:lnTo>
                  <a:pt x="160" y="1244"/>
                </a:lnTo>
                <a:lnTo>
                  <a:pt x="162" y="1242"/>
                </a:lnTo>
                <a:lnTo>
                  <a:pt x="164" y="1241"/>
                </a:lnTo>
                <a:lnTo>
                  <a:pt x="164" y="1244"/>
                </a:lnTo>
                <a:lnTo>
                  <a:pt x="164" y="1246"/>
                </a:lnTo>
                <a:lnTo>
                  <a:pt x="162" y="1247"/>
                </a:lnTo>
                <a:lnTo>
                  <a:pt x="164" y="1246"/>
                </a:lnTo>
                <a:lnTo>
                  <a:pt x="164" y="1247"/>
                </a:lnTo>
                <a:lnTo>
                  <a:pt x="162" y="1249"/>
                </a:lnTo>
                <a:lnTo>
                  <a:pt x="158" y="1251"/>
                </a:lnTo>
                <a:lnTo>
                  <a:pt x="157" y="1252"/>
                </a:lnTo>
                <a:lnTo>
                  <a:pt x="155" y="1252"/>
                </a:lnTo>
                <a:lnTo>
                  <a:pt x="157" y="1252"/>
                </a:lnTo>
                <a:lnTo>
                  <a:pt x="158" y="1252"/>
                </a:lnTo>
                <a:lnTo>
                  <a:pt x="160" y="1251"/>
                </a:lnTo>
                <a:lnTo>
                  <a:pt x="162" y="1251"/>
                </a:lnTo>
                <a:lnTo>
                  <a:pt x="162" y="1249"/>
                </a:lnTo>
                <a:lnTo>
                  <a:pt x="164" y="1249"/>
                </a:lnTo>
                <a:lnTo>
                  <a:pt x="165" y="1247"/>
                </a:lnTo>
                <a:lnTo>
                  <a:pt x="165" y="1246"/>
                </a:lnTo>
                <a:lnTo>
                  <a:pt x="167" y="1242"/>
                </a:lnTo>
                <a:lnTo>
                  <a:pt x="167" y="1241"/>
                </a:lnTo>
                <a:lnTo>
                  <a:pt x="165" y="1239"/>
                </a:lnTo>
                <a:lnTo>
                  <a:pt x="165" y="1237"/>
                </a:lnTo>
                <a:lnTo>
                  <a:pt x="167" y="1235"/>
                </a:lnTo>
                <a:lnTo>
                  <a:pt x="170" y="1235"/>
                </a:lnTo>
                <a:lnTo>
                  <a:pt x="169" y="1235"/>
                </a:lnTo>
                <a:lnTo>
                  <a:pt x="167" y="1234"/>
                </a:lnTo>
                <a:lnTo>
                  <a:pt x="165" y="1232"/>
                </a:lnTo>
                <a:lnTo>
                  <a:pt x="164" y="1230"/>
                </a:lnTo>
                <a:lnTo>
                  <a:pt x="164" y="1229"/>
                </a:lnTo>
                <a:lnTo>
                  <a:pt x="162" y="1227"/>
                </a:lnTo>
                <a:lnTo>
                  <a:pt x="160" y="1225"/>
                </a:lnTo>
                <a:lnTo>
                  <a:pt x="160" y="1224"/>
                </a:lnTo>
                <a:lnTo>
                  <a:pt x="158" y="1222"/>
                </a:lnTo>
                <a:lnTo>
                  <a:pt x="158" y="1220"/>
                </a:lnTo>
                <a:lnTo>
                  <a:pt x="158" y="1218"/>
                </a:lnTo>
                <a:lnTo>
                  <a:pt x="162" y="1218"/>
                </a:lnTo>
                <a:lnTo>
                  <a:pt x="164" y="1218"/>
                </a:lnTo>
                <a:lnTo>
                  <a:pt x="165" y="1218"/>
                </a:lnTo>
                <a:lnTo>
                  <a:pt x="167" y="1222"/>
                </a:lnTo>
                <a:lnTo>
                  <a:pt x="169" y="1222"/>
                </a:lnTo>
                <a:lnTo>
                  <a:pt x="170" y="1225"/>
                </a:lnTo>
                <a:lnTo>
                  <a:pt x="170" y="1224"/>
                </a:lnTo>
                <a:lnTo>
                  <a:pt x="172" y="1224"/>
                </a:lnTo>
                <a:lnTo>
                  <a:pt x="174" y="1224"/>
                </a:lnTo>
                <a:lnTo>
                  <a:pt x="177" y="1224"/>
                </a:lnTo>
                <a:lnTo>
                  <a:pt x="175" y="1224"/>
                </a:lnTo>
                <a:lnTo>
                  <a:pt x="174" y="1222"/>
                </a:lnTo>
                <a:lnTo>
                  <a:pt x="170" y="1222"/>
                </a:lnTo>
                <a:lnTo>
                  <a:pt x="172" y="1220"/>
                </a:lnTo>
                <a:lnTo>
                  <a:pt x="174" y="1220"/>
                </a:lnTo>
                <a:lnTo>
                  <a:pt x="175" y="1220"/>
                </a:lnTo>
                <a:lnTo>
                  <a:pt x="175" y="1218"/>
                </a:lnTo>
                <a:lnTo>
                  <a:pt x="174" y="1218"/>
                </a:lnTo>
                <a:lnTo>
                  <a:pt x="174" y="1220"/>
                </a:lnTo>
                <a:lnTo>
                  <a:pt x="172" y="1220"/>
                </a:lnTo>
                <a:lnTo>
                  <a:pt x="169" y="1218"/>
                </a:lnTo>
                <a:lnTo>
                  <a:pt x="169" y="1217"/>
                </a:lnTo>
                <a:lnTo>
                  <a:pt x="170" y="1217"/>
                </a:lnTo>
                <a:lnTo>
                  <a:pt x="170" y="1215"/>
                </a:lnTo>
                <a:lnTo>
                  <a:pt x="174" y="1215"/>
                </a:lnTo>
                <a:lnTo>
                  <a:pt x="170" y="1213"/>
                </a:lnTo>
                <a:lnTo>
                  <a:pt x="169" y="1215"/>
                </a:lnTo>
                <a:lnTo>
                  <a:pt x="165" y="1215"/>
                </a:lnTo>
                <a:lnTo>
                  <a:pt x="167" y="1213"/>
                </a:lnTo>
                <a:lnTo>
                  <a:pt x="169" y="1212"/>
                </a:lnTo>
                <a:lnTo>
                  <a:pt x="165" y="1213"/>
                </a:lnTo>
                <a:lnTo>
                  <a:pt x="164" y="1215"/>
                </a:lnTo>
                <a:lnTo>
                  <a:pt x="162" y="1215"/>
                </a:lnTo>
                <a:lnTo>
                  <a:pt x="160" y="1213"/>
                </a:lnTo>
                <a:lnTo>
                  <a:pt x="158" y="1212"/>
                </a:lnTo>
                <a:lnTo>
                  <a:pt x="158" y="1210"/>
                </a:lnTo>
                <a:lnTo>
                  <a:pt x="157" y="1208"/>
                </a:lnTo>
                <a:lnTo>
                  <a:pt x="158" y="1208"/>
                </a:lnTo>
                <a:lnTo>
                  <a:pt x="160" y="1210"/>
                </a:lnTo>
                <a:lnTo>
                  <a:pt x="162" y="1210"/>
                </a:lnTo>
                <a:lnTo>
                  <a:pt x="164" y="1208"/>
                </a:lnTo>
                <a:lnTo>
                  <a:pt x="162" y="1206"/>
                </a:lnTo>
                <a:lnTo>
                  <a:pt x="162" y="1205"/>
                </a:lnTo>
                <a:lnTo>
                  <a:pt x="162" y="1203"/>
                </a:lnTo>
                <a:lnTo>
                  <a:pt x="164" y="1205"/>
                </a:lnTo>
                <a:lnTo>
                  <a:pt x="165" y="1205"/>
                </a:lnTo>
                <a:lnTo>
                  <a:pt x="167" y="1205"/>
                </a:lnTo>
                <a:lnTo>
                  <a:pt x="169" y="1203"/>
                </a:lnTo>
                <a:lnTo>
                  <a:pt x="170" y="1205"/>
                </a:lnTo>
                <a:lnTo>
                  <a:pt x="170" y="1206"/>
                </a:lnTo>
                <a:lnTo>
                  <a:pt x="172" y="1208"/>
                </a:lnTo>
                <a:lnTo>
                  <a:pt x="172" y="1210"/>
                </a:lnTo>
                <a:lnTo>
                  <a:pt x="175" y="1210"/>
                </a:lnTo>
                <a:lnTo>
                  <a:pt x="175" y="1208"/>
                </a:lnTo>
                <a:lnTo>
                  <a:pt x="177" y="1208"/>
                </a:lnTo>
                <a:lnTo>
                  <a:pt x="177" y="1212"/>
                </a:lnTo>
                <a:lnTo>
                  <a:pt x="179" y="1212"/>
                </a:lnTo>
                <a:lnTo>
                  <a:pt x="181" y="1210"/>
                </a:lnTo>
                <a:lnTo>
                  <a:pt x="181" y="1212"/>
                </a:lnTo>
                <a:lnTo>
                  <a:pt x="181" y="1215"/>
                </a:lnTo>
                <a:lnTo>
                  <a:pt x="182" y="1218"/>
                </a:lnTo>
                <a:lnTo>
                  <a:pt x="182" y="1222"/>
                </a:lnTo>
                <a:lnTo>
                  <a:pt x="184" y="1222"/>
                </a:lnTo>
                <a:lnTo>
                  <a:pt x="181" y="1222"/>
                </a:lnTo>
                <a:lnTo>
                  <a:pt x="182" y="1224"/>
                </a:lnTo>
                <a:lnTo>
                  <a:pt x="181" y="1225"/>
                </a:lnTo>
                <a:lnTo>
                  <a:pt x="182" y="1225"/>
                </a:lnTo>
                <a:lnTo>
                  <a:pt x="182" y="1229"/>
                </a:lnTo>
                <a:lnTo>
                  <a:pt x="184" y="1225"/>
                </a:lnTo>
                <a:lnTo>
                  <a:pt x="184" y="1229"/>
                </a:lnTo>
                <a:lnTo>
                  <a:pt x="186" y="1229"/>
                </a:lnTo>
                <a:lnTo>
                  <a:pt x="187" y="1229"/>
                </a:lnTo>
                <a:lnTo>
                  <a:pt x="186" y="1230"/>
                </a:lnTo>
                <a:lnTo>
                  <a:pt x="187" y="1230"/>
                </a:lnTo>
                <a:lnTo>
                  <a:pt x="186" y="1232"/>
                </a:lnTo>
                <a:lnTo>
                  <a:pt x="184" y="1234"/>
                </a:lnTo>
                <a:lnTo>
                  <a:pt x="187" y="1234"/>
                </a:lnTo>
                <a:lnTo>
                  <a:pt x="187" y="1235"/>
                </a:lnTo>
                <a:lnTo>
                  <a:pt x="189" y="1237"/>
                </a:lnTo>
                <a:lnTo>
                  <a:pt x="191" y="1237"/>
                </a:lnTo>
                <a:lnTo>
                  <a:pt x="189" y="1239"/>
                </a:lnTo>
                <a:lnTo>
                  <a:pt x="187" y="1241"/>
                </a:lnTo>
                <a:lnTo>
                  <a:pt x="189" y="1242"/>
                </a:lnTo>
                <a:lnTo>
                  <a:pt x="187" y="1244"/>
                </a:lnTo>
                <a:lnTo>
                  <a:pt x="187" y="1246"/>
                </a:lnTo>
                <a:lnTo>
                  <a:pt x="187" y="1247"/>
                </a:lnTo>
                <a:lnTo>
                  <a:pt x="189" y="1246"/>
                </a:lnTo>
                <a:lnTo>
                  <a:pt x="189" y="1247"/>
                </a:lnTo>
                <a:lnTo>
                  <a:pt x="187" y="1249"/>
                </a:lnTo>
                <a:lnTo>
                  <a:pt x="189" y="1249"/>
                </a:lnTo>
                <a:lnTo>
                  <a:pt x="189" y="1246"/>
                </a:lnTo>
                <a:lnTo>
                  <a:pt x="191" y="1246"/>
                </a:lnTo>
                <a:lnTo>
                  <a:pt x="192" y="1246"/>
                </a:lnTo>
                <a:lnTo>
                  <a:pt x="192" y="1249"/>
                </a:lnTo>
                <a:lnTo>
                  <a:pt x="191" y="1249"/>
                </a:lnTo>
                <a:lnTo>
                  <a:pt x="191" y="1251"/>
                </a:lnTo>
                <a:lnTo>
                  <a:pt x="192" y="1251"/>
                </a:lnTo>
                <a:lnTo>
                  <a:pt x="194" y="1251"/>
                </a:lnTo>
                <a:lnTo>
                  <a:pt x="196" y="1254"/>
                </a:lnTo>
                <a:lnTo>
                  <a:pt x="196" y="1256"/>
                </a:lnTo>
                <a:lnTo>
                  <a:pt x="192" y="1254"/>
                </a:lnTo>
                <a:lnTo>
                  <a:pt x="191" y="1254"/>
                </a:lnTo>
                <a:lnTo>
                  <a:pt x="189" y="1254"/>
                </a:lnTo>
                <a:lnTo>
                  <a:pt x="187" y="1254"/>
                </a:lnTo>
                <a:lnTo>
                  <a:pt x="189" y="1254"/>
                </a:lnTo>
                <a:lnTo>
                  <a:pt x="191" y="1256"/>
                </a:lnTo>
                <a:lnTo>
                  <a:pt x="192" y="1256"/>
                </a:lnTo>
                <a:lnTo>
                  <a:pt x="192" y="1258"/>
                </a:lnTo>
                <a:lnTo>
                  <a:pt x="191" y="1258"/>
                </a:lnTo>
                <a:lnTo>
                  <a:pt x="192" y="1258"/>
                </a:lnTo>
                <a:lnTo>
                  <a:pt x="194" y="1258"/>
                </a:lnTo>
                <a:lnTo>
                  <a:pt x="194" y="1259"/>
                </a:lnTo>
                <a:lnTo>
                  <a:pt x="194" y="1261"/>
                </a:lnTo>
                <a:lnTo>
                  <a:pt x="192" y="1263"/>
                </a:lnTo>
                <a:lnTo>
                  <a:pt x="192" y="1264"/>
                </a:lnTo>
                <a:lnTo>
                  <a:pt x="191" y="1266"/>
                </a:lnTo>
                <a:lnTo>
                  <a:pt x="189" y="1268"/>
                </a:lnTo>
                <a:lnTo>
                  <a:pt x="187" y="1268"/>
                </a:lnTo>
                <a:lnTo>
                  <a:pt x="186" y="1268"/>
                </a:lnTo>
                <a:lnTo>
                  <a:pt x="184" y="1268"/>
                </a:lnTo>
                <a:lnTo>
                  <a:pt x="186" y="1268"/>
                </a:lnTo>
                <a:lnTo>
                  <a:pt x="186" y="1269"/>
                </a:lnTo>
                <a:lnTo>
                  <a:pt x="187" y="1268"/>
                </a:lnTo>
                <a:lnTo>
                  <a:pt x="187" y="1271"/>
                </a:lnTo>
                <a:lnTo>
                  <a:pt x="186" y="1271"/>
                </a:lnTo>
                <a:lnTo>
                  <a:pt x="184" y="1273"/>
                </a:lnTo>
                <a:lnTo>
                  <a:pt x="182" y="1273"/>
                </a:lnTo>
                <a:lnTo>
                  <a:pt x="181" y="1271"/>
                </a:lnTo>
                <a:lnTo>
                  <a:pt x="179" y="1271"/>
                </a:lnTo>
                <a:lnTo>
                  <a:pt x="179" y="1268"/>
                </a:lnTo>
                <a:lnTo>
                  <a:pt x="179" y="1266"/>
                </a:lnTo>
                <a:lnTo>
                  <a:pt x="179" y="1264"/>
                </a:lnTo>
                <a:lnTo>
                  <a:pt x="175" y="1264"/>
                </a:lnTo>
                <a:lnTo>
                  <a:pt x="177" y="1264"/>
                </a:lnTo>
                <a:lnTo>
                  <a:pt x="179" y="1266"/>
                </a:lnTo>
                <a:lnTo>
                  <a:pt x="177" y="1269"/>
                </a:lnTo>
                <a:lnTo>
                  <a:pt x="175" y="1269"/>
                </a:lnTo>
                <a:lnTo>
                  <a:pt x="177" y="1271"/>
                </a:lnTo>
                <a:lnTo>
                  <a:pt x="177" y="1273"/>
                </a:lnTo>
                <a:lnTo>
                  <a:pt x="177" y="1275"/>
                </a:lnTo>
                <a:lnTo>
                  <a:pt x="179" y="1276"/>
                </a:lnTo>
                <a:lnTo>
                  <a:pt x="181" y="1276"/>
                </a:lnTo>
                <a:lnTo>
                  <a:pt x="182" y="1278"/>
                </a:lnTo>
                <a:lnTo>
                  <a:pt x="182" y="1280"/>
                </a:lnTo>
                <a:lnTo>
                  <a:pt x="179" y="1280"/>
                </a:lnTo>
                <a:lnTo>
                  <a:pt x="177" y="1281"/>
                </a:lnTo>
                <a:lnTo>
                  <a:pt x="179" y="1281"/>
                </a:lnTo>
                <a:lnTo>
                  <a:pt x="182" y="1280"/>
                </a:lnTo>
                <a:lnTo>
                  <a:pt x="181" y="1280"/>
                </a:lnTo>
                <a:lnTo>
                  <a:pt x="182" y="1280"/>
                </a:lnTo>
                <a:lnTo>
                  <a:pt x="184" y="1281"/>
                </a:lnTo>
                <a:lnTo>
                  <a:pt x="184" y="1283"/>
                </a:lnTo>
                <a:lnTo>
                  <a:pt x="182" y="1285"/>
                </a:lnTo>
                <a:lnTo>
                  <a:pt x="182" y="1286"/>
                </a:lnTo>
                <a:lnTo>
                  <a:pt x="179" y="1286"/>
                </a:lnTo>
                <a:lnTo>
                  <a:pt x="179" y="1288"/>
                </a:lnTo>
                <a:lnTo>
                  <a:pt x="175" y="1288"/>
                </a:lnTo>
                <a:lnTo>
                  <a:pt x="175" y="1290"/>
                </a:lnTo>
                <a:lnTo>
                  <a:pt x="177" y="1288"/>
                </a:lnTo>
                <a:lnTo>
                  <a:pt x="181" y="1288"/>
                </a:lnTo>
                <a:lnTo>
                  <a:pt x="181" y="1290"/>
                </a:lnTo>
                <a:lnTo>
                  <a:pt x="181" y="1293"/>
                </a:lnTo>
                <a:lnTo>
                  <a:pt x="182" y="1293"/>
                </a:lnTo>
                <a:lnTo>
                  <a:pt x="181" y="1293"/>
                </a:lnTo>
                <a:lnTo>
                  <a:pt x="181" y="1295"/>
                </a:lnTo>
                <a:lnTo>
                  <a:pt x="181" y="1297"/>
                </a:lnTo>
                <a:lnTo>
                  <a:pt x="179" y="1300"/>
                </a:lnTo>
                <a:lnTo>
                  <a:pt x="177" y="1302"/>
                </a:lnTo>
                <a:lnTo>
                  <a:pt x="179" y="1302"/>
                </a:lnTo>
                <a:lnTo>
                  <a:pt x="179" y="1303"/>
                </a:lnTo>
                <a:lnTo>
                  <a:pt x="179" y="1305"/>
                </a:lnTo>
                <a:lnTo>
                  <a:pt x="177" y="1307"/>
                </a:lnTo>
                <a:lnTo>
                  <a:pt x="177" y="1309"/>
                </a:lnTo>
                <a:lnTo>
                  <a:pt x="177" y="1310"/>
                </a:lnTo>
                <a:lnTo>
                  <a:pt x="177" y="1312"/>
                </a:lnTo>
                <a:lnTo>
                  <a:pt x="179" y="1310"/>
                </a:lnTo>
                <a:lnTo>
                  <a:pt x="179" y="1307"/>
                </a:lnTo>
                <a:lnTo>
                  <a:pt x="179" y="1305"/>
                </a:lnTo>
                <a:lnTo>
                  <a:pt x="181" y="1303"/>
                </a:lnTo>
                <a:lnTo>
                  <a:pt x="182" y="1302"/>
                </a:lnTo>
                <a:lnTo>
                  <a:pt x="182" y="1300"/>
                </a:lnTo>
                <a:lnTo>
                  <a:pt x="184" y="1298"/>
                </a:lnTo>
                <a:lnTo>
                  <a:pt x="184" y="1297"/>
                </a:lnTo>
                <a:lnTo>
                  <a:pt x="184" y="1295"/>
                </a:lnTo>
                <a:lnTo>
                  <a:pt x="186" y="1293"/>
                </a:lnTo>
                <a:lnTo>
                  <a:pt x="186" y="1295"/>
                </a:lnTo>
                <a:lnTo>
                  <a:pt x="186" y="1298"/>
                </a:lnTo>
                <a:lnTo>
                  <a:pt x="186" y="1302"/>
                </a:lnTo>
                <a:lnTo>
                  <a:pt x="187" y="1302"/>
                </a:lnTo>
                <a:lnTo>
                  <a:pt x="187" y="1298"/>
                </a:lnTo>
                <a:lnTo>
                  <a:pt x="187" y="1295"/>
                </a:lnTo>
                <a:lnTo>
                  <a:pt x="189" y="1293"/>
                </a:lnTo>
                <a:lnTo>
                  <a:pt x="191" y="1290"/>
                </a:lnTo>
                <a:lnTo>
                  <a:pt x="192" y="1288"/>
                </a:lnTo>
                <a:lnTo>
                  <a:pt x="194" y="1286"/>
                </a:lnTo>
                <a:lnTo>
                  <a:pt x="196" y="1285"/>
                </a:lnTo>
                <a:lnTo>
                  <a:pt x="198" y="1285"/>
                </a:lnTo>
                <a:lnTo>
                  <a:pt x="199" y="1285"/>
                </a:lnTo>
                <a:lnTo>
                  <a:pt x="201" y="1283"/>
                </a:lnTo>
                <a:lnTo>
                  <a:pt x="204" y="1283"/>
                </a:lnTo>
                <a:lnTo>
                  <a:pt x="204" y="1285"/>
                </a:lnTo>
                <a:lnTo>
                  <a:pt x="203" y="1286"/>
                </a:lnTo>
                <a:lnTo>
                  <a:pt x="203" y="1288"/>
                </a:lnTo>
                <a:lnTo>
                  <a:pt x="203" y="1290"/>
                </a:lnTo>
                <a:lnTo>
                  <a:pt x="206" y="1292"/>
                </a:lnTo>
                <a:lnTo>
                  <a:pt x="208" y="1292"/>
                </a:lnTo>
                <a:lnTo>
                  <a:pt x="209" y="1292"/>
                </a:lnTo>
                <a:lnTo>
                  <a:pt x="211" y="1292"/>
                </a:lnTo>
                <a:lnTo>
                  <a:pt x="213" y="1288"/>
                </a:lnTo>
                <a:lnTo>
                  <a:pt x="216" y="1285"/>
                </a:lnTo>
                <a:lnTo>
                  <a:pt x="216" y="1283"/>
                </a:lnTo>
                <a:lnTo>
                  <a:pt x="218" y="1281"/>
                </a:lnTo>
                <a:lnTo>
                  <a:pt x="218" y="1278"/>
                </a:lnTo>
                <a:lnTo>
                  <a:pt x="218" y="1276"/>
                </a:lnTo>
                <a:lnTo>
                  <a:pt x="218" y="1273"/>
                </a:lnTo>
                <a:lnTo>
                  <a:pt x="220" y="1271"/>
                </a:lnTo>
                <a:lnTo>
                  <a:pt x="220" y="1269"/>
                </a:lnTo>
                <a:lnTo>
                  <a:pt x="220" y="1266"/>
                </a:lnTo>
                <a:lnTo>
                  <a:pt x="220" y="1264"/>
                </a:lnTo>
                <a:lnTo>
                  <a:pt x="221" y="1261"/>
                </a:lnTo>
                <a:lnTo>
                  <a:pt x="223" y="1259"/>
                </a:lnTo>
                <a:lnTo>
                  <a:pt x="225" y="1261"/>
                </a:lnTo>
                <a:lnTo>
                  <a:pt x="226" y="1259"/>
                </a:lnTo>
                <a:lnTo>
                  <a:pt x="228" y="1261"/>
                </a:lnTo>
                <a:lnTo>
                  <a:pt x="230" y="1261"/>
                </a:lnTo>
                <a:lnTo>
                  <a:pt x="232" y="1261"/>
                </a:lnTo>
                <a:lnTo>
                  <a:pt x="232" y="1263"/>
                </a:lnTo>
                <a:lnTo>
                  <a:pt x="232" y="1264"/>
                </a:lnTo>
                <a:lnTo>
                  <a:pt x="232" y="1266"/>
                </a:lnTo>
                <a:lnTo>
                  <a:pt x="232" y="1268"/>
                </a:lnTo>
                <a:lnTo>
                  <a:pt x="232" y="1269"/>
                </a:lnTo>
                <a:lnTo>
                  <a:pt x="232" y="1271"/>
                </a:lnTo>
                <a:lnTo>
                  <a:pt x="232" y="1273"/>
                </a:lnTo>
                <a:lnTo>
                  <a:pt x="232" y="1276"/>
                </a:lnTo>
                <a:lnTo>
                  <a:pt x="232" y="1278"/>
                </a:lnTo>
                <a:lnTo>
                  <a:pt x="233" y="1278"/>
                </a:lnTo>
                <a:lnTo>
                  <a:pt x="235" y="1281"/>
                </a:lnTo>
                <a:lnTo>
                  <a:pt x="235" y="1283"/>
                </a:lnTo>
                <a:lnTo>
                  <a:pt x="235" y="1285"/>
                </a:lnTo>
                <a:lnTo>
                  <a:pt x="235" y="1286"/>
                </a:lnTo>
                <a:lnTo>
                  <a:pt x="233" y="1290"/>
                </a:lnTo>
                <a:lnTo>
                  <a:pt x="233" y="1292"/>
                </a:lnTo>
                <a:lnTo>
                  <a:pt x="235" y="1292"/>
                </a:lnTo>
                <a:lnTo>
                  <a:pt x="237" y="1292"/>
                </a:lnTo>
                <a:lnTo>
                  <a:pt x="237" y="1293"/>
                </a:lnTo>
                <a:lnTo>
                  <a:pt x="238" y="1293"/>
                </a:lnTo>
                <a:lnTo>
                  <a:pt x="240" y="1293"/>
                </a:lnTo>
                <a:lnTo>
                  <a:pt x="242" y="1292"/>
                </a:lnTo>
                <a:lnTo>
                  <a:pt x="242" y="1290"/>
                </a:lnTo>
                <a:lnTo>
                  <a:pt x="243" y="1290"/>
                </a:lnTo>
                <a:lnTo>
                  <a:pt x="243" y="1286"/>
                </a:lnTo>
                <a:lnTo>
                  <a:pt x="243" y="1285"/>
                </a:lnTo>
                <a:lnTo>
                  <a:pt x="243" y="1283"/>
                </a:lnTo>
                <a:lnTo>
                  <a:pt x="243" y="1281"/>
                </a:lnTo>
                <a:lnTo>
                  <a:pt x="243" y="1280"/>
                </a:lnTo>
                <a:lnTo>
                  <a:pt x="243" y="1278"/>
                </a:lnTo>
                <a:lnTo>
                  <a:pt x="247" y="1278"/>
                </a:lnTo>
                <a:lnTo>
                  <a:pt x="247" y="1275"/>
                </a:lnTo>
                <a:lnTo>
                  <a:pt x="250" y="1273"/>
                </a:lnTo>
                <a:lnTo>
                  <a:pt x="254" y="1275"/>
                </a:lnTo>
                <a:lnTo>
                  <a:pt x="255" y="1276"/>
                </a:lnTo>
                <a:lnTo>
                  <a:pt x="257" y="1275"/>
                </a:lnTo>
                <a:lnTo>
                  <a:pt x="259" y="1275"/>
                </a:lnTo>
                <a:lnTo>
                  <a:pt x="259" y="1273"/>
                </a:lnTo>
                <a:lnTo>
                  <a:pt x="260" y="1271"/>
                </a:lnTo>
                <a:lnTo>
                  <a:pt x="264" y="1269"/>
                </a:lnTo>
                <a:lnTo>
                  <a:pt x="266" y="1271"/>
                </a:lnTo>
                <a:lnTo>
                  <a:pt x="266" y="1273"/>
                </a:lnTo>
                <a:lnTo>
                  <a:pt x="264" y="1275"/>
                </a:lnTo>
                <a:lnTo>
                  <a:pt x="266" y="1273"/>
                </a:lnTo>
                <a:lnTo>
                  <a:pt x="267" y="1271"/>
                </a:lnTo>
                <a:lnTo>
                  <a:pt x="269" y="1271"/>
                </a:lnTo>
                <a:lnTo>
                  <a:pt x="269" y="1273"/>
                </a:lnTo>
                <a:lnTo>
                  <a:pt x="267" y="1276"/>
                </a:lnTo>
                <a:lnTo>
                  <a:pt x="269" y="1275"/>
                </a:lnTo>
                <a:lnTo>
                  <a:pt x="271" y="1275"/>
                </a:lnTo>
                <a:lnTo>
                  <a:pt x="271" y="1276"/>
                </a:lnTo>
                <a:lnTo>
                  <a:pt x="272" y="1278"/>
                </a:lnTo>
                <a:lnTo>
                  <a:pt x="269" y="1280"/>
                </a:lnTo>
                <a:lnTo>
                  <a:pt x="269" y="1281"/>
                </a:lnTo>
                <a:lnTo>
                  <a:pt x="272" y="1281"/>
                </a:lnTo>
                <a:lnTo>
                  <a:pt x="272" y="1283"/>
                </a:lnTo>
                <a:lnTo>
                  <a:pt x="272" y="1285"/>
                </a:lnTo>
                <a:lnTo>
                  <a:pt x="272" y="1286"/>
                </a:lnTo>
                <a:lnTo>
                  <a:pt x="271" y="1288"/>
                </a:lnTo>
                <a:lnTo>
                  <a:pt x="269" y="1290"/>
                </a:lnTo>
                <a:lnTo>
                  <a:pt x="272" y="1292"/>
                </a:lnTo>
                <a:lnTo>
                  <a:pt x="274" y="1293"/>
                </a:lnTo>
                <a:lnTo>
                  <a:pt x="274" y="1297"/>
                </a:lnTo>
                <a:lnTo>
                  <a:pt x="274" y="1300"/>
                </a:lnTo>
                <a:lnTo>
                  <a:pt x="276" y="1302"/>
                </a:lnTo>
                <a:lnTo>
                  <a:pt x="274" y="1303"/>
                </a:lnTo>
                <a:lnTo>
                  <a:pt x="274" y="1305"/>
                </a:lnTo>
                <a:lnTo>
                  <a:pt x="274" y="1307"/>
                </a:lnTo>
                <a:lnTo>
                  <a:pt x="272" y="1309"/>
                </a:lnTo>
                <a:lnTo>
                  <a:pt x="274" y="1312"/>
                </a:lnTo>
                <a:lnTo>
                  <a:pt x="274" y="1314"/>
                </a:lnTo>
                <a:lnTo>
                  <a:pt x="274" y="1315"/>
                </a:lnTo>
                <a:lnTo>
                  <a:pt x="276" y="1314"/>
                </a:lnTo>
                <a:lnTo>
                  <a:pt x="276" y="1310"/>
                </a:lnTo>
                <a:lnTo>
                  <a:pt x="276" y="1309"/>
                </a:lnTo>
                <a:lnTo>
                  <a:pt x="276" y="1307"/>
                </a:lnTo>
                <a:lnTo>
                  <a:pt x="277" y="1307"/>
                </a:lnTo>
                <a:lnTo>
                  <a:pt x="279" y="1303"/>
                </a:lnTo>
                <a:lnTo>
                  <a:pt x="279" y="1300"/>
                </a:lnTo>
                <a:lnTo>
                  <a:pt x="279" y="1297"/>
                </a:lnTo>
                <a:lnTo>
                  <a:pt x="279" y="1298"/>
                </a:lnTo>
                <a:lnTo>
                  <a:pt x="277" y="1297"/>
                </a:lnTo>
                <a:lnTo>
                  <a:pt x="279" y="1295"/>
                </a:lnTo>
                <a:lnTo>
                  <a:pt x="277" y="1292"/>
                </a:lnTo>
                <a:lnTo>
                  <a:pt x="277" y="1290"/>
                </a:lnTo>
                <a:lnTo>
                  <a:pt x="277" y="1286"/>
                </a:lnTo>
                <a:lnTo>
                  <a:pt x="279" y="1285"/>
                </a:lnTo>
                <a:lnTo>
                  <a:pt x="279" y="1281"/>
                </a:lnTo>
                <a:lnTo>
                  <a:pt x="281" y="1280"/>
                </a:lnTo>
                <a:lnTo>
                  <a:pt x="283" y="1278"/>
                </a:lnTo>
                <a:lnTo>
                  <a:pt x="284" y="1280"/>
                </a:lnTo>
                <a:lnTo>
                  <a:pt x="286" y="1280"/>
                </a:lnTo>
                <a:lnTo>
                  <a:pt x="286" y="1281"/>
                </a:lnTo>
                <a:lnTo>
                  <a:pt x="288" y="1281"/>
                </a:lnTo>
                <a:lnTo>
                  <a:pt x="288" y="1283"/>
                </a:lnTo>
                <a:lnTo>
                  <a:pt x="289" y="1283"/>
                </a:lnTo>
                <a:lnTo>
                  <a:pt x="291" y="1285"/>
                </a:lnTo>
                <a:lnTo>
                  <a:pt x="291" y="1288"/>
                </a:lnTo>
                <a:lnTo>
                  <a:pt x="293" y="1288"/>
                </a:lnTo>
                <a:lnTo>
                  <a:pt x="293" y="1290"/>
                </a:lnTo>
                <a:lnTo>
                  <a:pt x="294" y="1292"/>
                </a:lnTo>
                <a:lnTo>
                  <a:pt x="294" y="1295"/>
                </a:lnTo>
                <a:lnTo>
                  <a:pt x="294" y="1297"/>
                </a:lnTo>
                <a:lnTo>
                  <a:pt x="294" y="1298"/>
                </a:lnTo>
                <a:lnTo>
                  <a:pt x="296" y="1298"/>
                </a:lnTo>
                <a:lnTo>
                  <a:pt x="298" y="1300"/>
                </a:lnTo>
                <a:lnTo>
                  <a:pt x="301" y="1300"/>
                </a:lnTo>
                <a:lnTo>
                  <a:pt x="303" y="1298"/>
                </a:lnTo>
                <a:lnTo>
                  <a:pt x="303" y="1297"/>
                </a:lnTo>
                <a:lnTo>
                  <a:pt x="305" y="1295"/>
                </a:lnTo>
                <a:lnTo>
                  <a:pt x="308" y="1293"/>
                </a:lnTo>
                <a:lnTo>
                  <a:pt x="310" y="1292"/>
                </a:lnTo>
                <a:lnTo>
                  <a:pt x="308" y="1290"/>
                </a:lnTo>
                <a:lnTo>
                  <a:pt x="311" y="1290"/>
                </a:lnTo>
                <a:lnTo>
                  <a:pt x="313" y="1290"/>
                </a:lnTo>
                <a:lnTo>
                  <a:pt x="313" y="1288"/>
                </a:lnTo>
                <a:lnTo>
                  <a:pt x="313" y="1290"/>
                </a:lnTo>
                <a:lnTo>
                  <a:pt x="317" y="1290"/>
                </a:lnTo>
                <a:lnTo>
                  <a:pt x="317" y="1292"/>
                </a:lnTo>
                <a:lnTo>
                  <a:pt x="317" y="1293"/>
                </a:lnTo>
                <a:lnTo>
                  <a:pt x="317" y="1297"/>
                </a:lnTo>
                <a:lnTo>
                  <a:pt x="318" y="1297"/>
                </a:lnTo>
                <a:lnTo>
                  <a:pt x="320" y="1298"/>
                </a:lnTo>
                <a:lnTo>
                  <a:pt x="322" y="1298"/>
                </a:lnTo>
                <a:lnTo>
                  <a:pt x="323" y="1297"/>
                </a:lnTo>
                <a:lnTo>
                  <a:pt x="325" y="1297"/>
                </a:lnTo>
                <a:lnTo>
                  <a:pt x="327" y="1297"/>
                </a:lnTo>
                <a:lnTo>
                  <a:pt x="328" y="1297"/>
                </a:lnTo>
                <a:lnTo>
                  <a:pt x="330" y="1297"/>
                </a:lnTo>
                <a:lnTo>
                  <a:pt x="332" y="1295"/>
                </a:lnTo>
                <a:lnTo>
                  <a:pt x="334" y="1295"/>
                </a:lnTo>
                <a:lnTo>
                  <a:pt x="335" y="1292"/>
                </a:lnTo>
                <a:lnTo>
                  <a:pt x="335" y="1290"/>
                </a:lnTo>
                <a:lnTo>
                  <a:pt x="335" y="1286"/>
                </a:lnTo>
                <a:lnTo>
                  <a:pt x="335" y="1283"/>
                </a:lnTo>
                <a:lnTo>
                  <a:pt x="335" y="1281"/>
                </a:lnTo>
                <a:lnTo>
                  <a:pt x="337" y="1281"/>
                </a:lnTo>
                <a:lnTo>
                  <a:pt x="337" y="1280"/>
                </a:lnTo>
                <a:lnTo>
                  <a:pt x="337" y="1278"/>
                </a:lnTo>
                <a:lnTo>
                  <a:pt x="337" y="1276"/>
                </a:lnTo>
                <a:lnTo>
                  <a:pt x="337" y="1275"/>
                </a:lnTo>
                <a:lnTo>
                  <a:pt x="339" y="1276"/>
                </a:lnTo>
                <a:lnTo>
                  <a:pt x="340" y="1275"/>
                </a:lnTo>
                <a:lnTo>
                  <a:pt x="340" y="1276"/>
                </a:lnTo>
                <a:lnTo>
                  <a:pt x="342" y="1276"/>
                </a:lnTo>
                <a:lnTo>
                  <a:pt x="342" y="1278"/>
                </a:lnTo>
                <a:lnTo>
                  <a:pt x="344" y="1280"/>
                </a:lnTo>
                <a:lnTo>
                  <a:pt x="345" y="1278"/>
                </a:lnTo>
                <a:lnTo>
                  <a:pt x="347" y="1278"/>
                </a:lnTo>
                <a:close/>
                <a:moveTo>
                  <a:pt x="150" y="1434"/>
                </a:moveTo>
                <a:lnTo>
                  <a:pt x="148" y="1434"/>
                </a:lnTo>
                <a:lnTo>
                  <a:pt x="150" y="1436"/>
                </a:lnTo>
                <a:lnTo>
                  <a:pt x="148" y="1436"/>
                </a:lnTo>
                <a:lnTo>
                  <a:pt x="147" y="1438"/>
                </a:lnTo>
                <a:lnTo>
                  <a:pt x="148" y="1436"/>
                </a:lnTo>
                <a:lnTo>
                  <a:pt x="148" y="1434"/>
                </a:lnTo>
                <a:lnTo>
                  <a:pt x="150" y="1434"/>
                </a:lnTo>
                <a:close/>
                <a:moveTo>
                  <a:pt x="274" y="1286"/>
                </a:moveTo>
                <a:lnTo>
                  <a:pt x="276" y="1290"/>
                </a:lnTo>
                <a:lnTo>
                  <a:pt x="274" y="1292"/>
                </a:lnTo>
                <a:lnTo>
                  <a:pt x="274" y="1290"/>
                </a:lnTo>
                <a:lnTo>
                  <a:pt x="274" y="1286"/>
                </a:lnTo>
                <a:close/>
                <a:moveTo>
                  <a:pt x="300" y="1256"/>
                </a:moveTo>
                <a:lnTo>
                  <a:pt x="301" y="1256"/>
                </a:lnTo>
                <a:lnTo>
                  <a:pt x="300" y="1259"/>
                </a:lnTo>
                <a:lnTo>
                  <a:pt x="298" y="1258"/>
                </a:lnTo>
                <a:lnTo>
                  <a:pt x="300" y="1256"/>
                </a:lnTo>
                <a:close/>
                <a:moveTo>
                  <a:pt x="138" y="1300"/>
                </a:moveTo>
                <a:lnTo>
                  <a:pt x="136" y="1300"/>
                </a:lnTo>
                <a:lnTo>
                  <a:pt x="135" y="1298"/>
                </a:lnTo>
                <a:lnTo>
                  <a:pt x="138" y="1300"/>
                </a:lnTo>
                <a:close/>
                <a:moveTo>
                  <a:pt x="293" y="1283"/>
                </a:moveTo>
                <a:lnTo>
                  <a:pt x="294" y="1283"/>
                </a:lnTo>
                <a:lnTo>
                  <a:pt x="293" y="1285"/>
                </a:lnTo>
                <a:lnTo>
                  <a:pt x="293" y="1283"/>
                </a:lnTo>
                <a:close/>
                <a:moveTo>
                  <a:pt x="123" y="1336"/>
                </a:moveTo>
                <a:lnTo>
                  <a:pt x="123" y="1337"/>
                </a:lnTo>
                <a:lnTo>
                  <a:pt x="121" y="1337"/>
                </a:lnTo>
                <a:lnTo>
                  <a:pt x="123" y="1336"/>
                </a:lnTo>
                <a:close/>
                <a:moveTo>
                  <a:pt x="128" y="1324"/>
                </a:moveTo>
                <a:lnTo>
                  <a:pt x="128" y="1322"/>
                </a:lnTo>
                <a:lnTo>
                  <a:pt x="128" y="1324"/>
                </a:lnTo>
                <a:lnTo>
                  <a:pt x="128" y="1322"/>
                </a:lnTo>
                <a:lnTo>
                  <a:pt x="126" y="1320"/>
                </a:lnTo>
                <a:lnTo>
                  <a:pt x="128" y="1320"/>
                </a:lnTo>
                <a:lnTo>
                  <a:pt x="126" y="1320"/>
                </a:lnTo>
                <a:lnTo>
                  <a:pt x="128" y="1324"/>
                </a:lnTo>
                <a:close/>
                <a:moveTo>
                  <a:pt x="136" y="1292"/>
                </a:moveTo>
                <a:lnTo>
                  <a:pt x="135" y="1292"/>
                </a:lnTo>
                <a:lnTo>
                  <a:pt x="133" y="1292"/>
                </a:lnTo>
                <a:lnTo>
                  <a:pt x="136" y="1292"/>
                </a:lnTo>
                <a:close/>
                <a:moveTo>
                  <a:pt x="243" y="1273"/>
                </a:moveTo>
                <a:lnTo>
                  <a:pt x="245" y="1275"/>
                </a:lnTo>
                <a:lnTo>
                  <a:pt x="243" y="1276"/>
                </a:lnTo>
                <a:lnTo>
                  <a:pt x="243" y="1273"/>
                </a:lnTo>
                <a:close/>
                <a:moveTo>
                  <a:pt x="124" y="1366"/>
                </a:moveTo>
                <a:lnTo>
                  <a:pt x="126" y="1366"/>
                </a:lnTo>
                <a:lnTo>
                  <a:pt x="126" y="1368"/>
                </a:lnTo>
                <a:lnTo>
                  <a:pt x="124" y="1366"/>
                </a:lnTo>
                <a:close/>
                <a:moveTo>
                  <a:pt x="138" y="1292"/>
                </a:moveTo>
                <a:lnTo>
                  <a:pt x="136" y="1292"/>
                </a:lnTo>
                <a:lnTo>
                  <a:pt x="138" y="1292"/>
                </a:lnTo>
                <a:close/>
                <a:moveTo>
                  <a:pt x="124" y="1341"/>
                </a:moveTo>
                <a:lnTo>
                  <a:pt x="124" y="1343"/>
                </a:lnTo>
                <a:lnTo>
                  <a:pt x="126" y="1343"/>
                </a:lnTo>
                <a:lnTo>
                  <a:pt x="124" y="1343"/>
                </a:lnTo>
                <a:lnTo>
                  <a:pt x="124" y="1341"/>
                </a:lnTo>
                <a:close/>
                <a:moveTo>
                  <a:pt x="164" y="1230"/>
                </a:moveTo>
                <a:lnTo>
                  <a:pt x="164" y="1232"/>
                </a:lnTo>
                <a:lnTo>
                  <a:pt x="164" y="1230"/>
                </a:lnTo>
                <a:close/>
                <a:moveTo>
                  <a:pt x="400" y="2142"/>
                </a:moveTo>
                <a:lnTo>
                  <a:pt x="400" y="2144"/>
                </a:lnTo>
                <a:lnTo>
                  <a:pt x="402" y="2142"/>
                </a:lnTo>
                <a:lnTo>
                  <a:pt x="405" y="2144"/>
                </a:lnTo>
                <a:lnTo>
                  <a:pt x="405" y="2145"/>
                </a:lnTo>
                <a:lnTo>
                  <a:pt x="408" y="2145"/>
                </a:lnTo>
                <a:lnTo>
                  <a:pt x="410" y="2144"/>
                </a:lnTo>
                <a:lnTo>
                  <a:pt x="410" y="2142"/>
                </a:lnTo>
                <a:lnTo>
                  <a:pt x="412" y="2142"/>
                </a:lnTo>
                <a:lnTo>
                  <a:pt x="413" y="2139"/>
                </a:lnTo>
                <a:lnTo>
                  <a:pt x="413" y="2135"/>
                </a:lnTo>
                <a:lnTo>
                  <a:pt x="415" y="2139"/>
                </a:lnTo>
                <a:lnTo>
                  <a:pt x="417" y="2139"/>
                </a:lnTo>
                <a:lnTo>
                  <a:pt x="419" y="2139"/>
                </a:lnTo>
                <a:lnTo>
                  <a:pt x="420" y="2139"/>
                </a:lnTo>
                <a:lnTo>
                  <a:pt x="422" y="2140"/>
                </a:lnTo>
                <a:lnTo>
                  <a:pt x="424" y="2140"/>
                </a:lnTo>
                <a:lnTo>
                  <a:pt x="424" y="2139"/>
                </a:lnTo>
                <a:lnTo>
                  <a:pt x="425" y="2139"/>
                </a:lnTo>
                <a:lnTo>
                  <a:pt x="425" y="2137"/>
                </a:lnTo>
                <a:lnTo>
                  <a:pt x="429" y="2139"/>
                </a:lnTo>
                <a:lnTo>
                  <a:pt x="430" y="2139"/>
                </a:lnTo>
                <a:lnTo>
                  <a:pt x="432" y="2137"/>
                </a:lnTo>
                <a:lnTo>
                  <a:pt x="434" y="2137"/>
                </a:lnTo>
                <a:lnTo>
                  <a:pt x="436" y="2139"/>
                </a:lnTo>
                <a:lnTo>
                  <a:pt x="437" y="2139"/>
                </a:lnTo>
                <a:lnTo>
                  <a:pt x="439" y="2139"/>
                </a:lnTo>
                <a:lnTo>
                  <a:pt x="441" y="2140"/>
                </a:lnTo>
                <a:lnTo>
                  <a:pt x="442" y="2142"/>
                </a:lnTo>
                <a:lnTo>
                  <a:pt x="444" y="2142"/>
                </a:lnTo>
                <a:lnTo>
                  <a:pt x="446" y="2140"/>
                </a:lnTo>
                <a:lnTo>
                  <a:pt x="447" y="2142"/>
                </a:lnTo>
                <a:lnTo>
                  <a:pt x="449" y="2144"/>
                </a:lnTo>
                <a:lnTo>
                  <a:pt x="449" y="2147"/>
                </a:lnTo>
                <a:lnTo>
                  <a:pt x="449" y="2149"/>
                </a:lnTo>
                <a:lnTo>
                  <a:pt x="449" y="2151"/>
                </a:lnTo>
                <a:lnTo>
                  <a:pt x="447" y="2154"/>
                </a:lnTo>
                <a:lnTo>
                  <a:pt x="449" y="2154"/>
                </a:lnTo>
                <a:lnTo>
                  <a:pt x="451" y="2156"/>
                </a:lnTo>
                <a:lnTo>
                  <a:pt x="449" y="2157"/>
                </a:lnTo>
                <a:lnTo>
                  <a:pt x="449" y="2159"/>
                </a:lnTo>
                <a:lnTo>
                  <a:pt x="451" y="2161"/>
                </a:lnTo>
                <a:lnTo>
                  <a:pt x="451" y="2163"/>
                </a:lnTo>
                <a:lnTo>
                  <a:pt x="452" y="2166"/>
                </a:lnTo>
                <a:lnTo>
                  <a:pt x="452" y="2168"/>
                </a:lnTo>
                <a:lnTo>
                  <a:pt x="454" y="2169"/>
                </a:lnTo>
                <a:lnTo>
                  <a:pt x="454" y="2171"/>
                </a:lnTo>
                <a:lnTo>
                  <a:pt x="452" y="2169"/>
                </a:lnTo>
                <a:lnTo>
                  <a:pt x="454" y="2171"/>
                </a:lnTo>
                <a:lnTo>
                  <a:pt x="456" y="2173"/>
                </a:lnTo>
                <a:lnTo>
                  <a:pt x="456" y="2176"/>
                </a:lnTo>
                <a:lnTo>
                  <a:pt x="456" y="2173"/>
                </a:lnTo>
                <a:lnTo>
                  <a:pt x="454" y="2171"/>
                </a:lnTo>
                <a:lnTo>
                  <a:pt x="456" y="2169"/>
                </a:lnTo>
                <a:lnTo>
                  <a:pt x="458" y="2171"/>
                </a:lnTo>
                <a:lnTo>
                  <a:pt x="458" y="2174"/>
                </a:lnTo>
                <a:lnTo>
                  <a:pt x="458" y="2176"/>
                </a:lnTo>
                <a:lnTo>
                  <a:pt x="456" y="2178"/>
                </a:lnTo>
                <a:lnTo>
                  <a:pt x="454" y="2180"/>
                </a:lnTo>
                <a:lnTo>
                  <a:pt x="452" y="2180"/>
                </a:lnTo>
                <a:lnTo>
                  <a:pt x="451" y="2180"/>
                </a:lnTo>
                <a:lnTo>
                  <a:pt x="449" y="2180"/>
                </a:lnTo>
                <a:lnTo>
                  <a:pt x="447" y="2181"/>
                </a:lnTo>
                <a:lnTo>
                  <a:pt x="446" y="2183"/>
                </a:lnTo>
                <a:lnTo>
                  <a:pt x="446" y="2185"/>
                </a:lnTo>
                <a:lnTo>
                  <a:pt x="447" y="2185"/>
                </a:lnTo>
                <a:lnTo>
                  <a:pt x="446" y="2186"/>
                </a:lnTo>
                <a:lnTo>
                  <a:pt x="447" y="2185"/>
                </a:lnTo>
                <a:lnTo>
                  <a:pt x="447" y="2186"/>
                </a:lnTo>
                <a:lnTo>
                  <a:pt x="447" y="2185"/>
                </a:lnTo>
                <a:lnTo>
                  <a:pt x="449" y="2185"/>
                </a:lnTo>
                <a:lnTo>
                  <a:pt x="451" y="2183"/>
                </a:lnTo>
                <a:lnTo>
                  <a:pt x="454" y="2183"/>
                </a:lnTo>
                <a:lnTo>
                  <a:pt x="456" y="2185"/>
                </a:lnTo>
                <a:lnTo>
                  <a:pt x="458" y="2183"/>
                </a:lnTo>
                <a:lnTo>
                  <a:pt x="459" y="2183"/>
                </a:lnTo>
                <a:lnTo>
                  <a:pt x="461" y="2186"/>
                </a:lnTo>
                <a:lnTo>
                  <a:pt x="461" y="2188"/>
                </a:lnTo>
                <a:lnTo>
                  <a:pt x="461" y="2190"/>
                </a:lnTo>
                <a:lnTo>
                  <a:pt x="463" y="2193"/>
                </a:lnTo>
                <a:lnTo>
                  <a:pt x="461" y="2193"/>
                </a:lnTo>
                <a:lnTo>
                  <a:pt x="463" y="2195"/>
                </a:lnTo>
                <a:lnTo>
                  <a:pt x="463" y="2197"/>
                </a:lnTo>
                <a:lnTo>
                  <a:pt x="463" y="2198"/>
                </a:lnTo>
                <a:lnTo>
                  <a:pt x="463" y="2200"/>
                </a:lnTo>
                <a:lnTo>
                  <a:pt x="461" y="2202"/>
                </a:lnTo>
                <a:lnTo>
                  <a:pt x="461" y="2205"/>
                </a:lnTo>
                <a:lnTo>
                  <a:pt x="459" y="2205"/>
                </a:lnTo>
                <a:lnTo>
                  <a:pt x="459" y="2207"/>
                </a:lnTo>
                <a:lnTo>
                  <a:pt x="458" y="2208"/>
                </a:lnTo>
                <a:lnTo>
                  <a:pt x="458" y="2207"/>
                </a:lnTo>
                <a:lnTo>
                  <a:pt x="458" y="2205"/>
                </a:lnTo>
                <a:lnTo>
                  <a:pt x="456" y="2203"/>
                </a:lnTo>
                <a:lnTo>
                  <a:pt x="456" y="2202"/>
                </a:lnTo>
                <a:lnTo>
                  <a:pt x="458" y="2200"/>
                </a:lnTo>
                <a:lnTo>
                  <a:pt x="458" y="2202"/>
                </a:lnTo>
                <a:lnTo>
                  <a:pt x="459" y="2200"/>
                </a:lnTo>
                <a:lnTo>
                  <a:pt x="458" y="2198"/>
                </a:lnTo>
                <a:lnTo>
                  <a:pt x="459" y="2197"/>
                </a:lnTo>
                <a:lnTo>
                  <a:pt x="459" y="2195"/>
                </a:lnTo>
                <a:lnTo>
                  <a:pt x="458" y="2193"/>
                </a:lnTo>
                <a:lnTo>
                  <a:pt x="458" y="2191"/>
                </a:lnTo>
                <a:lnTo>
                  <a:pt x="456" y="2191"/>
                </a:lnTo>
                <a:lnTo>
                  <a:pt x="454" y="2190"/>
                </a:lnTo>
                <a:lnTo>
                  <a:pt x="454" y="2191"/>
                </a:lnTo>
                <a:lnTo>
                  <a:pt x="452" y="2191"/>
                </a:lnTo>
                <a:lnTo>
                  <a:pt x="454" y="2193"/>
                </a:lnTo>
                <a:lnTo>
                  <a:pt x="456" y="2195"/>
                </a:lnTo>
                <a:lnTo>
                  <a:pt x="454" y="2195"/>
                </a:lnTo>
                <a:lnTo>
                  <a:pt x="456" y="2195"/>
                </a:lnTo>
                <a:lnTo>
                  <a:pt x="454" y="2195"/>
                </a:lnTo>
                <a:lnTo>
                  <a:pt x="454" y="2197"/>
                </a:lnTo>
                <a:lnTo>
                  <a:pt x="454" y="2198"/>
                </a:lnTo>
                <a:lnTo>
                  <a:pt x="454" y="2200"/>
                </a:lnTo>
                <a:lnTo>
                  <a:pt x="454" y="2202"/>
                </a:lnTo>
                <a:lnTo>
                  <a:pt x="451" y="2203"/>
                </a:lnTo>
                <a:lnTo>
                  <a:pt x="452" y="2205"/>
                </a:lnTo>
                <a:lnTo>
                  <a:pt x="454" y="2203"/>
                </a:lnTo>
                <a:lnTo>
                  <a:pt x="456" y="2203"/>
                </a:lnTo>
                <a:lnTo>
                  <a:pt x="456" y="2205"/>
                </a:lnTo>
                <a:lnTo>
                  <a:pt x="456" y="2207"/>
                </a:lnTo>
                <a:lnTo>
                  <a:pt x="456" y="2208"/>
                </a:lnTo>
                <a:lnTo>
                  <a:pt x="456" y="2210"/>
                </a:lnTo>
                <a:lnTo>
                  <a:pt x="454" y="2210"/>
                </a:lnTo>
                <a:lnTo>
                  <a:pt x="452" y="2212"/>
                </a:lnTo>
                <a:lnTo>
                  <a:pt x="452" y="2214"/>
                </a:lnTo>
                <a:lnTo>
                  <a:pt x="451" y="2212"/>
                </a:lnTo>
                <a:lnTo>
                  <a:pt x="451" y="2214"/>
                </a:lnTo>
                <a:lnTo>
                  <a:pt x="449" y="2212"/>
                </a:lnTo>
                <a:lnTo>
                  <a:pt x="447" y="2212"/>
                </a:lnTo>
                <a:lnTo>
                  <a:pt x="446" y="2212"/>
                </a:lnTo>
                <a:lnTo>
                  <a:pt x="444" y="2212"/>
                </a:lnTo>
                <a:lnTo>
                  <a:pt x="444" y="2208"/>
                </a:lnTo>
                <a:lnTo>
                  <a:pt x="442" y="2210"/>
                </a:lnTo>
                <a:lnTo>
                  <a:pt x="444" y="2212"/>
                </a:lnTo>
                <a:lnTo>
                  <a:pt x="441" y="2212"/>
                </a:lnTo>
                <a:lnTo>
                  <a:pt x="441" y="2214"/>
                </a:lnTo>
                <a:lnTo>
                  <a:pt x="441" y="2215"/>
                </a:lnTo>
                <a:lnTo>
                  <a:pt x="439" y="2219"/>
                </a:lnTo>
                <a:lnTo>
                  <a:pt x="439" y="2220"/>
                </a:lnTo>
                <a:lnTo>
                  <a:pt x="436" y="2222"/>
                </a:lnTo>
                <a:lnTo>
                  <a:pt x="434" y="2222"/>
                </a:lnTo>
                <a:lnTo>
                  <a:pt x="434" y="2224"/>
                </a:lnTo>
                <a:lnTo>
                  <a:pt x="430" y="2224"/>
                </a:lnTo>
                <a:lnTo>
                  <a:pt x="429" y="2222"/>
                </a:lnTo>
                <a:lnTo>
                  <a:pt x="430" y="2222"/>
                </a:lnTo>
                <a:lnTo>
                  <a:pt x="430" y="2220"/>
                </a:lnTo>
                <a:lnTo>
                  <a:pt x="427" y="2220"/>
                </a:lnTo>
                <a:lnTo>
                  <a:pt x="427" y="2217"/>
                </a:lnTo>
                <a:lnTo>
                  <a:pt x="424" y="2217"/>
                </a:lnTo>
                <a:lnTo>
                  <a:pt x="424" y="2219"/>
                </a:lnTo>
                <a:lnTo>
                  <a:pt x="425" y="2220"/>
                </a:lnTo>
                <a:lnTo>
                  <a:pt x="427" y="2222"/>
                </a:lnTo>
                <a:lnTo>
                  <a:pt x="427" y="2224"/>
                </a:lnTo>
                <a:lnTo>
                  <a:pt x="429" y="2222"/>
                </a:lnTo>
                <a:lnTo>
                  <a:pt x="429" y="2225"/>
                </a:lnTo>
                <a:lnTo>
                  <a:pt x="427" y="2227"/>
                </a:lnTo>
                <a:lnTo>
                  <a:pt x="425" y="2227"/>
                </a:lnTo>
                <a:lnTo>
                  <a:pt x="424" y="2225"/>
                </a:lnTo>
                <a:lnTo>
                  <a:pt x="422" y="2225"/>
                </a:lnTo>
                <a:lnTo>
                  <a:pt x="420" y="2222"/>
                </a:lnTo>
                <a:lnTo>
                  <a:pt x="419" y="2222"/>
                </a:lnTo>
                <a:lnTo>
                  <a:pt x="419" y="2220"/>
                </a:lnTo>
                <a:lnTo>
                  <a:pt x="419" y="2222"/>
                </a:lnTo>
                <a:lnTo>
                  <a:pt x="419" y="2224"/>
                </a:lnTo>
                <a:lnTo>
                  <a:pt x="417" y="2225"/>
                </a:lnTo>
                <a:lnTo>
                  <a:pt x="417" y="2229"/>
                </a:lnTo>
                <a:lnTo>
                  <a:pt x="417" y="2231"/>
                </a:lnTo>
                <a:lnTo>
                  <a:pt x="419" y="2232"/>
                </a:lnTo>
                <a:lnTo>
                  <a:pt x="422" y="2234"/>
                </a:lnTo>
                <a:lnTo>
                  <a:pt x="420" y="2234"/>
                </a:lnTo>
                <a:lnTo>
                  <a:pt x="420" y="2237"/>
                </a:lnTo>
                <a:lnTo>
                  <a:pt x="422" y="2239"/>
                </a:lnTo>
                <a:lnTo>
                  <a:pt x="420" y="2239"/>
                </a:lnTo>
                <a:lnTo>
                  <a:pt x="419" y="2241"/>
                </a:lnTo>
                <a:lnTo>
                  <a:pt x="419" y="2242"/>
                </a:lnTo>
                <a:lnTo>
                  <a:pt x="419" y="2244"/>
                </a:lnTo>
                <a:lnTo>
                  <a:pt x="419" y="2248"/>
                </a:lnTo>
                <a:lnTo>
                  <a:pt x="419" y="2249"/>
                </a:lnTo>
                <a:lnTo>
                  <a:pt x="420" y="2249"/>
                </a:lnTo>
                <a:lnTo>
                  <a:pt x="420" y="2251"/>
                </a:lnTo>
                <a:lnTo>
                  <a:pt x="420" y="2253"/>
                </a:lnTo>
                <a:lnTo>
                  <a:pt x="422" y="2254"/>
                </a:lnTo>
                <a:lnTo>
                  <a:pt x="424" y="2256"/>
                </a:lnTo>
                <a:lnTo>
                  <a:pt x="422" y="2258"/>
                </a:lnTo>
                <a:lnTo>
                  <a:pt x="420" y="2258"/>
                </a:lnTo>
                <a:lnTo>
                  <a:pt x="419" y="2259"/>
                </a:lnTo>
                <a:lnTo>
                  <a:pt x="420" y="2259"/>
                </a:lnTo>
                <a:lnTo>
                  <a:pt x="420" y="2258"/>
                </a:lnTo>
                <a:lnTo>
                  <a:pt x="422" y="2259"/>
                </a:lnTo>
                <a:lnTo>
                  <a:pt x="420" y="2261"/>
                </a:lnTo>
                <a:lnTo>
                  <a:pt x="419" y="2263"/>
                </a:lnTo>
                <a:lnTo>
                  <a:pt x="419" y="2261"/>
                </a:lnTo>
                <a:lnTo>
                  <a:pt x="417" y="2261"/>
                </a:lnTo>
                <a:lnTo>
                  <a:pt x="419" y="2261"/>
                </a:lnTo>
                <a:lnTo>
                  <a:pt x="420" y="2263"/>
                </a:lnTo>
                <a:lnTo>
                  <a:pt x="419" y="2266"/>
                </a:lnTo>
                <a:lnTo>
                  <a:pt x="419" y="2265"/>
                </a:lnTo>
                <a:lnTo>
                  <a:pt x="419" y="2266"/>
                </a:lnTo>
                <a:lnTo>
                  <a:pt x="420" y="2266"/>
                </a:lnTo>
                <a:lnTo>
                  <a:pt x="422" y="2268"/>
                </a:lnTo>
                <a:lnTo>
                  <a:pt x="420" y="2270"/>
                </a:lnTo>
                <a:lnTo>
                  <a:pt x="420" y="2268"/>
                </a:lnTo>
                <a:lnTo>
                  <a:pt x="419" y="2266"/>
                </a:lnTo>
                <a:lnTo>
                  <a:pt x="417" y="2268"/>
                </a:lnTo>
                <a:lnTo>
                  <a:pt x="419" y="2268"/>
                </a:lnTo>
                <a:lnTo>
                  <a:pt x="417" y="2270"/>
                </a:lnTo>
                <a:lnTo>
                  <a:pt x="415" y="2268"/>
                </a:lnTo>
                <a:lnTo>
                  <a:pt x="417" y="2268"/>
                </a:lnTo>
                <a:lnTo>
                  <a:pt x="413" y="2268"/>
                </a:lnTo>
                <a:lnTo>
                  <a:pt x="415" y="2270"/>
                </a:lnTo>
                <a:lnTo>
                  <a:pt x="413" y="2268"/>
                </a:lnTo>
                <a:lnTo>
                  <a:pt x="415" y="2270"/>
                </a:lnTo>
                <a:lnTo>
                  <a:pt x="417" y="2270"/>
                </a:lnTo>
                <a:lnTo>
                  <a:pt x="413" y="2270"/>
                </a:lnTo>
                <a:lnTo>
                  <a:pt x="413" y="2271"/>
                </a:lnTo>
                <a:lnTo>
                  <a:pt x="415" y="2273"/>
                </a:lnTo>
                <a:lnTo>
                  <a:pt x="417" y="2273"/>
                </a:lnTo>
                <a:lnTo>
                  <a:pt x="419" y="2275"/>
                </a:lnTo>
                <a:lnTo>
                  <a:pt x="417" y="2276"/>
                </a:lnTo>
                <a:lnTo>
                  <a:pt x="417" y="2280"/>
                </a:lnTo>
                <a:lnTo>
                  <a:pt x="417" y="2282"/>
                </a:lnTo>
                <a:lnTo>
                  <a:pt x="417" y="2283"/>
                </a:lnTo>
                <a:lnTo>
                  <a:pt x="419" y="2287"/>
                </a:lnTo>
                <a:lnTo>
                  <a:pt x="417" y="2288"/>
                </a:lnTo>
                <a:lnTo>
                  <a:pt x="417" y="2290"/>
                </a:lnTo>
                <a:lnTo>
                  <a:pt x="417" y="2292"/>
                </a:lnTo>
                <a:lnTo>
                  <a:pt x="415" y="2295"/>
                </a:lnTo>
                <a:lnTo>
                  <a:pt x="417" y="2297"/>
                </a:lnTo>
                <a:lnTo>
                  <a:pt x="415" y="2299"/>
                </a:lnTo>
                <a:lnTo>
                  <a:pt x="415" y="2300"/>
                </a:lnTo>
                <a:lnTo>
                  <a:pt x="413" y="2302"/>
                </a:lnTo>
                <a:lnTo>
                  <a:pt x="413" y="2304"/>
                </a:lnTo>
                <a:lnTo>
                  <a:pt x="412" y="2304"/>
                </a:lnTo>
                <a:lnTo>
                  <a:pt x="410" y="2305"/>
                </a:lnTo>
                <a:lnTo>
                  <a:pt x="408" y="2307"/>
                </a:lnTo>
                <a:lnTo>
                  <a:pt x="408" y="2309"/>
                </a:lnTo>
                <a:lnTo>
                  <a:pt x="408" y="2310"/>
                </a:lnTo>
                <a:lnTo>
                  <a:pt x="405" y="2314"/>
                </a:lnTo>
                <a:lnTo>
                  <a:pt x="403" y="2316"/>
                </a:lnTo>
                <a:lnTo>
                  <a:pt x="403" y="2317"/>
                </a:lnTo>
                <a:lnTo>
                  <a:pt x="402" y="2317"/>
                </a:lnTo>
                <a:lnTo>
                  <a:pt x="403" y="2319"/>
                </a:lnTo>
                <a:lnTo>
                  <a:pt x="403" y="2322"/>
                </a:lnTo>
                <a:lnTo>
                  <a:pt x="402" y="2324"/>
                </a:lnTo>
                <a:lnTo>
                  <a:pt x="400" y="2326"/>
                </a:lnTo>
                <a:lnTo>
                  <a:pt x="396" y="2328"/>
                </a:lnTo>
                <a:lnTo>
                  <a:pt x="395" y="2329"/>
                </a:lnTo>
                <a:lnTo>
                  <a:pt x="393" y="2331"/>
                </a:lnTo>
                <a:lnTo>
                  <a:pt x="393" y="2334"/>
                </a:lnTo>
                <a:lnTo>
                  <a:pt x="393" y="2336"/>
                </a:lnTo>
                <a:lnTo>
                  <a:pt x="391" y="2334"/>
                </a:lnTo>
                <a:lnTo>
                  <a:pt x="390" y="2334"/>
                </a:lnTo>
                <a:lnTo>
                  <a:pt x="388" y="2334"/>
                </a:lnTo>
                <a:lnTo>
                  <a:pt x="390" y="2333"/>
                </a:lnTo>
                <a:lnTo>
                  <a:pt x="386" y="2334"/>
                </a:lnTo>
                <a:lnTo>
                  <a:pt x="388" y="2334"/>
                </a:lnTo>
                <a:lnTo>
                  <a:pt x="388" y="2336"/>
                </a:lnTo>
                <a:lnTo>
                  <a:pt x="388" y="2338"/>
                </a:lnTo>
                <a:lnTo>
                  <a:pt x="390" y="2339"/>
                </a:lnTo>
                <a:lnTo>
                  <a:pt x="391" y="2338"/>
                </a:lnTo>
                <a:lnTo>
                  <a:pt x="390" y="2339"/>
                </a:lnTo>
                <a:lnTo>
                  <a:pt x="391" y="2341"/>
                </a:lnTo>
                <a:lnTo>
                  <a:pt x="393" y="2343"/>
                </a:lnTo>
                <a:lnTo>
                  <a:pt x="391" y="2345"/>
                </a:lnTo>
                <a:lnTo>
                  <a:pt x="390" y="2348"/>
                </a:lnTo>
                <a:lnTo>
                  <a:pt x="388" y="2346"/>
                </a:lnTo>
                <a:lnTo>
                  <a:pt x="385" y="2345"/>
                </a:lnTo>
                <a:lnTo>
                  <a:pt x="383" y="2345"/>
                </a:lnTo>
                <a:lnTo>
                  <a:pt x="379" y="2345"/>
                </a:lnTo>
                <a:lnTo>
                  <a:pt x="379" y="2343"/>
                </a:lnTo>
                <a:lnTo>
                  <a:pt x="378" y="2341"/>
                </a:lnTo>
                <a:lnTo>
                  <a:pt x="376" y="2341"/>
                </a:lnTo>
                <a:lnTo>
                  <a:pt x="378" y="2341"/>
                </a:lnTo>
                <a:lnTo>
                  <a:pt x="379" y="2343"/>
                </a:lnTo>
                <a:lnTo>
                  <a:pt x="378" y="2341"/>
                </a:lnTo>
                <a:lnTo>
                  <a:pt x="376" y="2341"/>
                </a:lnTo>
                <a:lnTo>
                  <a:pt x="374" y="2341"/>
                </a:lnTo>
                <a:lnTo>
                  <a:pt x="373" y="2341"/>
                </a:lnTo>
                <a:lnTo>
                  <a:pt x="373" y="2339"/>
                </a:lnTo>
                <a:lnTo>
                  <a:pt x="373" y="2341"/>
                </a:lnTo>
                <a:lnTo>
                  <a:pt x="374" y="2338"/>
                </a:lnTo>
                <a:lnTo>
                  <a:pt x="373" y="2338"/>
                </a:lnTo>
                <a:lnTo>
                  <a:pt x="373" y="2339"/>
                </a:lnTo>
                <a:lnTo>
                  <a:pt x="371" y="2339"/>
                </a:lnTo>
                <a:lnTo>
                  <a:pt x="369" y="2341"/>
                </a:lnTo>
                <a:lnTo>
                  <a:pt x="371" y="2339"/>
                </a:lnTo>
                <a:lnTo>
                  <a:pt x="371" y="2341"/>
                </a:lnTo>
                <a:lnTo>
                  <a:pt x="371" y="2343"/>
                </a:lnTo>
                <a:lnTo>
                  <a:pt x="368" y="2343"/>
                </a:lnTo>
                <a:lnTo>
                  <a:pt x="366" y="2345"/>
                </a:lnTo>
                <a:lnTo>
                  <a:pt x="368" y="2343"/>
                </a:lnTo>
                <a:lnTo>
                  <a:pt x="368" y="2341"/>
                </a:lnTo>
                <a:lnTo>
                  <a:pt x="368" y="2339"/>
                </a:lnTo>
                <a:lnTo>
                  <a:pt x="366" y="2336"/>
                </a:lnTo>
                <a:lnTo>
                  <a:pt x="366" y="2338"/>
                </a:lnTo>
                <a:lnTo>
                  <a:pt x="364" y="2339"/>
                </a:lnTo>
                <a:lnTo>
                  <a:pt x="364" y="2341"/>
                </a:lnTo>
                <a:lnTo>
                  <a:pt x="366" y="2341"/>
                </a:lnTo>
                <a:lnTo>
                  <a:pt x="362" y="2343"/>
                </a:lnTo>
                <a:lnTo>
                  <a:pt x="361" y="2343"/>
                </a:lnTo>
                <a:lnTo>
                  <a:pt x="357" y="2343"/>
                </a:lnTo>
                <a:lnTo>
                  <a:pt x="361" y="2341"/>
                </a:lnTo>
                <a:lnTo>
                  <a:pt x="357" y="2341"/>
                </a:lnTo>
                <a:lnTo>
                  <a:pt x="357" y="2339"/>
                </a:lnTo>
                <a:lnTo>
                  <a:pt x="357" y="2341"/>
                </a:lnTo>
                <a:lnTo>
                  <a:pt x="359" y="2341"/>
                </a:lnTo>
                <a:lnTo>
                  <a:pt x="357" y="2341"/>
                </a:lnTo>
                <a:lnTo>
                  <a:pt x="356" y="2341"/>
                </a:lnTo>
                <a:lnTo>
                  <a:pt x="352" y="2341"/>
                </a:lnTo>
                <a:lnTo>
                  <a:pt x="351" y="2341"/>
                </a:lnTo>
                <a:lnTo>
                  <a:pt x="347" y="2339"/>
                </a:lnTo>
                <a:lnTo>
                  <a:pt x="345" y="2339"/>
                </a:lnTo>
                <a:lnTo>
                  <a:pt x="344" y="2339"/>
                </a:lnTo>
                <a:lnTo>
                  <a:pt x="342" y="2341"/>
                </a:lnTo>
                <a:lnTo>
                  <a:pt x="339" y="2341"/>
                </a:lnTo>
                <a:lnTo>
                  <a:pt x="337" y="2339"/>
                </a:lnTo>
                <a:lnTo>
                  <a:pt x="337" y="2341"/>
                </a:lnTo>
                <a:lnTo>
                  <a:pt x="335" y="2341"/>
                </a:lnTo>
                <a:lnTo>
                  <a:pt x="334" y="2341"/>
                </a:lnTo>
                <a:lnTo>
                  <a:pt x="335" y="2343"/>
                </a:lnTo>
                <a:lnTo>
                  <a:pt x="337" y="2341"/>
                </a:lnTo>
                <a:lnTo>
                  <a:pt x="337" y="2343"/>
                </a:lnTo>
                <a:lnTo>
                  <a:pt x="339" y="2345"/>
                </a:lnTo>
                <a:lnTo>
                  <a:pt x="337" y="2345"/>
                </a:lnTo>
                <a:lnTo>
                  <a:pt x="335" y="2348"/>
                </a:lnTo>
                <a:lnTo>
                  <a:pt x="334" y="2348"/>
                </a:lnTo>
                <a:lnTo>
                  <a:pt x="330" y="2348"/>
                </a:lnTo>
                <a:lnTo>
                  <a:pt x="328" y="2350"/>
                </a:lnTo>
                <a:lnTo>
                  <a:pt x="327" y="2348"/>
                </a:lnTo>
                <a:lnTo>
                  <a:pt x="325" y="2348"/>
                </a:lnTo>
                <a:lnTo>
                  <a:pt x="323" y="2348"/>
                </a:lnTo>
                <a:lnTo>
                  <a:pt x="322" y="2350"/>
                </a:lnTo>
                <a:lnTo>
                  <a:pt x="322" y="2351"/>
                </a:lnTo>
                <a:lnTo>
                  <a:pt x="318" y="2351"/>
                </a:lnTo>
                <a:lnTo>
                  <a:pt x="317" y="2351"/>
                </a:lnTo>
                <a:lnTo>
                  <a:pt x="315" y="2353"/>
                </a:lnTo>
                <a:lnTo>
                  <a:pt x="315" y="2355"/>
                </a:lnTo>
                <a:lnTo>
                  <a:pt x="313" y="2355"/>
                </a:lnTo>
                <a:lnTo>
                  <a:pt x="310" y="2355"/>
                </a:lnTo>
                <a:lnTo>
                  <a:pt x="308" y="2355"/>
                </a:lnTo>
                <a:lnTo>
                  <a:pt x="306" y="2355"/>
                </a:lnTo>
                <a:lnTo>
                  <a:pt x="305" y="2353"/>
                </a:lnTo>
                <a:lnTo>
                  <a:pt x="305" y="2351"/>
                </a:lnTo>
                <a:lnTo>
                  <a:pt x="306" y="2351"/>
                </a:lnTo>
                <a:lnTo>
                  <a:pt x="308" y="2351"/>
                </a:lnTo>
                <a:lnTo>
                  <a:pt x="310" y="2350"/>
                </a:lnTo>
                <a:lnTo>
                  <a:pt x="308" y="2350"/>
                </a:lnTo>
                <a:lnTo>
                  <a:pt x="306" y="2350"/>
                </a:lnTo>
                <a:lnTo>
                  <a:pt x="305" y="2350"/>
                </a:lnTo>
                <a:lnTo>
                  <a:pt x="303" y="2350"/>
                </a:lnTo>
                <a:lnTo>
                  <a:pt x="303" y="2348"/>
                </a:lnTo>
                <a:lnTo>
                  <a:pt x="301" y="2350"/>
                </a:lnTo>
                <a:lnTo>
                  <a:pt x="303" y="2350"/>
                </a:lnTo>
                <a:lnTo>
                  <a:pt x="303" y="2351"/>
                </a:lnTo>
                <a:lnTo>
                  <a:pt x="301" y="2351"/>
                </a:lnTo>
                <a:lnTo>
                  <a:pt x="303" y="2353"/>
                </a:lnTo>
                <a:lnTo>
                  <a:pt x="301" y="2353"/>
                </a:lnTo>
                <a:lnTo>
                  <a:pt x="301" y="2351"/>
                </a:lnTo>
                <a:lnTo>
                  <a:pt x="300" y="2351"/>
                </a:lnTo>
                <a:lnTo>
                  <a:pt x="301" y="2353"/>
                </a:lnTo>
                <a:lnTo>
                  <a:pt x="303" y="2353"/>
                </a:lnTo>
                <a:lnTo>
                  <a:pt x="303" y="2355"/>
                </a:lnTo>
                <a:lnTo>
                  <a:pt x="301" y="2355"/>
                </a:lnTo>
                <a:lnTo>
                  <a:pt x="300" y="2355"/>
                </a:lnTo>
                <a:lnTo>
                  <a:pt x="301" y="2355"/>
                </a:lnTo>
                <a:lnTo>
                  <a:pt x="301" y="2356"/>
                </a:lnTo>
                <a:lnTo>
                  <a:pt x="300" y="2358"/>
                </a:lnTo>
                <a:lnTo>
                  <a:pt x="298" y="2358"/>
                </a:lnTo>
                <a:lnTo>
                  <a:pt x="294" y="2360"/>
                </a:lnTo>
                <a:lnTo>
                  <a:pt x="294" y="2356"/>
                </a:lnTo>
                <a:lnTo>
                  <a:pt x="294" y="2358"/>
                </a:lnTo>
                <a:lnTo>
                  <a:pt x="294" y="2356"/>
                </a:lnTo>
                <a:lnTo>
                  <a:pt x="294" y="2358"/>
                </a:lnTo>
                <a:lnTo>
                  <a:pt x="293" y="2360"/>
                </a:lnTo>
                <a:lnTo>
                  <a:pt x="293" y="2356"/>
                </a:lnTo>
                <a:lnTo>
                  <a:pt x="291" y="2356"/>
                </a:lnTo>
                <a:lnTo>
                  <a:pt x="291" y="2358"/>
                </a:lnTo>
                <a:lnTo>
                  <a:pt x="293" y="2356"/>
                </a:lnTo>
                <a:lnTo>
                  <a:pt x="293" y="2358"/>
                </a:lnTo>
                <a:lnTo>
                  <a:pt x="291" y="2358"/>
                </a:lnTo>
                <a:lnTo>
                  <a:pt x="291" y="2360"/>
                </a:lnTo>
                <a:lnTo>
                  <a:pt x="289" y="2360"/>
                </a:lnTo>
                <a:lnTo>
                  <a:pt x="289" y="2362"/>
                </a:lnTo>
                <a:lnTo>
                  <a:pt x="289" y="2363"/>
                </a:lnTo>
                <a:lnTo>
                  <a:pt x="289" y="2362"/>
                </a:lnTo>
                <a:lnTo>
                  <a:pt x="288" y="2360"/>
                </a:lnTo>
                <a:lnTo>
                  <a:pt x="286" y="2360"/>
                </a:lnTo>
                <a:lnTo>
                  <a:pt x="284" y="2360"/>
                </a:lnTo>
                <a:lnTo>
                  <a:pt x="284" y="2358"/>
                </a:lnTo>
                <a:lnTo>
                  <a:pt x="283" y="2360"/>
                </a:lnTo>
                <a:lnTo>
                  <a:pt x="284" y="2360"/>
                </a:lnTo>
                <a:lnTo>
                  <a:pt x="283" y="2360"/>
                </a:lnTo>
                <a:lnTo>
                  <a:pt x="283" y="2362"/>
                </a:lnTo>
                <a:lnTo>
                  <a:pt x="281" y="2363"/>
                </a:lnTo>
                <a:lnTo>
                  <a:pt x="279" y="2363"/>
                </a:lnTo>
                <a:lnTo>
                  <a:pt x="279" y="2362"/>
                </a:lnTo>
                <a:lnTo>
                  <a:pt x="277" y="2362"/>
                </a:lnTo>
                <a:lnTo>
                  <a:pt x="276" y="2360"/>
                </a:lnTo>
                <a:lnTo>
                  <a:pt x="274" y="2360"/>
                </a:lnTo>
                <a:lnTo>
                  <a:pt x="274" y="2362"/>
                </a:lnTo>
                <a:lnTo>
                  <a:pt x="274" y="2363"/>
                </a:lnTo>
                <a:lnTo>
                  <a:pt x="271" y="2363"/>
                </a:lnTo>
                <a:lnTo>
                  <a:pt x="271" y="2362"/>
                </a:lnTo>
                <a:lnTo>
                  <a:pt x="269" y="2362"/>
                </a:lnTo>
                <a:lnTo>
                  <a:pt x="269" y="2360"/>
                </a:lnTo>
                <a:lnTo>
                  <a:pt x="269" y="2362"/>
                </a:lnTo>
                <a:lnTo>
                  <a:pt x="266" y="2360"/>
                </a:lnTo>
                <a:lnTo>
                  <a:pt x="266" y="2362"/>
                </a:lnTo>
                <a:lnTo>
                  <a:pt x="264" y="2360"/>
                </a:lnTo>
                <a:lnTo>
                  <a:pt x="264" y="2358"/>
                </a:lnTo>
                <a:lnTo>
                  <a:pt x="262" y="2360"/>
                </a:lnTo>
                <a:lnTo>
                  <a:pt x="264" y="2360"/>
                </a:lnTo>
                <a:lnTo>
                  <a:pt x="264" y="2362"/>
                </a:lnTo>
                <a:lnTo>
                  <a:pt x="260" y="2362"/>
                </a:lnTo>
                <a:lnTo>
                  <a:pt x="262" y="2362"/>
                </a:lnTo>
                <a:lnTo>
                  <a:pt x="259" y="2363"/>
                </a:lnTo>
                <a:lnTo>
                  <a:pt x="257" y="2363"/>
                </a:lnTo>
                <a:lnTo>
                  <a:pt x="257" y="2362"/>
                </a:lnTo>
                <a:lnTo>
                  <a:pt x="255" y="2363"/>
                </a:lnTo>
                <a:lnTo>
                  <a:pt x="255" y="2362"/>
                </a:lnTo>
                <a:lnTo>
                  <a:pt x="255" y="2363"/>
                </a:lnTo>
                <a:lnTo>
                  <a:pt x="254" y="2363"/>
                </a:lnTo>
                <a:lnTo>
                  <a:pt x="252" y="2363"/>
                </a:lnTo>
                <a:lnTo>
                  <a:pt x="252" y="2362"/>
                </a:lnTo>
                <a:lnTo>
                  <a:pt x="250" y="2360"/>
                </a:lnTo>
                <a:lnTo>
                  <a:pt x="252" y="2360"/>
                </a:lnTo>
                <a:lnTo>
                  <a:pt x="252" y="2356"/>
                </a:lnTo>
                <a:lnTo>
                  <a:pt x="252" y="2358"/>
                </a:lnTo>
                <a:lnTo>
                  <a:pt x="252" y="2356"/>
                </a:lnTo>
                <a:lnTo>
                  <a:pt x="250" y="2356"/>
                </a:lnTo>
                <a:lnTo>
                  <a:pt x="250" y="2358"/>
                </a:lnTo>
                <a:lnTo>
                  <a:pt x="250" y="2356"/>
                </a:lnTo>
                <a:lnTo>
                  <a:pt x="250" y="2358"/>
                </a:lnTo>
                <a:lnTo>
                  <a:pt x="249" y="2358"/>
                </a:lnTo>
                <a:lnTo>
                  <a:pt x="245" y="2358"/>
                </a:lnTo>
                <a:lnTo>
                  <a:pt x="247" y="2356"/>
                </a:lnTo>
                <a:lnTo>
                  <a:pt x="245" y="2358"/>
                </a:lnTo>
                <a:lnTo>
                  <a:pt x="243" y="2358"/>
                </a:lnTo>
                <a:lnTo>
                  <a:pt x="242" y="2358"/>
                </a:lnTo>
                <a:lnTo>
                  <a:pt x="243" y="2358"/>
                </a:lnTo>
                <a:lnTo>
                  <a:pt x="242" y="2358"/>
                </a:lnTo>
                <a:lnTo>
                  <a:pt x="242" y="2356"/>
                </a:lnTo>
                <a:lnTo>
                  <a:pt x="240" y="2356"/>
                </a:lnTo>
                <a:lnTo>
                  <a:pt x="240" y="2358"/>
                </a:lnTo>
                <a:lnTo>
                  <a:pt x="238" y="2358"/>
                </a:lnTo>
                <a:lnTo>
                  <a:pt x="235" y="2360"/>
                </a:lnTo>
                <a:lnTo>
                  <a:pt x="238" y="2360"/>
                </a:lnTo>
                <a:lnTo>
                  <a:pt x="237" y="2360"/>
                </a:lnTo>
                <a:lnTo>
                  <a:pt x="235" y="2360"/>
                </a:lnTo>
                <a:lnTo>
                  <a:pt x="235" y="2358"/>
                </a:lnTo>
                <a:lnTo>
                  <a:pt x="233" y="2360"/>
                </a:lnTo>
                <a:lnTo>
                  <a:pt x="233" y="2358"/>
                </a:lnTo>
                <a:lnTo>
                  <a:pt x="233" y="2356"/>
                </a:lnTo>
                <a:lnTo>
                  <a:pt x="235" y="2356"/>
                </a:lnTo>
                <a:lnTo>
                  <a:pt x="237" y="2355"/>
                </a:lnTo>
                <a:lnTo>
                  <a:pt x="240" y="2355"/>
                </a:lnTo>
                <a:lnTo>
                  <a:pt x="242" y="2355"/>
                </a:lnTo>
                <a:lnTo>
                  <a:pt x="242" y="2353"/>
                </a:lnTo>
                <a:lnTo>
                  <a:pt x="243" y="2353"/>
                </a:lnTo>
                <a:lnTo>
                  <a:pt x="245" y="2353"/>
                </a:lnTo>
                <a:lnTo>
                  <a:pt x="245" y="2351"/>
                </a:lnTo>
                <a:lnTo>
                  <a:pt x="247" y="2351"/>
                </a:lnTo>
                <a:lnTo>
                  <a:pt x="249" y="2351"/>
                </a:lnTo>
                <a:lnTo>
                  <a:pt x="245" y="2351"/>
                </a:lnTo>
                <a:lnTo>
                  <a:pt x="243" y="2351"/>
                </a:lnTo>
                <a:lnTo>
                  <a:pt x="242" y="2353"/>
                </a:lnTo>
                <a:lnTo>
                  <a:pt x="238" y="2353"/>
                </a:lnTo>
                <a:lnTo>
                  <a:pt x="237" y="2353"/>
                </a:lnTo>
                <a:lnTo>
                  <a:pt x="235" y="2353"/>
                </a:lnTo>
                <a:lnTo>
                  <a:pt x="233" y="2353"/>
                </a:lnTo>
                <a:lnTo>
                  <a:pt x="237" y="2351"/>
                </a:lnTo>
                <a:lnTo>
                  <a:pt x="238" y="2350"/>
                </a:lnTo>
                <a:lnTo>
                  <a:pt x="240" y="2350"/>
                </a:lnTo>
                <a:lnTo>
                  <a:pt x="243" y="2350"/>
                </a:lnTo>
                <a:lnTo>
                  <a:pt x="247" y="2350"/>
                </a:lnTo>
                <a:lnTo>
                  <a:pt x="247" y="2348"/>
                </a:lnTo>
                <a:lnTo>
                  <a:pt x="250" y="2348"/>
                </a:lnTo>
                <a:lnTo>
                  <a:pt x="252" y="2348"/>
                </a:lnTo>
                <a:lnTo>
                  <a:pt x="254" y="2348"/>
                </a:lnTo>
                <a:lnTo>
                  <a:pt x="252" y="2346"/>
                </a:lnTo>
                <a:lnTo>
                  <a:pt x="254" y="2345"/>
                </a:lnTo>
                <a:lnTo>
                  <a:pt x="250" y="2345"/>
                </a:lnTo>
                <a:lnTo>
                  <a:pt x="250" y="2343"/>
                </a:lnTo>
                <a:lnTo>
                  <a:pt x="249" y="2343"/>
                </a:lnTo>
                <a:lnTo>
                  <a:pt x="249" y="2345"/>
                </a:lnTo>
                <a:lnTo>
                  <a:pt x="247" y="2345"/>
                </a:lnTo>
                <a:lnTo>
                  <a:pt x="247" y="2346"/>
                </a:lnTo>
                <a:lnTo>
                  <a:pt x="243" y="2346"/>
                </a:lnTo>
                <a:lnTo>
                  <a:pt x="243" y="2345"/>
                </a:lnTo>
                <a:lnTo>
                  <a:pt x="242" y="2345"/>
                </a:lnTo>
                <a:lnTo>
                  <a:pt x="240" y="2346"/>
                </a:lnTo>
                <a:lnTo>
                  <a:pt x="240" y="2345"/>
                </a:lnTo>
                <a:lnTo>
                  <a:pt x="238" y="2346"/>
                </a:lnTo>
                <a:lnTo>
                  <a:pt x="235" y="2345"/>
                </a:lnTo>
                <a:lnTo>
                  <a:pt x="233" y="2345"/>
                </a:lnTo>
                <a:lnTo>
                  <a:pt x="232" y="2345"/>
                </a:lnTo>
                <a:lnTo>
                  <a:pt x="232" y="2346"/>
                </a:lnTo>
                <a:lnTo>
                  <a:pt x="230" y="2346"/>
                </a:lnTo>
                <a:lnTo>
                  <a:pt x="228" y="2346"/>
                </a:lnTo>
                <a:lnTo>
                  <a:pt x="226" y="2348"/>
                </a:lnTo>
                <a:lnTo>
                  <a:pt x="226" y="2346"/>
                </a:lnTo>
                <a:lnTo>
                  <a:pt x="223" y="2346"/>
                </a:lnTo>
                <a:lnTo>
                  <a:pt x="223" y="2345"/>
                </a:lnTo>
                <a:lnTo>
                  <a:pt x="221" y="2346"/>
                </a:lnTo>
                <a:lnTo>
                  <a:pt x="221" y="2345"/>
                </a:lnTo>
                <a:lnTo>
                  <a:pt x="223" y="2345"/>
                </a:lnTo>
                <a:lnTo>
                  <a:pt x="226" y="2345"/>
                </a:lnTo>
                <a:lnTo>
                  <a:pt x="226" y="2343"/>
                </a:lnTo>
                <a:lnTo>
                  <a:pt x="225" y="2341"/>
                </a:lnTo>
                <a:lnTo>
                  <a:pt x="226" y="2341"/>
                </a:lnTo>
                <a:lnTo>
                  <a:pt x="228" y="2341"/>
                </a:lnTo>
                <a:lnTo>
                  <a:pt x="232" y="2341"/>
                </a:lnTo>
                <a:lnTo>
                  <a:pt x="233" y="2339"/>
                </a:lnTo>
                <a:lnTo>
                  <a:pt x="230" y="2339"/>
                </a:lnTo>
                <a:lnTo>
                  <a:pt x="232" y="2338"/>
                </a:lnTo>
                <a:lnTo>
                  <a:pt x="233" y="2338"/>
                </a:lnTo>
                <a:lnTo>
                  <a:pt x="237" y="2338"/>
                </a:lnTo>
                <a:lnTo>
                  <a:pt x="235" y="2339"/>
                </a:lnTo>
                <a:lnTo>
                  <a:pt x="237" y="2338"/>
                </a:lnTo>
                <a:lnTo>
                  <a:pt x="238" y="2336"/>
                </a:lnTo>
                <a:lnTo>
                  <a:pt x="237" y="2338"/>
                </a:lnTo>
                <a:lnTo>
                  <a:pt x="240" y="2338"/>
                </a:lnTo>
                <a:lnTo>
                  <a:pt x="238" y="2338"/>
                </a:lnTo>
                <a:lnTo>
                  <a:pt x="240" y="2338"/>
                </a:lnTo>
                <a:lnTo>
                  <a:pt x="240" y="2339"/>
                </a:lnTo>
                <a:lnTo>
                  <a:pt x="240" y="2338"/>
                </a:lnTo>
                <a:lnTo>
                  <a:pt x="238" y="2336"/>
                </a:lnTo>
                <a:lnTo>
                  <a:pt x="242" y="2336"/>
                </a:lnTo>
                <a:lnTo>
                  <a:pt x="243" y="2334"/>
                </a:lnTo>
                <a:lnTo>
                  <a:pt x="245" y="2334"/>
                </a:lnTo>
                <a:lnTo>
                  <a:pt x="247" y="2334"/>
                </a:lnTo>
                <a:lnTo>
                  <a:pt x="249" y="2334"/>
                </a:lnTo>
                <a:lnTo>
                  <a:pt x="250" y="2334"/>
                </a:lnTo>
                <a:lnTo>
                  <a:pt x="247" y="2333"/>
                </a:lnTo>
                <a:lnTo>
                  <a:pt x="243" y="2333"/>
                </a:lnTo>
                <a:lnTo>
                  <a:pt x="242" y="2334"/>
                </a:lnTo>
                <a:lnTo>
                  <a:pt x="240" y="2334"/>
                </a:lnTo>
                <a:lnTo>
                  <a:pt x="237" y="2336"/>
                </a:lnTo>
                <a:lnTo>
                  <a:pt x="238" y="2334"/>
                </a:lnTo>
                <a:lnTo>
                  <a:pt x="237" y="2334"/>
                </a:lnTo>
                <a:lnTo>
                  <a:pt x="237" y="2333"/>
                </a:lnTo>
                <a:lnTo>
                  <a:pt x="235" y="2334"/>
                </a:lnTo>
                <a:lnTo>
                  <a:pt x="233" y="2334"/>
                </a:lnTo>
                <a:lnTo>
                  <a:pt x="232" y="2334"/>
                </a:lnTo>
                <a:lnTo>
                  <a:pt x="230" y="2336"/>
                </a:lnTo>
                <a:lnTo>
                  <a:pt x="230" y="2334"/>
                </a:lnTo>
                <a:lnTo>
                  <a:pt x="228" y="2336"/>
                </a:lnTo>
                <a:lnTo>
                  <a:pt x="226" y="2336"/>
                </a:lnTo>
                <a:lnTo>
                  <a:pt x="225" y="2336"/>
                </a:lnTo>
                <a:lnTo>
                  <a:pt x="226" y="2334"/>
                </a:lnTo>
                <a:lnTo>
                  <a:pt x="225" y="2334"/>
                </a:lnTo>
                <a:lnTo>
                  <a:pt x="221" y="2333"/>
                </a:lnTo>
                <a:lnTo>
                  <a:pt x="225" y="2333"/>
                </a:lnTo>
                <a:lnTo>
                  <a:pt x="225" y="2329"/>
                </a:lnTo>
                <a:lnTo>
                  <a:pt x="225" y="2328"/>
                </a:lnTo>
                <a:lnTo>
                  <a:pt x="226" y="2328"/>
                </a:lnTo>
                <a:lnTo>
                  <a:pt x="223" y="2328"/>
                </a:lnTo>
                <a:lnTo>
                  <a:pt x="221" y="2329"/>
                </a:lnTo>
                <a:lnTo>
                  <a:pt x="220" y="2329"/>
                </a:lnTo>
                <a:lnTo>
                  <a:pt x="218" y="2331"/>
                </a:lnTo>
                <a:lnTo>
                  <a:pt x="216" y="2329"/>
                </a:lnTo>
                <a:lnTo>
                  <a:pt x="218" y="2329"/>
                </a:lnTo>
                <a:lnTo>
                  <a:pt x="218" y="2326"/>
                </a:lnTo>
                <a:lnTo>
                  <a:pt x="216" y="2326"/>
                </a:lnTo>
                <a:lnTo>
                  <a:pt x="216" y="2322"/>
                </a:lnTo>
                <a:lnTo>
                  <a:pt x="220" y="2324"/>
                </a:lnTo>
                <a:lnTo>
                  <a:pt x="221" y="2324"/>
                </a:lnTo>
                <a:lnTo>
                  <a:pt x="223" y="2322"/>
                </a:lnTo>
                <a:lnTo>
                  <a:pt x="223" y="2324"/>
                </a:lnTo>
                <a:lnTo>
                  <a:pt x="223" y="2322"/>
                </a:lnTo>
                <a:lnTo>
                  <a:pt x="223" y="2321"/>
                </a:lnTo>
                <a:lnTo>
                  <a:pt x="225" y="2321"/>
                </a:lnTo>
                <a:lnTo>
                  <a:pt x="226" y="2321"/>
                </a:lnTo>
                <a:lnTo>
                  <a:pt x="228" y="2321"/>
                </a:lnTo>
                <a:lnTo>
                  <a:pt x="226" y="2321"/>
                </a:lnTo>
                <a:lnTo>
                  <a:pt x="225" y="2321"/>
                </a:lnTo>
                <a:lnTo>
                  <a:pt x="223" y="2321"/>
                </a:lnTo>
                <a:lnTo>
                  <a:pt x="221" y="2319"/>
                </a:lnTo>
                <a:lnTo>
                  <a:pt x="225" y="2319"/>
                </a:lnTo>
                <a:lnTo>
                  <a:pt x="225" y="2317"/>
                </a:lnTo>
                <a:lnTo>
                  <a:pt x="226" y="2319"/>
                </a:lnTo>
                <a:lnTo>
                  <a:pt x="226" y="2317"/>
                </a:lnTo>
                <a:lnTo>
                  <a:pt x="230" y="2317"/>
                </a:lnTo>
                <a:lnTo>
                  <a:pt x="232" y="2317"/>
                </a:lnTo>
                <a:lnTo>
                  <a:pt x="233" y="2317"/>
                </a:lnTo>
                <a:lnTo>
                  <a:pt x="235" y="2317"/>
                </a:lnTo>
                <a:lnTo>
                  <a:pt x="237" y="2317"/>
                </a:lnTo>
                <a:lnTo>
                  <a:pt x="238" y="2314"/>
                </a:lnTo>
                <a:lnTo>
                  <a:pt x="238" y="2317"/>
                </a:lnTo>
                <a:lnTo>
                  <a:pt x="240" y="2316"/>
                </a:lnTo>
                <a:lnTo>
                  <a:pt x="240" y="2317"/>
                </a:lnTo>
                <a:lnTo>
                  <a:pt x="240" y="2316"/>
                </a:lnTo>
                <a:lnTo>
                  <a:pt x="242" y="2314"/>
                </a:lnTo>
                <a:lnTo>
                  <a:pt x="242" y="2312"/>
                </a:lnTo>
                <a:lnTo>
                  <a:pt x="242" y="2314"/>
                </a:lnTo>
                <a:lnTo>
                  <a:pt x="243" y="2314"/>
                </a:lnTo>
                <a:lnTo>
                  <a:pt x="245" y="2314"/>
                </a:lnTo>
                <a:lnTo>
                  <a:pt x="247" y="2314"/>
                </a:lnTo>
                <a:lnTo>
                  <a:pt x="247" y="2312"/>
                </a:lnTo>
                <a:lnTo>
                  <a:pt x="243" y="2310"/>
                </a:lnTo>
                <a:lnTo>
                  <a:pt x="240" y="2310"/>
                </a:lnTo>
                <a:lnTo>
                  <a:pt x="240" y="2314"/>
                </a:lnTo>
                <a:lnTo>
                  <a:pt x="240" y="2312"/>
                </a:lnTo>
                <a:lnTo>
                  <a:pt x="238" y="2310"/>
                </a:lnTo>
                <a:lnTo>
                  <a:pt x="237" y="2310"/>
                </a:lnTo>
                <a:lnTo>
                  <a:pt x="233" y="2310"/>
                </a:lnTo>
                <a:lnTo>
                  <a:pt x="232" y="2310"/>
                </a:lnTo>
                <a:lnTo>
                  <a:pt x="230" y="2310"/>
                </a:lnTo>
                <a:lnTo>
                  <a:pt x="230" y="2309"/>
                </a:lnTo>
                <a:lnTo>
                  <a:pt x="228" y="2309"/>
                </a:lnTo>
                <a:lnTo>
                  <a:pt x="226" y="2307"/>
                </a:lnTo>
                <a:lnTo>
                  <a:pt x="225" y="2307"/>
                </a:lnTo>
                <a:lnTo>
                  <a:pt x="226" y="2309"/>
                </a:lnTo>
                <a:lnTo>
                  <a:pt x="225" y="2309"/>
                </a:lnTo>
                <a:lnTo>
                  <a:pt x="223" y="2307"/>
                </a:lnTo>
                <a:lnTo>
                  <a:pt x="223" y="2309"/>
                </a:lnTo>
                <a:lnTo>
                  <a:pt x="221" y="2309"/>
                </a:lnTo>
                <a:lnTo>
                  <a:pt x="220" y="2309"/>
                </a:lnTo>
                <a:lnTo>
                  <a:pt x="218" y="2307"/>
                </a:lnTo>
                <a:lnTo>
                  <a:pt x="220" y="2307"/>
                </a:lnTo>
                <a:lnTo>
                  <a:pt x="218" y="2304"/>
                </a:lnTo>
                <a:lnTo>
                  <a:pt x="221" y="2304"/>
                </a:lnTo>
                <a:lnTo>
                  <a:pt x="220" y="2302"/>
                </a:lnTo>
                <a:lnTo>
                  <a:pt x="221" y="2302"/>
                </a:lnTo>
                <a:lnTo>
                  <a:pt x="223" y="2302"/>
                </a:lnTo>
                <a:lnTo>
                  <a:pt x="221" y="2302"/>
                </a:lnTo>
                <a:lnTo>
                  <a:pt x="223" y="2304"/>
                </a:lnTo>
                <a:lnTo>
                  <a:pt x="223" y="2302"/>
                </a:lnTo>
                <a:lnTo>
                  <a:pt x="225" y="2302"/>
                </a:lnTo>
                <a:lnTo>
                  <a:pt x="225" y="2300"/>
                </a:lnTo>
                <a:lnTo>
                  <a:pt x="228" y="2300"/>
                </a:lnTo>
                <a:lnTo>
                  <a:pt x="228" y="2299"/>
                </a:lnTo>
                <a:lnTo>
                  <a:pt x="232" y="2299"/>
                </a:lnTo>
                <a:lnTo>
                  <a:pt x="233" y="2299"/>
                </a:lnTo>
                <a:lnTo>
                  <a:pt x="235" y="2300"/>
                </a:lnTo>
                <a:lnTo>
                  <a:pt x="233" y="2302"/>
                </a:lnTo>
                <a:lnTo>
                  <a:pt x="235" y="2302"/>
                </a:lnTo>
                <a:lnTo>
                  <a:pt x="237" y="2302"/>
                </a:lnTo>
                <a:lnTo>
                  <a:pt x="238" y="2302"/>
                </a:lnTo>
                <a:lnTo>
                  <a:pt x="240" y="2300"/>
                </a:lnTo>
                <a:lnTo>
                  <a:pt x="238" y="2299"/>
                </a:lnTo>
                <a:lnTo>
                  <a:pt x="240" y="2299"/>
                </a:lnTo>
                <a:lnTo>
                  <a:pt x="242" y="2299"/>
                </a:lnTo>
                <a:lnTo>
                  <a:pt x="240" y="2302"/>
                </a:lnTo>
                <a:lnTo>
                  <a:pt x="240" y="2304"/>
                </a:lnTo>
                <a:lnTo>
                  <a:pt x="242" y="2305"/>
                </a:lnTo>
                <a:lnTo>
                  <a:pt x="243" y="2305"/>
                </a:lnTo>
                <a:lnTo>
                  <a:pt x="245" y="2305"/>
                </a:lnTo>
                <a:lnTo>
                  <a:pt x="247" y="2305"/>
                </a:lnTo>
                <a:lnTo>
                  <a:pt x="249" y="2305"/>
                </a:lnTo>
                <a:lnTo>
                  <a:pt x="247" y="2305"/>
                </a:lnTo>
                <a:lnTo>
                  <a:pt x="249" y="2305"/>
                </a:lnTo>
                <a:lnTo>
                  <a:pt x="250" y="2307"/>
                </a:lnTo>
                <a:lnTo>
                  <a:pt x="252" y="2305"/>
                </a:lnTo>
                <a:lnTo>
                  <a:pt x="250" y="2304"/>
                </a:lnTo>
                <a:lnTo>
                  <a:pt x="249" y="2304"/>
                </a:lnTo>
                <a:lnTo>
                  <a:pt x="247" y="2304"/>
                </a:lnTo>
                <a:lnTo>
                  <a:pt x="245" y="2304"/>
                </a:lnTo>
                <a:lnTo>
                  <a:pt x="247" y="2300"/>
                </a:lnTo>
                <a:lnTo>
                  <a:pt x="247" y="2302"/>
                </a:lnTo>
                <a:lnTo>
                  <a:pt x="249" y="2302"/>
                </a:lnTo>
                <a:lnTo>
                  <a:pt x="247" y="2302"/>
                </a:lnTo>
                <a:lnTo>
                  <a:pt x="249" y="2300"/>
                </a:lnTo>
                <a:lnTo>
                  <a:pt x="249" y="2299"/>
                </a:lnTo>
                <a:lnTo>
                  <a:pt x="250" y="2297"/>
                </a:lnTo>
                <a:lnTo>
                  <a:pt x="250" y="2295"/>
                </a:lnTo>
                <a:lnTo>
                  <a:pt x="247" y="2295"/>
                </a:lnTo>
                <a:lnTo>
                  <a:pt x="245" y="2293"/>
                </a:lnTo>
                <a:lnTo>
                  <a:pt x="245" y="2292"/>
                </a:lnTo>
                <a:lnTo>
                  <a:pt x="247" y="2292"/>
                </a:lnTo>
                <a:lnTo>
                  <a:pt x="249" y="2293"/>
                </a:lnTo>
                <a:lnTo>
                  <a:pt x="250" y="2293"/>
                </a:lnTo>
                <a:lnTo>
                  <a:pt x="254" y="2292"/>
                </a:lnTo>
                <a:lnTo>
                  <a:pt x="255" y="2292"/>
                </a:lnTo>
                <a:lnTo>
                  <a:pt x="257" y="2292"/>
                </a:lnTo>
                <a:lnTo>
                  <a:pt x="259" y="2290"/>
                </a:lnTo>
                <a:lnTo>
                  <a:pt x="259" y="2288"/>
                </a:lnTo>
                <a:lnTo>
                  <a:pt x="259" y="2287"/>
                </a:lnTo>
                <a:lnTo>
                  <a:pt x="260" y="2287"/>
                </a:lnTo>
                <a:lnTo>
                  <a:pt x="262" y="2285"/>
                </a:lnTo>
                <a:lnTo>
                  <a:pt x="264" y="2287"/>
                </a:lnTo>
                <a:lnTo>
                  <a:pt x="267" y="2287"/>
                </a:lnTo>
                <a:lnTo>
                  <a:pt x="267" y="2288"/>
                </a:lnTo>
                <a:lnTo>
                  <a:pt x="269" y="2287"/>
                </a:lnTo>
                <a:lnTo>
                  <a:pt x="271" y="2288"/>
                </a:lnTo>
                <a:lnTo>
                  <a:pt x="272" y="2288"/>
                </a:lnTo>
                <a:lnTo>
                  <a:pt x="274" y="2288"/>
                </a:lnTo>
                <a:lnTo>
                  <a:pt x="276" y="2290"/>
                </a:lnTo>
                <a:lnTo>
                  <a:pt x="277" y="2288"/>
                </a:lnTo>
                <a:lnTo>
                  <a:pt x="279" y="2290"/>
                </a:lnTo>
                <a:lnTo>
                  <a:pt x="281" y="2288"/>
                </a:lnTo>
                <a:lnTo>
                  <a:pt x="283" y="2288"/>
                </a:lnTo>
                <a:lnTo>
                  <a:pt x="284" y="2288"/>
                </a:lnTo>
                <a:lnTo>
                  <a:pt x="284" y="2290"/>
                </a:lnTo>
                <a:lnTo>
                  <a:pt x="286" y="2290"/>
                </a:lnTo>
                <a:lnTo>
                  <a:pt x="284" y="2288"/>
                </a:lnTo>
                <a:lnTo>
                  <a:pt x="286" y="2288"/>
                </a:lnTo>
                <a:lnTo>
                  <a:pt x="286" y="2290"/>
                </a:lnTo>
                <a:lnTo>
                  <a:pt x="288" y="2288"/>
                </a:lnTo>
                <a:lnTo>
                  <a:pt x="288" y="2290"/>
                </a:lnTo>
                <a:lnTo>
                  <a:pt x="289" y="2290"/>
                </a:lnTo>
                <a:lnTo>
                  <a:pt x="289" y="2292"/>
                </a:lnTo>
                <a:lnTo>
                  <a:pt x="289" y="2288"/>
                </a:lnTo>
                <a:lnTo>
                  <a:pt x="291" y="2287"/>
                </a:lnTo>
                <a:lnTo>
                  <a:pt x="291" y="2288"/>
                </a:lnTo>
                <a:lnTo>
                  <a:pt x="294" y="2288"/>
                </a:lnTo>
                <a:lnTo>
                  <a:pt x="296" y="2288"/>
                </a:lnTo>
                <a:lnTo>
                  <a:pt x="298" y="2290"/>
                </a:lnTo>
                <a:lnTo>
                  <a:pt x="300" y="2288"/>
                </a:lnTo>
                <a:lnTo>
                  <a:pt x="301" y="2290"/>
                </a:lnTo>
                <a:lnTo>
                  <a:pt x="305" y="2290"/>
                </a:lnTo>
                <a:lnTo>
                  <a:pt x="305" y="2288"/>
                </a:lnTo>
                <a:lnTo>
                  <a:pt x="305" y="2290"/>
                </a:lnTo>
                <a:lnTo>
                  <a:pt x="301" y="2290"/>
                </a:lnTo>
                <a:lnTo>
                  <a:pt x="301" y="2288"/>
                </a:lnTo>
                <a:lnTo>
                  <a:pt x="300" y="2288"/>
                </a:lnTo>
                <a:lnTo>
                  <a:pt x="298" y="2288"/>
                </a:lnTo>
                <a:lnTo>
                  <a:pt x="298" y="2287"/>
                </a:lnTo>
                <a:lnTo>
                  <a:pt x="296" y="2287"/>
                </a:lnTo>
                <a:lnTo>
                  <a:pt x="293" y="2287"/>
                </a:lnTo>
                <a:lnTo>
                  <a:pt x="291" y="2285"/>
                </a:lnTo>
                <a:lnTo>
                  <a:pt x="293" y="2283"/>
                </a:lnTo>
                <a:lnTo>
                  <a:pt x="293" y="2282"/>
                </a:lnTo>
                <a:lnTo>
                  <a:pt x="291" y="2282"/>
                </a:lnTo>
                <a:lnTo>
                  <a:pt x="294" y="2280"/>
                </a:lnTo>
                <a:lnTo>
                  <a:pt x="293" y="2278"/>
                </a:lnTo>
                <a:lnTo>
                  <a:pt x="293" y="2280"/>
                </a:lnTo>
                <a:lnTo>
                  <a:pt x="291" y="2280"/>
                </a:lnTo>
                <a:lnTo>
                  <a:pt x="289" y="2280"/>
                </a:lnTo>
                <a:lnTo>
                  <a:pt x="289" y="2282"/>
                </a:lnTo>
                <a:lnTo>
                  <a:pt x="288" y="2283"/>
                </a:lnTo>
                <a:lnTo>
                  <a:pt x="286" y="2285"/>
                </a:lnTo>
                <a:lnTo>
                  <a:pt x="284" y="2285"/>
                </a:lnTo>
                <a:lnTo>
                  <a:pt x="284" y="2287"/>
                </a:lnTo>
                <a:lnTo>
                  <a:pt x="281" y="2288"/>
                </a:lnTo>
                <a:lnTo>
                  <a:pt x="277" y="2287"/>
                </a:lnTo>
                <a:lnTo>
                  <a:pt x="277" y="2288"/>
                </a:lnTo>
                <a:lnTo>
                  <a:pt x="274" y="2288"/>
                </a:lnTo>
                <a:lnTo>
                  <a:pt x="274" y="2287"/>
                </a:lnTo>
                <a:lnTo>
                  <a:pt x="276" y="2287"/>
                </a:lnTo>
                <a:lnTo>
                  <a:pt x="277" y="2285"/>
                </a:lnTo>
                <a:lnTo>
                  <a:pt x="274" y="2285"/>
                </a:lnTo>
                <a:lnTo>
                  <a:pt x="274" y="2287"/>
                </a:lnTo>
                <a:lnTo>
                  <a:pt x="271" y="2287"/>
                </a:lnTo>
                <a:lnTo>
                  <a:pt x="269" y="2285"/>
                </a:lnTo>
                <a:lnTo>
                  <a:pt x="267" y="2283"/>
                </a:lnTo>
                <a:lnTo>
                  <a:pt x="269" y="2283"/>
                </a:lnTo>
                <a:lnTo>
                  <a:pt x="267" y="2283"/>
                </a:lnTo>
                <a:lnTo>
                  <a:pt x="267" y="2280"/>
                </a:lnTo>
                <a:lnTo>
                  <a:pt x="266" y="2280"/>
                </a:lnTo>
                <a:lnTo>
                  <a:pt x="266" y="2282"/>
                </a:lnTo>
                <a:lnTo>
                  <a:pt x="264" y="2283"/>
                </a:lnTo>
                <a:lnTo>
                  <a:pt x="262" y="2283"/>
                </a:lnTo>
                <a:lnTo>
                  <a:pt x="259" y="2282"/>
                </a:lnTo>
                <a:lnTo>
                  <a:pt x="259" y="2285"/>
                </a:lnTo>
                <a:lnTo>
                  <a:pt x="257" y="2283"/>
                </a:lnTo>
                <a:lnTo>
                  <a:pt x="254" y="2285"/>
                </a:lnTo>
                <a:lnTo>
                  <a:pt x="254" y="2283"/>
                </a:lnTo>
                <a:lnTo>
                  <a:pt x="250" y="2283"/>
                </a:lnTo>
                <a:lnTo>
                  <a:pt x="249" y="2283"/>
                </a:lnTo>
                <a:lnTo>
                  <a:pt x="250" y="2282"/>
                </a:lnTo>
                <a:lnTo>
                  <a:pt x="252" y="2282"/>
                </a:lnTo>
                <a:lnTo>
                  <a:pt x="255" y="2282"/>
                </a:lnTo>
                <a:lnTo>
                  <a:pt x="255" y="2280"/>
                </a:lnTo>
                <a:lnTo>
                  <a:pt x="259" y="2280"/>
                </a:lnTo>
                <a:lnTo>
                  <a:pt x="259" y="2278"/>
                </a:lnTo>
                <a:lnTo>
                  <a:pt x="262" y="2278"/>
                </a:lnTo>
                <a:lnTo>
                  <a:pt x="266" y="2276"/>
                </a:lnTo>
                <a:lnTo>
                  <a:pt x="264" y="2275"/>
                </a:lnTo>
                <a:lnTo>
                  <a:pt x="266" y="2275"/>
                </a:lnTo>
                <a:lnTo>
                  <a:pt x="269" y="2275"/>
                </a:lnTo>
                <a:lnTo>
                  <a:pt x="269" y="2276"/>
                </a:lnTo>
                <a:lnTo>
                  <a:pt x="271" y="2275"/>
                </a:lnTo>
                <a:lnTo>
                  <a:pt x="272" y="2273"/>
                </a:lnTo>
                <a:lnTo>
                  <a:pt x="272" y="2271"/>
                </a:lnTo>
                <a:lnTo>
                  <a:pt x="274" y="2271"/>
                </a:lnTo>
                <a:lnTo>
                  <a:pt x="274" y="2270"/>
                </a:lnTo>
                <a:lnTo>
                  <a:pt x="276" y="2268"/>
                </a:lnTo>
                <a:lnTo>
                  <a:pt x="277" y="2266"/>
                </a:lnTo>
                <a:lnTo>
                  <a:pt x="279" y="2266"/>
                </a:lnTo>
                <a:lnTo>
                  <a:pt x="279" y="2265"/>
                </a:lnTo>
                <a:lnTo>
                  <a:pt x="277" y="2265"/>
                </a:lnTo>
                <a:lnTo>
                  <a:pt x="276" y="2263"/>
                </a:lnTo>
                <a:lnTo>
                  <a:pt x="274" y="2263"/>
                </a:lnTo>
                <a:lnTo>
                  <a:pt x="277" y="2261"/>
                </a:lnTo>
                <a:lnTo>
                  <a:pt x="279" y="2259"/>
                </a:lnTo>
                <a:lnTo>
                  <a:pt x="279" y="2258"/>
                </a:lnTo>
                <a:lnTo>
                  <a:pt x="281" y="2256"/>
                </a:lnTo>
                <a:lnTo>
                  <a:pt x="283" y="2254"/>
                </a:lnTo>
                <a:lnTo>
                  <a:pt x="284" y="2254"/>
                </a:lnTo>
                <a:lnTo>
                  <a:pt x="286" y="2253"/>
                </a:lnTo>
                <a:lnTo>
                  <a:pt x="286" y="2251"/>
                </a:lnTo>
                <a:lnTo>
                  <a:pt x="288" y="2251"/>
                </a:lnTo>
                <a:lnTo>
                  <a:pt x="289" y="2253"/>
                </a:lnTo>
                <a:lnTo>
                  <a:pt x="291" y="2253"/>
                </a:lnTo>
                <a:lnTo>
                  <a:pt x="291" y="2254"/>
                </a:lnTo>
                <a:lnTo>
                  <a:pt x="294" y="2253"/>
                </a:lnTo>
                <a:lnTo>
                  <a:pt x="294" y="2254"/>
                </a:lnTo>
                <a:lnTo>
                  <a:pt x="294" y="2253"/>
                </a:lnTo>
                <a:lnTo>
                  <a:pt x="293" y="2253"/>
                </a:lnTo>
                <a:lnTo>
                  <a:pt x="294" y="2253"/>
                </a:lnTo>
                <a:lnTo>
                  <a:pt x="296" y="2253"/>
                </a:lnTo>
                <a:lnTo>
                  <a:pt x="298" y="2254"/>
                </a:lnTo>
                <a:lnTo>
                  <a:pt x="296" y="2253"/>
                </a:lnTo>
                <a:lnTo>
                  <a:pt x="300" y="2253"/>
                </a:lnTo>
                <a:lnTo>
                  <a:pt x="301" y="2256"/>
                </a:lnTo>
                <a:lnTo>
                  <a:pt x="300" y="2253"/>
                </a:lnTo>
                <a:lnTo>
                  <a:pt x="301" y="2251"/>
                </a:lnTo>
                <a:lnTo>
                  <a:pt x="303" y="2251"/>
                </a:lnTo>
                <a:lnTo>
                  <a:pt x="305" y="2251"/>
                </a:lnTo>
                <a:lnTo>
                  <a:pt x="303" y="2251"/>
                </a:lnTo>
                <a:lnTo>
                  <a:pt x="305" y="2249"/>
                </a:lnTo>
                <a:lnTo>
                  <a:pt x="301" y="2251"/>
                </a:lnTo>
                <a:lnTo>
                  <a:pt x="300" y="2249"/>
                </a:lnTo>
                <a:lnTo>
                  <a:pt x="301" y="2249"/>
                </a:lnTo>
                <a:lnTo>
                  <a:pt x="300" y="2248"/>
                </a:lnTo>
                <a:lnTo>
                  <a:pt x="301" y="2248"/>
                </a:lnTo>
                <a:lnTo>
                  <a:pt x="300" y="2248"/>
                </a:lnTo>
                <a:lnTo>
                  <a:pt x="303" y="2248"/>
                </a:lnTo>
                <a:lnTo>
                  <a:pt x="303" y="2246"/>
                </a:lnTo>
                <a:lnTo>
                  <a:pt x="301" y="2248"/>
                </a:lnTo>
                <a:lnTo>
                  <a:pt x="298" y="2246"/>
                </a:lnTo>
                <a:lnTo>
                  <a:pt x="294" y="2246"/>
                </a:lnTo>
                <a:lnTo>
                  <a:pt x="296" y="2246"/>
                </a:lnTo>
                <a:lnTo>
                  <a:pt x="293" y="2246"/>
                </a:lnTo>
                <a:lnTo>
                  <a:pt x="291" y="2244"/>
                </a:lnTo>
                <a:lnTo>
                  <a:pt x="289" y="2244"/>
                </a:lnTo>
                <a:lnTo>
                  <a:pt x="288" y="2244"/>
                </a:lnTo>
                <a:lnTo>
                  <a:pt x="286" y="2244"/>
                </a:lnTo>
                <a:lnTo>
                  <a:pt x="284" y="2244"/>
                </a:lnTo>
                <a:lnTo>
                  <a:pt x="281" y="2242"/>
                </a:lnTo>
                <a:lnTo>
                  <a:pt x="277" y="2242"/>
                </a:lnTo>
                <a:lnTo>
                  <a:pt x="277" y="2241"/>
                </a:lnTo>
                <a:lnTo>
                  <a:pt x="279" y="2239"/>
                </a:lnTo>
                <a:lnTo>
                  <a:pt x="277" y="2239"/>
                </a:lnTo>
                <a:lnTo>
                  <a:pt x="276" y="2241"/>
                </a:lnTo>
                <a:lnTo>
                  <a:pt x="274" y="2242"/>
                </a:lnTo>
                <a:lnTo>
                  <a:pt x="274" y="2241"/>
                </a:lnTo>
                <a:lnTo>
                  <a:pt x="276" y="2239"/>
                </a:lnTo>
                <a:lnTo>
                  <a:pt x="276" y="2237"/>
                </a:lnTo>
                <a:lnTo>
                  <a:pt x="276" y="2236"/>
                </a:lnTo>
                <a:lnTo>
                  <a:pt x="277" y="2236"/>
                </a:lnTo>
                <a:lnTo>
                  <a:pt x="279" y="2234"/>
                </a:lnTo>
                <a:lnTo>
                  <a:pt x="279" y="2237"/>
                </a:lnTo>
                <a:lnTo>
                  <a:pt x="279" y="2234"/>
                </a:lnTo>
                <a:lnTo>
                  <a:pt x="277" y="2232"/>
                </a:lnTo>
                <a:lnTo>
                  <a:pt x="281" y="2232"/>
                </a:lnTo>
                <a:lnTo>
                  <a:pt x="279" y="2232"/>
                </a:lnTo>
                <a:lnTo>
                  <a:pt x="281" y="2231"/>
                </a:lnTo>
                <a:lnTo>
                  <a:pt x="279" y="2231"/>
                </a:lnTo>
                <a:lnTo>
                  <a:pt x="279" y="2232"/>
                </a:lnTo>
                <a:lnTo>
                  <a:pt x="277" y="2232"/>
                </a:lnTo>
                <a:lnTo>
                  <a:pt x="277" y="2234"/>
                </a:lnTo>
                <a:lnTo>
                  <a:pt x="277" y="2236"/>
                </a:lnTo>
                <a:lnTo>
                  <a:pt x="274" y="2234"/>
                </a:lnTo>
                <a:lnTo>
                  <a:pt x="276" y="2234"/>
                </a:lnTo>
                <a:lnTo>
                  <a:pt x="276" y="2232"/>
                </a:lnTo>
                <a:lnTo>
                  <a:pt x="277" y="2232"/>
                </a:lnTo>
                <a:lnTo>
                  <a:pt x="276" y="2232"/>
                </a:lnTo>
                <a:lnTo>
                  <a:pt x="277" y="2231"/>
                </a:lnTo>
                <a:lnTo>
                  <a:pt x="276" y="2231"/>
                </a:lnTo>
                <a:lnTo>
                  <a:pt x="276" y="2232"/>
                </a:lnTo>
                <a:lnTo>
                  <a:pt x="272" y="2232"/>
                </a:lnTo>
                <a:lnTo>
                  <a:pt x="274" y="2232"/>
                </a:lnTo>
                <a:lnTo>
                  <a:pt x="272" y="2234"/>
                </a:lnTo>
                <a:lnTo>
                  <a:pt x="271" y="2236"/>
                </a:lnTo>
                <a:lnTo>
                  <a:pt x="269" y="2236"/>
                </a:lnTo>
                <a:lnTo>
                  <a:pt x="269" y="2234"/>
                </a:lnTo>
                <a:lnTo>
                  <a:pt x="267" y="2234"/>
                </a:lnTo>
                <a:lnTo>
                  <a:pt x="267" y="2232"/>
                </a:lnTo>
                <a:lnTo>
                  <a:pt x="266" y="2234"/>
                </a:lnTo>
                <a:lnTo>
                  <a:pt x="264" y="2232"/>
                </a:lnTo>
                <a:lnTo>
                  <a:pt x="267" y="2231"/>
                </a:lnTo>
                <a:lnTo>
                  <a:pt x="266" y="2231"/>
                </a:lnTo>
                <a:lnTo>
                  <a:pt x="266" y="2229"/>
                </a:lnTo>
                <a:lnTo>
                  <a:pt x="269" y="2231"/>
                </a:lnTo>
                <a:lnTo>
                  <a:pt x="271" y="2229"/>
                </a:lnTo>
                <a:lnTo>
                  <a:pt x="271" y="2227"/>
                </a:lnTo>
                <a:lnTo>
                  <a:pt x="269" y="2227"/>
                </a:lnTo>
                <a:lnTo>
                  <a:pt x="271" y="2227"/>
                </a:lnTo>
                <a:lnTo>
                  <a:pt x="269" y="2229"/>
                </a:lnTo>
                <a:lnTo>
                  <a:pt x="267" y="2227"/>
                </a:lnTo>
                <a:lnTo>
                  <a:pt x="267" y="2229"/>
                </a:lnTo>
                <a:lnTo>
                  <a:pt x="267" y="2227"/>
                </a:lnTo>
                <a:lnTo>
                  <a:pt x="269" y="2227"/>
                </a:lnTo>
                <a:lnTo>
                  <a:pt x="269" y="2225"/>
                </a:lnTo>
                <a:lnTo>
                  <a:pt x="267" y="2225"/>
                </a:lnTo>
                <a:lnTo>
                  <a:pt x="266" y="2227"/>
                </a:lnTo>
                <a:lnTo>
                  <a:pt x="264" y="2227"/>
                </a:lnTo>
                <a:lnTo>
                  <a:pt x="264" y="2229"/>
                </a:lnTo>
                <a:lnTo>
                  <a:pt x="264" y="2227"/>
                </a:lnTo>
                <a:lnTo>
                  <a:pt x="260" y="2227"/>
                </a:lnTo>
                <a:lnTo>
                  <a:pt x="260" y="2225"/>
                </a:lnTo>
                <a:lnTo>
                  <a:pt x="260" y="2224"/>
                </a:lnTo>
                <a:lnTo>
                  <a:pt x="257" y="2224"/>
                </a:lnTo>
                <a:lnTo>
                  <a:pt x="257" y="2222"/>
                </a:lnTo>
                <a:lnTo>
                  <a:pt x="255" y="2224"/>
                </a:lnTo>
                <a:lnTo>
                  <a:pt x="257" y="2222"/>
                </a:lnTo>
                <a:lnTo>
                  <a:pt x="259" y="2220"/>
                </a:lnTo>
                <a:lnTo>
                  <a:pt x="259" y="2222"/>
                </a:lnTo>
                <a:lnTo>
                  <a:pt x="260" y="2222"/>
                </a:lnTo>
                <a:lnTo>
                  <a:pt x="262" y="2222"/>
                </a:lnTo>
                <a:lnTo>
                  <a:pt x="260" y="2220"/>
                </a:lnTo>
                <a:lnTo>
                  <a:pt x="260" y="2219"/>
                </a:lnTo>
                <a:lnTo>
                  <a:pt x="262" y="2220"/>
                </a:lnTo>
                <a:lnTo>
                  <a:pt x="262" y="2222"/>
                </a:lnTo>
                <a:lnTo>
                  <a:pt x="262" y="2220"/>
                </a:lnTo>
                <a:lnTo>
                  <a:pt x="264" y="2220"/>
                </a:lnTo>
                <a:lnTo>
                  <a:pt x="262" y="2220"/>
                </a:lnTo>
                <a:lnTo>
                  <a:pt x="262" y="2219"/>
                </a:lnTo>
                <a:lnTo>
                  <a:pt x="259" y="2217"/>
                </a:lnTo>
                <a:lnTo>
                  <a:pt x="260" y="2217"/>
                </a:lnTo>
                <a:lnTo>
                  <a:pt x="259" y="2217"/>
                </a:lnTo>
                <a:lnTo>
                  <a:pt x="260" y="2217"/>
                </a:lnTo>
                <a:lnTo>
                  <a:pt x="262" y="2219"/>
                </a:lnTo>
                <a:lnTo>
                  <a:pt x="262" y="2217"/>
                </a:lnTo>
                <a:lnTo>
                  <a:pt x="262" y="2219"/>
                </a:lnTo>
                <a:lnTo>
                  <a:pt x="260" y="2217"/>
                </a:lnTo>
                <a:lnTo>
                  <a:pt x="259" y="2217"/>
                </a:lnTo>
                <a:lnTo>
                  <a:pt x="259" y="2215"/>
                </a:lnTo>
                <a:lnTo>
                  <a:pt x="257" y="2214"/>
                </a:lnTo>
                <a:lnTo>
                  <a:pt x="259" y="2214"/>
                </a:lnTo>
                <a:lnTo>
                  <a:pt x="262" y="2215"/>
                </a:lnTo>
                <a:lnTo>
                  <a:pt x="260" y="2214"/>
                </a:lnTo>
                <a:lnTo>
                  <a:pt x="262" y="2214"/>
                </a:lnTo>
                <a:lnTo>
                  <a:pt x="264" y="2214"/>
                </a:lnTo>
                <a:lnTo>
                  <a:pt x="266" y="2215"/>
                </a:lnTo>
                <a:lnTo>
                  <a:pt x="266" y="2217"/>
                </a:lnTo>
                <a:lnTo>
                  <a:pt x="267" y="2217"/>
                </a:lnTo>
                <a:lnTo>
                  <a:pt x="266" y="2215"/>
                </a:lnTo>
                <a:lnTo>
                  <a:pt x="267" y="2215"/>
                </a:lnTo>
                <a:lnTo>
                  <a:pt x="266" y="2214"/>
                </a:lnTo>
                <a:lnTo>
                  <a:pt x="264" y="2212"/>
                </a:lnTo>
                <a:lnTo>
                  <a:pt x="267" y="2212"/>
                </a:lnTo>
                <a:lnTo>
                  <a:pt x="267" y="2214"/>
                </a:lnTo>
                <a:lnTo>
                  <a:pt x="269" y="2214"/>
                </a:lnTo>
                <a:lnTo>
                  <a:pt x="271" y="2212"/>
                </a:lnTo>
                <a:lnTo>
                  <a:pt x="272" y="2214"/>
                </a:lnTo>
                <a:lnTo>
                  <a:pt x="272" y="2212"/>
                </a:lnTo>
                <a:lnTo>
                  <a:pt x="274" y="2214"/>
                </a:lnTo>
                <a:lnTo>
                  <a:pt x="274" y="2215"/>
                </a:lnTo>
                <a:lnTo>
                  <a:pt x="277" y="2215"/>
                </a:lnTo>
                <a:lnTo>
                  <a:pt x="277" y="2217"/>
                </a:lnTo>
                <a:lnTo>
                  <a:pt x="279" y="2215"/>
                </a:lnTo>
                <a:lnTo>
                  <a:pt x="276" y="2215"/>
                </a:lnTo>
                <a:lnTo>
                  <a:pt x="274" y="2215"/>
                </a:lnTo>
                <a:lnTo>
                  <a:pt x="274" y="2214"/>
                </a:lnTo>
                <a:lnTo>
                  <a:pt x="272" y="2212"/>
                </a:lnTo>
                <a:lnTo>
                  <a:pt x="272" y="2210"/>
                </a:lnTo>
                <a:lnTo>
                  <a:pt x="271" y="2210"/>
                </a:lnTo>
                <a:lnTo>
                  <a:pt x="271" y="2207"/>
                </a:lnTo>
                <a:lnTo>
                  <a:pt x="272" y="2205"/>
                </a:lnTo>
                <a:lnTo>
                  <a:pt x="272" y="2203"/>
                </a:lnTo>
                <a:lnTo>
                  <a:pt x="274" y="2203"/>
                </a:lnTo>
                <a:lnTo>
                  <a:pt x="276" y="2203"/>
                </a:lnTo>
                <a:lnTo>
                  <a:pt x="279" y="2203"/>
                </a:lnTo>
                <a:lnTo>
                  <a:pt x="281" y="2203"/>
                </a:lnTo>
                <a:lnTo>
                  <a:pt x="284" y="2203"/>
                </a:lnTo>
                <a:lnTo>
                  <a:pt x="283" y="2203"/>
                </a:lnTo>
                <a:lnTo>
                  <a:pt x="286" y="2205"/>
                </a:lnTo>
                <a:lnTo>
                  <a:pt x="286" y="2203"/>
                </a:lnTo>
                <a:lnTo>
                  <a:pt x="286" y="2205"/>
                </a:lnTo>
                <a:lnTo>
                  <a:pt x="288" y="2203"/>
                </a:lnTo>
                <a:lnTo>
                  <a:pt x="286" y="2203"/>
                </a:lnTo>
                <a:lnTo>
                  <a:pt x="286" y="2202"/>
                </a:lnTo>
                <a:lnTo>
                  <a:pt x="286" y="2200"/>
                </a:lnTo>
                <a:lnTo>
                  <a:pt x="288" y="2200"/>
                </a:lnTo>
                <a:lnTo>
                  <a:pt x="289" y="2200"/>
                </a:lnTo>
                <a:lnTo>
                  <a:pt x="288" y="2198"/>
                </a:lnTo>
                <a:lnTo>
                  <a:pt x="289" y="2198"/>
                </a:lnTo>
                <a:lnTo>
                  <a:pt x="288" y="2198"/>
                </a:lnTo>
                <a:lnTo>
                  <a:pt x="289" y="2198"/>
                </a:lnTo>
                <a:lnTo>
                  <a:pt x="288" y="2198"/>
                </a:lnTo>
                <a:lnTo>
                  <a:pt x="289" y="2198"/>
                </a:lnTo>
                <a:lnTo>
                  <a:pt x="289" y="2197"/>
                </a:lnTo>
                <a:lnTo>
                  <a:pt x="288" y="2198"/>
                </a:lnTo>
                <a:lnTo>
                  <a:pt x="286" y="2197"/>
                </a:lnTo>
                <a:lnTo>
                  <a:pt x="284" y="2197"/>
                </a:lnTo>
                <a:lnTo>
                  <a:pt x="283" y="2195"/>
                </a:lnTo>
                <a:lnTo>
                  <a:pt x="283" y="2197"/>
                </a:lnTo>
                <a:lnTo>
                  <a:pt x="281" y="2195"/>
                </a:lnTo>
                <a:lnTo>
                  <a:pt x="277" y="2197"/>
                </a:lnTo>
                <a:lnTo>
                  <a:pt x="276" y="2197"/>
                </a:lnTo>
                <a:lnTo>
                  <a:pt x="274" y="2195"/>
                </a:lnTo>
                <a:lnTo>
                  <a:pt x="276" y="2191"/>
                </a:lnTo>
                <a:lnTo>
                  <a:pt x="277" y="2190"/>
                </a:lnTo>
                <a:lnTo>
                  <a:pt x="279" y="2190"/>
                </a:lnTo>
                <a:lnTo>
                  <a:pt x="279" y="2191"/>
                </a:lnTo>
                <a:lnTo>
                  <a:pt x="281" y="2191"/>
                </a:lnTo>
                <a:lnTo>
                  <a:pt x="281" y="2193"/>
                </a:lnTo>
                <a:lnTo>
                  <a:pt x="279" y="2193"/>
                </a:lnTo>
                <a:lnTo>
                  <a:pt x="281" y="2193"/>
                </a:lnTo>
                <a:lnTo>
                  <a:pt x="281" y="2191"/>
                </a:lnTo>
                <a:lnTo>
                  <a:pt x="281" y="2190"/>
                </a:lnTo>
                <a:lnTo>
                  <a:pt x="279" y="2190"/>
                </a:lnTo>
                <a:lnTo>
                  <a:pt x="279" y="2188"/>
                </a:lnTo>
                <a:lnTo>
                  <a:pt x="281" y="2188"/>
                </a:lnTo>
                <a:lnTo>
                  <a:pt x="281" y="2186"/>
                </a:lnTo>
                <a:lnTo>
                  <a:pt x="279" y="2186"/>
                </a:lnTo>
                <a:lnTo>
                  <a:pt x="279" y="2185"/>
                </a:lnTo>
                <a:lnTo>
                  <a:pt x="279" y="2186"/>
                </a:lnTo>
                <a:lnTo>
                  <a:pt x="277" y="2185"/>
                </a:lnTo>
                <a:lnTo>
                  <a:pt x="279" y="2183"/>
                </a:lnTo>
                <a:lnTo>
                  <a:pt x="281" y="2183"/>
                </a:lnTo>
                <a:lnTo>
                  <a:pt x="283" y="2181"/>
                </a:lnTo>
                <a:lnTo>
                  <a:pt x="281" y="2180"/>
                </a:lnTo>
                <a:lnTo>
                  <a:pt x="283" y="2180"/>
                </a:lnTo>
                <a:lnTo>
                  <a:pt x="284" y="2178"/>
                </a:lnTo>
                <a:lnTo>
                  <a:pt x="283" y="2180"/>
                </a:lnTo>
                <a:lnTo>
                  <a:pt x="281" y="2180"/>
                </a:lnTo>
                <a:lnTo>
                  <a:pt x="281" y="2181"/>
                </a:lnTo>
                <a:lnTo>
                  <a:pt x="279" y="2180"/>
                </a:lnTo>
                <a:lnTo>
                  <a:pt x="279" y="2181"/>
                </a:lnTo>
                <a:lnTo>
                  <a:pt x="277" y="2183"/>
                </a:lnTo>
                <a:lnTo>
                  <a:pt x="276" y="2181"/>
                </a:lnTo>
                <a:lnTo>
                  <a:pt x="276" y="2180"/>
                </a:lnTo>
                <a:lnTo>
                  <a:pt x="279" y="2178"/>
                </a:lnTo>
                <a:lnTo>
                  <a:pt x="281" y="2180"/>
                </a:lnTo>
                <a:lnTo>
                  <a:pt x="277" y="2176"/>
                </a:lnTo>
                <a:lnTo>
                  <a:pt x="279" y="2176"/>
                </a:lnTo>
                <a:lnTo>
                  <a:pt x="277" y="2173"/>
                </a:lnTo>
                <a:lnTo>
                  <a:pt x="279" y="2174"/>
                </a:lnTo>
                <a:lnTo>
                  <a:pt x="281" y="2173"/>
                </a:lnTo>
                <a:lnTo>
                  <a:pt x="279" y="2173"/>
                </a:lnTo>
                <a:lnTo>
                  <a:pt x="279" y="2171"/>
                </a:lnTo>
                <a:lnTo>
                  <a:pt x="277" y="2171"/>
                </a:lnTo>
                <a:lnTo>
                  <a:pt x="277" y="2173"/>
                </a:lnTo>
                <a:lnTo>
                  <a:pt x="276" y="2173"/>
                </a:lnTo>
                <a:lnTo>
                  <a:pt x="276" y="2174"/>
                </a:lnTo>
                <a:lnTo>
                  <a:pt x="274" y="2173"/>
                </a:lnTo>
                <a:lnTo>
                  <a:pt x="274" y="2174"/>
                </a:lnTo>
                <a:lnTo>
                  <a:pt x="272" y="2176"/>
                </a:lnTo>
                <a:lnTo>
                  <a:pt x="274" y="2178"/>
                </a:lnTo>
                <a:lnTo>
                  <a:pt x="272" y="2180"/>
                </a:lnTo>
                <a:lnTo>
                  <a:pt x="271" y="2178"/>
                </a:lnTo>
                <a:lnTo>
                  <a:pt x="271" y="2176"/>
                </a:lnTo>
                <a:lnTo>
                  <a:pt x="272" y="2174"/>
                </a:lnTo>
                <a:lnTo>
                  <a:pt x="274" y="2173"/>
                </a:lnTo>
                <a:lnTo>
                  <a:pt x="274" y="2171"/>
                </a:lnTo>
                <a:lnTo>
                  <a:pt x="276" y="2171"/>
                </a:lnTo>
                <a:lnTo>
                  <a:pt x="274" y="2168"/>
                </a:lnTo>
                <a:lnTo>
                  <a:pt x="276" y="2169"/>
                </a:lnTo>
                <a:lnTo>
                  <a:pt x="274" y="2168"/>
                </a:lnTo>
                <a:lnTo>
                  <a:pt x="276" y="2168"/>
                </a:lnTo>
                <a:lnTo>
                  <a:pt x="276" y="2166"/>
                </a:lnTo>
                <a:lnTo>
                  <a:pt x="277" y="2166"/>
                </a:lnTo>
                <a:lnTo>
                  <a:pt x="279" y="2164"/>
                </a:lnTo>
                <a:lnTo>
                  <a:pt x="281" y="2168"/>
                </a:lnTo>
                <a:lnTo>
                  <a:pt x="283" y="2168"/>
                </a:lnTo>
                <a:lnTo>
                  <a:pt x="281" y="2169"/>
                </a:lnTo>
                <a:lnTo>
                  <a:pt x="283" y="2168"/>
                </a:lnTo>
                <a:lnTo>
                  <a:pt x="283" y="2169"/>
                </a:lnTo>
                <a:lnTo>
                  <a:pt x="284" y="2169"/>
                </a:lnTo>
                <a:lnTo>
                  <a:pt x="281" y="2171"/>
                </a:lnTo>
                <a:lnTo>
                  <a:pt x="279" y="2169"/>
                </a:lnTo>
                <a:lnTo>
                  <a:pt x="279" y="2171"/>
                </a:lnTo>
                <a:lnTo>
                  <a:pt x="283" y="2173"/>
                </a:lnTo>
                <a:lnTo>
                  <a:pt x="283" y="2171"/>
                </a:lnTo>
                <a:lnTo>
                  <a:pt x="284" y="2173"/>
                </a:lnTo>
                <a:lnTo>
                  <a:pt x="284" y="2169"/>
                </a:lnTo>
                <a:lnTo>
                  <a:pt x="286" y="2169"/>
                </a:lnTo>
                <a:lnTo>
                  <a:pt x="288" y="2169"/>
                </a:lnTo>
                <a:lnTo>
                  <a:pt x="288" y="2171"/>
                </a:lnTo>
                <a:lnTo>
                  <a:pt x="289" y="2171"/>
                </a:lnTo>
                <a:lnTo>
                  <a:pt x="289" y="2173"/>
                </a:lnTo>
                <a:lnTo>
                  <a:pt x="289" y="2171"/>
                </a:lnTo>
                <a:lnTo>
                  <a:pt x="288" y="2169"/>
                </a:lnTo>
                <a:lnTo>
                  <a:pt x="288" y="2168"/>
                </a:lnTo>
                <a:lnTo>
                  <a:pt x="289" y="2169"/>
                </a:lnTo>
                <a:lnTo>
                  <a:pt x="288" y="2168"/>
                </a:lnTo>
                <a:lnTo>
                  <a:pt x="284" y="2168"/>
                </a:lnTo>
                <a:lnTo>
                  <a:pt x="286" y="2166"/>
                </a:lnTo>
                <a:lnTo>
                  <a:pt x="289" y="2164"/>
                </a:lnTo>
                <a:lnTo>
                  <a:pt x="289" y="2166"/>
                </a:lnTo>
                <a:lnTo>
                  <a:pt x="291" y="2168"/>
                </a:lnTo>
                <a:lnTo>
                  <a:pt x="293" y="2168"/>
                </a:lnTo>
                <a:lnTo>
                  <a:pt x="294" y="2168"/>
                </a:lnTo>
                <a:lnTo>
                  <a:pt x="298" y="2169"/>
                </a:lnTo>
                <a:lnTo>
                  <a:pt x="300" y="2169"/>
                </a:lnTo>
                <a:lnTo>
                  <a:pt x="301" y="2171"/>
                </a:lnTo>
                <a:lnTo>
                  <a:pt x="303" y="2171"/>
                </a:lnTo>
                <a:lnTo>
                  <a:pt x="303" y="2173"/>
                </a:lnTo>
                <a:lnTo>
                  <a:pt x="306" y="2171"/>
                </a:lnTo>
                <a:lnTo>
                  <a:pt x="308" y="2173"/>
                </a:lnTo>
                <a:lnTo>
                  <a:pt x="308" y="2176"/>
                </a:lnTo>
                <a:lnTo>
                  <a:pt x="310" y="2174"/>
                </a:lnTo>
                <a:lnTo>
                  <a:pt x="310" y="2176"/>
                </a:lnTo>
                <a:lnTo>
                  <a:pt x="310" y="2178"/>
                </a:lnTo>
                <a:lnTo>
                  <a:pt x="306" y="2178"/>
                </a:lnTo>
                <a:lnTo>
                  <a:pt x="310" y="2178"/>
                </a:lnTo>
                <a:lnTo>
                  <a:pt x="308" y="2180"/>
                </a:lnTo>
                <a:lnTo>
                  <a:pt x="311" y="2181"/>
                </a:lnTo>
                <a:lnTo>
                  <a:pt x="311" y="2185"/>
                </a:lnTo>
                <a:lnTo>
                  <a:pt x="311" y="2181"/>
                </a:lnTo>
                <a:lnTo>
                  <a:pt x="313" y="2181"/>
                </a:lnTo>
                <a:lnTo>
                  <a:pt x="311" y="2181"/>
                </a:lnTo>
                <a:lnTo>
                  <a:pt x="313" y="2181"/>
                </a:lnTo>
                <a:lnTo>
                  <a:pt x="313" y="2180"/>
                </a:lnTo>
                <a:lnTo>
                  <a:pt x="315" y="2180"/>
                </a:lnTo>
                <a:lnTo>
                  <a:pt x="317" y="2178"/>
                </a:lnTo>
                <a:lnTo>
                  <a:pt x="317" y="2176"/>
                </a:lnTo>
                <a:lnTo>
                  <a:pt x="318" y="2176"/>
                </a:lnTo>
                <a:lnTo>
                  <a:pt x="320" y="2178"/>
                </a:lnTo>
                <a:lnTo>
                  <a:pt x="322" y="2178"/>
                </a:lnTo>
                <a:lnTo>
                  <a:pt x="323" y="2180"/>
                </a:lnTo>
                <a:lnTo>
                  <a:pt x="325" y="2181"/>
                </a:lnTo>
                <a:lnTo>
                  <a:pt x="327" y="2181"/>
                </a:lnTo>
                <a:lnTo>
                  <a:pt x="328" y="2180"/>
                </a:lnTo>
                <a:lnTo>
                  <a:pt x="328" y="2181"/>
                </a:lnTo>
                <a:lnTo>
                  <a:pt x="332" y="2181"/>
                </a:lnTo>
                <a:lnTo>
                  <a:pt x="332" y="2185"/>
                </a:lnTo>
                <a:lnTo>
                  <a:pt x="334" y="2186"/>
                </a:lnTo>
                <a:lnTo>
                  <a:pt x="337" y="2188"/>
                </a:lnTo>
                <a:lnTo>
                  <a:pt x="335" y="2185"/>
                </a:lnTo>
                <a:lnTo>
                  <a:pt x="334" y="2183"/>
                </a:lnTo>
                <a:lnTo>
                  <a:pt x="334" y="2181"/>
                </a:lnTo>
                <a:lnTo>
                  <a:pt x="335" y="2183"/>
                </a:lnTo>
                <a:lnTo>
                  <a:pt x="337" y="2183"/>
                </a:lnTo>
                <a:lnTo>
                  <a:pt x="339" y="2183"/>
                </a:lnTo>
                <a:lnTo>
                  <a:pt x="337" y="2181"/>
                </a:lnTo>
                <a:lnTo>
                  <a:pt x="335" y="2180"/>
                </a:lnTo>
                <a:lnTo>
                  <a:pt x="337" y="2178"/>
                </a:lnTo>
                <a:lnTo>
                  <a:pt x="337" y="2180"/>
                </a:lnTo>
                <a:lnTo>
                  <a:pt x="339" y="2180"/>
                </a:lnTo>
                <a:lnTo>
                  <a:pt x="337" y="2180"/>
                </a:lnTo>
                <a:lnTo>
                  <a:pt x="337" y="2178"/>
                </a:lnTo>
                <a:lnTo>
                  <a:pt x="334" y="2178"/>
                </a:lnTo>
                <a:lnTo>
                  <a:pt x="332" y="2176"/>
                </a:lnTo>
                <a:lnTo>
                  <a:pt x="335" y="2176"/>
                </a:lnTo>
                <a:lnTo>
                  <a:pt x="337" y="2174"/>
                </a:lnTo>
                <a:lnTo>
                  <a:pt x="339" y="2173"/>
                </a:lnTo>
                <a:lnTo>
                  <a:pt x="340" y="2173"/>
                </a:lnTo>
                <a:lnTo>
                  <a:pt x="339" y="2174"/>
                </a:lnTo>
                <a:lnTo>
                  <a:pt x="340" y="2174"/>
                </a:lnTo>
                <a:lnTo>
                  <a:pt x="342" y="2173"/>
                </a:lnTo>
                <a:lnTo>
                  <a:pt x="342" y="2171"/>
                </a:lnTo>
                <a:lnTo>
                  <a:pt x="344" y="2171"/>
                </a:lnTo>
                <a:lnTo>
                  <a:pt x="344" y="2173"/>
                </a:lnTo>
                <a:lnTo>
                  <a:pt x="345" y="2171"/>
                </a:lnTo>
                <a:lnTo>
                  <a:pt x="349" y="2171"/>
                </a:lnTo>
                <a:lnTo>
                  <a:pt x="351" y="2171"/>
                </a:lnTo>
                <a:lnTo>
                  <a:pt x="352" y="2169"/>
                </a:lnTo>
                <a:lnTo>
                  <a:pt x="354" y="2171"/>
                </a:lnTo>
                <a:lnTo>
                  <a:pt x="352" y="2169"/>
                </a:lnTo>
                <a:lnTo>
                  <a:pt x="354" y="2168"/>
                </a:lnTo>
                <a:lnTo>
                  <a:pt x="354" y="2166"/>
                </a:lnTo>
                <a:lnTo>
                  <a:pt x="357" y="2164"/>
                </a:lnTo>
                <a:lnTo>
                  <a:pt x="357" y="2163"/>
                </a:lnTo>
                <a:lnTo>
                  <a:pt x="357" y="2164"/>
                </a:lnTo>
                <a:lnTo>
                  <a:pt x="359" y="2164"/>
                </a:lnTo>
                <a:lnTo>
                  <a:pt x="359" y="2163"/>
                </a:lnTo>
                <a:lnTo>
                  <a:pt x="361" y="2161"/>
                </a:lnTo>
                <a:lnTo>
                  <a:pt x="357" y="2163"/>
                </a:lnTo>
                <a:lnTo>
                  <a:pt x="359" y="2161"/>
                </a:lnTo>
                <a:lnTo>
                  <a:pt x="357" y="2161"/>
                </a:lnTo>
                <a:lnTo>
                  <a:pt x="357" y="2163"/>
                </a:lnTo>
                <a:lnTo>
                  <a:pt x="354" y="2163"/>
                </a:lnTo>
                <a:lnTo>
                  <a:pt x="352" y="2163"/>
                </a:lnTo>
                <a:lnTo>
                  <a:pt x="354" y="2161"/>
                </a:lnTo>
                <a:lnTo>
                  <a:pt x="352" y="2161"/>
                </a:lnTo>
                <a:lnTo>
                  <a:pt x="351" y="2161"/>
                </a:lnTo>
                <a:lnTo>
                  <a:pt x="351" y="2163"/>
                </a:lnTo>
                <a:lnTo>
                  <a:pt x="349" y="2163"/>
                </a:lnTo>
                <a:lnTo>
                  <a:pt x="347" y="2163"/>
                </a:lnTo>
                <a:lnTo>
                  <a:pt x="345" y="2164"/>
                </a:lnTo>
                <a:lnTo>
                  <a:pt x="345" y="2163"/>
                </a:lnTo>
                <a:lnTo>
                  <a:pt x="347" y="2163"/>
                </a:lnTo>
                <a:lnTo>
                  <a:pt x="349" y="2163"/>
                </a:lnTo>
                <a:lnTo>
                  <a:pt x="349" y="2161"/>
                </a:lnTo>
                <a:lnTo>
                  <a:pt x="347" y="2161"/>
                </a:lnTo>
                <a:lnTo>
                  <a:pt x="347" y="2159"/>
                </a:lnTo>
                <a:lnTo>
                  <a:pt x="347" y="2161"/>
                </a:lnTo>
                <a:lnTo>
                  <a:pt x="345" y="2161"/>
                </a:lnTo>
                <a:lnTo>
                  <a:pt x="345" y="2159"/>
                </a:lnTo>
                <a:lnTo>
                  <a:pt x="342" y="2159"/>
                </a:lnTo>
                <a:lnTo>
                  <a:pt x="340" y="2161"/>
                </a:lnTo>
                <a:lnTo>
                  <a:pt x="340" y="2159"/>
                </a:lnTo>
                <a:lnTo>
                  <a:pt x="339" y="2156"/>
                </a:lnTo>
                <a:lnTo>
                  <a:pt x="339" y="2159"/>
                </a:lnTo>
                <a:lnTo>
                  <a:pt x="337" y="2157"/>
                </a:lnTo>
                <a:lnTo>
                  <a:pt x="337" y="2156"/>
                </a:lnTo>
                <a:lnTo>
                  <a:pt x="335" y="2154"/>
                </a:lnTo>
                <a:lnTo>
                  <a:pt x="334" y="2154"/>
                </a:lnTo>
                <a:lnTo>
                  <a:pt x="335" y="2152"/>
                </a:lnTo>
                <a:lnTo>
                  <a:pt x="334" y="2152"/>
                </a:lnTo>
                <a:lnTo>
                  <a:pt x="337" y="2151"/>
                </a:lnTo>
                <a:lnTo>
                  <a:pt x="337" y="2149"/>
                </a:lnTo>
                <a:lnTo>
                  <a:pt x="339" y="2149"/>
                </a:lnTo>
                <a:lnTo>
                  <a:pt x="340" y="2149"/>
                </a:lnTo>
                <a:lnTo>
                  <a:pt x="342" y="2149"/>
                </a:lnTo>
                <a:lnTo>
                  <a:pt x="344" y="2149"/>
                </a:lnTo>
                <a:lnTo>
                  <a:pt x="345" y="2151"/>
                </a:lnTo>
                <a:lnTo>
                  <a:pt x="347" y="2149"/>
                </a:lnTo>
                <a:lnTo>
                  <a:pt x="345" y="2151"/>
                </a:lnTo>
                <a:lnTo>
                  <a:pt x="347" y="2151"/>
                </a:lnTo>
                <a:lnTo>
                  <a:pt x="349" y="2152"/>
                </a:lnTo>
                <a:lnTo>
                  <a:pt x="347" y="2151"/>
                </a:lnTo>
                <a:lnTo>
                  <a:pt x="345" y="2149"/>
                </a:lnTo>
                <a:lnTo>
                  <a:pt x="347" y="2149"/>
                </a:lnTo>
                <a:lnTo>
                  <a:pt x="349" y="2151"/>
                </a:lnTo>
                <a:lnTo>
                  <a:pt x="351" y="2151"/>
                </a:lnTo>
                <a:lnTo>
                  <a:pt x="349" y="2151"/>
                </a:lnTo>
                <a:lnTo>
                  <a:pt x="349" y="2149"/>
                </a:lnTo>
                <a:lnTo>
                  <a:pt x="347" y="2147"/>
                </a:lnTo>
                <a:lnTo>
                  <a:pt x="347" y="2145"/>
                </a:lnTo>
                <a:lnTo>
                  <a:pt x="345" y="2145"/>
                </a:lnTo>
                <a:lnTo>
                  <a:pt x="347" y="2145"/>
                </a:lnTo>
                <a:lnTo>
                  <a:pt x="349" y="2144"/>
                </a:lnTo>
                <a:lnTo>
                  <a:pt x="351" y="2145"/>
                </a:lnTo>
                <a:lnTo>
                  <a:pt x="352" y="2145"/>
                </a:lnTo>
                <a:lnTo>
                  <a:pt x="354" y="2144"/>
                </a:lnTo>
                <a:lnTo>
                  <a:pt x="356" y="2144"/>
                </a:lnTo>
                <a:lnTo>
                  <a:pt x="357" y="2144"/>
                </a:lnTo>
                <a:lnTo>
                  <a:pt x="356" y="2144"/>
                </a:lnTo>
                <a:lnTo>
                  <a:pt x="356" y="2142"/>
                </a:lnTo>
                <a:lnTo>
                  <a:pt x="354" y="2142"/>
                </a:lnTo>
                <a:lnTo>
                  <a:pt x="354" y="2144"/>
                </a:lnTo>
                <a:lnTo>
                  <a:pt x="352" y="2142"/>
                </a:lnTo>
                <a:lnTo>
                  <a:pt x="351" y="2140"/>
                </a:lnTo>
                <a:lnTo>
                  <a:pt x="352" y="2139"/>
                </a:lnTo>
                <a:lnTo>
                  <a:pt x="356" y="2139"/>
                </a:lnTo>
                <a:lnTo>
                  <a:pt x="354" y="2139"/>
                </a:lnTo>
                <a:lnTo>
                  <a:pt x="354" y="2135"/>
                </a:lnTo>
                <a:lnTo>
                  <a:pt x="352" y="2135"/>
                </a:lnTo>
                <a:lnTo>
                  <a:pt x="354" y="2134"/>
                </a:lnTo>
                <a:lnTo>
                  <a:pt x="356" y="2135"/>
                </a:lnTo>
                <a:lnTo>
                  <a:pt x="356" y="2132"/>
                </a:lnTo>
                <a:lnTo>
                  <a:pt x="357" y="2134"/>
                </a:lnTo>
                <a:lnTo>
                  <a:pt x="357" y="2132"/>
                </a:lnTo>
                <a:lnTo>
                  <a:pt x="359" y="2132"/>
                </a:lnTo>
                <a:lnTo>
                  <a:pt x="359" y="2130"/>
                </a:lnTo>
                <a:lnTo>
                  <a:pt x="361" y="2130"/>
                </a:lnTo>
                <a:lnTo>
                  <a:pt x="361" y="2128"/>
                </a:lnTo>
                <a:lnTo>
                  <a:pt x="361" y="2127"/>
                </a:lnTo>
                <a:lnTo>
                  <a:pt x="362" y="2125"/>
                </a:lnTo>
                <a:lnTo>
                  <a:pt x="364" y="2127"/>
                </a:lnTo>
                <a:lnTo>
                  <a:pt x="366" y="2128"/>
                </a:lnTo>
                <a:lnTo>
                  <a:pt x="368" y="2127"/>
                </a:lnTo>
                <a:lnTo>
                  <a:pt x="368" y="2128"/>
                </a:lnTo>
                <a:lnTo>
                  <a:pt x="366" y="2128"/>
                </a:lnTo>
                <a:lnTo>
                  <a:pt x="368" y="2130"/>
                </a:lnTo>
                <a:lnTo>
                  <a:pt x="369" y="2127"/>
                </a:lnTo>
                <a:lnTo>
                  <a:pt x="369" y="2128"/>
                </a:lnTo>
                <a:lnTo>
                  <a:pt x="373" y="2127"/>
                </a:lnTo>
                <a:lnTo>
                  <a:pt x="374" y="2125"/>
                </a:lnTo>
                <a:lnTo>
                  <a:pt x="374" y="2123"/>
                </a:lnTo>
                <a:lnTo>
                  <a:pt x="376" y="2127"/>
                </a:lnTo>
                <a:lnTo>
                  <a:pt x="374" y="2127"/>
                </a:lnTo>
                <a:lnTo>
                  <a:pt x="373" y="2127"/>
                </a:lnTo>
                <a:lnTo>
                  <a:pt x="374" y="2128"/>
                </a:lnTo>
                <a:lnTo>
                  <a:pt x="374" y="2127"/>
                </a:lnTo>
                <a:lnTo>
                  <a:pt x="376" y="2128"/>
                </a:lnTo>
                <a:lnTo>
                  <a:pt x="378" y="2127"/>
                </a:lnTo>
                <a:lnTo>
                  <a:pt x="378" y="2128"/>
                </a:lnTo>
                <a:lnTo>
                  <a:pt x="376" y="2130"/>
                </a:lnTo>
                <a:lnTo>
                  <a:pt x="379" y="2130"/>
                </a:lnTo>
                <a:lnTo>
                  <a:pt x="378" y="2130"/>
                </a:lnTo>
                <a:lnTo>
                  <a:pt x="376" y="2132"/>
                </a:lnTo>
                <a:lnTo>
                  <a:pt x="378" y="2130"/>
                </a:lnTo>
                <a:lnTo>
                  <a:pt x="378" y="2132"/>
                </a:lnTo>
                <a:lnTo>
                  <a:pt x="379" y="2128"/>
                </a:lnTo>
                <a:lnTo>
                  <a:pt x="379" y="2127"/>
                </a:lnTo>
                <a:lnTo>
                  <a:pt x="379" y="2125"/>
                </a:lnTo>
                <a:lnTo>
                  <a:pt x="381" y="2125"/>
                </a:lnTo>
                <a:lnTo>
                  <a:pt x="383" y="2123"/>
                </a:lnTo>
                <a:lnTo>
                  <a:pt x="383" y="2127"/>
                </a:lnTo>
                <a:lnTo>
                  <a:pt x="381" y="2127"/>
                </a:lnTo>
                <a:lnTo>
                  <a:pt x="381" y="2128"/>
                </a:lnTo>
                <a:lnTo>
                  <a:pt x="383" y="2128"/>
                </a:lnTo>
                <a:lnTo>
                  <a:pt x="385" y="2130"/>
                </a:lnTo>
                <a:lnTo>
                  <a:pt x="385" y="2132"/>
                </a:lnTo>
                <a:lnTo>
                  <a:pt x="383" y="2135"/>
                </a:lnTo>
                <a:lnTo>
                  <a:pt x="385" y="2135"/>
                </a:lnTo>
                <a:lnTo>
                  <a:pt x="385" y="2134"/>
                </a:lnTo>
                <a:lnTo>
                  <a:pt x="386" y="2132"/>
                </a:lnTo>
                <a:lnTo>
                  <a:pt x="386" y="2128"/>
                </a:lnTo>
                <a:lnTo>
                  <a:pt x="385" y="2128"/>
                </a:lnTo>
                <a:lnTo>
                  <a:pt x="386" y="2128"/>
                </a:lnTo>
                <a:lnTo>
                  <a:pt x="386" y="2127"/>
                </a:lnTo>
                <a:lnTo>
                  <a:pt x="385" y="2127"/>
                </a:lnTo>
                <a:lnTo>
                  <a:pt x="385" y="2128"/>
                </a:lnTo>
                <a:lnTo>
                  <a:pt x="385" y="2130"/>
                </a:lnTo>
                <a:lnTo>
                  <a:pt x="383" y="2128"/>
                </a:lnTo>
                <a:lnTo>
                  <a:pt x="385" y="2128"/>
                </a:lnTo>
                <a:lnTo>
                  <a:pt x="383" y="2128"/>
                </a:lnTo>
                <a:lnTo>
                  <a:pt x="381" y="2127"/>
                </a:lnTo>
                <a:lnTo>
                  <a:pt x="385" y="2125"/>
                </a:lnTo>
                <a:lnTo>
                  <a:pt x="386" y="2125"/>
                </a:lnTo>
                <a:lnTo>
                  <a:pt x="390" y="2123"/>
                </a:lnTo>
                <a:lnTo>
                  <a:pt x="390" y="2125"/>
                </a:lnTo>
                <a:lnTo>
                  <a:pt x="390" y="2127"/>
                </a:lnTo>
                <a:lnTo>
                  <a:pt x="388" y="2130"/>
                </a:lnTo>
                <a:lnTo>
                  <a:pt x="390" y="2132"/>
                </a:lnTo>
                <a:lnTo>
                  <a:pt x="391" y="2135"/>
                </a:lnTo>
                <a:lnTo>
                  <a:pt x="390" y="2137"/>
                </a:lnTo>
                <a:lnTo>
                  <a:pt x="388" y="2137"/>
                </a:lnTo>
                <a:lnTo>
                  <a:pt x="388" y="2139"/>
                </a:lnTo>
                <a:lnTo>
                  <a:pt x="386" y="2139"/>
                </a:lnTo>
                <a:lnTo>
                  <a:pt x="385" y="2140"/>
                </a:lnTo>
                <a:lnTo>
                  <a:pt x="386" y="2140"/>
                </a:lnTo>
                <a:lnTo>
                  <a:pt x="388" y="2140"/>
                </a:lnTo>
                <a:lnTo>
                  <a:pt x="386" y="2142"/>
                </a:lnTo>
                <a:lnTo>
                  <a:pt x="385" y="2144"/>
                </a:lnTo>
                <a:lnTo>
                  <a:pt x="383" y="2145"/>
                </a:lnTo>
                <a:lnTo>
                  <a:pt x="385" y="2145"/>
                </a:lnTo>
                <a:lnTo>
                  <a:pt x="383" y="2147"/>
                </a:lnTo>
                <a:lnTo>
                  <a:pt x="385" y="2145"/>
                </a:lnTo>
                <a:lnTo>
                  <a:pt x="386" y="2144"/>
                </a:lnTo>
                <a:lnTo>
                  <a:pt x="388" y="2142"/>
                </a:lnTo>
                <a:lnTo>
                  <a:pt x="390" y="2142"/>
                </a:lnTo>
                <a:lnTo>
                  <a:pt x="391" y="2140"/>
                </a:lnTo>
                <a:lnTo>
                  <a:pt x="390" y="2140"/>
                </a:lnTo>
                <a:lnTo>
                  <a:pt x="390" y="2139"/>
                </a:lnTo>
                <a:lnTo>
                  <a:pt x="391" y="2139"/>
                </a:lnTo>
                <a:lnTo>
                  <a:pt x="393" y="2140"/>
                </a:lnTo>
                <a:lnTo>
                  <a:pt x="391" y="2139"/>
                </a:lnTo>
                <a:lnTo>
                  <a:pt x="393" y="2137"/>
                </a:lnTo>
                <a:lnTo>
                  <a:pt x="393" y="2135"/>
                </a:lnTo>
                <a:lnTo>
                  <a:pt x="393" y="2134"/>
                </a:lnTo>
                <a:lnTo>
                  <a:pt x="393" y="2132"/>
                </a:lnTo>
                <a:lnTo>
                  <a:pt x="391" y="2130"/>
                </a:lnTo>
                <a:lnTo>
                  <a:pt x="393" y="2128"/>
                </a:lnTo>
                <a:lnTo>
                  <a:pt x="393" y="2127"/>
                </a:lnTo>
                <a:lnTo>
                  <a:pt x="395" y="2127"/>
                </a:lnTo>
                <a:lnTo>
                  <a:pt x="393" y="2125"/>
                </a:lnTo>
                <a:lnTo>
                  <a:pt x="396" y="2125"/>
                </a:lnTo>
                <a:lnTo>
                  <a:pt x="398" y="2127"/>
                </a:lnTo>
                <a:lnTo>
                  <a:pt x="398" y="2125"/>
                </a:lnTo>
                <a:lnTo>
                  <a:pt x="400" y="2125"/>
                </a:lnTo>
                <a:lnTo>
                  <a:pt x="400" y="2123"/>
                </a:lnTo>
                <a:lnTo>
                  <a:pt x="403" y="2127"/>
                </a:lnTo>
                <a:lnTo>
                  <a:pt x="400" y="2127"/>
                </a:lnTo>
                <a:lnTo>
                  <a:pt x="403" y="2127"/>
                </a:lnTo>
                <a:lnTo>
                  <a:pt x="405" y="2128"/>
                </a:lnTo>
                <a:lnTo>
                  <a:pt x="405" y="2127"/>
                </a:lnTo>
                <a:lnTo>
                  <a:pt x="402" y="2125"/>
                </a:lnTo>
                <a:lnTo>
                  <a:pt x="402" y="2123"/>
                </a:lnTo>
                <a:lnTo>
                  <a:pt x="402" y="2122"/>
                </a:lnTo>
                <a:lnTo>
                  <a:pt x="400" y="2120"/>
                </a:lnTo>
                <a:lnTo>
                  <a:pt x="402" y="2120"/>
                </a:lnTo>
                <a:lnTo>
                  <a:pt x="403" y="2120"/>
                </a:lnTo>
                <a:lnTo>
                  <a:pt x="405" y="2122"/>
                </a:lnTo>
                <a:lnTo>
                  <a:pt x="407" y="2122"/>
                </a:lnTo>
                <a:lnTo>
                  <a:pt x="408" y="2123"/>
                </a:lnTo>
                <a:lnTo>
                  <a:pt x="408" y="2125"/>
                </a:lnTo>
                <a:lnTo>
                  <a:pt x="408" y="2127"/>
                </a:lnTo>
                <a:lnTo>
                  <a:pt x="410" y="2128"/>
                </a:lnTo>
                <a:lnTo>
                  <a:pt x="412" y="2130"/>
                </a:lnTo>
                <a:lnTo>
                  <a:pt x="413" y="2132"/>
                </a:lnTo>
                <a:lnTo>
                  <a:pt x="415" y="2132"/>
                </a:lnTo>
                <a:lnTo>
                  <a:pt x="417" y="2134"/>
                </a:lnTo>
                <a:lnTo>
                  <a:pt x="415" y="2135"/>
                </a:lnTo>
                <a:lnTo>
                  <a:pt x="413" y="2135"/>
                </a:lnTo>
                <a:lnTo>
                  <a:pt x="412" y="2135"/>
                </a:lnTo>
                <a:lnTo>
                  <a:pt x="410" y="2135"/>
                </a:lnTo>
                <a:lnTo>
                  <a:pt x="410" y="2137"/>
                </a:lnTo>
                <a:lnTo>
                  <a:pt x="407" y="2137"/>
                </a:lnTo>
                <a:lnTo>
                  <a:pt x="405" y="2137"/>
                </a:lnTo>
                <a:lnTo>
                  <a:pt x="403" y="2139"/>
                </a:lnTo>
                <a:lnTo>
                  <a:pt x="403" y="2140"/>
                </a:lnTo>
                <a:lnTo>
                  <a:pt x="400" y="2142"/>
                </a:lnTo>
                <a:close/>
                <a:moveTo>
                  <a:pt x="276" y="2185"/>
                </a:moveTo>
                <a:lnTo>
                  <a:pt x="276" y="2186"/>
                </a:lnTo>
                <a:lnTo>
                  <a:pt x="274" y="2190"/>
                </a:lnTo>
                <a:lnTo>
                  <a:pt x="276" y="2190"/>
                </a:lnTo>
                <a:lnTo>
                  <a:pt x="276" y="2188"/>
                </a:lnTo>
                <a:lnTo>
                  <a:pt x="276" y="2190"/>
                </a:lnTo>
                <a:lnTo>
                  <a:pt x="274" y="2191"/>
                </a:lnTo>
                <a:lnTo>
                  <a:pt x="276" y="2191"/>
                </a:lnTo>
                <a:lnTo>
                  <a:pt x="274" y="2191"/>
                </a:lnTo>
                <a:lnTo>
                  <a:pt x="274" y="2193"/>
                </a:lnTo>
                <a:lnTo>
                  <a:pt x="274" y="2195"/>
                </a:lnTo>
                <a:lnTo>
                  <a:pt x="272" y="2193"/>
                </a:lnTo>
                <a:lnTo>
                  <a:pt x="272" y="2191"/>
                </a:lnTo>
                <a:lnTo>
                  <a:pt x="271" y="2190"/>
                </a:lnTo>
                <a:lnTo>
                  <a:pt x="271" y="2188"/>
                </a:lnTo>
                <a:lnTo>
                  <a:pt x="271" y="2186"/>
                </a:lnTo>
                <a:lnTo>
                  <a:pt x="269" y="2186"/>
                </a:lnTo>
                <a:lnTo>
                  <a:pt x="266" y="2186"/>
                </a:lnTo>
                <a:lnTo>
                  <a:pt x="264" y="2185"/>
                </a:lnTo>
                <a:lnTo>
                  <a:pt x="266" y="2185"/>
                </a:lnTo>
                <a:lnTo>
                  <a:pt x="267" y="2183"/>
                </a:lnTo>
                <a:lnTo>
                  <a:pt x="269" y="2185"/>
                </a:lnTo>
                <a:lnTo>
                  <a:pt x="271" y="2185"/>
                </a:lnTo>
                <a:lnTo>
                  <a:pt x="272" y="2183"/>
                </a:lnTo>
                <a:lnTo>
                  <a:pt x="272" y="2185"/>
                </a:lnTo>
                <a:lnTo>
                  <a:pt x="274" y="2185"/>
                </a:lnTo>
                <a:lnTo>
                  <a:pt x="276" y="2185"/>
                </a:lnTo>
                <a:close/>
                <a:moveTo>
                  <a:pt x="266" y="2246"/>
                </a:moveTo>
                <a:lnTo>
                  <a:pt x="267" y="2248"/>
                </a:lnTo>
                <a:lnTo>
                  <a:pt x="269" y="2246"/>
                </a:lnTo>
                <a:lnTo>
                  <a:pt x="271" y="2248"/>
                </a:lnTo>
                <a:lnTo>
                  <a:pt x="271" y="2249"/>
                </a:lnTo>
                <a:lnTo>
                  <a:pt x="271" y="2251"/>
                </a:lnTo>
                <a:lnTo>
                  <a:pt x="272" y="2249"/>
                </a:lnTo>
                <a:lnTo>
                  <a:pt x="271" y="2251"/>
                </a:lnTo>
                <a:lnTo>
                  <a:pt x="269" y="2249"/>
                </a:lnTo>
                <a:lnTo>
                  <a:pt x="267" y="2248"/>
                </a:lnTo>
                <a:lnTo>
                  <a:pt x="264" y="2246"/>
                </a:lnTo>
                <a:lnTo>
                  <a:pt x="266" y="2246"/>
                </a:lnTo>
                <a:close/>
                <a:moveTo>
                  <a:pt x="220" y="2321"/>
                </a:moveTo>
                <a:lnTo>
                  <a:pt x="223" y="2321"/>
                </a:lnTo>
                <a:lnTo>
                  <a:pt x="221" y="2322"/>
                </a:lnTo>
                <a:lnTo>
                  <a:pt x="218" y="2322"/>
                </a:lnTo>
                <a:lnTo>
                  <a:pt x="216" y="2322"/>
                </a:lnTo>
                <a:lnTo>
                  <a:pt x="216" y="2321"/>
                </a:lnTo>
                <a:lnTo>
                  <a:pt x="218" y="2321"/>
                </a:lnTo>
                <a:lnTo>
                  <a:pt x="220" y="2321"/>
                </a:lnTo>
                <a:close/>
                <a:moveTo>
                  <a:pt x="274" y="2237"/>
                </a:moveTo>
                <a:lnTo>
                  <a:pt x="274" y="2239"/>
                </a:lnTo>
                <a:lnTo>
                  <a:pt x="274" y="2241"/>
                </a:lnTo>
                <a:lnTo>
                  <a:pt x="271" y="2241"/>
                </a:lnTo>
                <a:lnTo>
                  <a:pt x="271" y="2239"/>
                </a:lnTo>
                <a:lnTo>
                  <a:pt x="274" y="2237"/>
                </a:lnTo>
                <a:close/>
                <a:moveTo>
                  <a:pt x="351" y="2132"/>
                </a:moveTo>
                <a:lnTo>
                  <a:pt x="351" y="2134"/>
                </a:lnTo>
                <a:lnTo>
                  <a:pt x="351" y="2137"/>
                </a:lnTo>
                <a:lnTo>
                  <a:pt x="349" y="2137"/>
                </a:lnTo>
                <a:lnTo>
                  <a:pt x="349" y="2135"/>
                </a:lnTo>
                <a:lnTo>
                  <a:pt x="349" y="2134"/>
                </a:lnTo>
                <a:lnTo>
                  <a:pt x="349" y="2132"/>
                </a:lnTo>
                <a:lnTo>
                  <a:pt x="351" y="2132"/>
                </a:lnTo>
                <a:close/>
                <a:moveTo>
                  <a:pt x="238" y="2346"/>
                </a:moveTo>
                <a:lnTo>
                  <a:pt x="235" y="2348"/>
                </a:lnTo>
                <a:lnTo>
                  <a:pt x="233" y="2348"/>
                </a:lnTo>
                <a:lnTo>
                  <a:pt x="232" y="2346"/>
                </a:lnTo>
                <a:lnTo>
                  <a:pt x="233" y="2346"/>
                </a:lnTo>
                <a:lnTo>
                  <a:pt x="235" y="2346"/>
                </a:lnTo>
                <a:lnTo>
                  <a:pt x="238" y="2346"/>
                </a:lnTo>
                <a:close/>
                <a:moveTo>
                  <a:pt x="271" y="2198"/>
                </a:moveTo>
                <a:lnTo>
                  <a:pt x="272" y="2198"/>
                </a:lnTo>
                <a:lnTo>
                  <a:pt x="272" y="2200"/>
                </a:lnTo>
                <a:lnTo>
                  <a:pt x="271" y="2200"/>
                </a:lnTo>
                <a:lnTo>
                  <a:pt x="267" y="2200"/>
                </a:lnTo>
                <a:lnTo>
                  <a:pt x="269" y="2198"/>
                </a:lnTo>
                <a:lnTo>
                  <a:pt x="271" y="2198"/>
                </a:lnTo>
                <a:close/>
                <a:moveTo>
                  <a:pt x="259" y="2208"/>
                </a:moveTo>
                <a:lnTo>
                  <a:pt x="260" y="2208"/>
                </a:lnTo>
                <a:lnTo>
                  <a:pt x="259" y="2210"/>
                </a:lnTo>
                <a:lnTo>
                  <a:pt x="257" y="2208"/>
                </a:lnTo>
                <a:lnTo>
                  <a:pt x="259" y="2208"/>
                </a:lnTo>
                <a:close/>
                <a:moveTo>
                  <a:pt x="274" y="2251"/>
                </a:moveTo>
                <a:lnTo>
                  <a:pt x="274" y="2253"/>
                </a:lnTo>
                <a:lnTo>
                  <a:pt x="271" y="2253"/>
                </a:lnTo>
                <a:lnTo>
                  <a:pt x="274" y="2251"/>
                </a:lnTo>
                <a:close/>
                <a:moveTo>
                  <a:pt x="274" y="2236"/>
                </a:moveTo>
                <a:lnTo>
                  <a:pt x="276" y="2237"/>
                </a:lnTo>
                <a:lnTo>
                  <a:pt x="272" y="2237"/>
                </a:lnTo>
                <a:lnTo>
                  <a:pt x="272" y="2236"/>
                </a:lnTo>
                <a:lnTo>
                  <a:pt x="274" y="2236"/>
                </a:lnTo>
                <a:close/>
                <a:moveTo>
                  <a:pt x="247" y="2363"/>
                </a:moveTo>
                <a:lnTo>
                  <a:pt x="245" y="2365"/>
                </a:lnTo>
                <a:lnTo>
                  <a:pt x="245" y="2363"/>
                </a:lnTo>
                <a:lnTo>
                  <a:pt x="247" y="2363"/>
                </a:lnTo>
                <a:close/>
                <a:moveTo>
                  <a:pt x="262" y="2203"/>
                </a:moveTo>
                <a:lnTo>
                  <a:pt x="266" y="2203"/>
                </a:lnTo>
                <a:lnTo>
                  <a:pt x="264" y="2205"/>
                </a:lnTo>
                <a:lnTo>
                  <a:pt x="262" y="2205"/>
                </a:lnTo>
                <a:lnTo>
                  <a:pt x="262" y="2203"/>
                </a:lnTo>
                <a:close/>
                <a:moveTo>
                  <a:pt x="276" y="2254"/>
                </a:moveTo>
                <a:lnTo>
                  <a:pt x="274" y="2254"/>
                </a:lnTo>
                <a:lnTo>
                  <a:pt x="276" y="2254"/>
                </a:lnTo>
                <a:close/>
                <a:moveTo>
                  <a:pt x="221" y="2345"/>
                </a:moveTo>
                <a:lnTo>
                  <a:pt x="220" y="2345"/>
                </a:lnTo>
                <a:lnTo>
                  <a:pt x="218" y="2346"/>
                </a:lnTo>
                <a:lnTo>
                  <a:pt x="220" y="2345"/>
                </a:lnTo>
                <a:lnTo>
                  <a:pt x="221" y="2345"/>
                </a:lnTo>
                <a:close/>
                <a:moveTo>
                  <a:pt x="250" y="2362"/>
                </a:moveTo>
                <a:lnTo>
                  <a:pt x="252" y="2362"/>
                </a:lnTo>
                <a:lnTo>
                  <a:pt x="250" y="2363"/>
                </a:lnTo>
                <a:lnTo>
                  <a:pt x="249" y="2363"/>
                </a:lnTo>
                <a:lnTo>
                  <a:pt x="250" y="2362"/>
                </a:lnTo>
                <a:close/>
                <a:moveTo>
                  <a:pt x="216" y="2307"/>
                </a:moveTo>
                <a:lnTo>
                  <a:pt x="215" y="2307"/>
                </a:lnTo>
                <a:lnTo>
                  <a:pt x="213" y="2309"/>
                </a:lnTo>
                <a:lnTo>
                  <a:pt x="215" y="2307"/>
                </a:lnTo>
                <a:lnTo>
                  <a:pt x="216" y="2307"/>
                </a:lnTo>
                <a:close/>
                <a:moveTo>
                  <a:pt x="252" y="2346"/>
                </a:moveTo>
                <a:lnTo>
                  <a:pt x="250" y="2348"/>
                </a:lnTo>
                <a:lnTo>
                  <a:pt x="249" y="2348"/>
                </a:lnTo>
                <a:lnTo>
                  <a:pt x="252" y="2346"/>
                </a:lnTo>
                <a:close/>
                <a:moveTo>
                  <a:pt x="267" y="2225"/>
                </a:moveTo>
                <a:lnTo>
                  <a:pt x="267" y="2229"/>
                </a:lnTo>
                <a:lnTo>
                  <a:pt x="266" y="2229"/>
                </a:lnTo>
                <a:lnTo>
                  <a:pt x="267" y="2225"/>
                </a:lnTo>
                <a:close/>
                <a:moveTo>
                  <a:pt x="366" y="2118"/>
                </a:moveTo>
                <a:lnTo>
                  <a:pt x="368" y="2120"/>
                </a:lnTo>
                <a:lnTo>
                  <a:pt x="366" y="2118"/>
                </a:lnTo>
                <a:close/>
                <a:moveTo>
                  <a:pt x="269" y="2239"/>
                </a:moveTo>
                <a:lnTo>
                  <a:pt x="271" y="2239"/>
                </a:lnTo>
                <a:lnTo>
                  <a:pt x="271" y="2241"/>
                </a:lnTo>
                <a:lnTo>
                  <a:pt x="269" y="2241"/>
                </a:lnTo>
                <a:lnTo>
                  <a:pt x="269" y="2239"/>
                </a:lnTo>
                <a:close/>
                <a:moveTo>
                  <a:pt x="354" y="2132"/>
                </a:moveTo>
                <a:lnTo>
                  <a:pt x="356" y="2132"/>
                </a:lnTo>
                <a:lnTo>
                  <a:pt x="354" y="2134"/>
                </a:lnTo>
                <a:lnTo>
                  <a:pt x="354" y="2132"/>
                </a:lnTo>
                <a:close/>
                <a:moveTo>
                  <a:pt x="277" y="2186"/>
                </a:moveTo>
                <a:lnTo>
                  <a:pt x="279" y="2186"/>
                </a:lnTo>
                <a:lnTo>
                  <a:pt x="277" y="2188"/>
                </a:lnTo>
                <a:lnTo>
                  <a:pt x="276" y="2188"/>
                </a:lnTo>
                <a:lnTo>
                  <a:pt x="277" y="2186"/>
                </a:lnTo>
                <a:close/>
                <a:moveTo>
                  <a:pt x="279" y="2188"/>
                </a:moveTo>
                <a:lnTo>
                  <a:pt x="279" y="2190"/>
                </a:lnTo>
                <a:lnTo>
                  <a:pt x="277" y="2190"/>
                </a:lnTo>
                <a:lnTo>
                  <a:pt x="279" y="2188"/>
                </a:lnTo>
                <a:close/>
                <a:moveTo>
                  <a:pt x="255" y="2208"/>
                </a:moveTo>
                <a:lnTo>
                  <a:pt x="255" y="2210"/>
                </a:lnTo>
                <a:lnTo>
                  <a:pt x="254" y="2208"/>
                </a:lnTo>
                <a:lnTo>
                  <a:pt x="255" y="2208"/>
                </a:lnTo>
                <a:close/>
                <a:moveTo>
                  <a:pt x="266" y="2234"/>
                </a:moveTo>
                <a:lnTo>
                  <a:pt x="267" y="2234"/>
                </a:lnTo>
                <a:lnTo>
                  <a:pt x="267" y="2236"/>
                </a:lnTo>
                <a:lnTo>
                  <a:pt x="266" y="2236"/>
                </a:lnTo>
                <a:lnTo>
                  <a:pt x="266" y="2234"/>
                </a:lnTo>
                <a:close/>
                <a:moveTo>
                  <a:pt x="269" y="2173"/>
                </a:moveTo>
                <a:lnTo>
                  <a:pt x="269" y="2174"/>
                </a:lnTo>
                <a:lnTo>
                  <a:pt x="269" y="2173"/>
                </a:lnTo>
                <a:close/>
                <a:moveTo>
                  <a:pt x="288" y="2283"/>
                </a:moveTo>
                <a:lnTo>
                  <a:pt x="289" y="2283"/>
                </a:lnTo>
                <a:lnTo>
                  <a:pt x="288" y="2283"/>
                </a:lnTo>
                <a:close/>
                <a:moveTo>
                  <a:pt x="267" y="2174"/>
                </a:moveTo>
                <a:lnTo>
                  <a:pt x="267" y="2176"/>
                </a:lnTo>
                <a:lnTo>
                  <a:pt x="267" y="2174"/>
                </a:lnTo>
                <a:close/>
                <a:moveTo>
                  <a:pt x="311" y="2180"/>
                </a:moveTo>
                <a:lnTo>
                  <a:pt x="311" y="2181"/>
                </a:lnTo>
                <a:lnTo>
                  <a:pt x="310" y="2180"/>
                </a:lnTo>
                <a:lnTo>
                  <a:pt x="311" y="2180"/>
                </a:lnTo>
                <a:close/>
                <a:moveTo>
                  <a:pt x="249" y="2360"/>
                </a:moveTo>
                <a:lnTo>
                  <a:pt x="250" y="2360"/>
                </a:lnTo>
                <a:lnTo>
                  <a:pt x="250" y="2362"/>
                </a:lnTo>
                <a:lnTo>
                  <a:pt x="249" y="2362"/>
                </a:lnTo>
                <a:lnTo>
                  <a:pt x="249" y="2360"/>
                </a:lnTo>
                <a:close/>
                <a:moveTo>
                  <a:pt x="272" y="2195"/>
                </a:moveTo>
                <a:lnTo>
                  <a:pt x="274" y="2195"/>
                </a:lnTo>
                <a:lnTo>
                  <a:pt x="274" y="2197"/>
                </a:lnTo>
                <a:lnTo>
                  <a:pt x="272" y="2195"/>
                </a:lnTo>
                <a:close/>
                <a:moveTo>
                  <a:pt x="243" y="2358"/>
                </a:moveTo>
                <a:lnTo>
                  <a:pt x="245" y="2360"/>
                </a:lnTo>
                <a:lnTo>
                  <a:pt x="243" y="2360"/>
                </a:lnTo>
                <a:lnTo>
                  <a:pt x="243" y="2358"/>
                </a:lnTo>
                <a:close/>
                <a:moveTo>
                  <a:pt x="240" y="2334"/>
                </a:moveTo>
                <a:lnTo>
                  <a:pt x="242" y="2334"/>
                </a:lnTo>
                <a:lnTo>
                  <a:pt x="240" y="2334"/>
                </a:lnTo>
                <a:close/>
                <a:moveTo>
                  <a:pt x="298" y="2248"/>
                </a:moveTo>
                <a:lnTo>
                  <a:pt x="298" y="2249"/>
                </a:lnTo>
                <a:lnTo>
                  <a:pt x="298" y="2248"/>
                </a:lnTo>
                <a:close/>
                <a:moveTo>
                  <a:pt x="289" y="2283"/>
                </a:moveTo>
                <a:lnTo>
                  <a:pt x="291" y="2283"/>
                </a:lnTo>
                <a:lnTo>
                  <a:pt x="289" y="2283"/>
                </a:lnTo>
                <a:close/>
                <a:moveTo>
                  <a:pt x="288" y="2285"/>
                </a:moveTo>
                <a:lnTo>
                  <a:pt x="288" y="2287"/>
                </a:lnTo>
                <a:lnTo>
                  <a:pt x="286" y="2287"/>
                </a:lnTo>
                <a:lnTo>
                  <a:pt x="288" y="2285"/>
                </a:lnTo>
                <a:close/>
                <a:moveTo>
                  <a:pt x="298" y="2249"/>
                </a:moveTo>
                <a:lnTo>
                  <a:pt x="300" y="2249"/>
                </a:lnTo>
                <a:lnTo>
                  <a:pt x="300" y="2251"/>
                </a:lnTo>
                <a:lnTo>
                  <a:pt x="298" y="2249"/>
                </a:lnTo>
                <a:close/>
                <a:moveTo>
                  <a:pt x="505" y="2212"/>
                </a:moveTo>
                <a:lnTo>
                  <a:pt x="503" y="2214"/>
                </a:lnTo>
                <a:lnTo>
                  <a:pt x="503" y="2215"/>
                </a:lnTo>
                <a:lnTo>
                  <a:pt x="503" y="2217"/>
                </a:lnTo>
                <a:lnTo>
                  <a:pt x="502" y="2219"/>
                </a:lnTo>
                <a:lnTo>
                  <a:pt x="505" y="2220"/>
                </a:lnTo>
                <a:lnTo>
                  <a:pt x="503" y="2220"/>
                </a:lnTo>
                <a:lnTo>
                  <a:pt x="503" y="2222"/>
                </a:lnTo>
                <a:lnTo>
                  <a:pt x="502" y="2224"/>
                </a:lnTo>
                <a:lnTo>
                  <a:pt x="500" y="2225"/>
                </a:lnTo>
                <a:lnTo>
                  <a:pt x="500" y="2227"/>
                </a:lnTo>
                <a:lnTo>
                  <a:pt x="498" y="2229"/>
                </a:lnTo>
                <a:lnTo>
                  <a:pt x="497" y="2229"/>
                </a:lnTo>
                <a:lnTo>
                  <a:pt x="493" y="2231"/>
                </a:lnTo>
                <a:lnTo>
                  <a:pt x="493" y="2232"/>
                </a:lnTo>
                <a:lnTo>
                  <a:pt x="490" y="2232"/>
                </a:lnTo>
                <a:lnTo>
                  <a:pt x="488" y="2234"/>
                </a:lnTo>
                <a:lnTo>
                  <a:pt x="488" y="2232"/>
                </a:lnTo>
                <a:lnTo>
                  <a:pt x="486" y="2234"/>
                </a:lnTo>
                <a:lnTo>
                  <a:pt x="485" y="2232"/>
                </a:lnTo>
                <a:lnTo>
                  <a:pt x="483" y="2232"/>
                </a:lnTo>
                <a:lnTo>
                  <a:pt x="485" y="2231"/>
                </a:lnTo>
                <a:lnTo>
                  <a:pt x="483" y="2231"/>
                </a:lnTo>
                <a:lnTo>
                  <a:pt x="485" y="2231"/>
                </a:lnTo>
                <a:lnTo>
                  <a:pt x="486" y="2227"/>
                </a:lnTo>
                <a:lnTo>
                  <a:pt x="486" y="2225"/>
                </a:lnTo>
                <a:lnTo>
                  <a:pt x="486" y="2224"/>
                </a:lnTo>
                <a:lnTo>
                  <a:pt x="488" y="2224"/>
                </a:lnTo>
                <a:lnTo>
                  <a:pt x="490" y="2222"/>
                </a:lnTo>
                <a:lnTo>
                  <a:pt x="493" y="2220"/>
                </a:lnTo>
                <a:lnTo>
                  <a:pt x="493" y="2219"/>
                </a:lnTo>
                <a:lnTo>
                  <a:pt x="495" y="2217"/>
                </a:lnTo>
                <a:lnTo>
                  <a:pt x="495" y="2215"/>
                </a:lnTo>
                <a:lnTo>
                  <a:pt x="497" y="2214"/>
                </a:lnTo>
                <a:lnTo>
                  <a:pt x="498" y="2212"/>
                </a:lnTo>
                <a:lnTo>
                  <a:pt x="500" y="2212"/>
                </a:lnTo>
                <a:lnTo>
                  <a:pt x="502" y="2212"/>
                </a:lnTo>
                <a:lnTo>
                  <a:pt x="505" y="2212"/>
                </a:lnTo>
                <a:close/>
                <a:moveTo>
                  <a:pt x="481" y="2232"/>
                </a:moveTo>
                <a:lnTo>
                  <a:pt x="481" y="2234"/>
                </a:lnTo>
                <a:lnTo>
                  <a:pt x="481" y="2232"/>
                </a:lnTo>
                <a:close/>
                <a:moveTo>
                  <a:pt x="599" y="1926"/>
                </a:moveTo>
                <a:lnTo>
                  <a:pt x="600" y="1929"/>
                </a:lnTo>
                <a:lnTo>
                  <a:pt x="602" y="1928"/>
                </a:lnTo>
                <a:lnTo>
                  <a:pt x="604" y="1929"/>
                </a:lnTo>
                <a:lnTo>
                  <a:pt x="605" y="1928"/>
                </a:lnTo>
                <a:lnTo>
                  <a:pt x="605" y="1929"/>
                </a:lnTo>
                <a:lnTo>
                  <a:pt x="609" y="1929"/>
                </a:lnTo>
                <a:lnTo>
                  <a:pt x="611" y="1931"/>
                </a:lnTo>
                <a:lnTo>
                  <a:pt x="611" y="1935"/>
                </a:lnTo>
                <a:lnTo>
                  <a:pt x="609" y="1935"/>
                </a:lnTo>
                <a:lnTo>
                  <a:pt x="609" y="1936"/>
                </a:lnTo>
                <a:lnTo>
                  <a:pt x="607" y="1936"/>
                </a:lnTo>
                <a:lnTo>
                  <a:pt x="605" y="1938"/>
                </a:lnTo>
                <a:lnTo>
                  <a:pt x="605" y="1941"/>
                </a:lnTo>
                <a:lnTo>
                  <a:pt x="609" y="1941"/>
                </a:lnTo>
                <a:lnTo>
                  <a:pt x="607" y="1945"/>
                </a:lnTo>
                <a:lnTo>
                  <a:pt x="605" y="1945"/>
                </a:lnTo>
                <a:lnTo>
                  <a:pt x="607" y="1945"/>
                </a:lnTo>
                <a:lnTo>
                  <a:pt x="605" y="1946"/>
                </a:lnTo>
                <a:lnTo>
                  <a:pt x="605" y="1948"/>
                </a:lnTo>
                <a:lnTo>
                  <a:pt x="602" y="1950"/>
                </a:lnTo>
                <a:lnTo>
                  <a:pt x="600" y="1952"/>
                </a:lnTo>
                <a:lnTo>
                  <a:pt x="600" y="1953"/>
                </a:lnTo>
                <a:lnTo>
                  <a:pt x="597" y="1953"/>
                </a:lnTo>
                <a:lnTo>
                  <a:pt x="595" y="1953"/>
                </a:lnTo>
                <a:lnTo>
                  <a:pt x="594" y="1955"/>
                </a:lnTo>
                <a:lnTo>
                  <a:pt x="592" y="1955"/>
                </a:lnTo>
                <a:lnTo>
                  <a:pt x="590" y="1957"/>
                </a:lnTo>
                <a:lnTo>
                  <a:pt x="588" y="1958"/>
                </a:lnTo>
                <a:lnTo>
                  <a:pt x="587" y="1960"/>
                </a:lnTo>
                <a:lnTo>
                  <a:pt x="585" y="1962"/>
                </a:lnTo>
                <a:lnTo>
                  <a:pt x="583" y="1962"/>
                </a:lnTo>
                <a:lnTo>
                  <a:pt x="582" y="1963"/>
                </a:lnTo>
                <a:lnTo>
                  <a:pt x="580" y="1963"/>
                </a:lnTo>
                <a:lnTo>
                  <a:pt x="578" y="1965"/>
                </a:lnTo>
                <a:lnTo>
                  <a:pt x="575" y="1965"/>
                </a:lnTo>
                <a:lnTo>
                  <a:pt x="573" y="1967"/>
                </a:lnTo>
                <a:lnTo>
                  <a:pt x="573" y="1969"/>
                </a:lnTo>
                <a:lnTo>
                  <a:pt x="571" y="1970"/>
                </a:lnTo>
                <a:lnTo>
                  <a:pt x="570" y="1970"/>
                </a:lnTo>
                <a:lnTo>
                  <a:pt x="568" y="1970"/>
                </a:lnTo>
                <a:lnTo>
                  <a:pt x="566" y="1974"/>
                </a:lnTo>
                <a:lnTo>
                  <a:pt x="565" y="1972"/>
                </a:lnTo>
                <a:lnTo>
                  <a:pt x="566" y="1972"/>
                </a:lnTo>
                <a:lnTo>
                  <a:pt x="563" y="1972"/>
                </a:lnTo>
                <a:lnTo>
                  <a:pt x="565" y="1972"/>
                </a:lnTo>
                <a:lnTo>
                  <a:pt x="566" y="1974"/>
                </a:lnTo>
                <a:lnTo>
                  <a:pt x="566" y="1975"/>
                </a:lnTo>
                <a:lnTo>
                  <a:pt x="565" y="1979"/>
                </a:lnTo>
                <a:lnTo>
                  <a:pt x="563" y="1977"/>
                </a:lnTo>
                <a:lnTo>
                  <a:pt x="561" y="1979"/>
                </a:lnTo>
                <a:lnTo>
                  <a:pt x="560" y="1977"/>
                </a:lnTo>
                <a:lnTo>
                  <a:pt x="561" y="1977"/>
                </a:lnTo>
                <a:lnTo>
                  <a:pt x="560" y="1977"/>
                </a:lnTo>
                <a:lnTo>
                  <a:pt x="558" y="1975"/>
                </a:lnTo>
                <a:lnTo>
                  <a:pt x="554" y="1975"/>
                </a:lnTo>
                <a:lnTo>
                  <a:pt x="553" y="1974"/>
                </a:lnTo>
                <a:lnTo>
                  <a:pt x="554" y="1977"/>
                </a:lnTo>
                <a:lnTo>
                  <a:pt x="556" y="1977"/>
                </a:lnTo>
                <a:lnTo>
                  <a:pt x="558" y="1977"/>
                </a:lnTo>
                <a:lnTo>
                  <a:pt x="560" y="1979"/>
                </a:lnTo>
                <a:lnTo>
                  <a:pt x="561" y="1979"/>
                </a:lnTo>
                <a:lnTo>
                  <a:pt x="560" y="1979"/>
                </a:lnTo>
                <a:lnTo>
                  <a:pt x="561" y="1979"/>
                </a:lnTo>
                <a:lnTo>
                  <a:pt x="563" y="1980"/>
                </a:lnTo>
                <a:lnTo>
                  <a:pt x="565" y="1980"/>
                </a:lnTo>
                <a:lnTo>
                  <a:pt x="566" y="1979"/>
                </a:lnTo>
                <a:lnTo>
                  <a:pt x="570" y="1980"/>
                </a:lnTo>
                <a:lnTo>
                  <a:pt x="568" y="1980"/>
                </a:lnTo>
                <a:lnTo>
                  <a:pt x="566" y="1982"/>
                </a:lnTo>
                <a:lnTo>
                  <a:pt x="568" y="1980"/>
                </a:lnTo>
                <a:lnTo>
                  <a:pt x="570" y="1982"/>
                </a:lnTo>
                <a:lnTo>
                  <a:pt x="573" y="1979"/>
                </a:lnTo>
                <a:lnTo>
                  <a:pt x="573" y="1980"/>
                </a:lnTo>
                <a:lnTo>
                  <a:pt x="571" y="1982"/>
                </a:lnTo>
                <a:lnTo>
                  <a:pt x="570" y="1984"/>
                </a:lnTo>
                <a:lnTo>
                  <a:pt x="566" y="1986"/>
                </a:lnTo>
                <a:lnTo>
                  <a:pt x="566" y="1987"/>
                </a:lnTo>
                <a:lnTo>
                  <a:pt x="565" y="1989"/>
                </a:lnTo>
                <a:lnTo>
                  <a:pt x="561" y="1989"/>
                </a:lnTo>
                <a:lnTo>
                  <a:pt x="563" y="1987"/>
                </a:lnTo>
                <a:lnTo>
                  <a:pt x="563" y="1986"/>
                </a:lnTo>
                <a:lnTo>
                  <a:pt x="561" y="1986"/>
                </a:lnTo>
                <a:lnTo>
                  <a:pt x="560" y="1987"/>
                </a:lnTo>
                <a:lnTo>
                  <a:pt x="556" y="1989"/>
                </a:lnTo>
                <a:lnTo>
                  <a:pt x="556" y="1987"/>
                </a:lnTo>
                <a:lnTo>
                  <a:pt x="554" y="1989"/>
                </a:lnTo>
                <a:lnTo>
                  <a:pt x="553" y="1989"/>
                </a:lnTo>
                <a:lnTo>
                  <a:pt x="551" y="1989"/>
                </a:lnTo>
                <a:lnTo>
                  <a:pt x="553" y="1989"/>
                </a:lnTo>
                <a:lnTo>
                  <a:pt x="551" y="1991"/>
                </a:lnTo>
                <a:lnTo>
                  <a:pt x="549" y="1991"/>
                </a:lnTo>
                <a:lnTo>
                  <a:pt x="546" y="1992"/>
                </a:lnTo>
                <a:lnTo>
                  <a:pt x="546" y="1994"/>
                </a:lnTo>
                <a:lnTo>
                  <a:pt x="548" y="1992"/>
                </a:lnTo>
                <a:lnTo>
                  <a:pt x="551" y="1991"/>
                </a:lnTo>
                <a:lnTo>
                  <a:pt x="553" y="1991"/>
                </a:lnTo>
                <a:lnTo>
                  <a:pt x="554" y="1989"/>
                </a:lnTo>
                <a:lnTo>
                  <a:pt x="556" y="1989"/>
                </a:lnTo>
                <a:lnTo>
                  <a:pt x="556" y="1991"/>
                </a:lnTo>
                <a:lnTo>
                  <a:pt x="558" y="1991"/>
                </a:lnTo>
                <a:lnTo>
                  <a:pt x="560" y="1991"/>
                </a:lnTo>
                <a:lnTo>
                  <a:pt x="561" y="1991"/>
                </a:lnTo>
                <a:lnTo>
                  <a:pt x="563" y="1991"/>
                </a:lnTo>
                <a:lnTo>
                  <a:pt x="561" y="1992"/>
                </a:lnTo>
                <a:lnTo>
                  <a:pt x="560" y="1994"/>
                </a:lnTo>
                <a:lnTo>
                  <a:pt x="558" y="1994"/>
                </a:lnTo>
                <a:lnTo>
                  <a:pt x="558" y="1997"/>
                </a:lnTo>
                <a:lnTo>
                  <a:pt x="556" y="1996"/>
                </a:lnTo>
                <a:lnTo>
                  <a:pt x="554" y="1997"/>
                </a:lnTo>
                <a:lnTo>
                  <a:pt x="553" y="1997"/>
                </a:lnTo>
                <a:lnTo>
                  <a:pt x="554" y="1999"/>
                </a:lnTo>
                <a:lnTo>
                  <a:pt x="553" y="2001"/>
                </a:lnTo>
                <a:lnTo>
                  <a:pt x="549" y="2001"/>
                </a:lnTo>
                <a:lnTo>
                  <a:pt x="548" y="1999"/>
                </a:lnTo>
                <a:lnTo>
                  <a:pt x="546" y="1999"/>
                </a:lnTo>
                <a:lnTo>
                  <a:pt x="546" y="2001"/>
                </a:lnTo>
                <a:lnTo>
                  <a:pt x="548" y="2001"/>
                </a:lnTo>
                <a:lnTo>
                  <a:pt x="549" y="2003"/>
                </a:lnTo>
                <a:lnTo>
                  <a:pt x="553" y="2001"/>
                </a:lnTo>
                <a:lnTo>
                  <a:pt x="554" y="2003"/>
                </a:lnTo>
                <a:lnTo>
                  <a:pt x="556" y="2001"/>
                </a:lnTo>
                <a:lnTo>
                  <a:pt x="558" y="1999"/>
                </a:lnTo>
                <a:lnTo>
                  <a:pt x="560" y="1999"/>
                </a:lnTo>
                <a:lnTo>
                  <a:pt x="560" y="1996"/>
                </a:lnTo>
                <a:lnTo>
                  <a:pt x="561" y="1996"/>
                </a:lnTo>
                <a:lnTo>
                  <a:pt x="563" y="1997"/>
                </a:lnTo>
                <a:lnTo>
                  <a:pt x="561" y="1996"/>
                </a:lnTo>
                <a:lnTo>
                  <a:pt x="563" y="1997"/>
                </a:lnTo>
                <a:lnTo>
                  <a:pt x="565" y="1997"/>
                </a:lnTo>
                <a:lnTo>
                  <a:pt x="566" y="1997"/>
                </a:lnTo>
                <a:lnTo>
                  <a:pt x="570" y="1997"/>
                </a:lnTo>
                <a:lnTo>
                  <a:pt x="570" y="1996"/>
                </a:lnTo>
                <a:lnTo>
                  <a:pt x="568" y="1997"/>
                </a:lnTo>
                <a:lnTo>
                  <a:pt x="570" y="1996"/>
                </a:lnTo>
                <a:lnTo>
                  <a:pt x="571" y="1996"/>
                </a:lnTo>
                <a:lnTo>
                  <a:pt x="573" y="1994"/>
                </a:lnTo>
                <a:lnTo>
                  <a:pt x="571" y="1996"/>
                </a:lnTo>
                <a:lnTo>
                  <a:pt x="573" y="1994"/>
                </a:lnTo>
                <a:lnTo>
                  <a:pt x="575" y="1994"/>
                </a:lnTo>
                <a:lnTo>
                  <a:pt x="573" y="1994"/>
                </a:lnTo>
                <a:lnTo>
                  <a:pt x="575" y="1994"/>
                </a:lnTo>
                <a:lnTo>
                  <a:pt x="577" y="1994"/>
                </a:lnTo>
                <a:lnTo>
                  <a:pt x="577" y="1996"/>
                </a:lnTo>
                <a:lnTo>
                  <a:pt x="578" y="1997"/>
                </a:lnTo>
                <a:lnTo>
                  <a:pt x="578" y="1996"/>
                </a:lnTo>
                <a:lnTo>
                  <a:pt x="577" y="1994"/>
                </a:lnTo>
                <a:lnTo>
                  <a:pt x="580" y="1994"/>
                </a:lnTo>
                <a:lnTo>
                  <a:pt x="582" y="1992"/>
                </a:lnTo>
                <a:lnTo>
                  <a:pt x="583" y="1992"/>
                </a:lnTo>
                <a:lnTo>
                  <a:pt x="585" y="1992"/>
                </a:lnTo>
                <a:lnTo>
                  <a:pt x="588" y="1992"/>
                </a:lnTo>
                <a:lnTo>
                  <a:pt x="590" y="1992"/>
                </a:lnTo>
                <a:lnTo>
                  <a:pt x="590" y="1994"/>
                </a:lnTo>
                <a:lnTo>
                  <a:pt x="590" y="1992"/>
                </a:lnTo>
                <a:lnTo>
                  <a:pt x="592" y="1994"/>
                </a:lnTo>
                <a:lnTo>
                  <a:pt x="594" y="1996"/>
                </a:lnTo>
                <a:lnTo>
                  <a:pt x="595" y="1997"/>
                </a:lnTo>
                <a:lnTo>
                  <a:pt x="599" y="1999"/>
                </a:lnTo>
                <a:lnTo>
                  <a:pt x="600" y="1997"/>
                </a:lnTo>
                <a:lnTo>
                  <a:pt x="602" y="1997"/>
                </a:lnTo>
                <a:lnTo>
                  <a:pt x="604" y="1997"/>
                </a:lnTo>
                <a:lnTo>
                  <a:pt x="605" y="1996"/>
                </a:lnTo>
                <a:lnTo>
                  <a:pt x="607" y="1997"/>
                </a:lnTo>
                <a:lnTo>
                  <a:pt x="609" y="1997"/>
                </a:lnTo>
                <a:lnTo>
                  <a:pt x="609" y="1999"/>
                </a:lnTo>
                <a:lnTo>
                  <a:pt x="611" y="1999"/>
                </a:lnTo>
                <a:lnTo>
                  <a:pt x="612" y="1999"/>
                </a:lnTo>
                <a:lnTo>
                  <a:pt x="614" y="1999"/>
                </a:lnTo>
                <a:lnTo>
                  <a:pt x="616" y="2001"/>
                </a:lnTo>
                <a:lnTo>
                  <a:pt x="617" y="2003"/>
                </a:lnTo>
                <a:lnTo>
                  <a:pt x="619" y="2001"/>
                </a:lnTo>
                <a:lnTo>
                  <a:pt x="621" y="2001"/>
                </a:lnTo>
                <a:lnTo>
                  <a:pt x="622" y="2003"/>
                </a:lnTo>
                <a:lnTo>
                  <a:pt x="624" y="2003"/>
                </a:lnTo>
                <a:lnTo>
                  <a:pt x="626" y="2001"/>
                </a:lnTo>
                <a:lnTo>
                  <a:pt x="628" y="2003"/>
                </a:lnTo>
                <a:lnTo>
                  <a:pt x="629" y="2003"/>
                </a:lnTo>
                <a:lnTo>
                  <a:pt x="631" y="2003"/>
                </a:lnTo>
                <a:lnTo>
                  <a:pt x="633" y="2001"/>
                </a:lnTo>
                <a:lnTo>
                  <a:pt x="636" y="2003"/>
                </a:lnTo>
                <a:lnTo>
                  <a:pt x="638" y="2003"/>
                </a:lnTo>
                <a:lnTo>
                  <a:pt x="638" y="2004"/>
                </a:lnTo>
                <a:lnTo>
                  <a:pt x="639" y="2004"/>
                </a:lnTo>
                <a:lnTo>
                  <a:pt x="641" y="2008"/>
                </a:lnTo>
                <a:lnTo>
                  <a:pt x="643" y="2009"/>
                </a:lnTo>
                <a:lnTo>
                  <a:pt x="641" y="2013"/>
                </a:lnTo>
                <a:lnTo>
                  <a:pt x="643" y="2015"/>
                </a:lnTo>
                <a:lnTo>
                  <a:pt x="643" y="2016"/>
                </a:lnTo>
                <a:lnTo>
                  <a:pt x="641" y="2016"/>
                </a:lnTo>
                <a:lnTo>
                  <a:pt x="643" y="2018"/>
                </a:lnTo>
                <a:lnTo>
                  <a:pt x="643" y="2020"/>
                </a:lnTo>
                <a:lnTo>
                  <a:pt x="641" y="2021"/>
                </a:lnTo>
                <a:lnTo>
                  <a:pt x="639" y="2023"/>
                </a:lnTo>
                <a:lnTo>
                  <a:pt x="639" y="2025"/>
                </a:lnTo>
                <a:lnTo>
                  <a:pt x="636" y="2026"/>
                </a:lnTo>
                <a:lnTo>
                  <a:pt x="636" y="2028"/>
                </a:lnTo>
                <a:lnTo>
                  <a:pt x="634" y="2028"/>
                </a:lnTo>
                <a:lnTo>
                  <a:pt x="633" y="2030"/>
                </a:lnTo>
                <a:lnTo>
                  <a:pt x="631" y="2032"/>
                </a:lnTo>
                <a:lnTo>
                  <a:pt x="629" y="2033"/>
                </a:lnTo>
                <a:lnTo>
                  <a:pt x="629" y="2035"/>
                </a:lnTo>
                <a:lnTo>
                  <a:pt x="628" y="2038"/>
                </a:lnTo>
                <a:lnTo>
                  <a:pt x="628" y="2040"/>
                </a:lnTo>
                <a:lnTo>
                  <a:pt x="628" y="2042"/>
                </a:lnTo>
                <a:lnTo>
                  <a:pt x="629" y="2040"/>
                </a:lnTo>
                <a:lnTo>
                  <a:pt x="629" y="2042"/>
                </a:lnTo>
                <a:lnTo>
                  <a:pt x="628" y="2043"/>
                </a:lnTo>
                <a:lnTo>
                  <a:pt x="626" y="2045"/>
                </a:lnTo>
                <a:lnTo>
                  <a:pt x="624" y="2047"/>
                </a:lnTo>
                <a:lnTo>
                  <a:pt x="622" y="2049"/>
                </a:lnTo>
                <a:lnTo>
                  <a:pt x="622" y="2052"/>
                </a:lnTo>
                <a:lnTo>
                  <a:pt x="621" y="2052"/>
                </a:lnTo>
                <a:lnTo>
                  <a:pt x="621" y="2054"/>
                </a:lnTo>
                <a:lnTo>
                  <a:pt x="621" y="2055"/>
                </a:lnTo>
                <a:lnTo>
                  <a:pt x="619" y="2057"/>
                </a:lnTo>
                <a:lnTo>
                  <a:pt x="617" y="2060"/>
                </a:lnTo>
                <a:lnTo>
                  <a:pt x="616" y="2060"/>
                </a:lnTo>
                <a:lnTo>
                  <a:pt x="614" y="2062"/>
                </a:lnTo>
                <a:lnTo>
                  <a:pt x="612" y="2064"/>
                </a:lnTo>
                <a:lnTo>
                  <a:pt x="611" y="2064"/>
                </a:lnTo>
                <a:lnTo>
                  <a:pt x="609" y="2066"/>
                </a:lnTo>
                <a:lnTo>
                  <a:pt x="611" y="2066"/>
                </a:lnTo>
                <a:lnTo>
                  <a:pt x="609" y="2067"/>
                </a:lnTo>
                <a:lnTo>
                  <a:pt x="609" y="2069"/>
                </a:lnTo>
                <a:lnTo>
                  <a:pt x="605" y="2071"/>
                </a:lnTo>
                <a:lnTo>
                  <a:pt x="605" y="2072"/>
                </a:lnTo>
                <a:lnTo>
                  <a:pt x="605" y="2074"/>
                </a:lnTo>
                <a:lnTo>
                  <a:pt x="604" y="2076"/>
                </a:lnTo>
                <a:lnTo>
                  <a:pt x="604" y="2077"/>
                </a:lnTo>
                <a:lnTo>
                  <a:pt x="600" y="2077"/>
                </a:lnTo>
                <a:lnTo>
                  <a:pt x="599" y="2079"/>
                </a:lnTo>
                <a:lnTo>
                  <a:pt x="597" y="2081"/>
                </a:lnTo>
                <a:lnTo>
                  <a:pt x="595" y="2081"/>
                </a:lnTo>
                <a:lnTo>
                  <a:pt x="595" y="2083"/>
                </a:lnTo>
                <a:lnTo>
                  <a:pt x="592" y="2081"/>
                </a:lnTo>
                <a:lnTo>
                  <a:pt x="590" y="2083"/>
                </a:lnTo>
                <a:lnTo>
                  <a:pt x="588" y="2081"/>
                </a:lnTo>
                <a:lnTo>
                  <a:pt x="585" y="2083"/>
                </a:lnTo>
                <a:lnTo>
                  <a:pt x="583" y="2081"/>
                </a:lnTo>
                <a:lnTo>
                  <a:pt x="582" y="2081"/>
                </a:lnTo>
                <a:lnTo>
                  <a:pt x="580" y="2083"/>
                </a:lnTo>
                <a:lnTo>
                  <a:pt x="578" y="2084"/>
                </a:lnTo>
                <a:lnTo>
                  <a:pt x="575" y="2086"/>
                </a:lnTo>
                <a:lnTo>
                  <a:pt x="573" y="2086"/>
                </a:lnTo>
                <a:lnTo>
                  <a:pt x="571" y="2086"/>
                </a:lnTo>
                <a:lnTo>
                  <a:pt x="570" y="2084"/>
                </a:lnTo>
                <a:lnTo>
                  <a:pt x="570" y="2086"/>
                </a:lnTo>
                <a:lnTo>
                  <a:pt x="571" y="2088"/>
                </a:lnTo>
                <a:lnTo>
                  <a:pt x="573" y="2088"/>
                </a:lnTo>
                <a:lnTo>
                  <a:pt x="577" y="2088"/>
                </a:lnTo>
                <a:lnTo>
                  <a:pt x="577" y="2086"/>
                </a:lnTo>
                <a:lnTo>
                  <a:pt x="580" y="2086"/>
                </a:lnTo>
                <a:lnTo>
                  <a:pt x="582" y="2084"/>
                </a:lnTo>
                <a:lnTo>
                  <a:pt x="585" y="2084"/>
                </a:lnTo>
                <a:lnTo>
                  <a:pt x="587" y="2084"/>
                </a:lnTo>
                <a:lnTo>
                  <a:pt x="587" y="2083"/>
                </a:lnTo>
                <a:lnTo>
                  <a:pt x="590" y="2084"/>
                </a:lnTo>
                <a:lnTo>
                  <a:pt x="592" y="2084"/>
                </a:lnTo>
                <a:lnTo>
                  <a:pt x="590" y="2088"/>
                </a:lnTo>
                <a:lnTo>
                  <a:pt x="587" y="2089"/>
                </a:lnTo>
                <a:lnTo>
                  <a:pt x="590" y="2089"/>
                </a:lnTo>
                <a:lnTo>
                  <a:pt x="592" y="2091"/>
                </a:lnTo>
                <a:lnTo>
                  <a:pt x="594" y="2093"/>
                </a:lnTo>
                <a:lnTo>
                  <a:pt x="595" y="2093"/>
                </a:lnTo>
                <a:lnTo>
                  <a:pt x="595" y="2094"/>
                </a:lnTo>
                <a:lnTo>
                  <a:pt x="597" y="2096"/>
                </a:lnTo>
                <a:lnTo>
                  <a:pt x="599" y="2096"/>
                </a:lnTo>
                <a:lnTo>
                  <a:pt x="597" y="2098"/>
                </a:lnTo>
                <a:lnTo>
                  <a:pt x="595" y="2100"/>
                </a:lnTo>
                <a:lnTo>
                  <a:pt x="594" y="2100"/>
                </a:lnTo>
                <a:lnTo>
                  <a:pt x="592" y="2101"/>
                </a:lnTo>
                <a:lnTo>
                  <a:pt x="590" y="2101"/>
                </a:lnTo>
                <a:lnTo>
                  <a:pt x="588" y="2101"/>
                </a:lnTo>
                <a:lnTo>
                  <a:pt x="587" y="2101"/>
                </a:lnTo>
                <a:lnTo>
                  <a:pt x="585" y="2100"/>
                </a:lnTo>
                <a:lnTo>
                  <a:pt x="583" y="2100"/>
                </a:lnTo>
                <a:lnTo>
                  <a:pt x="580" y="2101"/>
                </a:lnTo>
                <a:lnTo>
                  <a:pt x="578" y="2101"/>
                </a:lnTo>
                <a:lnTo>
                  <a:pt x="577" y="2103"/>
                </a:lnTo>
                <a:lnTo>
                  <a:pt x="575" y="2105"/>
                </a:lnTo>
                <a:lnTo>
                  <a:pt x="573" y="2106"/>
                </a:lnTo>
                <a:lnTo>
                  <a:pt x="573" y="2108"/>
                </a:lnTo>
                <a:lnTo>
                  <a:pt x="570" y="2108"/>
                </a:lnTo>
                <a:lnTo>
                  <a:pt x="566" y="2108"/>
                </a:lnTo>
                <a:lnTo>
                  <a:pt x="565" y="2108"/>
                </a:lnTo>
                <a:lnTo>
                  <a:pt x="563" y="2110"/>
                </a:lnTo>
                <a:lnTo>
                  <a:pt x="561" y="2108"/>
                </a:lnTo>
                <a:lnTo>
                  <a:pt x="560" y="2106"/>
                </a:lnTo>
                <a:lnTo>
                  <a:pt x="558" y="2106"/>
                </a:lnTo>
                <a:lnTo>
                  <a:pt x="558" y="2105"/>
                </a:lnTo>
                <a:lnTo>
                  <a:pt x="556" y="2106"/>
                </a:lnTo>
                <a:lnTo>
                  <a:pt x="556" y="2105"/>
                </a:lnTo>
                <a:lnTo>
                  <a:pt x="553" y="2105"/>
                </a:lnTo>
                <a:lnTo>
                  <a:pt x="551" y="2103"/>
                </a:lnTo>
                <a:lnTo>
                  <a:pt x="551" y="2101"/>
                </a:lnTo>
                <a:lnTo>
                  <a:pt x="549" y="2100"/>
                </a:lnTo>
                <a:lnTo>
                  <a:pt x="549" y="2103"/>
                </a:lnTo>
                <a:lnTo>
                  <a:pt x="551" y="2103"/>
                </a:lnTo>
                <a:lnTo>
                  <a:pt x="551" y="2106"/>
                </a:lnTo>
                <a:lnTo>
                  <a:pt x="553" y="2106"/>
                </a:lnTo>
                <a:lnTo>
                  <a:pt x="553" y="2108"/>
                </a:lnTo>
                <a:lnTo>
                  <a:pt x="554" y="2108"/>
                </a:lnTo>
                <a:lnTo>
                  <a:pt x="556" y="2108"/>
                </a:lnTo>
                <a:lnTo>
                  <a:pt x="558" y="2110"/>
                </a:lnTo>
                <a:lnTo>
                  <a:pt x="560" y="2110"/>
                </a:lnTo>
                <a:lnTo>
                  <a:pt x="561" y="2110"/>
                </a:lnTo>
                <a:lnTo>
                  <a:pt x="563" y="2111"/>
                </a:lnTo>
                <a:lnTo>
                  <a:pt x="565" y="2111"/>
                </a:lnTo>
                <a:lnTo>
                  <a:pt x="566" y="2113"/>
                </a:lnTo>
                <a:lnTo>
                  <a:pt x="570" y="2113"/>
                </a:lnTo>
                <a:lnTo>
                  <a:pt x="571" y="2113"/>
                </a:lnTo>
                <a:lnTo>
                  <a:pt x="573" y="2113"/>
                </a:lnTo>
                <a:lnTo>
                  <a:pt x="573" y="2115"/>
                </a:lnTo>
                <a:lnTo>
                  <a:pt x="575" y="2117"/>
                </a:lnTo>
                <a:lnTo>
                  <a:pt x="578" y="2117"/>
                </a:lnTo>
                <a:lnTo>
                  <a:pt x="580" y="2115"/>
                </a:lnTo>
                <a:lnTo>
                  <a:pt x="582" y="2115"/>
                </a:lnTo>
                <a:lnTo>
                  <a:pt x="583" y="2113"/>
                </a:lnTo>
                <a:lnTo>
                  <a:pt x="585" y="2113"/>
                </a:lnTo>
                <a:lnTo>
                  <a:pt x="585" y="2111"/>
                </a:lnTo>
                <a:lnTo>
                  <a:pt x="587" y="2110"/>
                </a:lnTo>
                <a:lnTo>
                  <a:pt x="588" y="2111"/>
                </a:lnTo>
                <a:lnTo>
                  <a:pt x="590" y="2111"/>
                </a:lnTo>
                <a:lnTo>
                  <a:pt x="592" y="2111"/>
                </a:lnTo>
                <a:lnTo>
                  <a:pt x="594" y="2111"/>
                </a:lnTo>
                <a:lnTo>
                  <a:pt x="594" y="2113"/>
                </a:lnTo>
                <a:lnTo>
                  <a:pt x="595" y="2115"/>
                </a:lnTo>
                <a:lnTo>
                  <a:pt x="595" y="2117"/>
                </a:lnTo>
                <a:lnTo>
                  <a:pt x="595" y="2115"/>
                </a:lnTo>
                <a:lnTo>
                  <a:pt x="595" y="2117"/>
                </a:lnTo>
                <a:lnTo>
                  <a:pt x="597" y="2117"/>
                </a:lnTo>
                <a:lnTo>
                  <a:pt x="600" y="2118"/>
                </a:lnTo>
                <a:lnTo>
                  <a:pt x="600" y="2120"/>
                </a:lnTo>
                <a:lnTo>
                  <a:pt x="602" y="2120"/>
                </a:lnTo>
                <a:lnTo>
                  <a:pt x="602" y="2122"/>
                </a:lnTo>
                <a:lnTo>
                  <a:pt x="604" y="2123"/>
                </a:lnTo>
                <a:lnTo>
                  <a:pt x="607" y="2123"/>
                </a:lnTo>
                <a:lnTo>
                  <a:pt x="611" y="2125"/>
                </a:lnTo>
                <a:lnTo>
                  <a:pt x="611" y="2127"/>
                </a:lnTo>
                <a:lnTo>
                  <a:pt x="612" y="2128"/>
                </a:lnTo>
                <a:lnTo>
                  <a:pt x="612" y="2130"/>
                </a:lnTo>
                <a:lnTo>
                  <a:pt x="614" y="2134"/>
                </a:lnTo>
                <a:lnTo>
                  <a:pt x="616" y="2135"/>
                </a:lnTo>
                <a:lnTo>
                  <a:pt x="614" y="2137"/>
                </a:lnTo>
                <a:lnTo>
                  <a:pt x="616" y="2137"/>
                </a:lnTo>
                <a:lnTo>
                  <a:pt x="616" y="2139"/>
                </a:lnTo>
                <a:lnTo>
                  <a:pt x="617" y="2140"/>
                </a:lnTo>
                <a:lnTo>
                  <a:pt x="619" y="2142"/>
                </a:lnTo>
                <a:lnTo>
                  <a:pt x="619" y="2144"/>
                </a:lnTo>
                <a:lnTo>
                  <a:pt x="619" y="2145"/>
                </a:lnTo>
                <a:lnTo>
                  <a:pt x="621" y="2147"/>
                </a:lnTo>
                <a:lnTo>
                  <a:pt x="621" y="2145"/>
                </a:lnTo>
                <a:lnTo>
                  <a:pt x="622" y="2149"/>
                </a:lnTo>
                <a:lnTo>
                  <a:pt x="624" y="2149"/>
                </a:lnTo>
                <a:lnTo>
                  <a:pt x="626" y="2151"/>
                </a:lnTo>
                <a:lnTo>
                  <a:pt x="626" y="2152"/>
                </a:lnTo>
                <a:lnTo>
                  <a:pt x="628" y="2154"/>
                </a:lnTo>
                <a:lnTo>
                  <a:pt x="626" y="2154"/>
                </a:lnTo>
                <a:lnTo>
                  <a:pt x="626" y="2157"/>
                </a:lnTo>
                <a:lnTo>
                  <a:pt x="628" y="2157"/>
                </a:lnTo>
                <a:lnTo>
                  <a:pt x="628" y="2161"/>
                </a:lnTo>
                <a:lnTo>
                  <a:pt x="628" y="2163"/>
                </a:lnTo>
                <a:lnTo>
                  <a:pt x="628" y="2164"/>
                </a:lnTo>
                <a:lnTo>
                  <a:pt x="626" y="2164"/>
                </a:lnTo>
                <a:lnTo>
                  <a:pt x="626" y="2168"/>
                </a:lnTo>
                <a:lnTo>
                  <a:pt x="626" y="2169"/>
                </a:lnTo>
                <a:lnTo>
                  <a:pt x="628" y="2169"/>
                </a:lnTo>
                <a:lnTo>
                  <a:pt x="626" y="2171"/>
                </a:lnTo>
                <a:lnTo>
                  <a:pt x="626" y="2174"/>
                </a:lnTo>
                <a:lnTo>
                  <a:pt x="628" y="2176"/>
                </a:lnTo>
                <a:lnTo>
                  <a:pt x="628" y="2178"/>
                </a:lnTo>
                <a:lnTo>
                  <a:pt x="628" y="2180"/>
                </a:lnTo>
                <a:lnTo>
                  <a:pt x="626" y="2181"/>
                </a:lnTo>
                <a:lnTo>
                  <a:pt x="626" y="2183"/>
                </a:lnTo>
                <a:lnTo>
                  <a:pt x="628" y="2185"/>
                </a:lnTo>
                <a:lnTo>
                  <a:pt x="626" y="2183"/>
                </a:lnTo>
                <a:lnTo>
                  <a:pt x="628" y="2186"/>
                </a:lnTo>
                <a:lnTo>
                  <a:pt x="628" y="2188"/>
                </a:lnTo>
                <a:lnTo>
                  <a:pt x="628" y="2190"/>
                </a:lnTo>
                <a:lnTo>
                  <a:pt x="629" y="2191"/>
                </a:lnTo>
                <a:lnTo>
                  <a:pt x="628" y="2191"/>
                </a:lnTo>
                <a:lnTo>
                  <a:pt x="629" y="2191"/>
                </a:lnTo>
                <a:lnTo>
                  <a:pt x="629" y="2193"/>
                </a:lnTo>
                <a:lnTo>
                  <a:pt x="629" y="2195"/>
                </a:lnTo>
                <a:lnTo>
                  <a:pt x="631" y="2195"/>
                </a:lnTo>
                <a:lnTo>
                  <a:pt x="631" y="2198"/>
                </a:lnTo>
                <a:lnTo>
                  <a:pt x="629" y="2200"/>
                </a:lnTo>
                <a:lnTo>
                  <a:pt x="631" y="2198"/>
                </a:lnTo>
                <a:lnTo>
                  <a:pt x="629" y="2202"/>
                </a:lnTo>
                <a:lnTo>
                  <a:pt x="631" y="2205"/>
                </a:lnTo>
                <a:lnTo>
                  <a:pt x="631" y="2207"/>
                </a:lnTo>
                <a:lnTo>
                  <a:pt x="631" y="2210"/>
                </a:lnTo>
                <a:lnTo>
                  <a:pt x="633" y="2212"/>
                </a:lnTo>
                <a:lnTo>
                  <a:pt x="633" y="2214"/>
                </a:lnTo>
                <a:lnTo>
                  <a:pt x="634" y="2214"/>
                </a:lnTo>
                <a:lnTo>
                  <a:pt x="634" y="2215"/>
                </a:lnTo>
                <a:lnTo>
                  <a:pt x="634" y="2217"/>
                </a:lnTo>
                <a:lnTo>
                  <a:pt x="636" y="2219"/>
                </a:lnTo>
                <a:lnTo>
                  <a:pt x="634" y="2220"/>
                </a:lnTo>
                <a:lnTo>
                  <a:pt x="634" y="2222"/>
                </a:lnTo>
                <a:lnTo>
                  <a:pt x="636" y="2219"/>
                </a:lnTo>
                <a:lnTo>
                  <a:pt x="636" y="2220"/>
                </a:lnTo>
                <a:lnTo>
                  <a:pt x="639" y="2222"/>
                </a:lnTo>
                <a:lnTo>
                  <a:pt x="641" y="2224"/>
                </a:lnTo>
                <a:lnTo>
                  <a:pt x="645" y="2224"/>
                </a:lnTo>
                <a:lnTo>
                  <a:pt x="645" y="2225"/>
                </a:lnTo>
                <a:lnTo>
                  <a:pt x="646" y="2225"/>
                </a:lnTo>
                <a:lnTo>
                  <a:pt x="648" y="2227"/>
                </a:lnTo>
                <a:lnTo>
                  <a:pt x="650" y="2227"/>
                </a:lnTo>
                <a:lnTo>
                  <a:pt x="651" y="2229"/>
                </a:lnTo>
                <a:lnTo>
                  <a:pt x="653" y="2232"/>
                </a:lnTo>
                <a:lnTo>
                  <a:pt x="655" y="2232"/>
                </a:lnTo>
                <a:lnTo>
                  <a:pt x="656" y="2234"/>
                </a:lnTo>
                <a:lnTo>
                  <a:pt x="658" y="2236"/>
                </a:lnTo>
                <a:lnTo>
                  <a:pt x="658" y="2237"/>
                </a:lnTo>
                <a:lnTo>
                  <a:pt x="658" y="2239"/>
                </a:lnTo>
                <a:lnTo>
                  <a:pt x="660" y="2241"/>
                </a:lnTo>
                <a:lnTo>
                  <a:pt x="662" y="2244"/>
                </a:lnTo>
                <a:lnTo>
                  <a:pt x="662" y="2246"/>
                </a:lnTo>
                <a:lnTo>
                  <a:pt x="662" y="2248"/>
                </a:lnTo>
                <a:lnTo>
                  <a:pt x="663" y="2248"/>
                </a:lnTo>
                <a:lnTo>
                  <a:pt x="662" y="2249"/>
                </a:lnTo>
                <a:lnTo>
                  <a:pt x="663" y="2251"/>
                </a:lnTo>
                <a:lnTo>
                  <a:pt x="663" y="2253"/>
                </a:lnTo>
                <a:lnTo>
                  <a:pt x="665" y="2253"/>
                </a:lnTo>
                <a:lnTo>
                  <a:pt x="667" y="2254"/>
                </a:lnTo>
                <a:lnTo>
                  <a:pt x="665" y="2254"/>
                </a:lnTo>
                <a:lnTo>
                  <a:pt x="667" y="2258"/>
                </a:lnTo>
                <a:lnTo>
                  <a:pt x="670" y="2259"/>
                </a:lnTo>
                <a:lnTo>
                  <a:pt x="672" y="2261"/>
                </a:lnTo>
                <a:lnTo>
                  <a:pt x="673" y="2263"/>
                </a:lnTo>
                <a:lnTo>
                  <a:pt x="672" y="2263"/>
                </a:lnTo>
                <a:lnTo>
                  <a:pt x="670" y="2263"/>
                </a:lnTo>
                <a:lnTo>
                  <a:pt x="668" y="2265"/>
                </a:lnTo>
                <a:lnTo>
                  <a:pt x="667" y="2266"/>
                </a:lnTo>
                <a:lnTo>
                  <a:pt x="667" y="2268"/>
                </a:lnTo>
                <a:lnTo>
                  <a:pt x="667" y="2270"/>
                </a:lnTo>
                <a:lnTo>
                  <a:pt x="667" y="2273"/>
                </a:lnTo>
                <a:lnTo>
                  <a:pt x="668" y="2275"/>
                </a:lnTo>
                <a:lnTo>
                  <a:pt x="668" y="2276"/>
                </a:lnTo>
                <a:lnTo>
                  <a:pt x="668" y="2278"/>
                </a:lnTo>
                <a:lnTo>
                  <a:pt x="668" y="2280"/>
                </a:lnTo>
                <a:lnTo>
                  <a:pt x="670" y="2282"/>
                </a:lnTo>
                <a:lnTo>
                  <a:pt x="672" y="2283"/>
                </a:lnTo>
                <a:lnTo>
                  <a:pt x="672" y="2285"/>
                </a:lnTo>
                <a:lnTo>
                  <a:pt x="672" y="2287"/>
                </a:lnTo>
                <a:lnTo>
                  <a:pt x="673" y="2288"/>
                </a:lnTo>
                <a:lnTo>
                  <a:pt x="675" y="2290"/>
                </a:lnTo>
                <a:lnTo>
                  <a:pt x="675" y="2292"/>
                </a:lnTo>
                <a:lnTo>
                  <a:pt x="677" y="2293"/>
                </a:lnTo>
                <a:lnTo>
                  <a:pt x="677" y="2295"/>
                </a:lnTo>
                <a:lnTo>
                  <a:pt x="677" y="2299"/>
                </a:lnTo>
                <a:lnTo>
                  <a:pt x="677" y="2300"/>
                </a:lnTo>
                <a:lnTo>
                  <a:pt x="675" y="2300"/>
                </a:lnTo>
                <a:lnTo>
                  <a:pt x="677" y="2299"/>
                </a:lnTo>
                <a:lnTo>
                  <a:pt x="677" y="2297"/>
                </a:lnTo>
                <a:lnTo>
                  <a:pt x="675" y="2295"/>
                </a:lnTo>
                <a:lnTo>
                  <a:pt x="673" y="2295"/>
                </a:lnTo>
                <a:lnTo>
                  <a:pt x="672" y="2295"/>
                </a:lnTo>
                <a:lnTo>
                  <a:pt x="670" y="2295"/>
                </a:lnTo>
                <a:lnTo>
                  <a:pt x="668" y="2295"/>
                </a:lnTo>
                <a:lnTo>
                  <a:pt x="667" y="2293"/>
                </a:lnTo>
                <a:lnTo>
                  <a:pt x="665" y="2292"/>
                </a:lnTo>
                <a:lnTo>
                  <a:pt x="663" y="2290"/>
                </a:lnTo>
                <a:lnTo>
                  <a:pt x="663" y="2287"/>
                </a:lnTo>
                <a:lnTo>
                  <a:pt x="660" y="2287"/>
                </a:lnTo>
                <a:lnTo>
                  <a:pt x="656" y="2287"/>
                </a:lnTo>
                <a:lnTo>
                  <a:pt x="655" y="2288"/>
                </a:lnTo>
                <a:lnTo>
                  <a:pt x="653" y="2287"/>
                </a:lnTo>
                <a:lnTo>
                  <a:pt x="650" y="2287"/>
                </a:lnTo>
                <a:lnTo>
                  <a:pt x="648" y="2287"/>
                </a:lnTo>
                <a:lnTo>
                  <a:pt x="648" y="2288"/>
                </a:lnTo>
                <a:lnTo>
                  <a:pt x="651" y="2290"/>
                </a:lnTo>
                <a:lnTo>
                  <a:pt x="653" y="2288"/>
                </a:lnTo>
                <a:lnTo>
                  <a:pt x="656" y="2288"/>
                </a:lnTo>
                <a:lnTo>
                  <a:pt x="658" y="2288"/>
                </a:lnTo>
                <a:lnTo>
                  <a:pt x="660" y="2288"/>
                </a:lnTo>
                <a:lnTo>
                  <a:pt x="662" y="2290"/>
                </a:lnTo>
                <a:lnTo>
                  <a:pt x="662" y="2292"/>
                </a:lnTo>
                <a:lnTo>
                  <a:pt x="663" y="2293"/>
                </a:lnTo>
                <a:lnTo>
                  <a:pt x="663" y="2295"/>
                </a:lnTo>
                <a:lnTo>
                  <a:pt x="665" y="2297"/>
                </a:lnTo>
                <a:lnTo>
                  <a:pt x="667" y="2297"/>
                </a:lnTo>
                <a:lnTo>
                  <a:pt x="667" y="2299"/>
                </a:lnTo>
                <a:lnTo>
                  <a:pt x="668" y="2299"/>
                </a:lnTo>
                <a:lnTo>
                  <a:pt x="670" y="2300"/>
                </a:lnTo>
                <a:lnTo>
                  <a:pt x="672" y="2302"/>
                </a:lnTo>
                <a:lnTo>
                  <a:pt x="672" y="2304"/>
                </a:lnTo>
                <a:lnTo>
                  <a:pt x="673" y="2304"/>
                </a:lnTo>
                <a:lnTo>
                  <a:pt x="675" y="2307"/>
                </a:lnTo>
                <a:lnTo>
                  <a:pt x="675" y="2305"/>
                </a:lnTo>
                <a:lnTo>
                  <a:pt x="677" y="2305"/>
                </a:lnTo>
                <a:lnTo>
                  <a:pt x="675" y="2307"/>
                </a:lnTo>
                <a:lnTo>
                  <a:pt x="677" y="2307"/>
                </a:lnTo>
                <a:lnTo>
                  <a:pt x="679" y="2310"/>
                </a:lnTo>
                <a:lnTo>
                  <a:pt x="677" y="2310"/>
                </a:lnTo>
                <a:lnTo>
                  <a:pt x="679" y="2310"/>
                </a:lnTo>
                <a:lnTo>
                  <a:pt x="677" y="2310"/>
                </a:lnTo>
                <a:lnTo>
                  <a:pt x="679" y="2312"/>
                </a:lnTo>
                <a:lnTo>
                  <a:pt x="679" y="2314"/>
                </a:lnTo>
                <a:lnTo>
                  <a:pt x="679" y="2316"/>
                </a:lnTo>
                <a:lnTo>
                  <a:pt x="680" y="2319"/>
                </a:lnTo>
                <a:lnTo>
                  <a:pt x="680" y="2321"/>
                </a:lnTo>
                <a:lnTo>
                  <a:pt x="682" y="2322"/>
                </a:lnTo>
                <a:lnTo>
                  <a:pt x="682" y="2326"/>
                </a:lnTo>
                <a:lnTo>
                  <a:pt x="682" y="2329"/>
                </a:lnTo>
                <a:lnTo>
                  <a:pt x="682" y="2331"/>
                </a:lnTo>
                <a:lnTo>
                  <a:pt x="682" y="2333"/>
                </a:lnTo>
                <a:lnTo>
                  <a:pt x="680" y="2333"/>
                </a:lnTo>
                <a:lnTo>
                  <a:pt x="680" y="2334"/>
                </a:lnTo>
                <a:lnTo>
                  <a:pt x="680" y="2336"/>
                </a:lnTo>
                <a:lnTo>
                  <a:pt x="679" y="2336"/>
                </a:lnTo>
                <a:lnTo>
                  <a:pt x="677" y="2338"/>
                </a:lnTo>
                <a:lnTo>
                  <a:pt x="675" y="2338"/>
                </a:lnTo>
                <a:lnTo>
                  <a:pt x="672" y="2339"/>
                </a:lnTo>
                <a:lnTo>
                  <a:pt x="670" y="2341"/>
                </a:lnTo>
                <a:lnTo>
                  <a:pt x="668" y="2343"/>
                </a:lnTo>
                <a:lnTo>
                  <a:pt x="668" y="2345"/>
                </a:lnTo>
                <a:lnTo>
                  <a:pt x="667" y="2346"/>
                </a:lnTo>
                <a:lnTo>
                  <a:pt x="668" y="2348"/>
                </a:lnTo>
                <a:lnTo>
                  <a:pt x="670" y="2348"/>
                </a:lnTo>
                <a:lnTo>
                  <a:pt x="672" y="2350"/>
                </a:lnTo>
                <a:lnTo>
                  <a:pt x="673" y="2353"/>
                </a:lnTo>
                <a:lnTo>
                  <a:pt x="675" y="2355"/>
                </a:lnTo>
                <a:lnTo>
                  <a:pt x="677" y="2355"/>
                </a:lnTo>
                <a:lnTo>
                  <a:pt x="679" y="2356"/>
                </a:lnTo>
                <a:lnTo>
                  <a:pt x="680" y="2353"/>
                </a:lnTo>
                <a:lnTo>
                  <a:pt x="682" y="2353"/>
                </a:lnTo>
                <a:lnTo>
                  <a:pt x="684" y="2351"/>
                </a:lnTo>
                <a:lnTo>
                  <a:pt x="684" y="2350"/>
                </a:lnTo>
                <a:lnTo>
                  <a:pt x="685" y="2348"/>
                </a:lnTo>
                <a:lnTo>
                  <a:pt x="685" y="2346"/>
                </a:lnTo>
                <a:lnTo>
                  <a:pt x="689" y="2345"/>
                </a:lnTo>
                <a:lnTo>
                  <a:pt x="690" y="2345"/>
                </a:lnTo>
                <a:lnTo>
                  <a:pt x="692" y="2345"/>
                </a:lnTo>
                <a:lnTo>
                  <a:pt x="694" y="2345"/>
                </a:lnTo>
                <a:lnTo>
                  <a:pt x="697" y="2346"/>
                </a:lnTo>
                <a:lnTo>
                  <a:pt x="699" y="2346"/>
                </a:lnTo>
                <a:lnTo>
                  <a:pt x="701" y="2346"/>
                </a:lnTo>
                <a:lnTo>
                  <a:pt x="701" y="2348"/>
                </a:lnTo>
                <a:lnTo>
                  <a:pt x="702" y="2346"/>
                </a:lnTo>
                <a:lnTo>
                  <a:pt x="702" y="2348"/>
                </a:lnTo>
                <a:lnTo>
                  <a:pt x="706" y="2348"/>
                </a:lnTo>
                <a:lnTo>
                  <a:pt x="709" y="2348"/>
                </a:lnTo>
                <a:lnTo>
                  <a:pt x="706" y="2346"/>
                </a:lnTo>
                <a:lnTo>
                  <a:pt x="706" y="2348"/>
                </a:lnTo>
                <a:lnTo>
                  <a:pt x="706" y="2346"/>
                </a:lnTo>
                <a:lnTo>
                  <a:pt x="707" y="2346"/>
                </a:lnTo>
                <a:lnTo>
                  <a:pt x="709" y="2348"/>
                </a:lnTo>
                <a:lnTo>
                  <a:pt x="711" y="2348"/>
                </a:lnTo>
                <a:lnTo>
                  <a:pt x="713" y="2350"/>
                </a:lnTo>
                <a:lnTo>
                  <a:pt x="714" y="2350"/>
                </a:lnTo>
                <a:lnTo>
                  <a:pt x="716" y="2350"/>
                </a:lnTo>
                <a:lnTo>
                  <a:pt x="718" y="2351"/>
                </a:lnTo>
                <a:lnTo>
                  <a:pt x="719" y="2351"/>
                </a:lnTo>
                <a:lnTo>
                  <a:pt x="721" y="2353"/>
                </a:lnTo>
                <a:lnTo>
                  <a:pt x="723" y="2355"/>
                </a:lnTo>
                <a:lnTo>
                  <a:pt x="724" y="2355"/>
                </a:lnTo>
                <a:lnTo>
                  <a:pt x="726" y="2356"/>
                </a:lnTo>
                <a:lnTo>
                  <a:pt x="726" y="2358"/>
                </a:lnTo>
                <a:lnTo>
                  <a:pt x="728" y="2360"/>
                </a:lnTo>
                <a:lnTo>
                  <a:pt x="730" y="2362"/>
                </a:lnTo>
                <a:lnTo>
                  <a:pt x="730" y="2363"/>
                </a:lnTo>
                <a:lnTo>
                  <a:pt x="731" y="2363"/>
                </a:lnTo>
                <a:lnTo>
                  <a:pt x="733" y="2365"/>
                </a:lnTo>
                <a:lnTo>
                  <a:pt x="735" y="2368"/>
                </a:lnTo>
                <a:lnTo>
                  <a:pt x="735" y="2370"/>
                </a:lnTo>
                <a:lnTo>
                  <a:pt x="735" y="2372"/>
                </a:lnTo>
                <a:lnTo>
                  <a:pt x="735" y="2375"/>
                </a:lnTo>
                <a:lnTo>
                  <a:pt x="735" y="2377"/>
                </a:lnTo>
                <a:lnTo>
                  <a:pt x="735" y="2379"/>
                </a:lnTo>
                <a:lnTo>
                  <a:pt x="735" y="2380"/>
                </a:lnTo>
                <a:lnTo>
                  <a:pt x="735" y="2382"/>
                </a:lnTo>
                <a:lnTo>
                  <a:pt x="735" y="2384"/>
                </a:lnTo>
                <a:lnTo>
                  <a:pt x="735" y="2385"/>
                </a:lnTo>
                <a:lnTo>
                  <a:pt x="733" y="2387"/>
                </a:lnTo>
                <a:lnTo>
                  <a:pt x="733" y="2389"/>
                </a:lnTo>
                <a:lnTo>
                  <a:pt x="733" y="2390"/>
                </a:lnTo>
                <a:lnTo>
                  <a:pt x="731" y="2392"/>
                </a:lnTo>
                <a:lnTo>
                  <a:pt x="731" y="2394"/>
                </a:lnTo>
                <a:lnTo>
                  <a:pt x="730" y="2396"/>
                </a:lnTo>
                <a:lnTo>
                  <a:pt x="728" y="2399"/>
                </a:lnTo>
                <a:lnTo>
                  <a:pt x="728" y="2401"/>
                </a:lnTo>
                <a:lnTo>
                  <a:pt x="726" y="2402"/>
                </a:lnTo>
                <a:lnTo>
                  <a:pt x="726" y="2404"/>
                </a:lnTo>
                <a:lnTo>
                  <a:pt x="726" y="2407"/>
                </a:lnTo>
                <a:lnTo>
                  <a:pt x="724" y="2409"/>
                </a:lnTo>
                <a:lnTo>
                  <a:pt x="724" y="2411"/>
                </a:lnTo>
                <a:lnTo>
                  <a:pt x="723" y="2413"/>
                </a:lnTo>
                <a:lnTo>
                  <a:pt x="719" y="2413"/>
                </a:lnTo>
                <a:lnTo>
                  <a:pt x="719" y="2414"/>
                </a:lnTo>
                <a:lnTo>
                  <a:pt x="718" y="2414"/>
                </a:lnTo>
                <a:lnTo>
                  <a:pt x="718" y="2416"/>
                </a:lnTo>
                <a:lnTo>
                  <a:pt x="716" y="2418"/>
                </a:lnTo>
                <a:lnTo>
                  <a:pt x="714" y="2419"/>
                </a:lnTo>
                <a:lnTo>
                  <a:pt x="713" y="2419"/>
                </a:lnTo>
                <a:lnTo>
                  <a:pt x="711" y="2421"/>
                </a:lnTo>
                <a:lnTo>
                  <a:pt x="711" y="2419"/>
                </a:lnTo>
                <a:lnTo>
                  <a:pt x="709" y="2419"/>
                </a:lnTo>
                <a:lnTo>
                  <a:pt x="707" y="2419"/>
                </a:lnTo>
                <a:lnTo>
                  <a:pt x="706" y="2418"/>
                </a:lnTo>
                <a:lnTo>
                  <a:pt x="704" y="2419"/>
                </a:lnTo>
                <a:lnTo>
                  <a:pt x="701" y="2418"/>
                </a:lnTo>
                <a:lnTo>
                  <a:pt x="702" y="2419"/>
                </a:lnTo>
                <a:lnTo>
                  <a:pt x="706" y="2419"/>
                </a:lnTo>
                <a:lnTo>
                  <a:pt x="707" y="2419"/>
                </a:lnTo>
                <a:lnTo>
                  <a:pt x="709" y="2419"/>
                </a:lnTo>
                <a:lnTo>
                  <a:pt x="709" y="2421"/>
                </a:lnTo>
                <a:lnTo>
                  <a:pt x="711" y="2419"/>
                </a:lnTo>
                <a:lnTo>
                  <a:pt x="711" y="2421"/>
                </a:lnTo>
                <a:lnTo>
                  <a:pt x="709" y="2421"/>
                </a:lnTo>
                <a:lnTo>
                  <a:pt x="707" y="2424"/>
                </a:lnTo>
                <a:lnTo>
                  <a:pt x="709" y="2424"/>
                </a:lnTo>
                <a:lnTo>
                  <a:pt x="709" y="2426"/>
                </a:lnTo>
                <a:lnTo>
                  <a:pt x="707" y="2428"/>
                </a:lnTo>
                <a:lnTo>
                  <a:pt x="706" y="2430"/>
                </a:lnTo>
                <a:lnTo>
                  <a:pt x="704" y="2430"/>
                </a:lnTo>
                <a:lnTo>
                  <a:pt x="704" y="2431"/>
                </a:lnTo>
                <a:lnTo>
                  <a:pt x="702" y="2431"/>
                </a:lnTo>
                <a:lnTo>
                  <a:pt x="699" y="2431"/>
                </a:lnTo>
                <a:lnTo>
                  <a:pt x="697" y="2428"/>
                </a:lnTo>
                <a:lnTo>
                  <a:pt x="696" y="2430"/>
                </a:lnTo>
                <a:lnTo>
                  <a:pt x="694" y="2430"/>
                </a:lnTo>
                <a:lnTo>
                  <a:pt x="692" y="2430"/>
                </a:lnTo>
                <a:lnTo>
                  <a:pt x="690" y="2431"/>
                </a:lnTo>
                <a:lnTo>
                  <a:pt x="687" y="2431"/>
                </a:lnTo>
                <a:lnTo>
                  <a:pt x="685" y="2431"/>
                </a:lnTo>
                <a:lnTo>
                  <a:pt x="685" y="2433"/>
                </a:lnTo>
                <a:lnTo>
                  <a:pt x="687" y="2433"/>
                </a:lnTo>
                <a:lnTo>
                  <a:pt x="690" y="2433"/>
                </a:lnTo>
                <a:lnTo>
                  <a:pt x="692" y="2431"/>
                </a:lnTo>
                <a:lnTo>
                  <a:pt x="694" y="2433"/>
                </a:lnTo>
                <a:lnTo>
                  <a:pt x="694" y="2435"/>
                </a:lnTo>
                <a:lnTo>
                  <a:pt x="694" y="2436"/>
                </a:lnTo>
                <a:lnTo>
                  <a:pt x="692" y="2438"/>
                </a:lnTo>
                <a:lnTo>
                  <a:pt x="692" y="2440"/>
                </a:lnTo>
                <a:lnTo>
                  <a:pt x="690" y="2440"/>
                </a:lnTo>
                <a:lnTo>
                  <a:pt x="690" y="2441"/>
                </a:lnTo>
                <a:lnTo>
                  <a:pt x="694" y="2441"/>
                </a:lnTo>
                <a:lnTo>
                  <a:pt x="692" y="2441"/>
                </a:lnTo>
                <a:lnTo>
                  <a:pt x="690" y="2443"/>
                </a:lnTo>
                <a:lnTo>
                  <a:pt x="689" y="2445"/>
                </a:lnTo>
                <a:lnTo>
                  <a:pt x="687" y="2445"/>
                </a:lnTo>
                <a:lnTo>
                  <a:pt x="685" y="2447"/>
                </a:lnTo>
                <a:lnTo>
                  <a:pt x="684" y="2447"/>
                </a:lnTo>
                <a:lnTo>
                  <a:pt x="682" y="2445"/>
                </a:lnTo>
                <a:lnTo>
                  <a:pt x="679" y="2445"/>
                </a:lnTo>
                <a:lnTo>
                  <a:pt x="677" y="2445"/>
                </a:lnTo>
                <a:lnTo>
                  <a:pt x="679" y="2445"/>
                </a:lnTo>
                <a:lnTo>
                  <a:pt x="679" y="2447"/>
                </a:lnTo>
                <a:lnTo>
                  <a:pt x="675" y="2447"/>
                </a:lnTo>
                <a:lnTo>
                  <a:pt x="673" y="2445"/>
                </a:lnTo>
                <a:lnTo>
                  <a:pt x="673" y="2447"/>
                </a:lnTo>
                <a:lnTo>
                  <a:pt x="672" y="2447"/>
                </a:lnTo>
                <a:lnTo>
                  <a:pt x="670" y="2447"/>
                </a:lnTo>
                <a:lnTo>
                  <a:pt x="670" y="2448"/>
                </a:lnTo>
                <a:lnTo>
                  <a:pt x="672" y="2447"/>
                </a:lnTo>
                <a:lnTo>
                  <a:pt x="675" y="2448"/>
                </a:lnTo>
                <a:lnTo>
                  <a:pt x="677" y="2448"/>
                </a:lnTo>
                <a:lnTo>
                  <a:pt x="679" y="2448"/>
                </a:lnTo>
                <a:lnTo>
                  <a:pt x="680" y="2450"/>
                </a:lnTo>
                <a:lnTo>
                  <a:pt x="682" y="2450"/>
                </a:lnTo>
                <a:lnTo>
                  <a:pt x="682" y="2452"/>
                </a:lnTo>
                <a:lnTo>
                  <a:pt x="680" y="2452"/>
                </a:lnTo>
                <a:lnTo>
                  <a:pt x="679" y="2452"/>
                </a:lnTo>
                <a:lnTo>
                  <a:pt x="677" y="2453"/>
                </a:lnTo>
                <a:lnTo>
                  <a:pt x="675" y="2453"/>
                </a:lnTo>
                <a:lnTo>
                  <a:pt x="673" y="2453"/>
                </a:lnTo>
                <a:lnTo>
                  <a:pt x="677" y="2455"/>
                </a:lnTo>
                <a:lnTo>
                  <a:pt x="677" y="2457"/>
                </a:lnTo>
                <a:lnTo>
                  <a:pt x="679" y="2455"/>
                </a:lnTo>
                <a:lnTo>
                  <a:pt x="679" y="2457"/>
                </a:lnTo>
                <a:lnTo>
                  <a:pt x="680" y="2455"/>
                </a:lnTo>
                <a:lnTo>
                  <a:pt x="680" y="2457"/>
                </a:lnTo>
                <a:lnTo>
                  <a:pt x="682" y="2455"/>
                </a:lnTo>
                <a:lnTo>
                  <a:pt x="680" y="2453"/>
                </a:lnTo>
                <a:lnTo>
                  <a:pt x="682" y="2453"/>
                </a:lnTo>
                <a:lnTo>
                  <a:pt x="682" y="2455"/>
                </a:lnTo>
                <a:lnTo>
                  <a:pt x="684" y="2457"/>
                </a:lnTo>
                <a:lnTo>
                  <a:pt x="682" y="2458"/>
                </a:lnTo>
                <a:lnTo>
                  <a:pt x="684" y="2457"/>
                </a:lnTo>
                <a:lnTo>
                  <a:pt x="685" y="2458"/>
                </a:lnTo>
                <a:lnTo>
                  <a:pt x="687" y="2458"/>
                </a:lnTo>
                <a:lnTo>
                  <a:pt x="689" y="2460"/>
                </a:lnTo>
                <a:lnTo>
                  <a:pt x="690" y="2460"/>
                </a:lnTo>
                <a:lnTo>
                  <a:pt x="692" y="2460"/>
                </a:lnTo>
                <a:lnTo>
                  <a:pt x="694" y="2458"/>
                </a:lnTo>
                <a:lnTo>
                  <a:pt x="697" y="2458"/>
                </a:lnTo>
                <a:lnTo>
                  <a:pt x="699" y="2458"/>
                </a:lnTo>
                <a:lnTo>
                  <a:pt x="702" y="2458"/>
                </a:lnTo>
                <a:lnTo>
                  <a:pt x="704" y="2458"/>
                </a:lnTo>
                <a:lnTo>
                  <a:pt x="706" y="2458"/>
                </a:lnTo>
                <a:lnTo>
                  <a:pt x="707" y="2458"/>
                </a:lnTo>
                <a:lnTo>
                  <a:pt x="709" y="2458"/>
                </a:lnTo>
                <a:lnTo>
                  <a:pt x="713" y="2458"/>
                </a:lnTo>
                <a:lnTo>
                  <a:pt x="713" y="2460"/>
                </a:lnTo>
                <a:lnTo>
                  <a:pt x="713" y="2462"/>
                </a:lnTo>
                <a:lnTo>
                  <a:pt x="711" y="2464"/>
                </a:lnTo>
                <a:lnTo>
                  <a:pt x="709" y="2464"/>
                </a:lnTo>
                <a:lnTo>
                  <a:pt x="707" y="2464"/>
                </a:lnTo>
                <a:lnTo>
                  <a:pt x="709" y="2465"/>
                </a:lnTo>
                <a:lnTo>
                  <a:pt x="709" y="2469"/>
                </a:lnTo>
                <a:lnTo>
                  <a:pt x="709" y="2470"/>
                </a:lnTo>
                <a:lnTo>
                  <a:pt x="709" y="2472"/>
                </a:lnTo>
                <a:lnTo>
                  <a:pt x="709" y="2474"/>
                </a:lnTo>
                <a:lnTo>
                  <a:pt x="707" y="2475"/>
                </a:lnTo>
                <a:lnTo>
                  <a:pt x="704" y="2477"/>
                </a:lnTo>
                <a:lnTo>
                  <a:pt x="706" y="2477"/>
                </a:lnTo>
                <a:lnTo>
                  <a:pt x="704" y="2477"/>
                </a:lnTo>
                <a:lnTo>
                  <a:pt x="706" y="2479"/>
                </a:lnTo>
                <a:lnTo>
                  <a:pt x="704" y="2477"/>
                </a:lnTo>
                <a:lnTo>
                  <a:pt x="702" y="2479"/>
                </a:lnTo>
                <a:lnTo>
                  <a:pt x="701" y="2479"/>
                </a:lnTo>
                <a:lnTo>
                  <a:pt x="699" y="2481"/>
                </a:lnTo>
                <a:lnTo>
                  <a:pt x="696" y="2479"/>
                </a:lnTo>
                <a:lnTo>
                  <a:pt x="694" y="2481"/>
                </a:lnTo>
                <a:lnTo>
                  <a:pt x="692" y="2481"/>
                </a:lnTo>
                <a:lnTo>
                  <a:pt x="690" y="2482"/>
                </a:lnTo>
                <a:lnTo>
                  <a:pt x="689" y="2484"/>
                </a:lnTo>
                <a:lnTo>
                  <a:pt x="689" y="2486"/>
                </a:lnTo>
                <a:lnTo>
                  <a:pt x="689" y="2487"/>
                </a:lnTo>
                <a:lnTo>
                  <a:pt x="689" y="2489"/>
                </a:lnTo>
                <a:lnTo>
                  <a:pt x="687" y="2489"/>
                </a:lnTo>
                <a:lnTo>
                  <a:pt x="685" y="2489"/>
                </a:lnTo>
                <a:lnTo>
                  <a:pt x="682" y="2487"/>
                </a:lnTo>
                <a:lnTo>
                  <a:pt x="680" y="2487"/>
                </a:lnTo>
                <a:lnTo>
                  <a:pt x="679" y="2487"/>
                </a:lnTo>
                <a:lnTo>
                  <a:pt x="677" y="2489"/>
                </a:lnTo>
                <a:lnTo>
                  <a:pt x="675" y="2491"/>
                </a:lnTo>
                <a:lnTo>
                  <a:pt x="673" y="2491"/>
                </a:lnTo>
                <a:lnTo>
                  <a:pt x="672" y="2491"/>
                </a:lnTo>
                <a:lnTo>
                  <a:pt x="670" y="2493"/>
                </a:lnTo>
                <a:lnTo>
                  <a:pt x="668" y="2493"/>
                </a:lnTo>
                <a:lnTo>
                  <a:pt x="665" y="2493"/>
                </a:lnTo>
                <a:lnTo>
                  <a:pt x="663" y="2493"/>
                </a:lnTo>
                <a:lnTo>
                  <a:pt x="660" y="2493"/>
                </a:lnTo>
                <a:lnTo>
                  <a:pt x="658" y="2496"/>
                </a:lnTo>
                <a:lnTo>
                  <a:pt x="656" y="2498"/>
                </a:lnTo>
                <a:lnTo>
                  <a:pt x="655" y="2498"/>
                </a:lnTo>
                <a:lnTo>
                  <a:pt x="653" y="2498"/>
                </a:lnTo>
                <a:lnTo>
                  <a:pt x="650" y="2496"/>
                </a:lnTo>
                <a:lnTo>
                  <a:pt x="646" y="2494"/>
                </a:lnTo>
                <a:lnTo>
                  <a:pt x="645" y="2493"/>
                </a:lnTo>
                <a:lnTo>
                  <a:pt x="643" y="2493"/>
                </a:lnTo>
                <a:lnTo>
                  <a:pt x="641" y="2491"/>
                </a:lnTo>
                <a:lnTo>
                  <a:pt x="639" y="2491"/>
                </a:lnTo>
                <a:lnTo>
                  <a:pt x="638" y="2491"/>
                </a:lnTo>
                <a:lnTo>
                  <a:pt x="638" y="2489"/>
                </a:lnTo>
                <a:lnTo>
                  <a:pt x="634" y="2489"/>
                </a:lnTo>
                <a:lnTo>
                  <a:pt x="633" y="2487"/>
                </a:lnTo>
                <a:lnTo>
                  <a:pt x="634" y="2489"/>
                </a:lnTo>
                <a:lnTo>
                  <a:pt x="633" y="2489"/>
                </a:lnTo>
                <a:lnTo>
                  <a:pt x="631" y="2489"/>
                </a:lnTo>
                <a:lnTo>
                  <a:pt x="628" y="2489"/>
                </a:lnTo>
                <a:lnTo>
                  <a:pt x="626" y="2489"/>
                </a:lnTo>
                <a:lnTo>
                  <a:pt x="624" y="2489"/>
                </a:lnTo>
                <a:lnTo>
                  <a:pt x="621" y="2489"/>
                </a:lnTo>
                <a:lnTo>
                  <a:pt x="619" y="2489"/>
                </a:lnTo>
                <a:lnTo>
                  <a:pt x="616" y="2489"/>
                </a:lnTo>
                <a:lnTo>
                  <a:pt x="614" y="2489"/>
                </a:lnTo>
                <a:lnTo>
                  <a:pt x="611" y="2491"/>
                </a:lnTo>
                <a:lnTo>
                  <a:pt x="611" y="2489"/>
                </a:lnTo>
                <a:lnTo>
                  <a:pt x="609" y="2489"/>
                </a:lnTo>
                <a:lnTo>
                  <a:pt x="611" y="2491"/>
                </a:lnTo>
                <a:lnTo>
                  <a:pt x="609" y="2493"/>
                </a:lnTo>
                <a:lnTo>
                  <a:pt x="607" y="2489"/>
                </a:lnTo>
                <a:lnTo>
                  <a:pt x="605" y="2487"/>
                </a:lnTo>
                <a:lnTo>
                  <a:pt x="604" y="2487"/>
                </a:lnTo>
                <a:lnTo>
                  <a:pt x="605" y="2486"/>
                </a:lnTo>
                <a:lnTo>
                  <a:pt x="607" y="2486"/>
                </a:lnTo>
                <a:lnTo>
                  <a:pt x="605" y="2486"/>
                </a:lnTo>
                <a:lnTo>
                  <a:pt x="605" y="2484"/>
                </a:lnTo>
                <a:lnTo>
                  <a:pt x="604" y="2486"/>
                </a:lnTo>
                <a:lnTo>
                  <a:pt x="604" y="2482"/>
                </a:lnTo>
                <a:lnTo>
                  <a:pt x="602" y="2482"/>
                </a:lnTo>
                <a:lnTo>
                  <a:pt x="604" y="2484"/>
                </a:lnTo>
                <a:lnTo>
                  <a:pt x="602" y="2486"/>
                </a:lnTo>
                <a:lnTo>
                  <a:pt x="604" y="2487"/>
                </a:lnTo>
                <a:lnTo>
                  <a:pt x="600" y="2487"/>
                </a:lnTo>
                <a:lnTo>
                  <a:pt x="600" y="2486"/>
                </a:lnTo>
                <a:lnTo>
                  <a:pt x="602" y="2484"/>
                </a:lnTo>
                <a:lnTo>
                  <a:pt x="600" y="2482"/>
                </a:lnTo>
                <a:lnTo>
                  <a:pt x="600" y="2484"/>
                </a:lnTo>
                <a:lnTo>
                  <a:pt x="599" y="2482"/>
                </a:lnTo>
                <a:lnTo>
                  <a:pt x="599" y="2486"/>
                </a:lnTo>
                <a:lnTo>
                  <a:pt x="597" y="2487"/>
                </a:lnTo>
                <a:lnTo>
                  <a:pt x="595" y="2486"/>
                </a:lnTo>
                <a:lnTo>
                  <a:pt x="597" y="2484"/>
                </a:lnTo>
                <a:lnTo>
                  <a:pt x="597" y="2482"/>
                </a:lnTo>
                <a:lnTo>
                  <a:pt x="595" y="2482"/>
                </a:lnTo>
                <a:lnTo>
                  <a:pt x="594" y="2482"/>
                </a:lnTo>
                <a:lnTo>
                  <a:pt x="595" y="2482"/>
                </a:lnTo>
                <a:lnTo>
                  <a:pt x="595" y="2486"/>
                </a:lnTo>
                <a:lnTo>
                  <a:pt x="594" y="2486"/>
                </a:lnTo>
                <a:lnTo>
                  <a:pt x="592" y="2486"/>
                </a:lnTo>
                <a:lnTo>
                  <a:pt x="592" y="2484"/>
                </a:lnTo>
                <a:lnTo>
                  <a:pt x="590" y="2482"/>
                </a:lnTo>
                <a:lnTo>
                  <a:pt x="588" y="2481"/>
                </a:lnTo>
                <a:lnTo>
                  <a:pt x="588" y="2479"/>
                </a:lnTo>
                <a:lnTo>
                  <a:pt x="588" y="2481"/>
                </a:lnTo>
                <a:lnTo>
                  <a:pt x="587" y="2481"/>
                </a:lnTo>
                <a:lnTo>
                  <a:pt x="585" y="2477"/>
                </a:lnTo>
                <a:lnTo>
                  <a:pt x="585" y="2474"/>
                </a:lnTo>
                <a:lnTo>
                  <a:pt x="585" y="2477"/>
                </a:lnTo>
                <a:lnTo>
                  <a:pt x="582" y="2475"/>
                </a:lnTo>
                <a:lnTo>
                  <a:pt x="582" y="2474"/>
                </a:lnTo>
                <a:lnTo>
                  <a:pt x="582" y="2475"/>
                </a:lnTo>
                <a:lnTo>
                  <a:pt x="583" y="2475"/>
                </a:lnTo>
                <a:lnTo>
                  <a:pt x="583" y="2477"/>
                </a:lnTo>
                <a:lnTo>
                  <a:pt x="585" y="2479"/>
                </a:lnTo>
                <a:lnTo>
                  <a:pt x="587" y="2481"/>
                </a:lnTo>
                <a:lnTo>
                  <a:pt x="587" y="2482"/>
                </a:lnTo>
                <a:lnTo>
                  <a:pt x="585" y="2484"/>
                </a:lnTo>
                <a:lnTo>
                  <a:pt x="583" y="2484"/>
                </a:lnTo>
                <a:lnTo>
                  <a:pt x="583" y="2482"/>
                </a:lnTo>
                <a:lnTo>
                  <a:pt x="582" y="2484"/>
                </a:lnTo>
                <a:lnTo>
                  <a:pt x="583" y="2484"/>
                </a:lnTo>
                <a:lnTo>
                  <a:pt x="582" y="2486"/>
                </a:lnTo>
                <a:lnTo>
                  <a:pt x="580" y="2486"/>
                </a:lnTo>
                <a:lnTo>
                  <a:pt x="578" y="2486"/>
                </a:lnTo>
                <a:lnTo>
                  <a:pt x="577" y="2484"/>
                </a:lnTo>
                <a:lnTo>
                  <a:pt x="577" y="2486"/>
                </a:lnTo>
                <a:lnTo>
                  <a:pt x="575" y="2487"/>
                </a:lnTo>
                <a:lnTo>
                  <a:pt x="575" y="2489"/>
                </a:lnTo>
                <a:lnTo>
                  <a:pt x="575" y="2487"/>
                </a:lnTo>
                <a:lnTo>
                  <a:pt x="571" y="2486"/>
                </a:lnTo>
                <a:lnTo>
                  <a:pt x="570" y="2486"/>
                </a:lnTo>
                <a:lnTo>
                  <a:pt x="566" y="2486"/>
                </a:lnTo>
                <a:lnTo>
                  <a:pt x="568" y="2486"/>
                </a:lnTo>
                <a:lnTo>
                  <a:pt x="566" y="2487"/>
                </a:lnTo>
                <a:lnTo>
                  <a:pt x="565" y="2486"/>
                </a:lnTo>
                <a:lnTo>
                  <a:pt x="563" y="2486"/>
                </a:lnTo>
                <a:lnTo>
                  <a:pt x="561" y="2486"/>
                </a:lnTo>
                <a:lnTo>
                  <a:pt x="560" y="2486"/>
                </a:lnTo>
                <a:lnTo>
                  <a:pt x="558" y="2487"/>
                </a:lnTo>
                <a:lnTo>
                  <a:pt x="560" y="2486"/>
                </a:lnTo>
                <a:lnTo>
                  <a:pt x="558" y="2484"/>
                </a:lnTo>
                <a:lnTo>
                  <a:pt x="556" y="2484"/>
                </a:lnTo>
                <a:lnTo>
                  <a:pt x="556" y="2486"/>
                </a:lnTo>
                <a:lnTo>
                  <a:pt x="554" y="2484"/>
                </a:lnTo>
                <a:lnTo>
                  <a:pt x="554" y="2482"/>
                </a:lnTo>
                <a:lnTo>
                  <a:pt x="554" y="2484"/>
                </a:lnTo>
                <a:lnTo>
                  <a:pt x="553" y="2484"/>
                </a:lnTo>
                <a:lnTo>
                  <a:pt x="553" y="2486"/>
                </a:lnTo>
                <a:lnTo>
                  <a:pt x="554" y="2484"/>
                </a:lnTo>
                <a:lnTo>
                  <a:pt x="554" y="2486"/>
                </a:lnTo>
                <a:lnTo>
                  <a:pt x="553" y="2487"/>
                </a:lnTo>
                <a:lnTo>
                  <a:pt x="554" y="2486"/>
                </a:lnTo>
                <a:lnTo>
                  <a:pt x="554" y="2487"/>
                </a:lnTo>
                <a:lnTo>
                  <a:pt x="556" y="2489"/>
                </a:lnTo>
                <a:lnTo>
                  <a:pt x="558" y="2487"/>
                </a:lnTo>
                <a:lnTo>
                  <a:pt x="558" y="2489"/>
                </a:lnTo>
                <a:lnTo>
                  <a:pt x="558" y="2491"/>
                </a:lnTo>
                <a:lnTo>
                  <a:pt x="556" y="2491"/>
                </a:lnTo>
                <a:lnTo>
                  <a:pt x="556" y="2493"/>
                </a:lnTo>
                <a:lnTo>
                  <a:pt x="553" y="2493"/>
                </a:lnTo>
                <a:lnTo>
                  <a:pt x="553" y="2494"/>
                </a:lnTo>
                <a:lnTo>
                  <a:pt x="551" y="2493"/>
                </a:lnTo>
                <a:lnTo>
                  <a:pt x="549" y="2491"/>
                </a:lnTo>
                <a:lnTo>
                  <a:pt x="546" y="2489"/>
                </a:lnTo>
                <a:lnTo>
                  <a:pt x="544" y="2489"/>
                </a:lnTo>
                <a:lnTo>
                  <a:pt x="543" y="2489"/>
                </a:lnTo>
                <a:lnTo>
                  <a:pt x="541" y="2489"/>
                </a:lnTo>
                <a:lnTo>
                  <a:pt x="541" y="2487"/>
                </a:lnTo>
                <a:lnTo>
                  <a:pt x="537" y="2487"/>
                </a:lnTo>
                <a:lnTo>
                  <a:pt x="536" y="2487"/>
                </a:lnTo>
                <a:lnTo>
                  <a:pt x="536" y="2489"/>
                </a:lnTo>
                <a:lnTo>
                  <a:pt x="534" y="2489"/>
                </a:lnTo>
                <a:lnTo>
                  <a:pt x="534" y="2491"/>
                </a:lnTo>
                <a:lnTo>
                  <a:pt x="536" y="2491"/>
                </a:lnTo>
                <a:lnTo>
                  <a:pt x="536" y="2493"/>
                </a:lnTo>
                <a:lnTo>
                  <a:pt x="534" y="2494"/>
                </a:lnTo>
                <a:lnTo>
                  <a:pt x="534" y="2493"/>
                </a:lnTo>
                <a:lnTo>
                  <a:pt x="534" y="2491"/>
                </a:lnTo>
                <a:lnTo>
                  <a:pt x="532" y="2489"/>
                </a:lnTo>
                <a:lnTo>
                  <a:pt x="532" y="2487"/>
                </a:lnTo>
                <a:lnTo>
                  <a:pt x="531" y="2486"/>
                </a:lnTo>
                <a:lnTo>
                  <a:pt x="529" y="2486"/>
                </a:lnTo>
                <a:lnTo>
                  <a:pt x="527" y="2484"/>
                </a:lnTo>
                <a:lnTo>
                  <a:pt x="526" y="2481"/>
                </a:lnTo>
                <a:lnTo>
                  <a:pt x="524" y="2479"/>
                </a:lnTo>
                <a:lnTo>
                  <a:pt x="522" y="2479"/>
                </a:lnTo>
                <a:lnTo>
                  <a:pt x="520" y="2479"/>
                </a:lnTo>
                <a:lnTo>
                  <a:pt x="520" y="2477"/>
                </a:lnTo>
                <a:lnTo>
                  <a:pt x="519" y="2477"/>
                </a:lnTo>
                <a:lnTo>
                  <a:pt x="517" y="2475"/>
                </a:lnTo>
                <a:lnTo>
                  <a:pt x="515" y="2477"/>
                </a:lnTo>
                <a:lnTo>
                  <a:pt x="512" y="2477"/>
                </a:lnTo>
                <a:lnTo>
                  <a:pt x="509" y="2477"/>
                </a:lnTo>
                <a:lnTo>
                  <a:pt x="509" y="2479"/>
                </a:lnTo>
                <a:lnTo>
                  <a:pt x="507" y="2477"/>
                </a:lnTo>
                <a:lnTo>
                  <a:pt x="503" y="2477"/>
                </a:lnTo>
                <a:lnTo>
                  <a:pt x="502" y="2477"/>
                </a:lnTo>
                <a:lnTo>
                  <a:pt x="500" y="2477"/>
                </a:lnTo>
                <a:lnTo>
                  <a:pt x="498" y="2481"/>
                </a:lnTo>
                <a:lnTo>
                  <a:pt x="497" y="2481"/>
                </a:lnTo>
                <a:lnTo>
                  <a:pt x="495" y="2481"/>
                </a:lnTo>
                <a:lnTo>
                  <a:pt x="493" y="2481"/>
                </a:lnTo>
                <a:lnTo>
                  <a:pt x="493" y="2479"/>
                </a:lnTo>
                <a:lnTo>
                  <a:pt x="492" y="2475"/>
                </a:lnTo>
                <a:lnTo>
                  <a:pt x="492" y="2477"/>
                </a:lnTo>
                <a:lnTo>
                  <a:pt x="492" y="2481"/>
                </a:lnTo>
                <a:lnTo>
                  <a:pt x="493" y="2481"/>
                </a:lnTo>
                <a:lnTo>
                  <a:pt x="490" y="2482"/>
                </a:lnTo>
                <a:lnTo>
                  <a:pt x="490" y="2484"/>
                </a:lnTo>
                <a:lnTo>
                  <a:pt x="488" y="2484"/>
                </a:lnTo>
                <a:lnTo>
                  <a:pt x="488" y="2486"/>
                </a:lnTo>
                <a:lnTo>
                  <a:pt x="488" y="2487"/>
                </a:lnTo>
                <a:lnTo>
                  <a:pt x="486" y="2489"/>
                </a:lnTo>
                <a:lnTo>
                  <a:pt x="488" y="2491"/>
                </a:lnTo>
                <a:lnTo>
                  <a:pt x="486" y="2489"/>
                </a:lnTo>
                <a:lnTo>
                  <a:pt x="485" y="2493"/>
                </a:lnTo>
                <a:lnTo>
                  <a:pt x="485" y="2494"/>
                </a:lnTo>
                <a:lnTo>
                  <a:pt x="488" y="2494"/>
                </a:lnTo>
                <a:lnTo>
                  <a:pt x="485" y="2496"/>
                </a:lnTo>
                <a:lnTo>
                  <a:pt x="485" y="2498"/>
                </a:lnTo>
                <a:lnTo>
                  <a:pt x="483" y="2498"/>
                </a:lnTo>
                <a:lnTo>
                  <a:pt x="483" y="2499"/>
                </a:lnTo>
                <a:lnTo>
                  <a:pt x="481" y="2499"/>
                </a:lnTo>
                <a:lnTo>
                  <a:pt x="480" y="2501"/>
                </a:lnTo>
                <a:lnTo>
                  <a:pt x="478" y="2501"/>
                </a:lnTo>
                <a:lnTo>
                  <a:pt x="478" y="2504"/>
                </a:lnTo>
                <a:lnTo>
                  <a:pt x="478" y="2506"/>
                </a:lnTo>
                <a:lnTo>
                  <a:pt x="476" y="2504"/>
                </a:lnTo>
                <a:lnTo>
                  <a:pt x="475" y="2506"/>
                </a:lnTo>
                <a:lnTo>
                  <a:pt x="473" y="2504"/>
                </a:lnTo>
                <a:lnTo>
                  <a:pt x="473" y="2503"/>
                </a:lnTo>
                <a:lnTo>
                  <a:pt x="471" y="2504"/>
                </a:lnTo>
                <a:lnTo>
                  <a:pt x="469" y="2503"/>
                </a:lnTo>
                <a:lnTo>
                  <a:pt x="468" y="2503"/>
                </a:lnTo>
                <a:lnTo>
                  <a:pt x="469" y="2501"/>
                </a:lnTo>
                <a:lnTo>
                  <a:pt x="468" y="2499"/>
                </a:lnTo>
                <a:lnTo>
                  <a:pt x="466" y="2498"/>
                </a:lnTo>
                <a:lnTo>
                  <a:pt x="466" y="2496"/>
                </a:lnTo>
                <a:lnTo>
                  <a:pt x="464" y="2498"/>
                </a:lnTo>
                <a:lnTo>
                  <a:pt x="464" y="2496"/>
                </a:lnTo>
                <a:lnTo>
                  <a:pt x="461" y="2498"/>
                </a:lnTo>
                <a:lnTo>
                  <a:pt x="461" y="2496"/>
                </a:lnTo>
                <a:lnTo>
                  <a:pt x="459" y="2494"/>
                </a:lnTo>
                <a:lnTo>
                  <a:pt x="459" y="2493"/>
                </a:lnTo>
                <a:lnTo>
                  <a:pt x="458" y="2493"/>
                </a:lnTo>
                <a:lnTo>
                  <a:pt x="459" y="2493"/>
                </a:lnTo>
                <a:lnTo>
                  <a:pt x="461" y="2491"/>
                </a:lnTo>
                <a:lnTo>
                  <a:pt x="459" y="2493"/>
                </a:lnTo>
                <a:lnTo>
                  <a:pt x="456" y="2491"/>
                </a:lnTo>
                <a:lnTo>
                  <a:pt x="456" y="2489"/>
                </a:lnTo>
                <a:lnTo>
                  <a:pt x="458" y="2486"/>
                </a:lnTo>
                <a:lnTo>
                  <a:pt x="456" y="2484"/>
                </a:lnTo>
                <a:lnTo>
                  <a:pt x="456" y="2486"/>
                </a:lnTo>
                <a:lnTo>
                  <a:pt x="456" y="2489"/>
                </a:lnTo>
                <a:lnTo>
                  <a:pt x="452" y="2489"/>
                </a:lnTo>
                <a:lnTo>
                  <a:pt x="454" y="2489"/>
                </a:lnTo>
                <a:lnTo>
                  <a:pt x="456" y="2489"/>
                </a:lnTo>
                <a:lnTo>
                  <a:pt x="456" y="2491"/>
                </a:lnTo>
                <a:lnTo>
                  <a:pt x="454" y="2491"/>
                </a:lnTo>
                <a:lnTo>
                  <a:pt x="458" y="2493"/>
                </a:lnTo>
                <a:lnTo>
                  <a:pt x="454" y="2493"/>
                </a:lnTo>
                <a:lnTo>
                  <a:pt x="456" y="2494"/>
                </a:lnTo>
                <a:lnTo>
                  <a:pt x="454" y="2494"/>
                </a:lnTo>
                <a:lnTo>
                  <a:pt x="454" y="2493"/>
                </a:lnTo>
                <a:lnTo>
                  <a:pt x="452" y="2491"/>
                </a:lnTo>
                <a:lnTo>
                  <a:pt x="451" y="2491"/>
                </a:lnTo>
                <a:lnTo>
                  <a:pt x="447" y="2489"/>
                </a:lnTo>
                <a:lnTo>
                  <a:pt x="446" y="2489"/>
                </a:lnTo>
                <a:lnTo>
                  <a:pt x="442" y="2491"/>
                </a:lnTo>
                <a:lnTo>
                  <a:pt x="441" y="2491"/>
                </a:lnTo>
                <a:lnTo>
                  <a:pt x="439" y="2489"/>
                </a:lnTo>
                <a:lnTo>
                  <a:pt x="436" y="2489"/>
                </a:lnTo>
                <a:lnTo>
                  <a:pt x="437" y="2489"/>
                </a:lnTo>
                <a:lnTo>
                  <a:pt x="437" y="2486"/>
                </a:lnTo>
                <a:lnTo>
                  <a:pt x="436" y="2489"/>
                </a:lnTo>
                <a:lnTo>
                  <a:pt x="434" y="2491"/>
                </a:lnTo>
                <a:lnTo>
                  <a:pt x="434" y="2487"/>
                </a:lnTo>
                <a:lnTo>
                  <a:pt x="430" y="2489"/>
                </a:lnTo>
                <a:lnTo>
                  <a:pt x="430" y="2491"/>
                </a:lnTo>
                <a:lnTo>
                  <a:pt x="429" y="2491"/>
                </a:lnTo>
                <a:lnTo>
                  <a:pt x="429" y="2493"/>
                </a:lnTo>
                <a:lnTo>
                  <a:pt x="427" y="2496"/>
                </a:lnTo>
                <a:lnTo>
                  <a:pt x="425" y="2494"/>
                </a:lnTo>
                <a:lnTo>
                  <a:pt x="422" y="2494"/>
                </a:lnTo>
                <a:lnTo>
                  <a:pt x="422" y="2496"/>
                </a:lnTo>
                <a:lnTo>
                  <a:pt x="420" y="2496"/>
                </a:lnTo>
                <a:lnTo>
                  <a:pt x="419" y="2496"/>
                </a:lnTo>
                <a:lnTo>
                  <a:pt x="419" y="2498"/>
                </a:lnTo>
                <a:lnTo>
                  <a:pt x="417" y="2499"/>
                </a:lnTo>
                <a:lnTo>
                  <a:pt x="419" y="2498"/>
                </a:lnTo>
                <a:lnTo>
                  <a:pt x="417" y="2498"/>
                </a:lnTo>
                <a:lnTo>
                  <a:pt x="417" y="2496"/>
                </a:lnTo>
                <a:lnTo>
                  <a:pt x="417" y="2494"/>
                </a:lnTo>
                <a:lnTo>
                  <a:pt x="419" y="2493"/>
                </a:lnTo>
                <a:lnTo>
                  <a:pt x="417" y="2494"/>
                </a:lnTo>
                <a:lnTo>
                  <a:pt x="415" y="2494"/>
                </a:lnTo>
                <a:lnTo>
                  <a:pt x="415" y="2496"/>
                </a:lnTo>
                <a:lnTo>
                  <a:pt x="415" y="2498"/>
                </a:lnTo>
                <a:lnTo>
                  <a:pt x="413" y="2496"/>
                </a:lnTo>
                <a:lnTo>
                  <a:pt x="415" y="2498"/>
                </a:lnTo>
                <a:lnTo>
                  <a:pt x="413" y="2498"/>
                </a:lnTo>
                <a:lnTo>
                  <a:pt x="413" y="2501"/>
                </a:lnTo>
                <a:lnTo>
                  <a:pt x="410" y="2499"/>
                </a:lnTo>
                <a:lnTo>
                  <a:pt x="408" y="2501"/>
                </a:lnTo>
                <a:lnTo>
                  <a:pt x="412" y="2501"/>
                </a:lnTo>
                <a:lnTo>
                  <a:pt x="413" y="2503"/>
                </a:lnTo>
                <a:lnTo>
                  <a:pt x="413" y="2504"/>
                </a:lnTo>
                <a:lnTo>
                  <a:pt x="412" y="2506"/>
                </a:lnTo>
                <a:lnTo>
                  <a:pt x="412" y="2508"/>
                </a:lnTo>
                <a:lnTo>
                  <a:pt x="408" y="2506"/>
                </a:lnTo>
                <a:lnTo>
                  <a:pt x="407" y="2508"/>
                </a:lnTo>
                <a:lnTo>
                  <a:pt x="407" y="2510"/>
                </a:lnTo>
                <a:lnTo>
                  <a:pt x="405" y="2510"/>
                </a:lnTo>
                <a:lnTo>
                  <a:pt x="405" y="2508"/>
                </a:lnTo>
                <a:lnTo>
                  <a:pt x="403" y="2506"/>
                </a:lnTo>
                <a:lnTo>
                  <a:pt x="405" y="2504"/>
                </a:lnTo>
                <a:lnTo>
                  <a:pt x="403" y="2501"/>
                </a:lnTo>
                <a:lnTo>
                  <a:pt x="402" y="2499"/>
                </a:lnTo>
                <a:lnTo>
                  <a:pt x="400" y="2498"/>
                </a:lnTo>
                <a:lnTo>
                  <a:pt x="398" y="2498"/>
                </a:lnTo>
                <a:lnTo>
                  <a:pt x="396" y="2496"/>
                </a:lnTo>
                <a:lnTo>
                  <a:pt x="395" y="2496"/>
                </a:lnTo>
                <a:lnTo>
                  <a:pt x="393" y="2496"/>
                </a:lnTo>
                <a:lnTo>
                  <a:pt x="393" y="2498"/>
                </a:lnTo>
                <a:lnTo>
                  <a:pt x="391" y="2499"/>
                </a:lnTo>
                <a:lnTo>
                  <a:pt x="390" y="2499"/>
                </a:lnTo>
                <a:lnTo>
                  <a:pt x="386" y="2499"/>
                </a:lnTo>
                <a:lnTo>
                  <a:pt x="385" y="2498"/>
                </a:lnTo>
                <a:lnTo>
                  <a:pt x="386" y="2496"/>
                </a:lnTo>
                <a:lnTo>
                  <a:pt x="386" y="2493"/>
                </a:lnTo>
                <a:lnTo>
                  <a:pt x="388" y="2491"/>
                </a:lnTo>
                <a:lnTo>
                  <a:pt x="390" y="2491"/>
                </a:lnTo>
                <a:lnTo>
                  <a:pt x="391" y="2489"/>
                </a:lnTo>
                <a:lnTo>
                  <a:pt x="393" y="2491"/>
                </a:lnTo>
                <a:lnTo>
                  <a:pt x="395" y="2489"/>
                </a:lnTo>
                <a:lnTo>
                  <a:pt x="398" y="2489"/>
                </a:lnTo>
                <a:lnTo>
                  <a:pt x="398" y="2491"/>
                </a:lnTo>
                <a:lnTo>
                  <a:pt x="400" y="2491"/>
                </a:lnTo>
                <a:lnTo>
                  <a:pt x="398" y="2493"/>
                </a:lnTo>
                <a:lnTo>
                  <a:pt x="400" y="2491"/>
                </a:lnTo>
                <a:lnTo>
                  <a:pt x="400" y="2493"/>
                </a:lnTo>
                <a:lnTo>
                  <a:pt x="400" y="2491"/>
                </a:lnTo>
                <a:lnTo>
                  <a:pt x="402" y="2489"/>
                </a:lnTo>
                <a:lnTo>
                  <a:pt x="405" y="2489"/>
                </a:lnTo>
                <a:lnTo>
                  <a:pt x="407" y="2487"/>
                </a:lnTo>
                <a:lnTo>
                  <a:pt x="408" y="2487"/>
                </a:lnTo>
                <a:lnTo>
                  <a:pt x="410" y="2484"/>
                </a:lnTo>
                <a:lnTo>
                  <a:pt x="412" y="2484"/>
                </a:lnTo>
                <a:lnTo>
                  <a:pt x="413" y="2484"/>
                </a:lnTo>
                <a:lnTo>
                  <a:pt x="413" y="2481"/>
                </a:lnTo>
                <a:lnTo>
                  <a:pt x="415" y="2479"/>
                </a:lnTo>
                <a:lnTo>
                  <a:pt x="417" y="2481"/>
                </a:lnTo>
                <a:lnTo>
                  <a:pt x="415" y="2479"/>
                </a:lnTo>
                <a:lnTo>
                  <a:pt x="417" y="2479"/>
                </a:lnTo>
                <a:lnTo>
                  <a:pt x="419" y="2479"/>
                </a:lnTo>
                <a:lnTo>
                  <a:pt x="420" y="2477"/>
                </a:lnTo>
                <a:lnTo>
                  <a:pt x="420" y="2474"/>
                </a:lnTo>
                <a:lnTo>
                  <a:pt x="422" y="2474"/>
                </a:lnTo>
                <a:lnTo>
                  <a:pt x="422" y="2470"/>
                </a:lnTo>
                <a:lnTo>
                  <a:pt x="424" y="2472"/>
                </a:lnTo>
                <a:lnTo>
                  <a:pt x="425" y="2470"/>
                </a:lnTo>
                <a:lnTo>
                  <a:pt x="425" y="2474"/>
                </a:lnTo>
                <a:lnTo>
                  <a:pt x="427" y="2474"/>
                </a:lnTo>
                <a:lnTo>
                  <a:pt x="429" y="2474"/>
                </a:lnTo>
                <a:lnTo>
                  <a:pt x="427" y="2474"/>
                </a:lnTo>
                <a:lnTo>
                  <a:pt x="427" y="2472"/>
                </a:lnTo>
                <a:lnTo>
                  <a:pt x="427" y="2470"/>
                </a:lnTo>
                <a:lnTo>
                  <a:pt x="427" y="2469"/>
                </a:lnTo>
                <a:lnTo>
                  <a:pt x="429" y="2470"/>
                </a:lnTo>
                <a:lnTo>
                  <a:pt x="430" y="2469"/>
                </a:lnTo>
                <a:lnTo>
                  <a:pt x="430" y="2470"/>
                </a:lnTo>
                <a:lnTo>
                  <a:pt x="432" y="2470"/>
                </a:lnTo>
                <a:lnTo>
                  <a:pt x="434" y="2469"/>
                </a:lnTo>
                <a:lnTo>
                  <a:pt x="436" y="2467"/>
                </a:lnTo>
                <a:lnTo>
                  <a:pt x="436" y="2465"/>
                </a:lnTo>
                <a:lnTo>
                  <a:pt x="437" y="2465"/>
                </a:lnTo>
                <a:lnTo>
                  <a:pt x="439" y="2464"/>
                </a:lnTo>
                <a:lnTo>
                  <a:pt x="441" y="2464"/>
                </a:lnTo>
                <a:lnTo>
                  <a:pt x="441" y="2462"/>
                </a:lnTo>
                <a:lnTo>
                  <a:pt x="442" y="2462"/>
                </a:lnTo>
                <a:lnTo>
                  <a:pt x="442" y="2460"/>
                </a:lnTo>
                <a:lnTo>
                  <a:pt x="444" y="2460"/>
                </a:lnTo>
                <a:lnTo>
                  <a:pt x="446" y="2458"/>
                </a:lnTo>
                <a:lnTo>
                  <a:pt x="446" y="2455"/>
                </a:lnTo>
                <a:lnTo>
                  <a:pt x="447" y="2455"/>
                </a:lnTo>
                <a:lnTo>
                  <a:pt x="447" y="2453"/>
                </a:lnTo>
                <a:lnTo>
                  <a:pt x="447" y="2452"/>
                </a:lnTo>
                <a:lnTo>
                  <a:pt x="447" y="2450"/>
                </a:lnTo>
                <a:lnTo>
                  <a:pt x="449" y="2448"/>
                </a:lnTo>
                <a:lnTo>
                  <a:pt x="447" y="2448"/>
                </a:lnTo>
                <a:lnTo>
                  <a:pt x="449" y="2447"/>
                </a:lnTo>
                <a:lnTo>
                  <a:pt x="449" y="2443"/>
                </a:lnTo>
                <a:lnTo>
                  <a:pt x="451" y="2443"/>
                </a:lnTo>
                <a:lnTo>
                  <a:pt x="452" y="2443"/>
                </a:lnTo>
                <a:lnTo>
                  <a:pt x="454" y="2445"/>
                </a:lnTo>
                <a:lnTo>
                  <a:pt x="456" y="2447"/>
                </a:lnTo>
                <a:lnTo>
                  <a:pt x="458" y="2447"/>
                </a:lnTo>
                <a:lnTo>
                  <a:pt x="459" y="2447"/>
                </a:lnTo>
                <a:lnTo>
                  <a:pt x="461" y="2445"/>
                </a:lnTo>
                <a:lnTo>
                  <a:pt x="463" y="2445"/>
                </a:lnTo>
                <a:lnTo>
                  <a:pt x="464" y="2443"/>
                </a:lnTo>
                <a:lnTo>
                  <a:pt x="466" y="2443"/>
                </a:lnTo>
                <a:lnTo>
                  <a:pt x="464" y="2447"/>
                </a:lnTo>
                <a:lnTo>
                  <a:pt x="466" y="2445"/>
                </a:lnTo>
                <a:lnTo>
                  <a:pt x="466" y="2443"/>
                </a:lnTo>
                <a:lnTo>
                  <a:pt x="469" y="2441"/>
                </a:lnTo>
                <a:lnTo>
                  <a:pt x="471" y="2443"/>
                </a:lnTo>
                <a:lnTo>
                  <a:pt x="469" y="2441"/>
                </a:lnTo>
                <a:lnTo>
                  <a:pt x="466" y="2441"/>
                </a:lnTo>
                <a:lnTo>
                  <a:pt x="466" y="2443"/>
                </a:lnTo>
                <a:lnTo>
                  <a:pt x="464" y="2441"/>
                </a:lnTo>
                <a:lnTo>
                  <a:pt x="464" y="2440"/>
                </a:lnTo>
                <a:lnTo>
                  <a:pt x="463" y="2436"/>
                </a:lnTo>
                <a:lnTo>
                  <a:pt x="466" y="2436"/>
                </a:lnTo>
                <a:lnTo>
                  <a:pt x="466" y="2435"/>
                </a:lnTo>
                <a:lnTo>
                  <a:pt x="466" y="2433"/>
                </a:lnTo>
                <a:lnTo>
                  <a:pt x="468" y="2435"/>
                </a:lnTo>
                <a:lnTo>
                  <a:pt x="471" y="2433"/>
                </a:lnTo>
                <a:lnTo>
                  <a:pt x="475" y="2435"/>
                </a:lnTo>
                <a:lnTo>
                  <a:pt x="478" y="2435"/>
                </a:lnTo>
                <a:lnTo>
                  <a:pt x="480" y="2433"/>
                </a:lnTo>
                <a:lnTo>
                  <a:pt x="480" y="2435"/>
                </a:lnTo>
                <a:lnTo>
                  <a:pt x="483" y="2435"/>
                </a:lnTo>
                <a:lnTo>
                  <a:pt x="485" y="2435"/>
                </a:lnTo>
                <a:lnTo>
                  <a:pt x="486" y="2435"/>
                </a:lnTo>
                <a:lnTo>
                  <a:pt x="488" y="2435"/>
                </a:lnTo>
                <a:lnTo>
                  <a:pt x="490" y="2436"/>
                </a:lnTo>
                <a:lnTo>
                  <a:pt x="492" y="2436"/>
                </a:lnTo>
                <a:lnTo>
                  <a:pt x="492" y="2438"/>
                </a:lnTo>
                <a:lnTo>
                  <a:pt x="493" y="2436"/>
                </a:lnTo>
                <a:lnTo>
                  <a:pt x="495" y="2436"/>
                </a:lnTo>
                <a:lnTo>
                  <a:pt x="497" y="2438"/>
                </a:lnTo>
                <a:lnTo>
                  <a:pt x="498" y="2440"/>
                </a:lnTo>
                <a:lnTo>
                  <a:pt x="500" y="2440"/>
                </a:lnTo>
                <a:lnTo>
                  <a:pt x="502" y="2441"/>
                </a:lnTo>
                <a:lnTo>
                  <a:pt x="503" y="2441"/>
                </a:lnTo>
                <a:lnTo>
                  <a:pt x="507" y="2443"/>
                </a:lnTo>
                <a:lnTo>
                  <a:pt x="509" y="2441"/>
                </a:lnTo>
                <a:lnTo>
                  <a:pt x="510" y="2441"/>
                </a:lnTo>
                <a:lnTo>
                  <a:pt x="514" y="2441"/>
                </a:lnTo>
                <a:lnTo>
                  <a:pt x="515" y="2443"/>
                </a:lnTo>
                <a:lnTo>
                  <a:pt x="517" y="2441"/>
                </a:lnTo>
                <a:lnTo>
                  <a:pt x="515" y="2443"/>
                </a:lnTo>
                <a:lnTo>
                  <a:pt x="517" y="2443"/>
                </a:lnTo>
                <a:lnTo>
                  <a:pt x="519" y="2441"/>
                </a:lnTo>
                <a:lnTo>
                  <a:pt x="519" y="2438"/>
                </a:lnTo>
                <a:lnTo>
                  <a:pt x="519" y="2436"/>
                </a:lnTo>
                <a:lnTo>
                  <a:pt x="519" y="2435"/>
                </a:lnTo>
                <a:lnTo>
                  <a:pt x="520" y="2435"/>
                </a:lnTo>
                <a:lnTo>
                  <a:pt x="520" y="2433"/>
                </a:lnTo>
                <a:lnTo>
                  <a:pt x="522" y="2431"/>
                </a:lnTo>
                <a:lnTo>
                  <a:pt x="524" y="2430"/>
                </a:lnTo>
                <a:lnTo>
                  <a:pt x="526" y="2431"/>
                </a:lnTo>
                <a:lnTo>
                  <a:pt x="526" y="2430"/>
                </a:lnTo>
                <a:lnTo>
                  <a:pt x="527" y="2428"/>
                </a:lnTo>
                <a:lnTo>
                  <a:pt x="529" y="2428"/>
                </a:lnTo>
                <a:lnTo>
                  <a:pt x="531" y="2426"/>
                </a:lnTo>
                <a:lnTo>
                  <a:pt x="534" y="2424"/>
                </a:lnTo>
                <a:lnTo>
                  <a:pt x="536" y="2424"/>
                </a:lnTo>
                <a:lnTo>
                  <a:pt x="537" y="2423"/>
                </a:lnTo>
                <a:lnTo>
                  <a:pt x="537" y="2421"/>
                </a:lnTo>
                <a:lnTo>
                  <a:pt x="539" y="2418"/>
                </a:lnTo>
                <a:lnTo>
                  <a:pt x="541" y="2418"/>
                </a:lnTo>
                <a:lnTo>
                  <a:pt x="543" y="2414"/>
                </a:lnTo>
                <a:lnTo>
                  <a:pt x="546" y="2414"/>
                </a:lnTo>
                <a:lnTo>
                  <a:pt x="546" y="2413"/>
                </a:lnTo>
                <a:lnTo>
                  <a:pt x="544" y="2413"/>
                </a:lnTo>
                <a:lnTo>
                  <a:pt x="541" y="2414"/>
                </a:lnTo>
                <a:lnTo>
                  <a:pt x="539" y="2416"/>
                </a:lnTo>
                <a:lnTo>
                  <a:pt x="539" y="2418"/>
                </a:lnTo>
                <a:lnTo>
                  <a:pt x="537" y="2418"/>
                </a:lnTo>
                <a:lnTo>
                  <a:pt x="536" y="2419"/>
                </a:lnTo>
                <a:lnTo>
                  <a:pt x="534" y="2419"/>
                </a:lnTo>
                <a:lnTo>
                  <a:pt x="532" y="2419"/>
                </a:lnTo>
                <a:lnTo>
                  <a:pt x="531" y="2421"/>
                </a:lnTo>
                <a:lnTo>
                  <a:pt x="529" y="2421"/>
                </a:lnTo>
                <a:lnTo>
                  <a:pt x="527" y="2421"/>
                </a:lnTo>
                <a:lnTo>
                  <a:pt x="524" y="2421"/>
                </a:lnTo>
                <a:lnTo>
                  <a:pt x="524" y="2419"/>
                </a:lnTo>
                <a:lnTo>
                  <a:pt x="522" y="2421"/>
                </a:lnTo>
                <a:lnTo>
                  <a:pt x="520" y="2423"/>
                </a:lnTo>
                <a:lnTo>
                  <a:pt x="519" y="2423"/>
                </a:lnTo>
                <a:lnTo>
                  <a:pt x="515" y="2424"/>
                </a:lnTo>
                <a:lnTo>
                  <a:pt x="514" y="2424"/>
                </a:lnTo>
                <a:lnTo>
                  <a:pt x="515" y="2426"/>
                </a:lnTo>
                <a:lnTo>
                  <a:pt x="514" y="2428"/>
                </a:lnTo>
                <a:lnTo>
                  <a:pt x="512" y="2428"/>
                </a:lnTo>
                <a:lnTo>
                  <a:pt x="509" y="2428"/>
                </a:lnTo>
                <a:lnTo>
                  <a:pt x="507" y="2428"/>
                </a:lnTo>
                <a:lnTo>
                  <a:pt x="503" y="2428"/>
                </a:lnTo>
                <a:lnTo>
                  <a:pt x="500" y="2426"/>
                </a:lnTo>
                <a:lnTo>
                  <a:pt x="498" y="2426"/>
                </a:lnTo>
                <a:lnTo>
                  <a:pt x="497" y="2424"/>
                </a:lnTo>
                <a:lnTo>
                  <a:pt x="497" y="2423"/>
                </a:lnTo>
                <a:lnTo>
                  <a:pt x="495" y="2421"/>
                </a:lnTo>
                <a:lnTo>
                  <a:pt x="493" y="2419"/>
                </a:lnTo>
                <a:lnTo>
                  <a:pt x="492" y="2419"/>
                </a:lnTo>
                <a:lnTo>
                  <a:pt x="490" y="2416"/>
                </a:lnTo>
                <a:lnTo>
                  <a:pt x="490" y="2414"/>
                </a:lnTo>
                <a:lnTo>
                  <a:pt x="490" y="2413"/>
                </a:lnTo>
                <a:lnTo>
                  <a:pt x="488" y="2411"/>
                </a:lnTo>
                <a:lnTo>
                  <a:pt x="486" y="2409"/>
                </a:lnTo>
                <a:lnTo>
                  <a:pt x="485" y="2407"/>
                </a:lnTo>
                <a:lnTo>
                  <a:pt x="483" y="2407"/>
                </a:lnTo>
                <a:lnTo>
                  <a:pt x="481" y="2409"/>
                </a:lnTo>
                <a:lnTo>
                  <a:pt x="481" y="2411"/>
                </a:lnTo>
                <a:lnTo>
                  <a:pt x="480" y="2409"/>
                </a:lnTo>
                <a:lnTo>
                  <a:pt x="478" y="2411"/>
                </a:lnTo>
                <a:lnTo>
                  <a:pt x="475" y="2409"/>
                </a:lnTo>
                <a:lnTo>
                  <a:pt x="475" y="2411"/>
                </a:lnTo>
                <a:lnTo>
                  <a:pt x="471" y="2409"/>
                </a:lnTo>
                <a:lnTo>
                  <a:pt x="471" y="2411"/>
                </a:lnTo>
                <a:lnTo>
                  <a:pt x="469" y="2409"/>
                </a:lnTo>
                <a:lnTo>
                  <a:pt x="468" y="2407"/>
                </a:lnTo>
                <a:lnTo>
                  <a:pt x="466" y="2407"/>
                </a:lnTo>
                <a:lnTo>
                  <a:pt x="468" y="2407"/>
                </a:lnTo>
                <a:lnTo>
                  <a:pt x="468" y="2404"/>
                </a:lnTo>
                <a:lnTo>
                  <a:pt x="469" y="2404"/>
                </a:lnTo>
                <a:lnTo>
                  <a:pt x="471" y="2402"/>
                </a:lnTo>
                <a:lnTo>
                  <a:pt x="471" y="2401"/>
                </a:lnTo>
                <a:lnTo>
                  <a:pt x="473" y="2401"/>
                </a:lnTo>
                <a:lnTo>
                  <a:pt x="471" y="2401"/>
                </a:lnTo>
                <a:lnTo>
                  <a:pt x="469" y="2401"/>
                </a:lnTo>
                <a:lnTo>
                  <a:pt x="468" y="2401"/>
                </a:lnTo>
                <a:lnTo>
                  <a:pt x="466" y="2397"/>
                </a:lnTo>
                <a:lnTo>
                  <a:pt x="464" y="2397"/>
                </a:lnTo>
                <a:lnTo>
                  <a:pt x="466" y="2396"/>
                </a:lnTo>
                <a:lnTo>
                  <a:pt x="464" y="2396"/>
                </a:lnTo>
                <a:lnTo>
                  <a:pt x="466" y="2394"/>
                </a:lnTo>
                <a:lnTo>
                  <a:pt x="463" y="2396"/>
                </a:lnTo>
                <a:lnTo>
                  <a:pt x="461" y="2394"/>
                </a:lnTo>
                <a:lnTo>
                  <a:pt x="459" y="2394"/>
                </a:lnTo>
                <a:lnTo>
                  <a:pt x="456" y="2394"/>
                </a:lnTo>
                <a:lnTo>
                  <a:pt x="454" y="2394"/>
                </a:lnTo>
                <a:lnTo>
                  <a:pt x="452" y="2394"/>
                </a:lnTo>
                <a:lnTo>
                  <a:pt x="454" y="2396"/>
                </a:lnTo>
                <a:lnTo>
                  <a:pt x="452" y="2396"/>
                </a:lnTo>
                <a:lnTo>
                  <a:pt x="451" y="2399"/>
                </a:lnTo>
                <a:lnTo>
                  <a:pt x="449" y="2397"/>
                </a:lnTo>
                <a:lnTo>
                  <a:pt x="447" y="2399"/>
                </a:lnTo>
                <a:lnTo>
                  <a:pt x="446" y="2397"/>
                </a:lnTo>
                <a:lnTo>
                  <a:pt x="444" y="2399"/>
                </a:lnTo>
                <a:lnTo>
                  <a:pt x="442" y="2401"/>
                </a:lnTo>
                <a:lnTo>
                  <a:pt x="439" y="2399"/>
                </a:lnTo>
                <a:lnTo>
                  <a:pt x="436" y="2397"/>
                </a:lnTo>
                <a:lnTo>
                  <a:pt x="436" y="2394"/>
                </a:lnTo>
                <a:lnTo>
                  <a:pt x="434" y="2394"/>
                </a:lnTo>
                <a:lnTo>
                  <a:pt x="436" y="2392"/>
                </a:lnTo>
                <a:lnTo>
                  <a:pt x="437" y="2394"/>
                </a:lnTo>
                <a:lnTo>
                  <a:pt x="437" y="2392"/>
                </a:lnTo>
                <a:lnTo>
                  <a:pt x="439" y="2392"/>
                </a:lnTo>
                <a:lnTo>
                  <a:pt x="441" y="2394"/>
                </a:lnTo>
                <a:lnTo>
                  <a:pt x="444" y="2392"/>
                </a:lnTo>
                <a:lnTo>
                  <a:pt x="441" y="2392"/>
                </a:lnTo>
                <a:lnTo>
                  <a:pt x="439" y="2392"/>
                </a:lnTo>
                <a:lnTo>
                  <a:pt x="436" y="2390"/>
                </a:lnTo>
                <a:lnTo>
                  <a:pt x="434" y="2390"/>
                </a:lnTo>
                <a:lnTo>
                  <a:pt x="432" y="2392"/>
                </a:lnTo>
                <a:lnTo>
                  <a:pt x="432" y="2390"/>
                </a:lnTo>
                <a:lnTo>
                  <a:pt x="430" y="2389"/>
                </a:lnTo>
                <a:lnTo>
                  <a:pt x="430" y="2387"/>
                </a:lnTo>
                <a:lnTo>
                  <a:pt x="432" y="2389"/>
                </a:lnTo>
                <a:lnTo>
                  <a:pt x="432" y="2387"/>
                </a:lnTo>
                <a:lnTo>
                  <a:pt x="434" y="2385"/>
                </a:lnTo>
                <a:lnTo>
                  <a:pt x="436" y="2387"/>
                </a:lnTo>
                <a:lnTo>
                  <a:pt x="437" y="2384"/>
                </a:lnTo>
                <a:lnTo>
                  <a:pt x="437" y="2382"/>
                </a:lnTo>
                <a:lnTo>
                  <a:pt x="437" y="2380"/>
                </a:lnTo>
                <a:lnTo>
                  <a:pt x="434" y="2380"/>
                </a:lnTo>
                <a:lnTo>
                  <a:pt x="434" y="2379"/>
                </a:lnTo>
                <a:lnTo>
                  <a:pt x="430" y="2379"/>
                </a:lnTo>
                <a:lnTo>
                  <a:pt x="429" y="2379"/>
                </a:lnTo>
                <a:lnTo>
                  <a:pt x="430" y="2377"/>
                </a:lnTo>
                <a:lnTo>
                  <a:pt x="430" y="2375"/>
                </a:lnTo>
                <a:lnTo>
                  <a:pt x="432" y="2375"/>
                </a:lnTo>
                <a:lnTo>
                  <a:pt x="434" y="2375"/>
                </a:lnTo>
                <a:lnTo>
                  <a:pt x="436" y="2373"/>
                </a:lnTo>
                <a:lnTo>
                  <a:pt x="437" y="2373"/>
                </a:lnTo>
                <a:lnTo>
                  <a:pt x="441" y="2373"/>
                </a:lnTo>
                <a:lnTo>
                  <a:pt x="441" y="2372"/>
                </a:lnTo>
                <a:lnTo>
                  <a:pt x="441" y="2370"/>
                </a:lnTo>
                <a:lnTo>
                  <a:pt x="442" y="2368"/>
                </a:lnTo>
                <a:lnTo>
                  <a:pt x="444" y="2370"/>
                </a:lnTo>
                <a:lnTo>
                  <a:pt x="446" y="2370"/>
                </a:lnTo>
                <a:lnTo>
                  <a:pt x="446" y="2372"/>
                </a:lnTo>
                <a:lnTo>
                  <a:pt x="447" y="2372"/>
                </a:lnTo>
                <a:lnTo>
                  <a:pt x="449" y="2370"/>
                </a:lnTo>
                <a:lnTo>
                  <a:pt x="449" y="2372"/>
                </a:lnTo>
                <a:lnTo>
                  <a:pt x="451" y="2372"/>
                </a:lnTo>
                <a:lnTo>
                  <a:pt x="452" y="2370"/>
                </a:lnTo>
                <a:lnTo>
                  <a:pt x="454" y="2370"/>
                </a:lnTo>
                <a:lnTo>
                  <a:pt x="456" y="2368"/>
                </a:lnTo>
                <a:lnTo>
                  <a:pt x="458" y="2367"/>
                </a:lnTo>
                <a:lnTo>
                  <a:pt x="459" y="2367"/>
                </a:lnTo>
                <a:lnTo>
                  <a:pt x="459" y="2365"/>
                </a:lnTo>
                <a:lnTo>
                  <a:pt x="461" y="2365"/>
                </a:lnTo>
                <a:lnTo>
                  <a:pt x="463" y="2367"/>
                </a:lnTo>
                <a:lnTo>
                  <a:pt x="464" y="2365"/>
                </a:lnTo>
                <a:lnTo>
                  <a:pt x="468" y="2367"/>
                </a:lnTo>
                <a:lnTo>
                  <a:pt x="469" y="2365"/>
                </a:lnTo>
                <a:lnTo>
                  <a:pt x="471" y="2363"/>
                </a:lnTo>
                <a:lnTo>
                  <a:pt x="473" y="2363"/>
                </a:lnTo>
                <a:lnTo>
                  <a:pt x="476" y="2363"/>
                </a:lnTo>
                <a:lnTo>
                  <a:pt x="478" y="2362"/>
                </a:lnTo>
                <a:lnTo>
                  <a:pt x="481" y="2360"/>
                </a:lnTo>
                <a:lnTo>
                  <a:pt x="483" y="2358"/>
                </a:lnTo>
                <a:lnTo>
                  <a:pt x="485" y="2356"/>
                </a:lnTo>
                <a:lnTo>
                  <a:pt x="486" y="2356"/>
                </a:lnTo>
                <a:lnTo>
                  <a:pt x="486" y="2353"/>
                </a:lnTo>
                <a:lnTo>
                  <a:pt x="488" y="2353"/>
                </a:lnTo>
                <a:lnTo>
                  <a:pt x="488" y="2351"/>
                </a:lnTo>
                <a:lnTo>
                  <a:pt x="488" y="2350"/>
                </a:lnTo>
                <a:lnTo>
                  <a:pt x="490" y="2346"/>
                </a:lnTo>
                <a:lnTo>
                  <a:pt x="492" y="2346"/>
                </a:lnTo>
                <a:lnTo>
                  <a:pt x="492" y="2343"/>
                </a:lnTo>
                <a:lnTo>
                  <a:pt x="493" y="2345"/>
                </a:lnTo>
                <a:lnTo>
                  <a:pt x="495" y="2343"/>
                </a:lnTo>
                <a:lnTo>
                  <a:pt x="493" y="2343"/>
                </a:lnTo>
                <a:lnTo>
                  <a:pt x="492" y="2343"/>
                </a:lnTo>
                <a:lnTo>
                  <a:pt x="490" y="2343"/>
                </a:lnTo>
                <a:lnTo>
                  <a:pt x="490" y="2341"/>
                </a:lnTo>
                <a:lnTo>
                  <a:pt x="490" y="2339"/>
                </a:lnTo>
                <a:lnTo>
                  <a:pt x="490" y="2338"/>
                </a:lnTo>
                <a:lnTo>
                  <a:pt x="490" y="2336"/>
                </a:lnTo>
                <a:lnTo>
                  <a:pt x="492" y="2334"/>
                </a:lnTo>
                <a:lnTo>
                  <a:pt x="493" y="2333"/>
                </a:lnTo>
                <a:lnTo>
                  <a:pt x="493" y="2331"/>
                </a:lnTo>
                <a:lnTo>
                  <a:pt x="493" y="2328"/>
                </a:lnTo>
                <a:lnTo>
                  <a:pt x="492" y="2326"/>
                </a:lnTo>
                <a:lnTo>
                  <a:pt x="492" y="2324"/>
                </a:lnTo>
                <a:lnTo>
                  <a:pt x="493" y="2322"/>
                </a:lnTo>
                <a:lnTo>
                  <a:pt x="492" y="2322"/>
                </a:lnTo>
                <a:lnTo>
                  <a:pt x="493" y="2321"/>
                </a:lnTo>
                <a:lnTo>
                  <a:pt x="492" y="2319"/>
                </a:lnTo>
                <a:lnTo>
                  <a:pt x="492" y="2317"/>
                </a:lnTo>
                <a:lnTo>
                  <a:pt x="495" y="2317"/>
                </a:lnTo>
                <a:lnTo>
                  <a:pt x="498" y="2316"/>
                </a:lnTo>
                <a:lnTo>
                  <a:pt x="495" y="2317"/>
                </a:lnTo>
                <a:lnTo>
                  <a:pt x="493" y="2316"/>
                </a:lnTo>
                <a:lnTo>
                  <a:pt x="492" y="2317"/>
                </a:lnTo>
                <a:lnTo>
                  <a:pt x="490" y="2316"/>
                </a:lnTo>
                <a:lnTo>
                  <a:pt x="488" y="2316"/>
                </a:lnTo>
                <a:lnTo>
                  <a:pt x="485" y="2316"/>
                </a:lnTo>
                <a:lnTo>
                  <a:pt x="485" y="2317"/>
                </a:lnTo>
                <a:lnTo>
                  <a:pt x="481" y="2316"/>
                </a:lnTo>
                <a:lnTo>
                  <a:pt x="481" y="2317"/>
                </a:lnTo>
                <a:lnTo>
                  <a:pt x="478" y="2317"/>
                </a:lnTo>
                <a:lnTo>
                  <a:pt x="478" y="2319"/>
                </a:lnTo>
                <a:lnTo>
                  <a:pt x="476" y="2319"/>
                </a:lnTo>
                <a:lnTo>
                  <a:pt x="476" y="2322"/>
                </a:lnTo>
                <a:lnTo>
                  <a:pt x="475" y="2322"/>
                </a:lnTo>
                <a:lnTo>
                  <a:pt x="475" y="2321"/>
                </a:lnTo>
                <a:lnTo>
                  <a:pt x="473" y="2319"/>
                </a:lnTo>
                <a:lnTo>
                  <a:pt x="471" y="2321"/>
                </a:lnTo>
                <a:lnTo>
                  <a:pt x="469" y="2319"/>
                </a:lnTo>
                <a:lnTo>
                  <a:pt x="468" y="2321"/>
                </a:lnTo>
                <a:lnTo>
                  <a:pt x="468" y="2319"/>
                </a:lnTo>
                <a:lnTo>
                  <a:pt x="466" y="2321"/>
                </a:lnTo>
                <a:lnTo>
                  <a:pt x="466" y="2319"/>
                </a:lnTo>
                <a:lnTo>
                  <a:pt x="468" y="2317"/>
                </a:lnTo>
                <a:lnTo>
                  <a:pt x="468" y="2316"/>
                </a:lnTo>
                <a:lnTo>
                  <a:pt x="469" y="2316"/>
                </a:lnTo>
                <a:lnTo>
                  <a:pt x="469" y="2314"/>
                </a:lnTo>
                <a:lnTo>
                  <a:pt x="471" y="2312"/>
                </a:lnTo>
                <a:lnTo>
                  <a:pt x="473" y="2312"/>
                </a:lnTo>
                <a:lnTo>
                  <a:pt x="476" y="2310"/>
                </a:lnTo>
                <a:lnTo>
                  <a:pt x="476" y="2312"/>
                </a:lnTo>
                <a:lnTo>
                  <a:pt x="478" y="2312"/>
                </a:lnTo>
                <a:lnTo>
                  <a:pt x="480" y="2310"/>
                </a:lnTo>
                <a:lnTo>
                  <a:pt x="481" y="2309"/>
                </a:lnTo>
                <a:lnTo>
                  <a:pt x="483" y="2309"/>
                </a:lnTo>
                <a:lnTo>
                  <a:pt x="485" y="2307"/>
                </a:lnTo>
                <a:lnTo>
                  <a:pt x="486" y="2307"/>
                </a:lnTo>
                <a:lnTo>
                  <a:pt x="486" y="2305"/>
                </a:lnTo>
                <a:lnTo>
                  <a:pt x="486" y="2304"/>
                </a:lnTo>
                <a:lnTo>
                  <a:pt x="486" y="2300"/>
                </a:lnTo>
                <a:lnTo>
                  <a:pt x="488" y="2300"/>
                </a:lnTo>
                <a:lnTo>
                  <a:pt x="488" y="2302"/>
                </a:lnTo>
                <a:lnTo>
                  <a:pt x="488" y="2300"/>
                </a:lnTo>
                <a:lnTo>
                  <a:pt x="490" y="2300"/>
                </a:lnTo>
                <a:lnTo>
                  <a:pt x="492" y="2299"/>
                </a:lnTo>
                <a:lnTo>
                  <a:pt x="493" y="2297"/>
                </a:lnTo>
                <a:lnTo>
                  <a:pt x="495" y="2295"/>
                </a:lnTo>
                <a:lnTo>
                  <a:pt x="497" y="2295"/>
                </a:lnTo>
                <a:lnTo>
                  <a:pt x="498" y="2295"/>
                </a:lnTo>
                <a:lnTo>
                  <a:pt x="500" y="2295"/>
                </a:lnTo>
                <a:lnTo>
                  <a:pt x="502" y="2295"/>
                </a:lnTo>
                <a:lnTo>
                  <a:pt x="503" y="2293"/>
                </a:lnTo>
                <a:lnTo>
                  <a:pt x="507" y="2293"/>
                </a:lnTo>
                <a:lnTo>
                  <a:pt x="509" y="2293"/>
                </a:lnTo>
                <a:lnTo>
                  <a:pt x="510" y="2293"/>
                </a:lnTo>
                <a:lnTo>
                  <a:pt x="510" y="2292"/>
                </a:lnTo>
                <a:lnTo>
                  <a:pt x="509" y="2290"/>
                </a:lnTo>
                <a:lnTo>
                  <a:pt x="510" y="2290"/>
                </a:lnTo>
                <a:lnTo>
                  <a:pt x="512" y="2292"/>
                </a:lnTo>
                <a:lnTo>
                  <a:pt x="514" y="2292"/>
                </a:lnTo>
                <a:lnTo>
                  <a:pt x="515" y="2292"/>
                </a:lnTo>
                <a:lnTo>
                  <a:pt x="515" y="2293"/>
                </a:lnTo>
                <a:lnTo>
                  <a:pt x="519" y="2295"/>
                </a:lnTo>
                <a:lnTo>
                  <a:pt x="522" y="2295"/>
                </a:lnTo>
                <a:lnTo>
                  <a:pt x="524" y="2293"/>
                </a:lnTo>
                <a:lnTo>
                  <a:pt x="526" y="2293"/>
                </a:lnTo>
                <a:lnTo>
                  <a:pt x="527" y="2293"/>
                </a:lnTo>
                <a:lnTo>
                  <a:pt x="529" y="2293"/>
                </a:lnTo>
                <a:lnTo>
                  <a:pt x="532" y="2293"/>
                </a:lnTo>
                <a:lnTo>
                  <a:pt x="534" y="2295"/>
                </a:lnTo>
                <a:lnTo>
                  <a:pt x="534" y="2297"/>
                </a:lnTo>
                <a:lnTo>
                  <a:pt x="536" y="2299"/>
                </a:lnTo>
                <a:lnTo>
                  <a:pt x="537" y="2300"/>
                </a:lnTo>
                <a:lnTo>
                  <a:pt x="539" y="2300"/>
                </a:lnTo>
                <a:lnTo>
                  <a:pt x="539" y="2302"/>
                </a:lnTo>
                <a:lnTo>
                  <a:pt x="539" y="2300"/>
                </a:lnTo>
                <a:lnTo>
                  <a:pt x="539" y="2302"/>
                </a:lnTo>
                <a:lnTo>
                  <a:pt x="541" y="2302"/>
                </a:lnTo>
                <a:lnTo>
                  <a:pt x="541" y="2304"/>
                </a:lnTo>
                <a:lnTo>
                  <a:pt x="543" y="2304"/>
                </a:lnTo>
                <a:lnTo>
                  <a:pt x="541" y="2302"/>
                </a:lnTo>
                <a:lnTo>
                  <a:pt x="541" y="2300"/>
                </a:lnTo>
                <a:lnTo>
                  <a:pt x="541" y="2299"/>
                </a:lnTo>
                <a:lnTo>
                  <a:pt x="541" y="2297"/>
                </a:lnTo>
                <a:lnTo>
                  <a:pt x="539" y="2295"/>
                </a:lnTo>
                <a:lnTo>
                  <a:pt x="537" y="2293"/>
                </a:lnTo>
                <a:lnTo>
                  <a:pt x="537" y="2292"/>
                </a:lnTo>
                <a:lnTo>
                  <a:pt x="539" y="2290"/>
                </a:lnTo>
                <a:lnTo>
                  <a:pt x="541" y="2290"/>
                </a:lnTo>
                <a:lnTo>
                  <a:pt x="543" y="2290"/>
                </a:lnTo>
                <a:lnTo>
                  <a:pt x="544" y="2288"/>
                </a:lnTo>
                <a:lnTo>
                  <a:pt x="546" y="2292"/>
                </a:lnTo>
                <a:lnTo>
                  <a:pt x="546" y="2293"/>
                </a:lnTo>
                <a:lnTo>
                  <a:pt x="546" y="2295"/>
                </a:lnTo>
                <a:lnTo>
                  <a:pt x="548" y="2297"/>
                </a:lnTo>
                <a:lnTo>
                  <a:pt x="548" y="2299"/>
                </a:lnTo>
                <a:lnTo>
                  <a:pt x="549" y="2300"/>
                </a:lnTo>
                <a:lnTo>
                  <a:pt x="551" y="2300"/>
                </a:lnTo>
                <a:lnTo>
                  <a:pt x="553" y="2300"/>
                </a:lnTo>
                <a:lnTo>
                  <a:pt x="554" y="2300"/>
                </a:lnTo>
                <a:lnTo>
                  <a:pt x="556" y="2299"/>
                </a:lnTo>
                <a:lnTo>
                  <a:pt x="560" y="2297"/>
                </a:lnTo>
                <a:lnTo>
                  <a:pt x="558" y="2297"/>
                </a:lnTo>
                <a:lnTo>
                  <a:pt x="554" y="2297"/>
                </a:lnTo>
                <a:lnTo>
                  <a:pt x="554" y="2299"/>
                </a:lnTo>
                <a:lnTo>
                  <a:pt x="551" y="2299"/>
                </a:lnTo>
                <a:lnTo>
                  <a:pt x="549" y="2297"/>
                </a:lnTo>
                <a:lnTo>
                  <a:pt x="549" y="2295"/>
                </a:lnTo>
                <a:lnTo>
                  <a:pt x="548" y="2293"/>
                </a:lnTo>
                <a:lnTo>
                  <a:pt x="546" y="2293"/>
                </a:lnTo>
                <a:lnTo>
                  <a:pt x="546" y="2292"/>
                </a:lnTo>
                <a:lnTo>
                  <a:pt x="546" y="2290"/>
                </a:lnTo>
                <a:lnTo>
                  <a:pt x="546" y="2287"/>
                </a:lnTo>
                <a:lnTo>
                  <a:pt x="544" y="2285"/>
                </a:lnTo>
                <a:lnTo>
                  <a:pt x="544" y="2283"/>
                </a:lnTo>
                <a:lnTo>
                  <a:pt x="544" y="2282"/>
                </a:lnTo>
                <a:lnTo>
                  <a:pt x="544" y="2280"/>
                </a:lnTo>
                <a:lnTo>
                  <a:pt x="546" y="2276"/>
                </a:lnTo>
                <a:lnTo>
                  <a:pt x="548" y="2275"/>
                </a:lnTo>
                <a:lnTo>
                  <a:pt x="551" y="2273"/>
                </a:lnTo>
                <a:lnTo>
                  <a:pt x="551" y="2271"/>
                </a:lnTo>
                <a:lnTo>
                  <a:pt x="553" y="2271"/>
                </a:lnTo>
                <a:lnTo>
                  <a:pt x="553" y="2270"/>
                </a:lnTo>
                <a:lnTo>
                  <a:pt x="551" y="2270"/>
                </a:lnTo>
                <a:lnTo>
                  <a:pt x="549" y="2268"/>
                </a:lnTo>
                <a:lnTo>
                  <a:pt x="548" y="2266"/>
                </a:lnTo>
                <a:lnTo>
                  <a:pt x="549" y="2265"/>
                </a:lnTo>
                <a:lnTo>
                  <a:pt x="549" y="2263"/>
                </a:lnTo>
                <a:lnTo>
                  <a:pt x="549" y="2261"/>
                </a:lnTo>
                <a:lnTo>
                  <a:pt x="549" y="2259"/>
                </a:lnTo>
                <a:lnTo>
                  <a:pt x="551" y="2258"/>
                </a:lnTo>
                <a:lnTo>
                  <a:pt x="551" y="2256"/>
                </a:lnTo>
                <a:lnTo>
                  <a:pt x="553" y="2256"/>
                </a:lnTo>
                <a:lnTo>
                  <a:pt x="553" y="2258"/>
                </a:lnTo>
                <a:lnTo>
                  <a:pt x="553" y="2259"/>
                </a:lnTo>
                <a:lnTo>
                  <a:pt x="553" y="2258"/>
                </a:lnTo>
                <a:lnTo>
                  <a:pt x="553" y="2256"/>
                </a:lnTo>
                <a:lnTo>
                  <a:pt x="554" y="2256"/>
                </a:lnTo>
                <a:lnTo>
                  <a:pt x="556" y="2254"/>
                </a:lnTo>
                <a:lnTo>
                  <a:pt x="558" y="2256"/>
                </a:lnTo>
                <a:lnTo>
                  <a:pt x="560" y="2254"/>
                </a:lnTo>
                <a:lnTo>
                  <a:pt x="558" y="2253"/>
                </a:lnTo>
                <a:lnTo>
                  <a:pt x="560" y="2253"/>
                </a:lnTo>
                <a:lnTo>
                  <a:pt x="561" y="2253"/>
                </a:lnTo>
                <a:lnTo>
                  <a:pt x="561" y="2251"/>
                </a:lnTo>
                <a:lnTo>
                  <a:pt x="560" y="2251"/>
                </a:lnTo>
                <a:lnTo>
                  <a:pt x="558" y="2253"/>
                </a:lnTo>
                <a:lnTo>
                  <a:pt x="558" y="2249"/>
                </a:lnTo>
                <a:lnTo>
                  <a:pt x="560" y="2246"/>
                </a:lnTo>
                <a:lnTo>
                  <a:pt x="561" y="2246"/>
                </a:lnTo>
                <a:lnTo>
                  <a:pt x="563" y="2244"/>
                </a:lnTo>
                <a:lnTo>
                  <a:pt x="563" y="2242"/>
                </a:lnTo>
                <a:lnTo>
                  <a:pt x="563" y="2244"/>
                </a:lnTo>
                <a:lnTo>
                  <a:pt x="563" y="2242"/>
                </a:lnTo>
                <a:lnTo>
                  <a:pt x="561" y="2242"/>
                </a:lnTo>
                <a:lnTo>
                  <a:pt x="563" y="2242"/>
                </a:lnTo>
                <a:lnTo>
                  <a:pt x="561" y="2241"/>
                </a:lnTo>
                <a:lnTo>
                  <a:pt x="561" y="2239"/>
                </a:lnTo>
                <a:lnTo>
                  <a:pt x="563" y="2237"/>
                </a:lnTo>
                <a:lnTo>
                  <a:pt x="565" y="2237"/>
                </a:lnTo>
                <a:lnTo>
                  <a:pt x="563" y="2237"/>
                </a:lnTo>
                <a:lnTo>
                  <a:pt x="560" y="2239"/>
                </a:lnTo>
                <a:lnTo>
                  <a:pt x="558" y="2241"/>
                </a:lnTo>
                <a:lnTo>
                  <a:pt x="556" y="2241"/>
                </a:lnTo>
                <a:lnTo>
                  <a:pt x="556" y="2239"/>
                </a:lnTo>
                <a:lnTo>
                  <a:pt x="554" y="2237"/>
                </a:lnTo>
                <a:lnTo>
                  <a:pt x="556" y="2237"/>
                </a:lnTo>
                <a:lnTo>
                  <a:pt x="554" y="2234"/>
                </a:lnTo>
                <a:lnTo>
                  <a:pt x="556" y="2234"/>
                </a:lnTo>
                <a:lnTo>
                  <a:pt x="554" y="2234"/>
                </a:lnTo>
                <a:lnTo>
                  <a:pt x="554" y="2236"/>
                </a:lnTo>
                <a:lnTo>
                  <a:pt x="554" y="2237"/>
                </a:lnTo>
                <a:lnTo>
                  <a:pt x="553" y="2239"/>
                </a:lnTo>
                <a:lnTo>
                  <a:pt x="551" y="2242"/>
                </a:lnTo>
                <a:lnTo>
                  <a:pt x="549" y="2242"/>
                </a:lnTo>
                <a:lnTo>
                  <a:pt x="548" y="2244"/>
                </a:lnTo>
                <a:lnTo>
                  <a:pt x="548" y="2246"/>
                </a:lnTo>
                <a:lnTo>
                  <a:pt x="548" y="2244"/>
                </a:lnTo>
                <a:lnTo>
                  <a:pt x="548" y="2242"/>
                </a:lnTo>
                <a:lnTo>
                  <a:pt x="546" y="2242"/>
                </a:lnTo>
                <a:lnTo>
                  <a:pt x="546" y="2241"/>
                </a:lnTo>
                <a:lnTo>
                  <a:pt x="546" y="2239"/>
                </a:lnTo>
                <a:lnTo>
                  <a:pt x="546" y="2237"/>
                </a:lnTo>
                <a:lnTo>
                  <a:pt x="548" y="2237"/>
                </a:lnTo>
                <a:lnTo>
                  <a:pt x="548" y="2236"/>
                </a:lnTo>
                <a:lnTo>
                  <a:pt x="549" y="2234"/>
                </a:lnTo>
                <a:lnTo>
                  <a:pt x="548" y="2231"/>
                </a:lnTo>
                <a:lnTo>
                  <a:pt x="548" y="2232"/>
                </a:lnTo>
                <a:lnTo>
                  <a:pt x="546" y="2234"/>
                </a:lnTo>
                <a:lnTo>
                  <a:pt x="546" y="2236"/>
                </a:lnTo>
                <a:lnTo>
                  <a:pt x="543" y="2236"/>
                </a:lnTo>
                <a:lnTo>
                  <a:pt x="543" y="2232"/>
                </a:lnTo>
                <a:lnTo>
                  <a:pt x="541" y="2231"/>
                </a:lnTo>
                <a:lnTo>
                  <a:pt x="541" y="2229"/>
                </a:lnTo>
                <a:lnTo>
                  <a:pt x="541" y="2227"/>
                </a:lnTo>
                <a:lnTo>
                  <a:pt x="541" y="2225"/>
                </a:lnTo>
                <a:lnTo>
                  <a:pt x="541" y="2224"/>
                </a:lnTo>
                <a:lnTo>
                  <a:pt x="539" y="2222"/>
                </a:lnTo>
                <a:lnTo>
                  <a:pt x="539" y="2220"/>
                </a:lnTo>
                <a:lnTo>
                  <a:pt x="539" y="2219"/>
                </a:lnTo>
                <a:lnTo>
                  <a:pt x="537" y="2217"/>
                </a:lnTo>
                <a:lnTo>
                  <a:pt x="537" y="2215"/>
                </a:lnTo>
                <a:lnTo>
                  <a:pt x="536" y="2214"/>
                </a:lnTo>
                <a:lnTo>
                  <a:pt x="536" y="2212"/>
                </a:lnTo>
                <a:lnTo>
                  <a:pt x="534" y="2210"/>
                </a:lnTo>
                <a:lnTo>
                  <a:pt x="536" y="2210"/>
                </a:lnTo>
                <a:lnTo>
                  <a:pt x="537" y="2208"/>
                </a:lnTo>
                <a:lnTo>
                  <a:pt x="537" y="2207"/>
                </a:lnTo>
                <a:lnTo>
                  <a:pt x="539" y="2205"/>
                </a:lnTo>
                <a:lnTo>
                  <a:pt x="539" y="2202"/>
                </a:lnTo>
                <a:lnTo>
                  <a:pt x="543" y="2200"/>
                </a:lnTo>
                <a:lnTo>
                  <a:pt x="543" y="2198"/>
                </a:lnTo>
                <a:lnTo>
                  <a:pt x="543" y="2197"/>
                </a:lnTo>
                <a:lnTo>
                  <a:pt x="544" y="2197"/>
                </a:lnTo>
                <a:lnTo>
                  <a:pt x="546" y="2195"/>
                </a:lnTo>
                <a:lnTo>
                  <a:pt x="546" y="2193"/>
                </a:lnTo>
                <a:lnTo>
                  <a:pt x="548" y="2190"/>
                </a:lnTo>
                <a:lnTo>
                  <a:pt x="549" y="2188"/>
                </a:lnTo>
                <a:lnTo>
                  <a:pt x="551" y="2186"/>
                </a:lnTo>
                <a:lnTo>
                  <a:pt x="553" y="2188"/>
                </a:lnTo>
                <a:lnTo>
                  <a:pt x="554" y="2186"/>
                </a:lnTo>
                <a:lnTo>
                  <a:pt x="553" y="2186"/>
                </a:lnTo>
                <a:lnTo>
                  <a:pt x="553" y="2185"/>
                </a:lnTo>
                <a:lnTo>
                  <a:pt x="554" y="2185"/>
                </a:lnTo>
                <a:lnTo>
                  <a:pt x="556" y="2183"/>
                </a:lnTo>
                <a:lnTo>
                  <a:pt x="558" y="2185"/>
                </a:lnTo>
                <a:lnTo>
                  <a:pt x="560" y="2186"/>
                </a:lnTo>
                <a:lnTo>
                  <a:pt x="561" y="2186"/>
                </a:lnTo>
                <a:lnTo>
                  <a:pt x="563" y="2185"/>
                </a:lnTo>
                <a:lnTo>
                  <a:pt x="565" y="2186"/>
                </a:lnTo>
                <a:lnTo>
                  <a:pt x="563" y="2185"/>
                </a:lnTo>
                <a:lnTo>
                  <a:pt x="561" y="2185"/>
                </a:lnTo>
                <a:lnTo>
                  <a:pt x="563" y="2183"/>
                </a:lnTo>
                <a:lnTo>
                  <a:pt x="565" y="2183"/>
                </a:lnTo>
                <a:lnTo>
                  <a:pt x="563" y="2183"/>
                </a:lnTo>
                <a:lnTo>
                  <a:pt x="563" y="2185"/>
                </a:lnTo>
                <a:lnTo>
                  <a:pt x="560" y="2183"/>
                </a:lnTo>
                <a:lnTo>
                  <a:pt x="558" y="2183"/>
                </a:lnTo>
                <a:lnTo>
                  <a:pt x="554" y="2183"/>
                </a:lnTo>
                <a:lnTo>
                  <a:pt x="553" y="2181"/>
                </a:lnTo>
                <a:lnTo>
                  <a:pt x="551" y="2181"/>
                </a:lnTo>
                <a:lnTo>
                  <a:pt x="549" y="2181"/>
                </a:lnTo>
                <a:lnTo>
                  <a:pt x="549" y="2180"/>
                </a:lnTo>
                <a:lnTo>
                  <a:pt x="548" y="2181"/>
                </a:lnTo>
                <a:lnTo>
                  <a:pt x="546" y="2181"/>
                </a:lnTo>
                <a:lnTo>
                  <a:pt x="544" y="2180"/>
                </a:lnTo>
                <a:lnTo>
                  <a:pt x="544" y="2178"/>
                </a:lnTo>
                <a:lnTo>
                  <a:pt x="543" y="2178"/>
                </a:lnTo>
                <a:lnTo>
                  <a:pt x="543" y="2180"/>
                </a:lnTo>
                <a:lnTo>
                  <a:pt x="543" y="2183"/>
                </a:lnTo>
                <a:lnTo>
                  <a:pt x="543" y="2185"/>
                </a:lnTo>
                <a:lnTo>
                  <a:pt x="541" y="2186"/>
                </a:lnTo>
                <a:lnTo>
                  <a:pt x="539" y="2186"/>
                </a:lnTo>
                <a:lnTo>
                  <a:pt x="537" y="2185"/>
                </a:lnTo>
                <a:lnTo>
                  <a:pt x="536" y="2185"/>
                </a:lnTo>
                <a:lnTo>
                  <a:pt x="534" y="2186"/>
                </a:lnTo>
                <a:lnTo>
                  <a:pt x="532" y="2183"/>
                </a:lnTo>
                <a:lnTo>
                  <a:pt x="532" y="2186"/>
                </a:lnTo>
                <a:lnTo>
                  <a:pt x="531" y="2185"/>
                </a:lnTo>
                <a:lnTo>
                  <a:pt x="531" y="2186"/>
                </a:lnTo>
                <a:lnTo>
                  <a:pt x="531" y="2188"/>
                </a:lnTo>
                <a:lnTo>
                  <a:pt x="529" y="2190"/>
                </a:lnTo>
                <a:lnTo>
                  <a:pt x="526" y="2190"/>
                </a:lnTo>
                <a:lnTo>
                  <a:pt x="524" y="2191"/>
                </a:lnTo>
                <a:lnTo>
                  <a:pt x="522" y="2190"/>
                </a:lnTo>
                <a:lnTo>
                  <a:pt x="522" y="2186"/>
                </a:lnTo>
                <a:lnTo>
                  <a:pt x="522" y="2185"/>
                </a:lnTo>
                <a:lnTo>
                  <a:pt x="520" y="2186"/>
                </a:lnTo>
                <a:lnTo>
                  <a:pt x="520" y="2190"/>
                </a:lnTo>
                <a:lnTo>
                  <a:pt x="519" y="2188"/>
                </a:lnTo>
                <a:lnTo>
                  <a:pt x="517" y="2188"/>
                </a:lnTo>
                <a:lnTo>
                  <a:pt x="517" y="2186"/>
                </a:lnTo>
                <a:lnTo>
                  <a:pt x="515" y="2185"/>
                </a:lnTo>
                <a:lnTo>
                  <a:pt x="517" y="2183"/>
                </a:lnTo>
                <a:lnTo>
                  <a:pt x="515" y="2183"/>
                </a:lnTo>
                <a:lnTo>
                  <a:pt x="514" y="2185"/>
                </a:lnTo>
                <a:lnTo>
                  <a:pt x="512" y="2183"/>
                </a:lnTo>
                <a:lnTo>
                  <a:pt x="510" y="2181"/>
                </a:lnTo>
                <a:lnTo>
                  <a:pt x="510" y="2180"/>
                </a:lnTo>
                <a:lnTo>
                  <a:pt x="510" y="2178"/>
                </a:lnTo>
                <a:lnTo>
                  <a:pt x="509" y="2180"/>
                </a:lnTo>
                <a:lnTo>
                  <a:pt x="509" y="2183"/>
                </a:lnTo>
                <a:lnTo>
                  <a:pt x="510" y="2185"/>
                </a:lnTo>
                <a:lnTo>
                  <a:pt x="510" y="2186"/>
                </a:lnTo>
                <a:lnTo>
                  <a:pt x="510" y="2188"/>
                </a:lnTo>
                <a:lnTo>
                  <a:pt x="509" y="2191"/>
                </a:lnTo>
                <a:lnTo>
                  <a:pt x="507" y="2193"/>
                </a:lnTo>
                <a:lnTo>
                  <a:pt x="505" y="2191"/>
                </a:lnTo>
                <a:lnTo>
                  <a:pt x="503" y="2191"/>
                </a:lnTo>
                <a:lnTo>
                  <a:pt x="502" y="2190"/>
                </a:lnTo>
                <a:lnTo>
                  <a:pt x="500" y="2188"/>
                </a:lnTo>
                <a:lnTo>
                  <a:pt x="500" y="2185"/>
                </a:lnTo>
                <a:lnTo>
                  <a:pt x="498" y="2185"/>
                </a:lnTo>
                <a:lnTo>
                  <a:pt x="498" y="2183"/>
                </a:lnTo>
                <a:lnTo>
                  <a:pt x="497" y="2181"/>
                </a:lnTo>
                <a:lnTo>
                  <a:pt x="493" y="2180"/>
                </a:lnTo>
                <a:lnTo>
                  <a:pt x="493" y="2178"/>
                </a:lnTo>
                <a:lnTo>
                  <a:pt x="492" y="2176"/>
                </a:lnTo>
                <a:lnTo>
                  <a:pt x="492" y="2178"/>
                </a:lnTo>
                <a:lnTo>
                  <a:pt x="488" y="2178"/>
                </a:lnTo>
                <a:lnTo>
                  <a:pt x="486" y="2180"/>
                </a:lnTo>
                <a:lnTo>
                  <a:pt x="486" y="2183"/>
                </a:lnTo>
                <a:lnTo>
                  <a:pt x="486" y="2185"/>
                </a:lnTo>
                <a:lnTo>
                  <a:pt x="486" y="2188"/>
                </a:lnTo>
                <a:lnTo>
                  <a:pt x="488" y="2190"/>
                </a:lnTo>
                <a:lnTo>
                  <a:pt x="486" y="2191"/>
                </a:lnTo>
                <a:lnTo>
                  <a:pt x="488" y="2193"/>
                </a:lnTo>
                <a:lnTo>
                  <a:pt x="485" y="2191"/>
                </a:lnTo>
                <a:lnTo>
                  <a:pt x="485" y="2190"/>
                </a:lnTo>
                <a:lnTo>
                  <a:pt x="485" y="2188"/>
                </a:lnTo>
                <a:lnTo>
                  <a:pt x="485" y="2186"/>
                </a:lnTo>
                <a:lnTo>
                  <a:pt x="485" y="2185"/>
                </a:lnTo>
                <a:lnTo>
                  <a:pt x="485" y="2181"/>
                </a:lnTo>
                <a:lnTo>
                  <a:pt x="483" y="2181"/>
                </a:lnTo>
                <a:lnTo>
                  <a:pt x="483" y="2180"/>
                </a:lnTo>
                <a:lnTo>
                  <a:pt x="481" y="2178"/>
                </a:lnTo>
                <a:lnTo>
                  <a:pt x="480" y="2174"/>
                </a:lnTo>
                <a:lnTo>
                  <a:pt x="480" y="2173"/>
                </a:lnTo>
                <a:lnTo>
                  <a:pt x="480" y="2171"/>
                </a:lnTo>
                <a:lnTo>
                  <a:pt x="480" y="2168"/>
                </a:lnTo>
                <a:lnTo>
                  <a:pt x="480" y="2166"/>
                </a:lnTo>
                <a:lnTo>
                  <a:pt x="481" y="2164"/>
                </a:lnTo>
                <a:lnTo>
                  <a:pt x="485" y="2164"/>
                </a:lnTo>
                <a:lnTo>
                  <a:pt x="485" y="2166"/>
                </a:lnTo>
                <a:lnTo>
                  <a:pt x="485" y="2168"/>
                </a:lnTo>
                <a:lnTo>
                  <a:pt x="485" y="2171"/>
                </a:lnTo>
                <a:lnTo>
                  <a:pt x="485" y="2173"/>
                </a:lnTo>
                <a:lnTo>
                  <a:pt x="486" y="2173"/>
                </a:lnTo>
                <a:lnTo>
                  <a:pt x="486" y="2169"/>
                </a:lnTo>
                <a:lnTo>
                  <a:pt x="486" y="2168"/>
                </a:lnTo>
                <a:lnTo>
                  <a:pt x="485" y="2166"/>
                </a:lnTo>
                <a:lnTo>
                  <a:pt x="486" y="2163"/>
                </a:lnTo>
                <a:lnTo>
                  <a:pt x="488" y="2161"/>
                </a:lnTo>
                <a:lnTo>
                  <a:pt x="490" y="2159"/>
                </a:lnTo>
                <a:lnTo>
                  <a:pt x="490" y="2157"/>
                </a:lnTo>
                <a:lnTo>
                  <a:pt x="492" y="2156"/>
                </a:lnTo>
                <a:lnTo>
                  <a:pt x="493" y="2154"/>
                </a:lnTo>
                <a:lnTo>
                  <a:pt x="497" y="2152"/>
                </a:lnTo>
                <a:lnTo>
                  <a:pt x="497" y="2151"/>
                </a:lnTo>
                <a:lnTo>
                  <a:pt x="498" y="2149"/>
                </a:lnTo>
                <a:lnTo>
                  <a:pt x="498" y="2145"/>
                </a:lnTo>
                <a:lnTo>
                  <a:pt x="500" y="2144"/>
                </a:lnTo>
                <a:lnTo>
                  <a:pt x="502" y="2144"/>
                </a:lnTo>
                <a:lnTo>
                  <a:pt x="502" y="2142"/>
                </a:lnTo>
                <a:lnTo>
                  <a:pt x="503" y="2140"/>
                </a:lnTo>
                <a:lnTo>
                  <a:pt x="505" y="2139"/>
                </a:lnTo>
                <a:lnTo>
                  <a:pt x="507" y="2139"/>
                </a:lnTo>
                <a:lnTo>
                  <a:pt x="509" y="2137"/>
                </a:lnTo>
                <a:lnTo>
                  <a:pt x="510" y="2135"/>
                </a:lnTo>
                <a:lnTo>
                  <a:pt x="509" y="2134"/>
                </a:lnTo>
                <a:lnTo>
                  <a:pt x="507" y="2132"/>
                </a:lnTo>
                <a:lnTo>
                  <a:pt x="509" y="2132"/>
                </a:lnTo>
                <a:lnTo>
                  <a:pt x="509" y="2130"/>
                </a:lnTo>
                <a:lnTo>
                  <a:pt x="509" y="2128"/>
                </a:lnTo>
                <a:lnTo>
                  <a:pt x="509" y="2127"/>
                </a:lnTo>
                <a:lnTo>
                  <a:pt x="507" y="2125"/>
                </a:lnTo>
                <a:lnTo>
                  <a:pt x="503" y="2125"/>
                </a:lnTo>
                <a:lnTo>
                  <a:pt x="503" y="2123"/>
                </a:lnTo>
                <a:lnTo>
                  <a:pt x="503" y="2122"/>
                </a:lnTo>
                <a:lnTo>
                  <a:pt x="502" y="2120"/>
                </a:lnTo>
                <a:lnTo>
                  <a:pt x="502" y="2117"/>
                </a:lnTo>
                <a:lnTo>
                  <a:pt x="503" y="2118"/>
                </a:lnTo>
                <a:lnTo>
                  <a:pt x="503" y="2117"/>
                </a:lnTo>
                <a:lnTo>
                  <a:pt x="503" y="2115"/>
                </a:lnTo>
                <a:lnTo>
                  <a:pt x="503" y="2113"/>
                </a:lnTo>
                <a:lnTo>
                  <a:pt x="503" y="2111"/>
                </a:lnTo>
                <a:lnTo>
                  <a:pt x="503" y="2110"/>
                </a:lnTo>
                <a:lnTo>
                  <a:pt x="505" y="2106"/>
                </a:lnTo>
                <a:lnTo>
                  <a:pt x="503" y="2106"/>
                </a:lnTo>
                <a:lnTo>
                  <a:pt x="505" y="2105"/>
                </a:lnTo>
                <a:lnTo>
                  <a:pt x="505" y="2103"/>
                </a:lnTo>
                <a:lnTo>
                  <a:pt x="509" y="2103"/>
                </a:lnTo>
                <a:lnTo>
                  <a:pt x="510" y="2103"/>
                </a:lnTo>
                <a:lnTo>
                  <a:pt x="510" y="2105"/>
                </a:lnTo>
                <a:lnTo>
                  <a:pt x="514" y="2105"/>
                </a:lnTo>
                <a:lnTo>
                  <a:pt x="515" y="2106"/>
                </a:lnTo>
                <a:lnTo>
                  <a:pt x="517" y="2106"/>
                </a:lnTo>
                <a:lnTo>
                  <a:pt x="520" y="2108"/>
                </a:lnTo>
                <a:lnTo>
                  <a:pt x="522" y="2108"/>
                </a:lnTo>
                <a:lnTo>
                  <a:pt x="520" y="2106"/>
                </a:lnTo>
                <a:lnTo>
                  <a:pt x="519" y="2106"/>
                </a:lnTo>
                <a:lnTo>
                  <a:pt x="517" y="2106"/>
                </a:lnTo>
                <a:lnTo>
                  <a:pt x="517" y="2105"/>
                </a:lnTo>
                <a:lnTo>
                  <a:pt x="517" y="2106"/>
                </a:lnTo>
                <a:lnTo>
                  <a:pt x="515" y="2105"/>
                </a:lnTo>
                <a:lnTo>
                  <a:pt x="515" y="2103"/>
                </a:lnTo>
                <a:lnTo>
                  <a:pt x="514" y="2103"/>
                </a:lnTo>
                <a:lnTo>
                  <a:pt x="514" y="2101"/>
                </a:lnTo>
                <a:lnTo>
                  <a:pt x="512" y="2100"/>
                </a:lnTo>
                <a:lnTo>
                  <a:pt x="510" y="2100"/>
                </a:lnTo>
                <a:lnTo>
                  <a:pt x="510" y="2096"/>
                </a:lnTo>
                <a:lnTo>
                  <a:pt x="510" y="2094"/>
                </a:lnTo>
                <a:lnTo>
                  <a:pt x="509" y="2096"/>
                </a:lnTo>
                <a:lnTo>
                  <a:pt x="509" y="2098"/>
                </a:lnTo>
                <a:lnTo>
                  <a:pt x="510" y="2100"/>
                </a:lnTo>
                <a:lnTo>
                  <a:pt x="510" y="2101"/>
                </a:lnTo>
                <a:lnTo>
                  <a:pt x="509" y="2101"/>
                </a:lnTo>
                <a:lnTo>
                  <a:pt x="507" y="2100"/>
                </a:lnTo>
                <a:lnTo>
                  <a:pt x="507" y="2098"/>
                </a:lnTo>
                <a:lnTo>
                  <a:pt x="507" y="2096"/>
                </a:lnTo>
                <a:lnTo>
                  <a:pt x="507" y="2094"/>
                </a:lnTo>
                <a:lnTo>
                  <a:pt x="509" y="2093"/>
                </a:lnTo>
                <a:lnTo>
                  <a:pt x="510" y="2091"/>
                </a:lnTo>
                <a:lnTo>
                  <a:pt x="512" y="2089"/>
                </a:lnTo>
                <a:lnTo>
                  <a:pt x="514" y="2088"/>
                </a:lnTo>
                <a:lnTo>
                  <a:pt x="514" y="2086"/>
                </a:lnTo>
                <a:lnTo>
                  <a:pt x="515" y="2086"/>
                </a:lnTo>
                <a:lnTo>
                  <a:pt x="514" y="2088"/>
                </a:lnTo>
                <a:lnTo>
                  <a:pt x="512" y="2088"/>
                </a:lnTo>
                <a:lnTo>
                  <a:pt x="510" y="2089"/>
                </a:lnTo>
                <a:lnTo>
                  <a:pt x="510" y="2091"/>
                </a:lnTo>
                <a:lnTo>
                  <a:pt x="509" y="2093"/>
                </a:lnTo>
                <a:lnTo>
                  <a:pt x="509" y="2091"/>
                </a:lnTo>
                <a:lnTo>
                  <a:pt x="509" y="2089"/>
                </a:lnTo>
                <a:lnTo>
                  <a:pt x="509" y="2088"/>
                </a:lnTo>
                <a:lnTo>
                  <a:pt x="507" y="2088"/>
                </a:lnTo>
                <a:lnTo>
                  <a:pt x="509" y="2089"/>
                </a:lnTo>
                <a:lnTo>
                  <a:pt x="507" y="2091"/>
                </a:lnTo>
                <a:lnTo>
                  <a:pt x="509" y="2093"/>
                </a:lnTo>
                <a:lnTo>
                  <a:pt x="507" y="2094"/>
                </a:lnTo>
                <a:lnTo>
                  <a:pt x="507" y="2098"/>
                </a:lnTo>
                <a:lnTo>
                  <a:pt x="505" y="2100"/>
                </a:lnTo>
                <a:lnTo>
                  <a:pt x="503" y="2098"/>
                </a:lnTo>
                <a:lnTo>
                  <a:pt x="503" y="2100"/>
                </a:lnTo>
                <a:lnTo>
                  <a:pt x="505" y="2101"/>
                </a:lnTo>
                <a:lnTo>
                  <a:pt x="503" y="2103"/>
                </a:lnTo>
                <a:lnTo>
                  <a:pt x="503" y="2105"/>
                </a:lnTo>
                <a:lnTo>
                  <a:pt x="502" y="2105"/>
                </a:lnTo>
                <a:lnTo>
                  <a:pt x="500" y="2108"/>
                </a:lnTo>
                <a:lnTo>
                  <a:pt x="498" y="2106"/>
                </a:lnTo>
                <a:lnTo>
                  <a:pt x="498" y="2105"/>
                </a:lnTo>
                <a:lnTo>
                  <a:pt x="498" y="2103"/>
                </a:lnTo>
                <a:lnTo>
                  <a:pt x="498" y="2101"/>
                </a:lnTo>
                <a:lnTo>
                  <a:pt x="497" y="2100"/>
                </a:lnTo>
                <a:lnTo>
                  <a:pt x="497" y="2098"/>
                </a:lnTo>
                <a:lnTo>
                  <a:pt x="497" y="2100"/>
                </a:lnTo>
                <a:lnTo>
                  <a:pt x="498" y="2101"/>
                </a:lnTo>
                <a:lnTo>
                  <a:pt x="498" y="2105"/>
                </a:lnTo>
                <a:lnTo>
                  <a:pt x="497" y="2105"/>
                </a:lnTo>
                <a:lnTo>
                  <a:pt x="495" y="2101"/>
                </a:lnTo>
                <a:lnTo>
                  <a:pt x="493" y="2100"/>
                </a:lnTo>
                <a:lnTo>
                  <a:pt x="495" y="2098"/>
                </a:lnTo>
                <a:lnTo>
                  <a:pt x="493" y="2098"/>
                </a:lnTo>
                <a:lnTo>
                  <a:pt x="493" y="2101"/>
                </a:lnTo>
                <a:lnTo>
                  <a:pt x="493" y="2103"/>
                </a:lnTo>
                <a:lnTo>
                  <a:pt x="492" y="2103"/>
                </a:lnTo>
                <a:lnTo>
                  <a:pt x="492" y="2106"/>
                </a:lnTo>
                <a:lnTo>
                  <a:pt x="492" y="2108"/>
                </a:lnTo>
                <a:lnTo>
                  <a:pt x="490" y="2106"/>
                </a:lnTo>
                <a:lnTo>
                  <a:pt x="488" y="2106"/>
                </a:lnTo>
                <a:lnTo>
                  <a:pt x="488" y="2105"/>
                </a:lnTo>
                <a:lnTo>
                  <a:pt x="486" y="2103"/>
                </a:lnTo>
                <a:lnTo>
                  <a:pt x="488" y="2100"/>
                </a:lnTo>
                <a:lnTo>
                  <a:pt x="488" y="2098"/>
                </a:lnTo>
                <a:lnTo>
                  <a:pt x="488" y="2096"/>
                </a:lnTo>
                <a:lnTo>
                  <a:pt x="492" y="2094"/>
                </a:lnTo>
                <a:lnTo>
                  <a:pt x="492" y="2093"/>
                </a:lnTo>
                <a:lnTo>
                  <a:pt x="493" y="2091"/>
                </a:lnTo>
                <a:lnTo>
                  <a:pt x="495" y="2089"/>
                </a:lnTo>
                <a:lnTo>
                  <a:pt x="497" y="2088"/>
                </a:lnTo>
                <a:lnTo>
                  <a:pt x="498" y="2088"/>
                </a:lnTo>
                <a:lnTo>
                  <a:pt x="500" y="2086"/>
                </a:lnTo>
                <a:lnTo>
                  <a:pt x="502" y="2086"/>
                </a:lnTo>
                <a:lnTo>
                  <a:pt x="503" y="2083"/>
                </a:lnTo>
                <a:lnTo>
                  <a:pt x="507" y="2083"/>
                </a:lnTo>
                <a:lnTo>
                  <a:pt x="509" y="2081"/>
                </a:lnTo>
                <a:lnTo>
                  <a:pt x="507" y="2081"/>
                </a:lnTo>
                <a:lnTo>
                  <a:pt x="505" y="2081"/>
                </a:lnTo>
                <a:lnTo>
                  <a:pt x="503" y="2083"/>
                </a:lnTo>
                <a:lnTo>
                  <a:pt x="503" y="2081"/>
                </a:lnTo>
                <a:lnTo>
                  <a:pt x="502" y="2084"/>
                </a:lnTo>
                <a:lnTo>
                  <a:pt x="500" y="2086"/>
                </a:lnTo>
                <a:lnTo>
                  <a:pt x="498" y="2086"/>
                </a:lnTo>
                <a:lnTo>
                  <a:pt x="497" y="2086"/>
                </a:lnTo>
                <a:lnTo>
                  <a:pt x="495" y="2088"/>
                </a:lnTo>
                <a:lnTo>
                  <a:pt x="493" y="2089"/>
                </a:lnTo>
                <a:lnTo>
                  <a:pt x="492" y="2091"/>
                </a:lnTo>
                <a:lnTo>
                  <a:pt x="490" y="2091"/>
                </a:lnTo>
                <a:lnTo>
                  <a:pt x="490" y="2094"/>
                </a:lnTo>
                <a:lnTo>
                  <a:pt x="486" y="2094"/>
                </a:lnTo>
                <a:lnTo>
                  <a:pt x="486" y="2093"/>
                </a:lnTo>
                <a:lnTo>
                  <a:pt x="485" y="2094"/>
                </a:lnTo>
                <a:lnTo>
                  <a:pt x="485" y="2096"/>
                </a:lnTo>
                <a:lnTo>
                  <a:pt x="485" y="2098"/>
                </a:lnTo>
                <a:lnTo>
                  <a:pt x="485" y="2101"/>
                </a:lnTo>
                <a:lnTo>
                  <a:pt x="485" y="2105"/>
                </a:lnTo>
                <a:lnTo>
                  <a:pt x="486" y="2106"/>
                </a:lnTo>
                <a:lnTo>
                  <a:pt x="486" y="2108"/>
                </a:lnTo>
                <a:lnTo>
                  <a:pt x="486" y="2110"/>
                </a:lnTo>
                <a:lnTo>
                  <a:pt x="486" y="2111"/>
                </a:lnTo>
                <a:lnTo>
                  <a:pt x="483" y="2111"/>
                </a:lnTo>
                <a:lnTo>
                  <a:pt x="481" y="2113"/>
                </a:lnTo>
                <a:lnTo>
                  <a:pt x="480" y="2115"/>
                </a:lnTo>
                <a:lnTo>
                  <a:pt x="480" y="2117"/>
                </a:lnTo>
                <a:lnTo>
                  <a:pt x="478" y="2118"/>
                </a:lnTo>
                <a:lnTo>
                  <a:pt x="478" y="2122"/>
                </a:lnTo>
                <a:lnTo>
                  <a:pt x="478" y="2123"/>
                </a:lnTo>
                <a:lnTo>
                  <a:pt x="476" y="2123"/>
                </a:lnTo>
                <a:lnTo>
                  <a:pt x="476" y="2127"/>
                </a:lnTo>
                <a:lnTo>
                  <a:pt x="475" y="2128"/>
                </a:lnTo>
                <a:lnTo>
                  <a:pt x="473" y="2130"/>
                </a:lnTo>
                <a:lnTo>
                  <a:pt x="473" y="2132"/>
                </a:lnTo>
                <a:lnTo>
                  <a:pt x="469" y="2132"/>
                </a:lnTo>
                <a:lnTo>
                  <a:pt x="471" y="2134"/>
                </a:lnTo>
                <a:lnTo>
                  <a:pt x="473" y="2134"/>
                </a:lnTo>
                <a:lnTo>
                  <a:pt x="473" y="2135"/>
                </a:lnTo>
                <a:lnTo>
                  <a:pt x="473" y="2137"/>
                </a:lnTo>
                <a:lnTo>
                  <a:pt x="471" y="2140"/>
                </a:lnTo>
                <a:lnTo>
                  <a:pt x="468" y="2140"/>
                </a:lnTo>
                <a:lnTo>
                  <a:pt x="466" y="2140"/>
                </a:lnTo>
                <a:lnTo>
                  <a:pt x="463" y="2140"/>
                </a:lnTo>
                <a:lnTo>
                  <a:pt x="461" y="2139"/>
                </a:lnTo>
                <a:lnTo>
                  <a:pt x="461" y="2137"/>
                </a:lnTo>
                <a:lnTo>
                  <a:pt x="461" y="2135"/>
                </a:lnTo>
                <a:lnTo>
                  <a:pt x="463" y="2134"/>
                </a:lnTo>
                <a:lnTo>
                  <a:pt x="464" y="2132"/>
                </a:lnTo>
                <a:lnTo>
                  <a:pt x="466" y="2132"/>
                </a:lnTo>
                <a:lnTo>
                  <a:pt x="466" y="2130"/>
                </a:lnTo>
                <a:lnTo>
                  <a:pt x="466" y="2127"/>
                </a:lnTo>
                <a:lnTo>
                  <a:pt x="468" y="2127"/>
                </a:lnTo>
                <a:lnTo>
                  <a:pt x="468" y="2125"/>
                </a:lnTo>
                <a:lnTo>
                  <a:pt x="468" y="2122"/>
                </a:lnTo>
                <a:lnTo>
                  <a:pt x="469" y="2120"/>
                </a:lnTo>
                <a:lnTo>
                  <a:pt x="469" y="2118"/>
                </a:lnTo>
                <a:lnTo>
                  <a:pt x="471" y="2118"/>
                </a:lnTo>
                <a:lnTo>
                  <a:pt x="471" y="2115"/>
                </a:lnTo>
                <a:lnTo>
                  <a:pt x="475" y="2113"/>
                </a:lnTo>
                <a:lnTo>
                  <a:pt x="475" y="2111"/>
                </a:lnTo>
                <a:lnTo>
                  <a:pt x="476" y="2110"/>
                </a:lnTo>
                <a:lnTo>
                  <a:pt x="478" y="2110"/>
                </a:lnTo>
                <a:lnTo>
                  <a:pt x="480" y="2108"/>
                </a:lnTo>
                <a:lnTo>
                  <a:pt x="481" y="2108"/>
                </a:lnTo>
                <a:lnTo>
                  <a:pt x="483" y="2106"/>
                </a:lnTo>
                <a:lnTo>
                  <a:pt x="483" y="2105"/>
                </a:lnTo>
                <a:lnTo>
                  <a:pt x="481" y="2106"/>
                </a:lnTo>
                <a:lnTo>
                  <a:pt x="480" y="2106"/>
                </a:lnTo>
                <a:lnTo>
                  <a:pt x="478" y="2108"/>
                </a:lnTo>
                <a:lnTo>
                  <a:pt x="476" y="2108"/>
                </a:lnTo>
                <a:lnTo>
                  <a:pt x="475" y="2110"/>
                </a:lnTo>
                <a:lnTo>
                  <a:pt x="476" y="2108"/>
                </a:lnTo>
                <a:lnTo>
                  <a:pt x="475" y="2108"/>
                </a:lnTo>
                <a:lnTo>
                  <a:pt x="473" y="2106"/>
                </a:lnTo>
                <a:lnTo>
                  <a:pt x="475" y="2103"/>
                </a:lnTo>
                <a:lnTo>
                  <a:pt x="475" y="2101"/>
                </a:lnTo>
                <a:lnTo>
                  <a:pt x="476" y="2101"/>
                </a:lnTo>
                <a:lnTo>
                  <a:pt x="476" y="2100"/>
                </a:lnTo>
                <a:lnTo>
                  <a:pt x="480" y="2098"/>
                </a:lnTo>
                <a:lnTo>
                  <a:pt x="478" y="2098"/>
                </a:lnTo>
                <a:lnTo>
                  <a:pt x="476" y="2100"/>
                </a:lnTo>
                <a:lnTo>
                  <a:pt x="475" y="2100"/>
                </a:lnTo>
                <a:lnTo>
                  <a:pt x="475" y="2098"/>
                </a:lnTo>
                <a:lnTo>
                  <a:pt x="476" y="2096"/>
                </a:lnTo>
                <a:lnTo>
                  <a:pt x="476" y="2094"/>
                </a:lnTo>
                <a:lnTo>
                  <a:pt x="478" y="2094"/>
                </a:lnTo>
                <a:lnTo>
                  <a:pt x="480" y="2093"/>
                </a:lnTo>
                <a:lnTo>
                  <a:pt x="481" y="2091"/>
                </a:lnTo>
                <a:lnTo>
                  <a:pt x="480" y="2093"/>
                </a:lnTo>
                <a:lnTo>
                  <a:pt x="481" y="2091"/>
                </a:lnTo>
                <a:lnTo>
                  <a:pt x="480" y="2091"/>
                </a:lnTo>
                <a:lnTo>
                  <a:pt x="481" y="2089"/>
                </a:lnTo>
                <a:lnTo>
                  <a:pt x="478" y="2091"/>
                </a:lnTo>
                <a:lnTo>
                  <a:pt x="478" y="2093"/>
                </a:lnTo>
                <a:lnTo>
                  <a:pt x="476" y="2094"/>
                </a:lnTo>
                <a:lnTo>
                  <a:pt x="478" y="2093"/>
                </a:lnTo>
                <a:lnTo>
                  <a:pt x="476" y="2093"/>
                </a:lnTo>
                <a:lnTo>
                  <a:pt x="476" y="2094"/>
                </a:lnTo>
                <a:lnTo>
                  <a:pt x="475" y="2096"/>
                </a:lnTo>
                <a:lnTo>
                  <a:pt x="476" y="2094"/>
                </a:lnTo>
                <a:lnTo>
                  <a:pt x="475" y="2096"/>
                </a:lnTo>
                <a:lnTo>
                  <a:pt x="475" y="2094"/>
                </a:lnTo>
                <a:lnTo>
                  <a:pt x="476" y="2093"/>
                </a:lnTo>
                <a:lnTo>
                  <a:pt x="476" y="2091"/>
                </a:lnTo>
                <a:lnTo>
                  <a:pt x="478" y="2091"/>
                </a:lnTo>
                <a:lnTo>
                  <a:pt x="478" y="2089"/>
                </a:lnTo>
                <a:lnTo>
                  <a:pt x="480" y="2089"/>
                </a:lnTo>
                <a:lnTo>
                  <a:pt x="481" y="2088"/>
                </a:lnTo>
                <a:lnTo>
                  <a:pt x="483" y="2089"/>
                </a:lnTo>
                <a:lnTo>
                  <a:pt x="483" y="2088"/>
                </a:lnTo>
                <a:lnTo>
                  <a:pt x="481" y="2086"/>
                </a:lnTo>
                <a:lnTo>
                  <a:pt x="483" y="2084"/>
                </a:lnTo>
                <a:lnTo>
                  <a:pt x="485" y="2083"/>
                </a:lnTo>
                <a:lnTo>
                  <a:pt x="485" y="2081"/>
                </a:lnTo>
                <a:lnTo>
                  <a:pt x="481" y="2083"/>
                </a:lnTo>
                <a:lnTo>
                  <a:pt x="481" y="2084"/>
                </a:lnTo>
                <a:lnTo>
                  <a:pt x="480" y="2084"/>
                </a:lnTo>
                <a:lnTo>
                  <a:pt x="481" y="2083"/>
                </a:lnTo>
                <a:lnTo>
                  <a:pt x="483" y="2079"/>
                </a:lnTo>
                <a:lnTo>
                  <a:pt x="485" y="2079"/>
                </a:lnTo>
                <a:lnTo>
                  <a:pt x="483" y="2077"/>
                </a:lnTo>
                <a:lnTo>
                  <a:pt x="486" y="2076"/>
                </a:lnTo>
                <a:lnTo>
                  <a:pt x="488" y="2077"/>
                </a:lnTo>
                <a:lnTo>
                  <a:pt x="486" y="2076"/>
                </a:lnTo>
                <a:lnTo>
                  <a:pt x="485" y="2076"/>
                </a:lnTo>
                <a:lnTo>
                  <a:pt x="483" y="2076"/>
                </a:lnTo>
                <a:lnTo>
                  <a:pt x="485" y="2074"/>
                </a:lnTo>
                <a:lnTo>
                  <a:pt x="483" y="2074"/>
                </a:lnTo>
                <a:lnTo>
                  <a:pt x="485" y="2072"/>
                </a:lnTo>
                <a:lnTo>
                  <a:pt x="485" y="2071"/>
                </a:lnTo>
                <a:lnTo>
                  <a:pt x="486" y="2069"/>
                </a:lnTo>
                <a:lnTo>
                  <a:pt x="486" y="2071"/>
                </a:lnTo>
                <a:lnTo>
                  <a:pt x="488" y="2071"/>
                </a:lnTo>
                <a:lnTo>
                  <a:pt x="490" y="2069"/>
                </a:lnTo>
                <a:lnTo>
                  <a:pt x="488" y="2069"/>
                </a:lnTo>
                <a:lnTo>
                  <a:pt x="486" y="2071"/>
                </a:lnTo>
                <a:lnTo>
                  <a:pt x="486" y="2069"/>
                </a:lnTo>
                <a:lnTo>
                  <a:pt x="488" y="2067"/>
                </a:lnTo>
                <a:lnTo>
                  <a:pt x="490" y="2066"/>
                </a:lnTo>
                <a:lnTo>
                  <a:pt x="490" y="2064"/>
                </a:lnTo>
                <a:lnTo>
                  <a:pt x="492" y="2064"/>
                </a:lnTo>
                <a:lnTo>
                  <a:pt x="493" y="2064"/>
                </a:lnTo>
                <a:lnTo>
                  <a:pt x="493" y="2060"/>
                </a:lnTo>
                <a:lnTo>
                  <a:pt x="492" y="2062"/>
                </a:lnTo>
                <a:lnTo>
                  <a:pt x="492" y="2060"/>
                </a:lnTo>
                <a:lnTo>
                  <a:pt x="492" y="2062"/>
                </a:lnTo>
                <a:lnTo>
                  <a:pt x="492" y="2060"/>
                </a:lnTo>
                <a:lnTo>
                  <a:pt x="493" y="2059"/>
                </a:lnTo>
                <a:lnTo>
                  <a:pt x="497" y="2060"/>
                </a:lnTo>
                <a:lnTo>
                  <a:pt x="498" y="2059"/>
                </a:lnTo>
                <a:lnTo>
                  <a:pt x="495" y="2059"/>
                </a:lnTo>
                <a:lnTo>
                  <a:pt x="493" y="2057"/>
                </a:lnTo>
                <a:lnTo>
                  <a:pt x="495" y="2055"/>
                </a:lnTo>
                <a:lnTo>
                  <a:pt x="497" y="2057"/>
                </a:lnTo>
                <a:lnTo>
                  <a:pt x="497" y="2055"/>
                </a:lnTo>
                <a:lnTo>
                  <a:pt x="497" y="2054"/>
                </a:lnTo>
                <a:lnTo>
                  <a:pt x="498" y="2054"/>
                </a:lnTo>
                <a:lnTo>
                  <a:pt x="500" y="2052"/>
                </a:lnTo>
                <a:lnTo>
                  <a:pt x="498" y="2052"/>
                </a:lnTo>
                <a:lnTo>
                  <a:pt x="500" y="2050"/>
                </a:lnTo>
                <a:lnTo>
                  <a:pt x="502" y="2050"/>
                </a:lnTo>
                <a:lnTo>
                  <a:pt x="503" y="2049"/>
                </a:lnTo>
                <a:lnTo>
                  <a:pt x="505" y="2050"/>
                </a:lnTo>
                <a:lnTo>
                  <a:pt x="507" y="2050"/>
                </a:lnTo>
                <a:lnTo>
                  <a:pt x="509" y="2050"/>
                </a:lnTo>
                <a:lnTo>
                  <a:pt x="510" y="2050"/>
                </a:lnTo>
                <a:lnTo>
                  <a:pt x="514" y="2050"/>
                </a:lnTo>
                <a:lnTo>
                  <a:pt x="512" y="2049"/>
                </a:lnTo>
                <a:lnTo>
                  <a:pt x="510" y="2050"/>
                </a:lnTo>
                <a:lnTo>
                  <a:pt x="509" y="2050"/>
                </a:lnTo>
                <a:lnTo>
                  <a:pt x="507" y="2050"/>
                </a:lnTo>
                <a:lnTo>
                  <a:pt x="505" y="2050"/>
                </a:lnTo>
                <a:lnTo>
                  <a:pt x="505" y="2049"/>
                </a:lnTo>
                <a:lnTo>
                  <a:pt x="503" y="2049"/>
                </a:lnTo>
                <a:lnTo>
                  <a:pt x="503" y="2047"/>
                </a:lnTo>
                <a:lnTo>
                  <a:pt x="505" y="2045"/>
                </a:lnTo>
                <a:lnTo>
                  <a:pt x="507" y="2043"/>
                </a:lnTo>
                <a:lnTo>
                  <a:pt x="509" y="2042"/>
                </a:lnTo>
                <a:lnTo>
                  <a:pt x="510" y="2042"/>
                </a:lnTo>
                <a:lnTo>
                  <a:pt x="510" y="2040"/>
                </a:lnTo>
                <a:lnTo>
                  <a:pt x="509" y="2040"/>
                </a:lnTo>
                <a:lnTo>
                  <a:pt x="507" y="2038"/>
                </a:lnTo>
                <a:lnTo>
                  <a:pt x="505" y="2038"/>
                </a:lnTo>
                <a:lnTo>
                  <a:pt x="502" y="2037"/>
                </a:lnTo>
                <a:lnTo>
                  <a:pt x="503" y="2038"/>
                </a:lnTo>
                <a:lnTo>
                  <a:pt x="505" y="2038"/>
                </a:lnTo>
                <a:lnTo>
                  <a:pt x="507" y="2038"/>
                </a:lnTo>
                <a:lnTo>
                  <a:pt x="509" y="2040"/>
                </a:lnTo>
                <a:lnTo>
                  <a:pt x="510" y="2040"/>
                </a:lnTo>
                <a:lnTo>
                  <a:pt x="509" y="2040"/>
                </a:lnTo>
                <a:lnTo>
                  <a:pt x="509" y="2042"/>
                </a:lnTo>
                <a:lnTo>
                  <a:pt x="507" y="2042"/>
                </a:lnTo>
                <a:lnTo>
                  <a:pt x="505" y="2043"/>
                </a:lnTo>
                <a:lnTo>
                  <a:pt x="503" y="2043"/>
                </a:lnTo>
                <a:lnTo>
                  <a:pt x="503" y="2045"/>
                </a:lnTo>
                <a:lnTo>
                  <a:pt x="503" y="2047"/>
                </a:lnTo>
                <a:lnTo>
                  <a:pt x="502" y="2049"/>
                </a:lnTo>
                <a:lnTo>
                  <a:pt x="500" y="2047"/>
                </a:lnTo>
                <a:lnTo>
                  <a:pt x="498" y="2049"/>
                </a:lnTo>
                <a:lnTo>
                  <a:pt x="497" y="2050"/>
                </a:lnTo>
                <a:lnTo>
                  <a:pt x="495" y="2050"/>
                </a:lnTo>
                <a:lnTo>
                  <a:pt x="493" y="2052"/>
                </a:lnTo>
                <a:lnTo>
                  <a:pt x="492" y="2052"/>
                </a:lnTo>
                <a:lnTo>
                  <a:pt x="490" y="2055"/>
                </a:lnTo>
                <a:lnTo>
                  <a:pt x="486" y="2057"/>
                </a:lnTo>
                <a:lnTo>
                  <a:pt x="483" y="2059"/>
                </a:lnTo>
                <a:lnTo>
                  <a:pt x="483" y="2057"/>
                </a:lnTo>
                <a:lnTo>
                  <a:pt x="481" y="2057"/>
                </a:lnTo>
                <a:lnTo>
                  <a:pt x="481" y="2055"/>
                </a:lnTo>
                <a:lnTo>
                  <a:pt x="481" y="2054"/>
                </a:lnTo>
                <a:lnTo>
                  <a:pt x="480" y="2055"/>
                </a:lnTo>
                <a:lnTo>
                  <a:pt x="478" y="2054"/>
                </a:lnTo>
                <a:lnTo>
                  <a:pt x="476" y="2054"/>
                </a:lnTo>
                <a:lnTo>
                  <a:pt x="475" y="2050"/>
                </a:lnTo>
                <a:lnTo>
                  <a:pt x="473" y="2047"/>
                </a:lnTo>
                <a:lnTo>
                  <a:pt x="473" y="2045"/>
                </a:lnTo>
                <a:lnTo>
                  <a:pt x="476" y="2045"/>
                </a:lnTo>
                <a:lnTo>
                  <a:pt x="478" y="2045"/>
                </a:lnTo>
                <a:lnTo>
                  <a:pt x="478" y="2047"/>
                </a:lnTo>
                <a:lnTo>
                  <a:pt x="480" y="2049"/>
                </a:lnTo>
                <a:lnTo>
                  <a:pt x="478" y="2047"/>
                </a:lnTo>
                <a:lnTo>
                  <a:pt x="481" y="2045"/>
                </a:lnTo>
                <a:lnTo>
                  <a:pt x="485" y="2043"/>
                </a:lnTo>
                <a:lnTo>
                  <a:pt x="485" y="2045"/>
                </a:lnTo>
                <a:lnTo>
                  <a:pt x="486" y="2047"/>
                </a:lnTo>
                <a:lnTo>
                  <a:pt x="488" y="2047"/>
                </a:lnTo>
                <a:lnTo>
                  <a:pt x="492" y="2047"/>
                </a:lnTo>
                <a:lnTo>
                  <a:pt x="490" y="2045"/>
                </a:lnTo>
                <a:lnTo>
                  <a:pt x="490" y="2047"/>
                </a:lnTo>
                <a:lnTo>
                  <a:pt x="486" y="2047"/>
                </a:lnTo>
                <a:lnTo>
                  <a:pt x="485" y="2043"/>
                </a:lnTo>
                <a:lnTo>
                  <a:pt x="483" y="2043"/>
                </a:lnTo>
                <a:lnTo>
                  <a:pt x="480" y="2045"/>
                </a:lnTo>
                <a:lnTo>
                  <a:pt x="476" y="2043"/>
                </a:lnTo>
                <a:lnTo>
                  <a:pt x="475" y="2043"/>
                </a:lnTo>
                <a:lnTo>
                  <a:pt x="473" y="2043"/>
                </a:lnTo>
                <a:lnTo>
                  <a:pt x="473" y="2042"/>
                </a:lnTo>
                <a:lnTo>
                  <a:pt x="471" y="2042"/>
                </a:lnTo>
                <a:lnTo>
                  <a:pt x="469" y="2042"/>
                </a:lnTo>
                <a:lnTo>
                  <a:pt x="468" y="2042"/>
                </a:lnTo>
                <a:lnTo>
                  <a:pt x="466" y="2038"/>
                </a:lnTo>
                <a:lnTo>
                  <a:pt x="468" y="2038"/>
                </a:lnTo>
                <a:lnTo>
                  <a:pt x="468" y="2037"/>
                </a:lnTo>
                <a:lnTo>
                  <a:pt x="469" y="2037"/>
                </a:lnTo>
                <a:lnTo>
                  <a:pt x="473" y="2037"/>
                </a:lnTo>
                <a:lnTo>
                  <a:pt x="475" y="2037"/>
                </a:lnTo>
                <a:lnTo>
                  <a:pt x="478" y="2037"/>
                </a:lnTo>
                <a:lnTo>
                  <a:pt x="478" y="2040"/>
                </a:lnTo>
                <a:lnTo>
                  <a:pt x="480" y="2038"/>
                </a:lnTo>
                <a:lnTo>
                  <a:pt x="481" y="2040"/>
                </a:lnTo>
                <a:lnTo>
                  <a:pt x="481" y="2038"/>
                </a:lnTo>
                <a:lnTo>
                  <a:pt x="480" y="2038"/>
                </a:lnTo>
                <a:lnTo>
                  <a:pt x="480" y="2037"/>
                </a:lnTo>
                <a:lnTo>
                  <a:pt x="481" y="2038"/>
                </a:lnTo>
                <a:lnTo>
                  <a:pt x="483" y="2037"/>
                </a:lnTo>
                <a:lnTo>
                  <a:pt x="485" y="2038"/>
                </a:lnTo>
                <a:lnTo>
                  <a:pt x="483" y="2037"/>
                </a:lnTo>
                <a:lnTo>
                  <a:pt x="481" y="2035"/>
                </a:lnTo>
                <a:lnTo>
                  <a:pt x="483" y="2035"/>
                </a:lnTo>
                <a:lnTo>
                  <a:pt x="486" y="2033"/>
                </a:lnTo>
                <a:lnTo>
                  <a:pt x="488" y="2035"/>
                </a:lnTo>
                <a:lnTo>
                  <a:pt x="490" y="2032"/>
                </a:lnTo>
                <a:lnTo>
                  <a:pt x="486" y="2033"/>
                </a:lnTo>
                <a:lnTo>
                  <a:pt x="485" y="2033"/>
                </a:lnTo>
                <a:lnTo>
                  <a:pt x="488" y="2032"/>
                </a:lnTo>
                <a:lnTo>
                  <a:pt x="485" y="2030"/>
                </a:lnTo>
                <a:lnTo>
                  <a:pt x="483" y="2032"/>
                </a:lnTo>
                <a:lnTo>
                  <a:pt x="483" y="2030"/>
                </a:lnTo>
                <a:lnTo>
                  <a:pt x="481" y="2032"/>
                </a:lnTo>
                <a:lnTo>
                  <a:pt x="480" y="2030"/>
                </a:lnTo>
                <a:lnTo>
                  <a:pt x="481" y="2028"/>
                </a:lnTo>
                <a:lnTo>
                  <a:pt x="483" y="2030"/>
                </a:lnTo>
                <a:lnTo>
                  <a:pt x="483" y="2028"/>
                </a:lnTo>
                <a:lnTo>
                  <a:pt x="485" y="2025"/>
                </a:lnTo>
                <a:lnTo>
                  <a:pt x="485" y="2026"/>
                </a:lnTo>
                <a:lnTo>
                  <a:pt x="485" y="2025"/>
                </a:lnTo>
                <a:lnTo>
                  <a:pt x="485" y="2023"/>
                </a:lnTo>
                <a:lnTo>
                  <a:pt x="486" y="2021"/>
                </a:lnTo>
                <a:lnTo>
                  <a:pt x="490" y="2023"/>
                </a:lnTo>
                <a:lnTo>
                  <a:pt x="490" y="2025"/>
                </a:lnTo>
                <a:lnTo>
                  <a:pt x="492" y="2026"/>
                </a:lnTo>
                <a:lnTo>
                  <a:pt x="493" y="2026"/>
                </a:lnTo>
                <a:lnTo>
                  <a:pt x="495" y="2026"/>
                </a:lnTo>
                <a:lnTo>
                  <a:pt x="497" y="2026"/>
                </a:lnTo>
                <a:lnTo>
                  <a:pt x="497" y="2025"/>
                </a:lnTo>
                <a:lnTo>
                  <a:pt x="495" y="2025"/>
                </a:lnTo>
                <a:lnTo>
                  <a:pt x="493" y="2026"/>
                </a:lnTo>
                <a:lnTo>
                  <a:pt x="492" y="2025"/>
                </a:lnTo>
                <a:lnTo>
                  <a:pt x="492" y="2021"/>
                </a:lnTo>
                <a:lnTo>
                  <a:pt x="490" y="2021"/>
                </a:lnTo>
                <a:lnTo>
                  <a:pt x="488" y="2020"/>
                </a:lnTo>
                <a:lnTo>
                  <a:pt x="488" y="2018"/>
                </a:lnTo>
                <a:lnTo>
                  <a:pt x="490" y="2018"/>
                </a:lnTo>
                <a:lnTo>
                  <a:pt x="490" y="2016"/>
                </a:lnTo>
                <a:lnTo>
                  <a:pt x="492" y="2016"/>
                </a:lnTo>
                <a:lnTo>
                  <a:pt x="495" y="2016"/>
                </a:lnTo>
                <a:lnTo>
                  <a:pt x="497" y="2016"/>
                </a:lnTo>
                <a:lnTo>
                  <a:pt x="497" y="2018"/>
                </a:lnTo>
                <a:lnTo>
                  <a:pt x="498" y="2020"/>
                </a:lnTo>
                <a:lnTo>
                  <a:pt x="502" y="2020"/>
                </a:lnTo>
                <a:lnTo>
                  <a:pt x="502" y="2018"/>
                </a:lnTo>
                <a:lnTo>
                  <a:pt x="503" y="2020"/>
                </a:lnTo>
                <a:lnTo>
                  <a:pt x="502" y="2018"/>
                </a:lnTo>
                <a:lnTo>
                  <a:pt x="500" y="2020"/>
                </a:lnTo>
                <a:lnTo>
                  <a:pt x="498" y="2018"/>
                </a:lnTo>
                <a:lnTo>
                  <a:pt x="498" y="2016"/>
                </a:lnTo>
                <a:lnTo>
                  <a:pt x="497" y="2015"/>
                </a:lnTo>
                <a:lnTo>
                  <a:pt x="493" y="2015"/>
                </a:lnTo>
                <a:lnTo>
                  <a:pt x="493" y="2013"/>
                </a:lnTo>
                <a:lnTo>
                  <a:pt x="493" y="2011"/>
                </a:lnTo>
                <a:lnTo>
                  <a:pt x="497" y="2009"/>
                </a:lnTo>
                <a:lnTo>
                  <a:pt x="495" y="2009"/>
                </a:lnTo>
                <a:lnTo>
                  <a:pt x="497" y="2008"/>
                </a:lnTo>
                <a:lnTo>
                  <a:pt x="498" y="2008"/>
                </a:lnTo>
                <a:lnTo>
                  <a:pt x="500" y="2006"/>
                </a:lnTo>
                <a:lnTo>
                  <a:pt x="502" y="2009"/>
                </a:lnTo>
                <a:lnTo>
                  <a:pt x="503" y="2011"/>
                </a:lnTo>
                <a:lnTo>
                  <a:pt x="505" y="2011"/>
                </a:lnTo>
                <a:lnTo>
                  <a:pt x="503" y="2009"/>
                </a:lnTo>
                <a:lnTo>
                  <a:pt x="502" y="2008"/>
                </a:lnTo>
                <a:lnTo>
                  <a:pt x="502" y="2006"/>
                </a:lnTo>
                <a:lnTo>
                  <a:pt x="503" y="2004"/>
                </a:lnTo>
                <a:lnTo>
                  <a:pt x="505" y="2004"/>
                </a:lnTo>
                <a:lnTo>
                  <a:pt x="503" y="2004"/>
                </a:lnTo>
                <a:lnTo>
                  <a:pt x="502" y="2006"/>
                </a:lnTo>
                <a:lnTo>
                  <a:pt x="500" y="2006"/>
                </a:lnTo>
                <a:lnTo>
                  <a:pt x="498" y="2006"/>
                </a:lnTo>
                <a:lnTo>
                  <a:pt x="497" y="2004"/>
                </a:lnTo>
                <a:lnTo>
                  <a:pt x="495" y="2004"/>
                </a:lnTo>
                <a:lnTo>
                  <a:pt x="493" y="2004"/>
                </a:lnTo>
                <a:lnTo>
                  <a:pt x="495" y="2003"/>
                </a:lnTo>
                <a:lnTo>
                  <a:pt x="497" y="2003"/>
                </a:lnTo>
                <a:lnTo>
                  <a:pt x="497" y="2001"/>
                </a:lnTo>
                <a:lnTo>
                  <a:pt x="498" y="2001"/>
                </a:lnTo>
                <a:lnTo>
                  <a:pt x="497" y="2001"/>
                </a:lnTo>
                <a:lnTo>
                  <a:pt x="500" y="2001"/>
                </a:lnTo>
                <a:lnTo>
                  <a:pt x="502" y="2001"/>
                </a:lnTo>
                <a:lnTo>
                  <a:pt x="503" y="1999"/>
                </a:lnTo>
                <a:lnTo>
                  <a:pt x="505" y="1999"/>
                </a:lnTo>
                <a:lnTo>
                  <a:pt x="507" y="1997"/>
                </a:lnTo>
                <a:lnTo>
                  <a:pt x="505" y="1997"/>
                </a:lnTo>
                <a:lnTo>
                  <a:pt x="503" y="1999"/>
                </a:lnTo>
                <a:lnTo>
                  <a:pt x="502" y="2001"/>
                </a:lnTo>
                <a:lnTo>
                  <a:pt x="500" y="2001"/>
                </a:lnTo>
                <a:lnTo>
                  <a:pt x="500" y="1999"/>
                </a:lnTo>
                <a:lnTo>
                  <a:pt x="498" y="1999"/>
                </a:lnTo>
                <a:lnTo>
                  <a:pt x="500" y="1997"/>
                </a:lnTo>
                <a:lnTo>
                  <a:pt x="500" y="1996"/>
                </a:lnTo>
                <a:lnTo>
                  <a:pt x="498" y="1997"/>
                </a:lnTo>
                <a:lnTo>
                  <a:pt x="497" y="1997"/>
                </a:lnTo>
                <a:lnTo>
                  <a:pt x="495" y="1999"/>
                </a:lnTo>
                <a:lnTo>
                  <a:pt x="492" y="1999"/>
                </a:lnTo>
                <a:lnTo>
                  <a:pt x="492" y="1997"/>
                </a:lnTo>
                <a:lnTo>
                  <a:pt x="492" y="1996"/>
                </a:lnTo>
                <a:lnTo>
                  <a:pt x="492" y="1994"/>
                </a:lnTo>
                <a:lnTo>
                  <a:pt x="493" y="1992"/>
                </a:lnTo>
                <a:lnTo>
                  <a:pt x="492" y="1992"/>
                </a:lnTo>
                <a:lnTo>
                  <a:pt x="492" y="1991"/>
                </a:lnTo>
                <a:lnTo>
                  <a:pt x="492" y="1987"/>
                </a:lnTo>
                <a:lnTo>
                  <a:pt x="493" y="1987"/>
                </a:lnTo>
                <a:lnTo>
                  <a:pt x="493" y="1986"/>
                </a:lnTo>
                <a:lnTo>
                  <a:pt x="493" y="1984"/>
                </a:lnTo>
                <a:lnTo>
                  <a:pt x="495" y="1982"/>
                </a:lnTo>
                <a:lnTo>
                  <a:pt x="497" y="1986"/>
                </a:lnTo>
                <a:lnTo>
                  <a:pt x="498" y="1987"/>
                </a:lnTo>
                <a:lnTo>
                  <a:pt x="498" y="1986"/>
                </a:lnTo>
                <a:lnTo>
                  <a:pt x="498" y="1987"/>
                </a:lnTo>
                <a:lnTo>
                  <a:pt x="500" y="1989"/>
                </a:lnTo>
                <a:lnTo>
                  <a:pt x="500" y="1987"/>
                </a:lnTo>
                <a:lnTo>
                  <a:pt x="502" y="1989"/>
                </a:lnTo>
                <a:lnTo>
                  <a:pt x="502" y="1987"/>
                </a:lnTo>
                <a:lnTo>
                  <a:pt x="505" y="1989"/>
                </a:lnTo>
                <a:lnTo>
                  <a:pt x="505" y="1987"/>
                </a:lnTo>
                <a:lnTo>
                  <a:pt x="503" y="1987"/>
                </a:lnTo>
                <a:lnTo>
                  <a:pt x="500" y="1987"/>
                </a:lnTo>
                <a:lnTo>
                  <a:pt x="498" y="1986"/>
                </a:lnTo>
                <a:lnTo>
                  <a:pt x="500" y="1984"/>
                </a:lnTo>
                <a:lnTo>
                  <a:pt x="498" y="1984"/>
                </a:lnTo>
                <a:lnTo>
                  <a:pt x="498" y="1980"/>
                </a:lnTo>
                <a:lnTo>
                  <a:pt x="495" y="1979"/>
                </a:lnTo>
                <a:lnTo>
                  <a:pt x="497" y="1977"/>
                </a:lnTo>
                <a:lnTo>
                  <a:pt x="498" y="1977"/>
                </a:lnTo>
                <a:lnTo>
                  <a:pt x="498" y="1975"/>
                </a:lnTo>
                <a:lnTo>
                  <a:pt x="500" y="1975"/>
                </a:lnTo>
                <a:lnTo>
                  <a:pt x="502" y="1977"/>
                </a:lnTo>
                <a:lnTo>
                  <a:pt x="502" y="1975"/>
                </a:lnTo>
                <a:lnTo>
                  <a:pt x="502" y="1974"/>
                </a:lnTo>
                <a:lnTo>
                  <a:pt x="500" y="1974"/>
                </a:lnTo>
                <a:lnTo>
                  <a:pt x="498" y="1972"/>
                </a:lnTo>
                <a:lnTo>
                  <a:pt x="498" y="1969"/>
                </a:lnTo>
                <a:lnTo>
                  <a:pt x="498" y="1967"/>
                </a:lnTo>
                <a:lnTo>
                  <a:pt x="498" y="1963"/>
                </a:lnTo>
                <a:lnTo>
                  <a:pt x="502" y="1963"/>
                </a:lnTo>
                <a:lnTo>
                  <a:pt x="503" y="1965"/>
                </a:lnTo>
                <a:lnTo>
                  <a:pt x="503" y="1967"/>
                </a:lnTo>
                <a:lnTo>
                  <a:pt x="503" y="1969"/>
                </a:lnTo>
                <a:lnTo>
                  <a:pt x="505" y="1972"/>
                </a:lnTo>
                <a:lnTo>
                  <a:pt x="505" y="1970"/>
                </a:lnTo>
                <a:lnTo>
                  <a:pt x="507" y="1970"/>
                </a:lnTo>
                <a:lnTo>
                  <a:pt x="507" y="1967"/>
                </a:lnTo>
                <a:lnTo>
                  <a:pt x="505" y="1965"/>
                </a:lnTo>
                <a:lnTo>
                  <a:pt x="505" y="1963"/>
                </a:lnTo>
                <a:lnTo>
                  <a:pt x="507" y="1962"/>
                </a:lnTo>
                <a:lnTo>
                  <a:pt x="509" y="1962"/>
                </a:lnTo>
                <a:lnTo>
                  <a:pt x="510" y="1962"/>
                </a:lnTo>
                <a:lnTo>
                  <a:pt x="509" y="1965"/>
                </a:lnTo>
                <a:lnTo>
                  <a:pt x="512" y="1967"/>
                </a:lnTo>
                <a:lnTo>
                  <a:pt x="514" y="1967"/>
                </a:lnTo>
                <a:lnTo>
                  <a:pt x="514" y="1963"/>
                </a:lnTo>
                <a:lnTo>
                  <a:pt x="515" y="1965"/>
                </a:lnTo>
                <a:lnTo>
                  <a:pt x="517" y="1967"/>
                </a:lnTo>
                <a:lnTo>
                  <a:pt x="519" y="1969"/>
                </a:lnTo>
                <a:lnTo>
                  <a:pt x="520" y="1970"/>
                </a:lnTo>
                <a:lnTo>
                  <a:pt x="520" y="1969"/>
                </a:lnTo>
                <a:lnTo>
                  <a:pt x="517" y="1967"/>
                </a:lnTo>
                <a:lnTo>
                  <a:pt x="517" y="1965"/>
                </a:lnTo>
                <a:lnTo>
                  <a:pt x="515" y="1963"/>
                </a:lnTo>
                <a:lnTo>
                  <a:pt x="515" y="1962"/>
                </a:lnTo>
                <a:lnTo>
                  <a:pt x="517" y="1962"/>
                </a:lnTo>
                <a:lnTo>
                  <a:pt x="517" y="1963"/>
                </a:lnTo>
                <a:lnTo>
                  <a:pt x="519" y="1965"/>
                </a:lnTo>
                <a:lnTo>
                  <a:pt x="520" y="1965"/>
                </a:lnTo>
                <a:lnTo>
                  <a:pt x="522" y="1965"/>
                </a:lnTo>
                <a:lnTo>
                  <a:pt x="522" y="1967"/>
                </a:lnTo>
                <a:lnTo>
                  <a:pt x="524" y="1969"/>
                </a:lnTo>
                <a:lnTo>
                  <a:pt x="526" y="1970"/>
                </a:lnTo>
                <a:lnTo>
                  <a:pt x="526" y="1972"/>
                </a:lnTo>
                <a:lnTo>
                  <a:pt x="526" y="1974"/>
                </a:lnTo>
                <a:lnTo>
                  <a:pt x="526" y="1972"/>
                </a:lnTo>
                <a:lnTo>
                  <a:pt x="526" y="1970"/>
                </a:lnTo>
                <a:lnTo>
                  <a:pt x="526" y="1969"/>
                </a:lnTo>
                <a:lnTo>
                  <a:pt x="524" y="1967"/>
                </a:lnTo>
                <a:lnTo>
                  <a:pt x="522" y="1965"/>
                </a:lnTo>
                <a:lnTo>
                  <a:pt x="524" y="1963"/>
                </a:lnTo>
                <a:lnTo>
                  <a:pt x="524" y="1962"/>
                </a:lnTo>
                <a:lnTo>
                  <a:pt x="524" y="1963"/>
                </a:lnTo>
                <a:lnTo>
                  <a:pt x="524" y="1962"/>
                </a:lnTo>
                <a:lnTo>
                  <a:pt x="522" y="1962"/>
                </a:lnTo>
                <a:lnTo>
                  <a:pt x="519" y="1960"/>
                </a:lnTo>
                <a:lnTo>
                  <a:pt x="519" y="1958"/>
                </a:lnTo>
                <a:lnTo>
                  <a:pt x="519" y="1957"/>
                </a:lnTo>
                <a:lnTo>
                  <a:pt x="515" y="1955"/>
                </a:lnTo>
                <a:lnTo>
                  <a:pt x="517" y="1953"/>
                </a:lnTo>
                <a:lnTo>
                  <a:pt x="515" y="1952"/>
                </a:lnTo>
                <a:lnTo>
                  <a:pt x="517" y="1950"/>
                </a:lnTo>
                <a:lnTo>
                  <a:pt x="519" y="1952"/>
                </a:lnTo>
                <a:lnTo>
                  <a:pt x="519" y="1955"/>
                </a:lnTo>
                <a:lnTo>
                  <a:pt x="520" y="1953"/>
                </a:lnTo>
                <a:lnTo>
                  <a:pt x="520" y="1955"/>
                </a:lnTo>
                <a:lnTo>
                  <a:pt x="522" y="1952"/>
                </a:lnTo>
                <a:lnTo>
                  <a:pt x="522" y="1950"/>
                </a:lnTo>
                <a:lnTo>
                  <a:pt x="524" y="1950"/>
                </a:lnTo>
                <a:lnTo>
                  <a:pt x="522" y="1950"/>
                </a:lnTo>
                <a:lnTo>
                  <a:pt x="524" y="1950"/>
                </a:lnTo>
                <a:lnTo>
                  <a:pt x="522" y="1948"/>
                </a:lnTo>
                <a:lnTo>
                  <a:pt x="524" y="1948"/>
                </a:lnTo>
                <a:lnTo>
                  <a:pt x="522" y="1948"/>
                </a:lnTo>
                <a:lnTo>
                  <a:pt x="522" y="1946"/>
                </a:lnTo>
                <a:lnTo>
                  <a:pt x="520" y="1943"/>
                </a:lnTo>
                <a:lnTo>
                  <a:pt x="520" y="1941"/>
                </a:lnTo>
                <a:lnTo>
                  <a:pt x="520" y="1940"/>
                </a:lnTo>
                <a:lnTo>
                  <a:pt x="522" y="1941"/>
                </a:lnTo>
                <a:lnTo>
                  <a:pt x="522" y="1943"/>
                </a:lnTo>
                <a:lnTo>
                  <a:pt x="526" y="1941"/>
                </a:lnTo>
                <a:lnTo>
                  <a:pt x="526" y="1943"/>
                </a:lnTo>
                <a:lnTo>
                  <a:pt x="527" y="1941"/>
                </a:lnTo>
                <a:lnTo>
                  <a:pt x="529" y="1943"/>
                </a:lnTo>
                <a:lnTo>
                  <a:pt x="529" y="1941"/>
                </a:lnTo>
                <a:lnTo>
                  <a:pt x="531" y="1943"/>
                </a:lnTo>
                <a:lnTo>
                  <a:pt x="531" y="1941"/>
                </a:lnTo>
                <a:lnTo>
                  <a:pt x="532" y="1943"/>
                </a:lnTo>
                <a:lnTo>
                  <a:pt x="534" y="1943"/>
                </a:lnTo>
                <a:lnTo>
                  <a:pt x="534" y="1945"/>
                </a:lnTo>
                <a:lnTo>
                  <a:pt x="536" y="1946"/>
                </a:lnTo>
                <a:lnTo>
                  <a:pt x="536" y="1945"/>
                </a:lnTo>
                <a:lnTo>
                  <a:pt x="534" y="1943"/>
                </a:lnTo>
                <a:lnTo>
                  <a:pt x="537" y="1943"/>
                </a:lnTo>
                <a:lnTo>
                  <a:pt x="536" y="1943"/>
                </a:lnTo>
                <a:lnTo>
                  <a:pt x="534" y="1943"/>
                </a:lnTo>
                <a:lnTo>
                  <a:pt x="532" y="1941"/>
                </a:lnTo>
                <a:lnTo>
                  <a:pt x="531" y="1940"/>
                </a:lnTo>
                <a:lnTo>
                  <a:pt x="531" y="1938"/>
                </a:lnTo>
                <a:lnTo>
                  <a:pt x="529" y="1938"/>
                </a:lnTo>
                <a:lnTo>
                  <a:pt x="529" y="1936"/>
                </a:lnTo>
                <a:lnTo>
                  <a:pt x="531" y="1936"/>
                </a:lnTo>
                <a:lnTo>
                  <a:pt x="531" y="1935"/>
                </a:lnTo>
                <a:lnTo>
                  <a:pt x="531" y="1933"/>
                </a:lnTo>
                <a:lnTo>
                  <a:pt x="532" y="1931"/>
                </a:lnTo>
                <a:lnTo>
                  <a:pt x="534" y="1933"/>
                </a:lnTo>
                <a:lnTo>
                  <a:pt x="536" y="1935"/>
                </a:lnTo>
                <a:lnTo>
                  <a:pt x="534" y="1935"/>
                </a:lnTo>
                <a:lnTo>
                  <a:pt x="536" y="1935"/>
                </a:lnTo>
                <a:lnTo>
                  <a:pt x="534" y="1933"/>
                </a:lnTo>
                <a:lnTo>
                  <a:pt x="536" y="1933"/>
                </a:lnTo>
                <a:lnTo>
                  <a:pt x="534" y="1931"/>
                </a:lnTo>
                <a:lnTo>
                  <a:pt x="534" y="1933"/>
                </a:lnTo>
                <a:lnTo>
                  <a:pt x="532" y="1931"/>
                </a:lnTo>
                <a:lnTo>
                  <a:pt x="534" y="1931"/>
                </a:lnTo>
                <a:lnTo>
                  <a:pt x="532" y="1931"/>
                </a:lnTo>
                <a:lnTo>
                  <a:pt x="534" y="1929"/>
                </a:lnTo>
                <a:lnTo>
                  <a:pt x="536" y="1929"/>
                </a:lnTo>
                <a:lnTo>
                  <a:pt x="537" y="1931"/>
                </a:lnTo>
                <a:lnTo>
                  <a:pt x="537" y="1929"/>
                </a:lnTo>
                <a:lnTo>
                  <a:pt x="534" y="1929"/>
                </a:lnTo>
                <a:lnTo>
                  <a:pt x="536" y="1929"/>
                </a:lnTo>
                <a:lnTo>
                  <a:pt x="534" y="1926"/>
                </a:lnTo>
                <a:lnTo>
                  <a:pt x="534" y="1924"/>
                </a:lnTo>
                <a:lnTo>
                  <a:pt x="537" y="1923"/>
                </a:lnTo>
                <a:lnTo>
                  <a:pt x="539" y="1921"/>
                </a:lnTo>
                <a:lnTo>
                  <a:pt x="539" y="1918"/>
                </a:lnTo>
                <a:lnTo>
                  <a:pt x="543" y="1919"/>
                </a:lnTo>
                <a:lnTo>
                  <a:pt x="544" y="1919"/>
                </a:lnTo>
                <a:lnTo>
                  <a:pt x="546" y="1921"/>
                </a:lnTo>
                <a:lnTo>
                  <a:pt x="546" y="1924"/>
                </a:lnTo>
                <a:lnTo>
                  <a:pt x="544" y="1926"/>
                </a:lnTo>
                <a:lnTo>
                  <a:pt x="546" y="1926"/>
                </a:lnTo>
                <a:lnTo>
                  <a:pt x="544" y="1928"/>
                </a:lnTo>
                <a:lnTo>
                  <a:pt x="548" y="1924"/>
                </a:lnTo>
                <a:lnTo>
                  <a:pt x="546" y="1924"/>
                </a:lnTo>
                <a:lnTo>
                  <a:pt x="548" y="1923"/>
                </a:lnTo>
                <a:lnTo>
                  <a:pt x="548" y="1921"/>
                </a:lnTo>
                <a:lnTo>
                  <a:pt x="549" y="1924"/>
                </a:lnTo>
                <a:lnTo>
                  <a:pt x="551" y="1926"/>
                </a:lnTo>
                <a:lnTo>
                  <a:pt x="551" y="1928"/>
                </a:lnTo>
                <a:lnTo>
                  <a:pt x="548" y="1929"/>
                </a:lnTo>
                <a:lnTo>
                  <a:pt x="546" y="1931"/>
                </a:lnTo>
                <a:lnTo>
                  <a:pt x="546" y="1933"/>
                </a:lnTo>
                <a:lnTo>
                  <a:pt x="549" y="1931"/>
                </a:lnTo>
                <a:lnTo>
                  <a:pt x="551" y="1928"/>
                </a:lnTo>
                <a:lnTo>
                  <a:pt x="553" y="1928"/>
                </a:lnTo>
                <a:lnTo>
                  <a:pt x="554" y="1924"/>
                </a:lnTo>
                <a:lnTo>
                  <a:pt x="556" y="1924"/>
                </a:lnTo>
                <a:lnTo>
                  <a:pt x="558" y="1926"/>
                </a:lnTo>
                <a:lnTo>
                  <a:pt x="558" y="1928"/>
                </a:lnTo>
                <a:lnTo>
                  <a:pt x="560" y="1928"/>
                </a:lnTo>
                <a:lnTo>
                  <a:pt x="560" y="1929"/>
                </a:lnTo>
                <a:lnTo>
                  <a:pt x="558" y="1931"/>
                </a:lnTo>
                <a:lnTo>
                  <a:pt x="556" y="1933"/>
                </a:lnTo>
                <a:lnTo>
                  <a:pt x="556" y="1935"/>
                </a:lnTo>
                <a:lnTo>
                  <a:pt x="558" y="1933"/>
                </a:lnTo>
                <a:lnTo>
                  <a:pt x="558" y="1931"/>
                </a:lnTo>
                <a:lnTo>
                  <a:pt x="561" y="1931"/>
                </a:lnTo>
                <a:lnTo>
                  <a:pt x="561" y="1929"/>
                </a:lnTo>
                <a:lnTo>
                  <a:pt x="565" y="1929"/>
                </a:lnTo>
                <a:lnTo>
                  <a:pt x="565" y="1931"/>
                </a:lnTo>
                <a:lnTo>
                  <a:pt x="566" y="1931"/>
                </a:lnTo>
                <a:lnTo>
                  <a:pt x="566" y="1929"/>
                </a:lnTo>
                <a:lnTo>
                  <a:pt x="568" y="1929"/>
                </a:lnTo>
                <a:lnTo>
                  <a:pt x="570" y="1928"/>
                </a:lnTo>
                <a:lnTo>
                  <a:pt x="571" y="1929"/>
                </a:lnTo>
                <a:lnTo>
                  <a:pt x="573" y="1928"/>
                </a:lnTo>
                <a:lnTo>
                  <a:pt x="575" y="1926"/>
                </a:lnTo>
                <a:lnTo>
                  <a:pt x="575" y="1929"/>
                </a:lnTo>
                <a:lnTo>
                  <a:pt x="578" y="1929"/>
                </a:lnTo>
                <a:lnTo>
                  <a:pt x="578" y="1931"/>
                </a:lnTo>
                <a:lnTo>
                  <a:pt x="578" y="1929"/>
                </a:lnTo>
                <a:lnTo>
                  <a:pt x="580" y="1931"/>
                </a:lnTo>
                <a:lnTo>
                  <a:pt x="582" y="1929"/>
                </a:lnTo>
                <a:lnTo>
                  <a:pt x="583" y="1931"/>
                </a:lnTo>
                <a:lnTo>
                  <a:pt x="585" y="1929"/>
                </a:lnTo>
                <a:lnTo>
                  <a:pt x="587" y="1929"/>
                </a:lnTo>
                <a:lnTo>
                  <a:pt x="588" y="1928"/>
                </a:lnTo>
                <a:lnTo>
                  <a:pt x="590" y="1929"/>
                </a:lnTo>
                <a:lnTo>
                  <a:pt x="592" y="1928"/>
                </a:lnTo>
                <a:lnTo>
                  <a:pt x="592" y="1931"/>
                </a:lnTo>
                <a:lnTo>
                  <a:pt x="595" y="1929"/>
                </a:lnTo>
                <a:lnTo>
                  <a:pt x="595" y="1931"/>
                </a:lnTo>
                <a:lnTo>
                  <a:pt x="599" y="1931"/>
                </a:lnTo>
                <a:lnTo>
                  <a:pt x="599" y="1929"/>
                </a:lnTo>
                <a:lnTo>
                  <a:pt x="597" y="1928"/>
                </a:lnTo>
                <a:lnTo>
                  <a:pt x="599" y="1926"/>
                </a:lnTo>
                <a:close/>
                <a:moveTo>
                  <a:pt x="493" y="1916"/>
                </a:moveTo>
                <a:lnTo>
                  <a:pt x="495" y="1918"/>
                </a:lnTo>
                <a:lnTo>
                  <a:pt x="495" y="1919"/>
                </a:lnTo>
                <a:lnTo>
                  <a:pt x="495" y="1921"/>
                </a:lnTo>
                <a:lnTo>
                  <a:pt x="495" y="1923"/>
                </a:lnTo>
                <a:lnTo>
                  <a:pt x="493" y="1926"/>
                </a:lnTo>
                <a:lnTo>
                  <a:pt x="493" y="1928"/>
                </a:lnTo>
                <a:lnTo>
                  <a:pt x="490" y="1929"/>
                </a:lnTo>
                <a:lnTo>
                  <a:pt x="490" y="1931"/>
                </a:lnTo>
                <a:lnTo>
                  <a:pt x="488" y="1933"/>
                </a:lnTo>
                <a:lnTo>
                  <a:pt x="486" y="1933"/>
                </a:lnTo>
                <a:lnTo>
                  <a:pt x="486" y="1935"/>
                </a:lnTo>
                <a:lnTo>
                  <a:pt x="485" y="1935"/>
                </a:lnTo>
                <a:lnTo>
                  <a:pt x="486" y="1935"/>
                </a:lnTo>
                <a:lnTo>
                  <a:pt x="488" y="1936"/>
                </a:lnTo>
                <a:lnTo>
                  <a:pt x="490" y="1936"/>
                </a:lnTo>
                <a:lnTo>
                  <a:pt x="492" y="1935"/>
                </a:lnTo>
                <a:lnTo>
                  <a:pt x="493" y="1933"/>
                </a:lnTo>
                <a:lnTo>
                  <a:pt x="493" y="1935"/>
                </a:lnTo>
                <a:lnTo>
                  <a:pt x="493" y="1936"/>
                </a:lnTo>
                <a:lnTo>
                  <a:pt x="490" y="1938"/>
                </a:lnTo>
                <a:lnTo>
                  <a:pt x="488" y="1938"/>
                </a:lnTo>
                <a:lnTo>
                  <a:pt x="488" y="1936"/>
                </a:lnTo>
                <a:lnTo>
                  <a:pt x="485" y="1938"/>
                </a:lnTo>
                <a:lnTo>
                  <a:pt x="485" y="1935"/>
                </a:lnTo>
                <a:lnTo>
                  <a:pt x="483" y="1936"/>
                </a:lnTo>
                <a:lnTo>
                  <a:pt x="485" y="1936"/>
                </a:lnTo>
                <a:lnTo>
                  <a:pt x="483" y="1938"/>
                </a:lnTo>
                <a:lnTo>
                  <a:pt x="483" y="1940"/>
                </a:lnTo>
                <a:lnTo>
                  <a:pt x="481" y="1940"/>
                </a:lnTo>
                <a:lnTo>
                  <a:pt x="483" y="1940"/>
                </a:lnTo>
                <a:lnTo>
                  <a:pt x="483" y="1941"/>
                </a:lnTo>
                <a:lnTo>
                  <a:pt x="483" y="1940"/>
                </a:lnTo>
                <a:lnTo>
                  <a:pt x="481" y="1941"/>
                </a:lnTo>
                <a:lnTo>
                  <a:pt x="480" y="1940"/>
                </a:lnTo>
                <a:lnTo>
                  <a:pt x="481" y="1941"/>
                </a:lnTo>
                <a:lnTo>
                  <a:pt x="480" y="1941"/>
                </a:lnTo>
                <a:lnTo>
                  <a:pt x="476" y="1941"/>
                </a:lnTo>
                <a:lnTo>
                  <a:pt x="473" y="1941"/>
                </a:lnTo>
                <a:lnTo>
                  <a:pt x="475" y="1943"/>
                </a:lnTo>
                <a:lnTo>
                  <a:pt x="476" y="1943"/>
                </a:lnTo>
                <a:lnTo>
                  <a:pt x="478" y="1943"/>
                </a:lnTo>
                <a:lnTo>
                  <a:pt x="480" y="1943"/>
                </a:lnTo>
                <a:lnTo>
                  <a:pt x="481" y="1941"/>
                </a:lnTo>
                <a:lnTo>
                  <a:pt x="481" y="1945"/>
                </a:lnTo>
                <a:lnTo>
                  <a:pt x="483" y="1943"/>
                </a:lnTo>
                <a:lnTo>
                  <a:pt x="483" y="1945"/>
                </a:lnTo>
                <a:lnTo>
                  <a:pt x="481" y="1946"/>
                </a:lnTo>
                <a:lnTo>
                  <a:pt x="480" y="1946"/>
                </a:lnTo>
                <a:lnTo>
                  <a:pt x="483" y="1948"/>
                </a:lnTo>
                <a:lnTo>
                  <a:pt x="481" y="1950"/>
                </a:lnTo>
                <a:lnTo>
                  <a:pt x="480" y="1948"/>
                </a:lnTo>
                <a:lnTo>
                  <a:pt x="478" y="1948"/>
                </a:lnTo>
                <a:lnTo>
                  <a:pt x="476" y="1948"/>
                </a:lnTo>
                <a:lnTo>
                  <a:pt x="473" y="1948"/>
                </a:lnTo>
                <a:lnTo>
                  <a:pt x="476" y="1948"/>
                </a:lnTo>
                <a:lnTo>
                  <a:pt x="478" y="1948"/>
                </a:lnTo>
                <a:lnTo>
                  <a:pt x="478" y="1950"/>
                </a:lnTo>
                <a:lnTo>
                  <a:pt x="478" y="1952"/>
                </a:lnTo>
                <a:lnTo>
                  <a:pt x="476" y="1953"/>
                </a:lnTo>
                <a:lnTo>
                  <a:pt x="475" y="1953"/>
                </a:lnTo>
                <a:lnTo>
                  <a:pt x="475" y="1952"/>
                </a:lnTo>
                <a:lnTo>
                  <a:pt x="475" y="1955"/>
                </a:lnTo>
                <a:lnTo>
                  <a:pt x="473" y="1953"/>
                </a:lnTo>
                <a:lnTo>
                  <a:pt x="473" y="1955"/>
                </a:lnTo>
                <a:lnTo>
                  <a:pt x="471" y="1952"/>
                </a:lnTo>
                <a:lnTo>
                  <a:pt x="471" y="1950"/>
                </a:lnTo>
                <a:lnTo>
                  <a:pt x="471" y="1952"/>
                </a:lnTo>
                <a:lnTo>
                  <a:pt x="471" y="1953"/>
                </a:lnTo>
                <a:lnTo>
                  <a:pt x="469" y="1953"/>
                </a:lnTo>
                <a:lnTo>
                  <a:pt x="469" y="1952"/>
                </a:lnTo>
                <a:lnTo>
                  <a:pt x="469" y="1950"/>
                </a:lnTo>
                <a:lnTo>
                  <a:pt x="468" y="1950"/>
                </a:lnTo>
                <a:lnTo>
                  <a:pt x="468" y="1948"/>
                </a:lnTo>
                <a:lnTo>
                  <a:pt x="469" y="1946"/>
                </a:lnTo>
                <a:lnTo>
                  <a:pt x="471" y="1945"/>
                </a:lnTo>
                <a:lnTo>
                  <a:pt x="471" y="1943"/>
                </a:lnTo>
                <a:lnTo>
                  <a:pt x="475" y="1945"/>
                </a:lnTo>
                <a:lnTo>
                  <a:pt x="473" y="1943"/>
                </a:lnTo>
                <a:lnTo>
                  <a:pt x="471" y="1943"/>
                </a:lnTo>
                <a:lnTo>
                  <a:pt x="471" y="1945"/>
                </a:lnTo>
                <a:lnTo>
                  <a:pt x="469" y="1946"/>
                </a:lnTo>
                <a:lnTo>
                  <a:pt x="468" y="1946"/>
                </a:lnTo>
                <a:lnTo>
                  <a:pt x="468" y="1948"/>
                </a:lnTo>
                <a:lnTo>
                  <a:pt x="468" y="1950"/>
                </a:lnTo>
                <a:lnTo>
                  <a:pt x="466" y="1950"/>
                </a:lnTo>
                <a:lnTo>
                  <a:pt x="468" y="1950"/>
                </a:lnTo>
                <a:lnTo>
                  <a:pt x="469" y="1953"/>
                </a:lnTo>
                <a:lnTo>
                  <a:pt x="468" y="1953"/>
                </a:lnTo>
                <a:lnTo>
                  <a:pt x="469" y="1955"/>
                </a:lnTo>
                <a:lnTo>
                  <a:pt x="468" y="1955"/>
                </a:lnTo>
                <a:lnTo>
                  <a:pt x="464" y="1953"/>
                </a:lnTo>
                <a:lnTo>
                  <a:pt x="464" y="1955"/>
                </a:lnTo>
                <a:lnTo>
                  <a:pt x="463" y="1955"/>
                </a:lnTo>
                <a:lnTo>
                  <a:pt x="464" y="1955"/>
                </a:lnTo>
                <a:lnTo>
                  <a:pt x="466" y="1958"/>
                </a:lnTo>
                <a:lnTo>
                  <a:pt x="464" y="1958"/>
                </a:lnTo>
                <a:lnTo>
                  <a:pt x="463" y="1958"/>
                </a:lnTo>
                <a:lnTo>
                  <a:pt x="463" y="1960"/>
                </a:lnTo>
                <a:lnTo>
                  <a:pt x="461" y="1957"/>
                </a:lnTo>
                <a:lnTo>
                  <a:pt x="461" y="1958"/>
                </a:lnTo>
                <a:lnTo>
                  <a:pt x="461" y="1960"/>
                </a:lnTo>
                <a:lnTo>
                  <a:pt x="461" y="1958"/>
                </a:lnTo>
                <a:lnTo>
                  <a:pt x="461" y="1960"/>
                </a:lnTo>
                <a:lnTo>
                  <a:pt x="459" y="1958"/>
                </a:lnTo>
                <a:lnTo>
                  <a:pt x="459" y="1962"/>
                </a:lnTo>
                <a:lnTo>
                  <a:pt x="458" y="1960"/>
                </a:lnTo>
                <a:lnTo>
                  <a:pt x="458" y="1962"/>
                </a:lnTo>
                <a:lnTo>
                  <a:pt x="456" y="1963"/>
                </a:lnTo>
                <a:lnTo>
                  <a:pt x="454" y="1962"/>
                </a:lnTo>
                <a:lnTo>
                  <a:pt x="454" y="1963"/>
                </a:lnTo>
                <a:lnTo>
                  <a:pt x="454" y="1962"/>
                </a:lnTo>
                <a:lnTo>
                  <a:pt x="454" y="1960"/>
                </a:lnTo>
                <a:lnTo>
                  <a:pt x="452" y="1960"/>
                </a:lnTo>
                <a:lnTo>
                  <a:pt x="452" y="1957"/>
                </a:lnTo>
                <a:lnTo>
                  <a:pt x="451" y="1957"/>
                </a:lnTo>
                <a:lnTo>
                  <a:pt x="451" y="1955"/>
                </a:lnTo>
                <a:lnTo>
                  <a:pt x="452" y="1955"/>
                </a:lnTo>
                <a:lnTo>
                  <a:pt x="452" y="1957"/>
                </a:lnTo>
                <a:lnTo>
                  <a:pt x="454" y="1957"/>
                </a:lnTo>
                <a:lnTo>
                  <a:pt x="456" y="1955"/>
                </a:lnTo>
                <a:lnTo>
                  <a:pt x="456" y="1953"/>
                </a:lnTo>
                <a:lnTo>
                  <a:pt x="458" y="1953"/>
                </a:lnTo>
                <a:lnTo>
                  <a:pt x="458" y="1955"/>
                </a:lnTo>
                <a:lnTo>
                  <a:pt x="459" y="1955"/>
                </a:lnTo>
                <a:lnTo>
                  <a:pt x="458" y="1953"/>
                </a:lnTo>
                <a:lnTo>
                  <a:pt x="459" y="1952"/>
                </a:lnTo>
                <a:lnTo>
                  <a:pt x="461" y="1953"/>
                </a:lnTo>
                <a:lnTo>
                  <a:pt x="464" y="1953"/>
                </a:lnTo>
                <a:lnTo>
                  <a:pt x="463" y="1952"/>
                </a:lnTo>
                <a:lnTo>
                  <a:pt x="463" y="1950"/>
                </a:lnTo>
                <a:lnTo>
                  <a:pt x="461" y="1950"/>
                </a:lnTo>
                <a:lnTo>
                  <a:pt x="461" y="1948"/>
                </a:lnTo>
                <a:lnTo>
                  <a:pt x="461" y="1950"/>
                </a:lnTo>
                <a:lnTo>
                  <a:pt x="459" y="1948"/>
                </a:lnTo>
                <a:lnTo>
                  <a:pt x="458" y="1946"/>
                </a:lnTo>
                <a:lnTo>
                  <a:pt x="458" y="1948"/>
                </a:lnTo>
                <a:lnTo>
                  <a:pt x="456" y="1946"/>
                </a:lnTo>
                <a:lnTo>
                  <a:pt x="454" y="1946"/>
                </a:lnTo>
                <a:lnTo>
                  <a:pt x="456" y="1945"/>
                </a:lnTo>
                <a:lnTo>
                  <a:pt x="454" y="1945"/>
                </a:lnTo>
                <a:lnTo>
                  <a:pt x="456" y="1943"/>
                </a:lnTo>
                <a:lnTo>
                  <a:pt x="458" y="1943"/>
                </a:lnTo>
                <a:lnTo>
                  <a:pt x="459" y="1941"/>
                </a:lnTo>
                <a:lnTo>
                  <a:pt x="461" y="1941"/>
                </a:lnTo>
                <a:lnTo>
                  <a:pt x="463" y="1941"/>
                </a:lnTo>
                <a:lnTo>
                  <a:pt x="459" y="1941"/>
                </a:lnTo>
                <a:lnTo>
                  <a:pt x="458" y="1941"/>
                </a:lnTo>
                <a:lnTo>
                  <a:pt x="459" y="1941"/>
                </a:lnTo>
                <a:lnTo>
                  <a:pt x="458" y="1940"/>
                </a:lnTo>
                <a:lnTo>
                  <a:pt x="459" y="1940"/>
                </a:lnTo>
                <a:lnTo>
                  <a:pt x="459" y="1938"/>
                </a:lnTo>
                <a:lnTo>
                  <a:pt x="458" y="1940"/>
                </a:lnTo>
                <a:lnTo>
                  <a:pt x="456" y="1938"/>
                </a:lnTo>
                <a:lnTo>
                  <a:pt x="456" y="1936"/>
                </a:lnTo>
                <a:lnTo>
                  <a:pt x="456" y="1935"/>
                </a:lnTo>
                <a:lnTo>
                  <a:pt x="458" y="1933"/>
                </a:lnTo>
                <a:lnTo>
                  <a:pt x="458" y="1931"/>
                </a:lnTo>
                <a:lnTo>
                  <a:pt x="459" y="1931"/>
                </a:lnTo>
                <a:lnTo>
                  <a:pt x="459" y="1933"/>
                </a:lnTo>
                <a:lnTo>
                  <a:pt x="461" y="1931"/>
                </a:lnTo>
                <a:lnTo>
                  <a:pt x="459" y="1931"/>
                </a:lnTo>
                <a:lnTo>
                  <a:pt x="461" y="1928"/>
                </a:lnTo>
                <a:lnTo>
                  <a:pt x="463" y="1929"/>
                </a:lnTo>
                <a:lnTo>
                  <a:pt x="464" y="1929"/>
                </a:lnTo>
                <a:lnTo>
                  <a:pt x="464" y="1931"/>
                </a:lnTo>
                <a:lnTo>
                  <a:pt x="463" y="1931"/>
                </a:lnTo>
                <a:lnTo>
                  <a:pt x="464" y="1933"/>
                </a:lnTo>
                <a:lnTo>
                  <a:pt x="466" y="1933"/>
                </a:lnTo>
                <a:lnTo>
                  <a:pt x="466" y="1935"/>
                </a:lnTo>
                <a:lnTo>
                  <a:pt x="466" y="1933"/>
                </a:lnTo>
                <a:lnTo>
                  <a:pt x="468" y="1933"/>
                </a:lnTo>
                <a:lnTo>
                  <a:pt x="469" y="1933"/>
                </a:lnTo>
                <a:lnTo>
                  <a:pt x="471" y="1933"/>
                </a:lnTo>
                <a:lnTo>
                  <a:pt x="471" y="1936"/>
                </a:lnTo>
                <a:lnTo>
                  <a:pt x="471" y="1935"/>
                </a:lnTo>
                <a:lnTo>
                  <a:pt x="469" y="1933"/>
                </a:lnTo>
                <a:lnTo>
                  <a:pt x="471" y="1933"/>
                </a:lnTo>
                <a:lnTo>
                  <a:pt x="471" y="1931"/>
                </a:lnTo>
                <a:lnTo>
                  <a:pt x="469" y="1929"/>
                </a:lnTo>
                <a:lnTo>
                  <a:pt x="469" y="1928"/>
                </a:lnTo>
                <a:lnTo>
                  <a:pt x="471" y="1928"/>
                </a:lnTo>
                <a:lnTo>
                  <a:pt x="469" y="1926"/>
                </a:lnTo>
                <a:lnTo>
                  <a:pt x="471" y="1926"/>
                </a:lnTo>
                <a:lnTo>
                  <a:pt x="473" y="1926"/>
                </a:lnTo>
                <a:lnTo>
                  <a:pt x="473" y="1924"/>
                </a:lnTo>
                <a:lnTo>
                  <a:pt x="475" y="1924"/>
                </a:lnTo>
                <a:lnTo>
                  <a:pt x="476" y="1923"/>
                </a:lnTo>
                <a:lnTo>
                  <a:pt x="476" y="1924"/>
                </a:lnTo>
                <a:lnTo>
                  <a:pt x="480" y="1923"/>
                </a:lnTo>
                <a:lnTo>
                  <a:pt x="481" y="1923"/>
                </a:lnTo>
                <a:lnTo>
                  <a:pt x="481" y="1921"/>
                </a:lnTo>
                <a:lnTo>
                  <a:pt x="483" y="1921"/>
                </a:lnTo>
                <a:lnTo>
                  <a:pt x="485" y="1921"/>
                </a:lnTo>
                <a:lnTo>
                  <a:pt x="486" y="1919"/>
                </a:lnTo>
                <a:lnTo>
                  <a:pt x="488" y="1919"/>
                </a:lnTo>
                <a:lnTo>
                  <a:pt x="490" y="1919"/>
                </a:lnTo>
                <a:lnTo>
                  <a:pt x="490" y="1918"/>
                </a:lnTo>
                <a:lnTo>
                  <a:pt x="492" y="1918"/>
                </a:lnTo>
                <a:lnTo>
                  <a:pt x="493" y="1916"/>
                </a:lnTo>
                <a:close/>
                <a:moveTo>
                  <a:pt x="478" y="1970"/>
                </a:moveTo>
                <a:lnTo>
                  <a:pt x="480" y="1970"/>
                </a:lnTo>
                <a:lnTo>
                  <a:pt x="478" y="1972"/>
                </a:lnTo>
                <a:lnTo>
                  <a:pt x="480" y="1974"/>
                </a:lnTo>
                <a:lnTo>
                  <a:pt x="480" y="1975"/>
                </a:lnTo>
                <a:lnTo>
                  <a:pt x="481" y="1977"/>
                </a:lnTo>
                <a:lnTo>
                  <a:pt x="483" y="1977"/>
                </a:lnTo>
                <a:lnTo>
                  <a:pt x="483" y="1980"/>
                </a:lnTo>
                <a:lnTo>
                  <a:pt x="483" y="1982"/>
                </a:lnTo>
                <a:lnTo>
                  <a:pt x="481" y="1986"/>
                </a:lnTo>
                <a:lnTo>
                  <a:pt x="481" y="1987"/>
                </a:lnTo>
                <a:lnTo>
                  <a:pt x="480" y="1991"/>
                </a:lnTo>
                <a:lnTo>
                  <a:pt x="478" y="1992"/>
                </a:lnTo>
                <a:lnTo>
                  <a:pt x="480" y="1992"/>
                </a:lnTo>
                <a:lnTo>
                  <a:pt x="481" y="1994"/>
                </a:lnTo>
                <a:lnTo>
                  <a:pt x="480" y="1994"/>
                </a:lnTo>
                <a:lnTo>
                  <a:pt x="481" y="1997"/>
                </a:lnTo>
                <a:lnTo>
                  <a:pt x="480" y="1999"/>
                </a:lnTo>
                <a:lnTo>
                  <a:pt x="478" y="1999"/>
                </a:lnTo>
                <a:lnTo>
                  <a:pt x="480" y="1999"/>
                </a:lnTo>
                <a:lnTo>
                  <a:pt x="481" y="1999"/>
                </a:lnTo>
                <a:lnTo>
                  <a:pt x="481" y="2001"/>
                </a:lnTo>
                <a:lnTo>
                  <a:pt x="480" y="2003"/>
                </a:lnTo>
                <a:lnTo>
                  <a:pt x="483" y="2001"/>
                </a:lnTo>
                <a:lnTo>
                  <a:pt x="483" y="2003"/>
                </a:lnTo>
                <a:lnTo>
                  <a:pt x="486" y="2004"/>
                </a:lnTo>
                <a:lnTo>
                  <a:pt x="486" y="2006"/>
                </a:lnTo>
                <a:lnTo>
                  <a:pt x="488" y="2006"/>
                </a:lnTo>
                <a:lnTo>
                  <a:pt x="490" y="2006"/>
                </a:lnTo>
                <a:lnTo>
                  <a:pt x="493" y="2004"/>
                </a:lnTo>
                <a:lnTo>
                  <a:pt x="493" y="2006"/>
                </a:lnTo>
                <a:lnTo>
                  <a:pt x="495" y="2006"/>
                </a:lnTo>
                <a:lnTo>
                  <a:pt x="497" y="2008"/>
                </a:lnTo>
                <a:lnTo>
                  <a:pt x="495" y="2008"/>
                </a:lnTo>
                <a:lnTo>
                  <a:pt x="495" y="2009"/>
                </a:lnTo>
                <a:lnTo>
                  <a:pt x="493" y="2011"/>
                </a:lnTo>
                <a:lnTo>
                  <a:pt x="490" y="2011"/>
                </a:lnTo>
                <a:lnTo>
                  <a:pt x="488" y="2011"/>
                </a:lnTo>
                <a:lnTo>
                  <a:pt x="490" y="2015"/>
                </a:lnTo>
                <a:lnTo>
                  <a:pt x="488" y="2016"/>
                </a:lnTo>
                <a:lnTo>
                  <a:pt x="486" y="2015"/>
                </a:lnTo>
                <a:lnTo>
                  <a:pt x="485" y="2016"/>
                </a:lnTo>
                <a:lnTo>
                  <a:pt x="485" y="2018"/>
                </a:lnTo>
                <a:lnTo>
                  <a:pt x="483" y="2018"/>
                </a:lnTo>
                <a:lnTo>
                  <a:pt x="483" y="2020"/>
                </a:lnTo>
                <a:lnTo>
                  <a:pt x="481" y="2020"/>
                </a:lnTo>
                <a:lnTo>
                  <a:pt x="480" y="2020"/>
                </a:lnTo>
                <a:lnTo>
                  <a:pt x="478" y="2018"/>
                </a:lnTo>
                <a:lnTo>
                  <a:pt x="480" y="2016"/>
                </a:lnTo>
                <a:lnTo>
                  <a:pt x="481" y="2015"/>
                </a:lnTo>
                <a:lnTo>
                  <a:pt x="481" y="2013"/>
                </a:lnTo>
                <a:lnTo>
                  <a:pt x="483" y="2011"/>
                </a:lnTo>
                <a:lnTo>
                  <a:pt x="485" y="2011"/>
                </a:lnTo>
                <a:lnTo>
                  <a:pt x="486" y="2011"/>
                </a:lnTo>
                <a:lnTo>
                  <a:pt x="488" y="2009"/>
                </a:lnTo>
                <a:lnTo>
                  <a:pt x="486" y="2009"/>
                </a:lnTo>
                <a:lnTo>
                  <a:pt x="485" y="2011"/>
                </a:lnTo>
                <a:lnTo>
                  <a:pt x="485" y="2009"/>
                </a:lnTo>
                <a:lnTo>
                  <a:pt x="481" y="2009"/>
                </a:lnTo>
                <a:lnTo>
                  <a:pt x="481" y="2008"/>
                </a:lnTo>
                <a:lnTo>
                  <a:pt x="481" y="2006"/>
                </a:lnTo>
                <a:lnTo>
                  <a:pt x="481" y="2009"/>
                </a:lnTo>
                <a:lnTo>
                  <a:pt x="480" y="2009"/>
                </a:lnTo>
                <a:lnTo>
                  <a:pt x="478" y="2013"/>
                </a:lnTo>
                <a:lnTo>
                  <a:pt x="478" y="2011"/>
                </a:lnTo>
                <a:lnTo>
                  <a:pt x="478" y="2009"/>
                </a:lnTo>
                <a:lnTo>
                  <a:pt x="478" y="2008"/>
                </a:lnTo>
                <a:lnTo>
                  <a:pt x="476" y="2006"/>
                </a:lnTo>
                <a:lnTo>
                  <a:pt x="476" y="2008"/>
                </a:lnTo>
                <a:lnTo>
                  <a:pt x="475" y="2008"/>
                </a:lnTo>
                <a:lnTo>
                  <a:pt x="473" y="2008"/>
                </a:lnTo>
                <a:lnTo>
                  <a:pt x="469" y="2008"/>
                </a:lnTo>
                <a:lnTo>
                  <a:pt x="471" y="2006"/>
                </a:lnTo>
                <a:lnTo>
                  <a:pt x="469" y="2006"/>
                </a:lnTo>
                <a:lnTo>
                  <a:pt x="468" y="2003"/>
                </a:lnTo>
                <a:lnTo>
                  <a:pt x="469" y="2003"/>
                </a:lnTo>
                <a:lnTo>
                  <a:pt x="471" y="2001"/>
                </a:lnTo>
                <a:lnTo>
                  <a:pt x="469" y="2003"/>
                </a:lnTo>
                <a:lnTo>
                  <a:pt x="468" y="2003"/>
                </a:lnTo>
                <a:lnTo>
                  <a:pt x="466" y="1999"/>
                </a:lnTo>
                <a:lnTo>
                  <a:pt x="466" y="1997"/>
                </a:lnTo>
                <a:lnTo>
                  <a:pt x="466" y="1996"/>
                </a:lnTo>
                <a:lnTo>
                  <a:pt x="468" y="1996"/>
                </a:lnTo>
                <a:lnTo>
                  <a:pt x="468" y="1994"/>
                </a:lnTo>
                <a:lnTo>
                  <a:pt x="469" y="1996"/>
                </a:lnTo>
                <a:lnTo>
                  <a:pt x="471" y="1997"/>
                </a:lnTo>
                <a:lnTo>
                  <a:pt x="473" y="1999"/>
                </a:lnTo>
                <a:lnTo>
                  <a:pt x="471" y="1997"/>
                </a:lnTo>
                <a:lnTo>
                  <a:pt x="471" y="1996"/>
                </a:lnTo>
                <a:lnTo>
                  <a:pt x="469" y="1994"/>
                </a:lnTo>
                <a:lnTo>
                  <a:pt x="468" y="1994"/>
                </a:lnTo>
                <a:lnTo>
                  <a:pt x="468" y="1992"/>
                </a:lnTo>
                <a:lnTo>
                  <a:pt x="468" y="1989"/>
                </a:lnTo>
                <a:lnTo>
                  <a:pt x="466" y="1992"/>
                </a:lnTo>
                <a:lnTo>
                  <a:pt x="466" y="1991"/>
                </a:lnTo>
                <a:lnTo>
                  <a:pt x="466" y="1989"/>
                </a:lnTo>
                <a:lnTo>
                  <a:pt x="466" y="1991"/>
                </a:lnTo>
                <a:lnTo>
                  <a:pt x="464" y="1991"/>
                </a:lnTo>
                <a:lnTo>
                  <a:pt x="464" y="1992"/>
                </a:lnTo>
                <a:lnTo>
                  <a:pt x="464" y="1994"/>
                </a:lnTo>
                <a:lnTo>
                  <a:pt x="463" y="1994"/>
                </a:lnTo>
                <a:lnTo>
                  <a:pt x="461" y="1992"/>
                </a:lnTo>
                <a:lnTo>
                  <a:pt x="459" y="1991"/>
                </a:lnTo>
                <a:lnTo>
                  <a:pt x="458" y="1991"/>
                </a:lnTo>
                <a:lnTo>
                  <a:pt x="458" y="1989"/>
                </a:lnTo>
                <a:lnTo>
                  <a:pt x="458" y="1987"/>
                </a:lnTo>
                <a:lnTo>
                  <a:pt x="458" y="1986"/>
                </a:lnTo>
                <a:lnTo>
                  <a:pt x="456" y="1986"/>
                </a:lnTo>
                <a:lnTo>
                  <a:pt x="458" y="1984"/>
                </a:lnTo>
                <a:lnTo>
                  <a:pt x="459" y="1984"/>
                </a:lnTo>
                <a:lnTo>
                  <a:pt x="459" y="1982"/>
                </a:lnTo>
                <a:lnTo>
                  <a:pt x="461" y="1980"/>
                </a:lnTo>
                <a:lnTo>
                  <a:pt x="461" y="1982"/>
                </a:lnTo>
                <a:lnTo>
                  <a:pt x="463" y="1984"/>
                </a:lnTo>
                <a:lnTo>
                  <a:pt x="461" y="1984"/>
                </a:lnTo>
                <a:lnTo>
                  <a:pt x="463" y="1987"/>
                </a:lnTo>
                <a:lnTo>
                  <a:pt x="464" y="1986"/>
                </a:lnTo>
                <a:lnTo>
                  <a:pt x="464" y="1987"/>
                </a:lnTo>
                <a:lnTo>
                  <a:pt x="464" y="1986"/>
                </a:lnTo>
                <a:lnTo>
                  <a:pt x="463" y="1984"/>
                </a:lnTo>
                <a:lnTo>
                  <a:pt x="464" y="1982"/>
                </a:lnTo>
                <a:lnTo>
                  <a:pt x="466" y="1982"/>
                </a:lnTo>
                <a:lnTo>
                  <a:pt x="466" y="1980"/>
                </a:lnTo>
                <a:lnTo>
                  <a:pt x="464" y="1979"/>
                </a:lnTo>
                <a:lnTo>
                  <a:pt x="464" y="1977"/>
                </a:lnTo>
                <a:lnTo>
                  <a:pt x="464" y="1975"/>
                </a:lnTo>
                <a:lnTo>
                  <a:pt x="466" y="1974"/>
                </a:lnTo>
                <a:lnTo>
                  <a:pt x="468" y="1977"/>
                </a:lnTo>
                <a:lnTo>
                  <a:pt x="468" y="1979"/>
                </a:lnTo>
                <a:lnTo>
                  <a:pt x="469" y="1980"/>
                </a:lnTo>
                <a:lnTo>
                  <a:pt x="469" y="1984"/>
                </a:lnTo>
                <a:lnTo>
                  <a:pt x="471" y="1982"/>
                </a:lnTo>
                <a:lnTo>
                  <a:pt x="469" y="1986"/>
                </a:lnTo>
                <a:lnTo>
                  <a:pt x="471" y="1986"/>
                </a:lnTo>
                <a:lnTo>
                  <a:pt x="471" y="1984"/>
                </a:lnTo>
                <a:lnTo>
                  <a:pt x="473" y="1984"/>
                </a:lnTo>
                <a:lnTo>
                  <a:pt x="473" y="1982"/>
                </a:lnTo>
                <a:lnTo>
                  <a:pt x="475" y="1984"/>
                </a:lnTo>
                <a:lnTo>
                  <a:pt x="475" y="1986"/>
                </a:lnTo>
                <a:lnTo>
                  <a:pt x="475" y="1987"/>
                </a:lnTo>
                <a:lnTo>
                  <a:pt x="475" y="1986"/>
                </a:lnTo>
                <a:lnTo>
                  <a:pt x="476" y="1986"/>
                </a:lnTo>
                <a:lnTo>
                  <a:pt x="475" y="1986"/>
                </a:lnTo>
                <a:lnTo>
                  <a:pt x="475" y="1984"/>
                </a:lnTo>
                <a:lnTo>
                  <a:pt x="475" y="1982"/>
                </a:lnTo>
                <a:lnTo>
                  <a:pt x="473" y="1979"/>
                </a:lnTo>
                <a:lnTo>
                  <a:pt x="475" y="1979"/>
                </a:lnTo>
                <a:lnTo>
                  <a:pt x="475" y="1975"/>
                </a:lnTo>
                <a:lnTo>
                  <a:pt x="473" y="1974"/>
                </a:lnTo>
                <a:lnTo>
                  <a:pt x="475" y="1974"/>
                </a:lnTo>
                <a:lnTo>
                  <a:pt x="476" y="1972"/>
                </a:lnTo>
                <a:lnTo>
                  <a:pt x="478" y="1970"/>
                </a:lnTo>
                <a:close/>
                <a:moveTo>
                  <a:pt x="696" y="1802"/>
                </a:moveTo>
                <a:lnTo>
                  <a:pt x="694" y="1805"/>
                </a:lnTo>
                <a:lnTo>
                  <a:pt x="694" y="1807"/>
                </a:lnTo>
                <a:lnTo>
                  <a:pt x="694" y="1809"/>
                </a:lnTo>
                <a:lnTo>
                  <a:pt x="692" y="1809"/>
                </a:lnTo>
                <a:lnTo>
                  <a:pt x="692" y="1810"/>
                </a:lnTo>
                <a:lnTo>
                  <a:pt x="694" y="1810"/>
                </a:lnTo>
                <a:lnTo>
                  <a:pt x="692" y="1810"/>
                </a:lnTo>
                <a:lnTo>
                  <a:pt x="694" y="1812"/>
                </a:lnTo>
                <a:lnTo>
                  <a:pt x="692" y="1814"/>
                </a:lnTo>
                <a:lnTo>
                  <a:pt x="694" y="1812"/>
                </a:lnTo>
                <a:lnTo>
                  <a:pt x="692" y="1815"/>
                </a:lnTo>
                <a:lnTo>
                  <a:pt x="690" y="1817"/>
                </a:lnTo>
                <a:lnTo>
                  <a:pt x="690" y="1819"/>
                </a:lnTo>
                <a:lnTo>
                  <a:pt x="692" y="1819"/>
                </a:lnTo>
                <a:lnTo>
                  <a:pt x="690" y="1817"/>
                </a:lnTo>
                <a:lnTo>
                  <a:pt x="692" y="1817"/>
                </a:lnTo>
                <a:lnTo>
                  <a:pt x="694" y="1815"/>
                </a:lnTo>
                <a:lnTo>
                  <a:pt x="694" y="1814"/>
                </a:lnTo>
                <a:lnTo>
                  <a:pt x="696" y="1814"/>
                </a:lnTo>
                <a:lnTo>
                  <a:pt x="696" y="1812"/>
                </a:lnTo>
                <a:lnTo>
                  <a:pt x="697" y="1815"/>
                </a:lnTo>
                <a:lnTo>
                  <a:pt x="697" y="1817"/>
                </a:lnTo>
                <a:lnTo>
                  <a:pt x="697" y="1819"/>
                </a:lnTo>
                <a:lnTo>
                  <a:pt x="697" y="1817"/>
                </a:lnTo>
                <a:lnTo>
                  <a:pt x="694" y="1819"/>
                </a:lnTo>
                <a:lnTo>
                  <a:pt x="697" y="1819"/>
                </a:lnTo>
                <a:lnTo>
                  <a:pt x="696" y="1819"/>
                </a:lnTo>
                <a:lnTo>
                  <a:pt x="697" y="1819"/>
                </a:lnTo>
                <a:lnTo>
                  <a:pt x="697" y="1821"/>
                </a:lnTo>
                <a:lnTo>
                  <a:pt x="697" y="1819"/>
                </a:lnTo>
                <a:lnTo>
                  <a:pt x="699" y="1821"/>
                </a:lnTo>
                <a:lnTo>
                  <a:pt x="699" y="1819"/>
                </a:lnTo>
                <a:lnTo>
                  <a:pt x="701" y="1817"/>
                </a:lnTo>
                <a:lnTo>
                  <a:pt x="702" y="1817"/>
                </a:lnTo>
                <a:lnTo>
                  <a:pt x="701" y="1819"/>
                </a:lnTo>
                <a:lnTo>
                  <a:pt x="699" y="1821"/>
                </a:lnTo>
                <a:lnTo>
                  <a:pt x="697" y="1821"/>
                </a:lnTo>
                <a:lnTo>
                  <a:pt x="699" y="1822"/>
                </a:lnTo>
                <a:lnTo>
                  <a:pt x="699" y="1821"/>
                </a:lnTo>
                <a:lnTo>
                  <a:pt x="701" y="1821"/>
                </a:lnTo>
                <a:lnTo>
                  <a:pt x="701" y="1824"/>
                </a:lnTo>
                <a:lnTo>
                  <a:pt x="699" y="1824"/>
                </a:lnTo>
                <a:lnTo>
                  <a:pt x="696" y="1822"/>
                </a:lnTo>
                <a:lnTo>
                  <a:pt x="696" y="1826"/>
                </a:lnTo>
                <a:lnTo>
                  <a:pt x="697" y="1824"/>
                </a:lnTo>
                <a:lnTo>
                  <a:pt x="697" y="1826"/>
                </a:lnTo>
                <a:lnTo>
                  <a:pt x="699" y="1826"/>
                </a:lnTo>
                <a:lnTo>
                  <a:pt x="699" y="1827"/>
                </a:lnTo>
                <a:lnTo>
                  <a:pt x="697" y="1827"/>
                </a:lnTo>
                <a:lnTo>
                  <a:pt x="696" y="1827"/>
                </a:lnTo>
                <a:lnTo>
                  <a:pt x="696" y="1829"/>
                </a:lnTo>
                <a:lnTo>
                  <a:pt x="697" y="1829"/>
                </a:lnTo>
                <a:lnTo>
                  <a:pt x="697" y="1831"/>
                </a:lnTo>
                <a:lnTo>
                  <a:pt x="697" y="1829"/>
                </a:lnTo>
                <a:lnTo>
                  <a:pt x="696" y="1831"/>
                </a:lnTo>
                <a:lnTo>
                  <a:pt x="696" y="1829"/>
                </a:lnTo>
                <a:lnTo>
                  <a:pt x="694" y="1829"/>
                </a:lnTo>
                <a:lnTo>
                  <a:pt x="694" y="1831"/>
                </a:lnTo>
                <a:lnTo>
                  <a:pt x="696" y="1831"/>
                </a:lnTo>
                <a:lnTo>
                  <a:pt x="694" y="1834"/>
                </a:lnTo>
                <a:lnTo>
                  <a:pt x="696" y="1832"/>
                </a:lnTo>
                <a:lnTo>
                  <a:pt x="694" y="1834"/>
                </a:lnTo>
                <a:lnTo>
                  <a:pt x="692" y="1836"/>
                </a:lnTo>
                <a:lnTo>
                  <a:pt x="694" y="1834"/>
                </a:lnTo>
                <a:lnTo>
                  <a:pt x="696" y="1834"/>
                </a:lnTo>
                <a:lnTo>
                  <a:pt x="696" y="1836"/>
                </a:lnTo>
                <a:lnTo>
                  <a:pt x="696" y="1838"/>
                </a:lnTo>
                <a:lnTo>
                  <a:pt x="694" y="1839"/>
                </a:lnTo>
                <a:lnTo>
                  <a:pt x="694" y="1838"/>
                </a:lnTo>
                <a:lnTo>
                  <a:pt x="694" y="1839"/>
                </a:lnTo>
                <a:lnTo>
                  <a:pt x="692" y="1838"/>
                </a:lnTo>
                <a:lnTo>
                  <a:pt x="692" y="1839"/>
                </a:lnTo>
                <a:lnTo>
                  <a:pt x="692" y="1841"/>
                </a:lnTo>
                <a:lnTo>
                  <a:pt x="692" y="1844"/>
                </a:lnTo>
                <a:lnTo>
                  <a:pt x="694" y="1844"/>
                </a:lnTo>
                <a:lnTo>
                  <a:pt x="692" y="1844"/>
                </a:lnTo>
                <a:lnTo>
                  <a:pt x="690" y="1844"/>
                </a:lnTo>
                <a:lnTo>
                  <a:pt x="690" y="1846"/>
                </a:lnTo>
                <a:lnTo>
                  <a:pt x="692" y="1848"/>
                </a:lnTo>
                <a:lnTo>
                  <a:pt x="690" y="1850"/>
                </a:lnTo>
                <a:lnTo>
                  <a:pt x="690" y="1848"/>
                </a:lnTo>
                <a:lnTo>
                  <a:pt x="690" y="1850"/>
                </a:lnTo>
                <a:lnTo>
                  <a:pt x="690" y="1848"/>
                </a:lnTo>
                <a:lnTo>
                  <a:pt x="689" y="1848"/>
                </a:lnTo>
                <a:lnTo>
                  <a:pt x="689" y="1850"/>
                </a:lnTo>
                <a:lnTo>
                  <a:pt x="689" y="1851"/>
                </a:lnTo>
                <a:lnTo>
                  <a:pt x="687" y="1853"/>
                </a:lnTo>
                <a:lnTo>
                  <a:pt x="689" y="1855"/>
                </a:lnTo>
                <a:lnTo>
                  <a:pt x="687" y="1855"/>
                </a:lnTo>
                <a:lnTo>
                  <a:pt x="689" y="1856"/>
                </a:lnTo>
                <a:lnTo>
                  <a:pt x="687" y="1858"/>
                </a:lnTo>
                <a:lnTo>
                  <a:pt x="687" y="1856"/>
                </a:lnTo>
                <a:lnTo>
                  <a:pt x="685" y="1856"/>
                </a:lnTo>
                <a:lnTo>
                  <a:pt x="687" y="1855"/>
                </a:lnTo>
                <a:lnTo>
                  <a:pt x="685" y="1855"/>
                </a:lnTo>
                <a:lnTo>
                  <a:pt x="684" y="1855"/>
                </a:lnTo>
                <a:lnTo>
                  <a:pt x="684" y="1853"/>
                </a:lnTo>
                <a:lnTo>
                  <a:pt x="685" y="1853"/>
                </a:lnTo>
                <a:lnTo>
                  <a:pt x="685" y="1851"/>
                </a:lnTo>
                <a:lnTo>
                  <a:pt x="687" y="1851"/>
                </a:lnTo>
                <a:lnTo>
                  <a:pt x="687" y="1850"/>
                </a:lnTo>
                <a:lnTo>
                  <a:pt x="685" y="1850"/>
                </a:lnTo>
                <a:lnTo>
                  <a:pt x="685" y="1848"/>
                </a:lnTo>
                <a:lnTo>
                  <a:pt x="687" y="1850"/>
                </a:lnTo>
                <a:lnTo>
                  <a:pt x="687" y="1846"/>
                </a:lnTo>
                <a:lnTo>
                  <a:pt x="689" y="1844"/>
                </a:lnTo>
                <a:lnTo>
                  <a:pt x="689" y="1843"/>
                </a:lnTo>
                <a:lnTo>
                  <a:pt x="690" y="1841"/>
                </a:lnTo>
                <a:lnTo>
                  <a:pt x="690" y="1838"/>
                </a:lnTo>
                <a:lnTo>
                  <a:pt x="689" y="1838"/>
                </a:lnTo>
                <a:lnTo>
                  <a:pt x="690" y="1838"/>
                </a:lnTo>
                <a:lnTo>
                  <a:pt x="690" y="1836"/>
                </a:lnTo>
                <a:lnTo>
                  <a:pt x="690" y="1834"/>
                </a:lnTo>
                <a:lnTo>
                  <a:pt x="689" y="1836"/>
                </a:lnTo>
                <a:lnTo>
                  <a:pt x="689" y="1834"/>
                </a:lnTo>
                <a:lnTo>
                  <a:pt x="690" y="1832"/>
                </a:lnTo>
                <a:lnTo>
                  <a:pt x="690" y="1829"/>
                </a:lnTo>
                <a:lnTo>
                  <a:pt x="690" y="1831"/>
                </a:lnTo>
                <a:lnTo>
                  <a:pt x="689" y="1832"/>
                </a:lnTo>
                <a:lnTo>
                  <a:pt x="689" y="1831"/>
                </a:lnTo>
                <a:lnTo>
                  <a:pt x="689" y="1829"/>
                </a:lnTo>
                <a:lnTo>
                  <a:pt x="687" y="1829"/>
                </a:lnTo>
                <a:lnTo>
                  <a:pt x="689" y="1831"/>
                </a:lnTo>
                <a:lnTo>
                  <a:pt x="689" y="1832"/>
                </a:lnTo>
                <a:lnTo>
                  <a:pt x="687" y="1832"/>
                </a:lnTo>
                <a:lnTo>
                  <a:pt x="687" y="1831"/>
                </a:lnTo>
                <a:lnTo>
                  <a:pt x="687" y="1834"/>
                </a:lnTo>
                <a:lnTo>
                  <a:pt x="685" y="1834"/>
                </a:lnTo>
                <a:lnTo>
                  <a:pt x="685" y="1832"/>
                </a:lnTo>
                <a:lnTo>
                  <a:pt x="684" y="1836"/>
                </a:lnTo>
                <a:lnTo>
                  <a:pt x="684" y="1834"/>
                </a:lnTo>
                <a:lnTo>
                  <a:pt x="682" y="1834"/>
                </a:lnTo>
                <a:lnTo>
                  <a:pt x="684" y="1832"/>
                </a:lnTo>
                <a:lnTo>
                  <a:pt x="682" y="1832"/>
                </a:lnTo>
                <a:lnTo>
                  <a:pt x="682" y="1831"/>
                </a:lnTo>
                <a:lnTo>
                  <a:pt x="684" y="1832"/>
                </a:lnTo>
                <a:lnTo>
                  <a:pt x="684" y="1831"/>
                </a:lnTo>
                <a:lnTo>
                  <a:pt x="685" y="1831"/>
                </a:lnTo>
                <a:lnTo>
                  <a:pt x="684" y="1831"/>
                </a:lnTo>
                <a:lnTo>
                  <a:pt x="684" y="1829"/>
                </a:lnTo>
                <a:lnTo>
                  <a:pt x="682" y="1832"/>
                </a:lnTo>
                <a:lnTo>
                  <a:pt x="682" y="1829"/>
                </a:lnTo>
                <a:lnTo>
                  <a:pt x="679" y="1831"/>
                </a:lnTo>
                <a:lnTo>
                  <a:pt x="679" y="1829"/>
                </a:lnTo>
                <a:lnTo>
                  <a:pt x="677" y="1829"/>
                </a:lnTo>
                <a:lnTo>
                  <a:pt x="677" y="1827"/>
                </a:lnTo>
                <a:lnTo>
                  <a:pt x="679" y="1826"/>
                </a:lnTo>
                <a:lnTo>
                  <a:pt x="677" y="1826"/>
                </a:lnTo>
                <a:lnTo>
                  <a:pt x="679" y="1824"/>
                </a:lnTo>
                <a:lnTo>
                  <a:pt x="680" y="1824"/>
                </a:lnTo>
                <a:lnTo>
                  <a:pt x="682" y="1826"/>
                </a:lnTo>
                <a:lnTo>
                  <a:pt x="682" y="1824"/>
                </a:lnTo>
                <a:lnTo>
                  <a:pt x="684" y="1826"/>
                </a:lnTo>
                <a:lnTo>
                  <a:pt x="684" y="1824"/>
                </a:lnTo>
                <a:lnTo>
                  <a:pt x="685" y="1824"/>
                </a:lnTo>
                <a:lnTo>
                  <a:pt x="685" y="1826"/>
                </a:lnTo>
                <a:lnTo>
                  <a:pt x="685" y="1827"/>
                </a:lnTo>
                <a:lnTo>
                  <a:pt x="685" y="1826"/>
                </a:lnTo>
                <a:lnTo>
                  <a:pt x="685" y="1824"/>
                </a:lnTo>
                <a:lnTo>
                  <a:pt x="687" y="1826"/>
                </a:lnTo>
                <a:lnTo>
                  <a:pt x="685" y="1824"/>
                </a:lnTo>
                <a:lnTo>
                  <a:pt x="687" y="1824"/>
                </a:lnTo>
                <a:lnTo>
                  <a:pt x="689" y="1824"/>
                </a:lnTo>
                <a:lnTo>
                  <a:pt x="689" y="1827"/>
                </a:lnTo>
                <a:lnTo>
                  <a:pt x="690" y="1826"/>
                </a:lnTo>
                <a:lnTo>
                  <a:pt x="689" y="1824"/>
                </a:lnTo>
                <a:lnTo>
                  <a:pt x="690" y="1822"/>
                </a:lnTo>
                <a:lnTo>
                  <a:pt x="690" y="1824"/>
                </a:lnTo>
                <a:lnTo>
                  <a:pt x="690" y="1822"/>
                </a:lnTo>
                <a:lnTo>
                  <a:pt x="694" y="1822"/>
                </a:lnTo>
                <a:lnTo>
                  <a:pt x="692" y="1821"/>
                </a:lnTo>
                <a:lnTo>
                  <a:pt x="690" y="1821"/>
                </a:lnTo>
                <a:lnTo>
                  <a:pt x="690" y="1819"/>
                </a:lnTo>
                <a:lnTo>
                  <a:pt x="690" y="1821"/>
                </a:lnTo>
                <a:lnTo>
                  <a:pt x="689" y="1819"/>
                </a:lnTo>
                <a:lnTo>
                  <a:pt x="689" y="1817"/>
                </a:lnTo>
                <a:lnTo>
                  <a:pt x="687" y="1817"/>
                </a:lnTo>
                <a:lnTo>
                  <a:pt x="689" y="1815"/>
                </a:lnTo>
                <a:lnTo>
                  <a:pt x="687" y="1814"/>
                </a:lnTo>
                <a:lnTo>
                  <a:pt x="689" y="1814"/>
                </a:lnTo>
                <a:lnTo>
                  <a:pt x="687" y="1814"/>
                </a:lnTo>
                <a:lnTo>
                  <a:pt x="689" y="1812"/>
                </a:lnTo>
                <a:lnTo>
                  <a:pt x="687" y="1814"/>
                </a:lnTo>
                <a:lnTo>
                  <a:pt x="685" y="1814"/>
                </a:lnTo>
                <a:lnTo>
                  <a:pt x="687" y="1812"/>
                </a:lnTo>
                <a:lnTo>
                  <a:pt x="685" y="1812"/>
                </a:lnTo>
                <a:lnTo>
                  <a:pt x="682" y="1812"/>
                </a:lnTo>
                <a:lnTo>
                  <a:pt x="684" y="1810"/>
                </a:lnTo>
                <a:lnTo>
                  <a:pt x="685" y="1810"/>
                </a:lnTo>
                <a:lnTo>
                  <a:pt x="685" y="1809"/>
                </a:lnTo>
                <a:lnTo>
                  <a:pt x="687" y="1807"/>
                </a:lnTo>
                <a:lnTo>
                  <a:pt x="687" y="1809"/>
                </a:lnTo>
                <a:lnTo>
                  <a:pt x="689" y="1810"/>
                </a:lnTo>
                <a:lnTo>
                  <a:pt x="690" y="1810"/>
                </a:lnTo>
                <a:lnTo>
                  <a:pt x="689" y="1810"/>
                </a:lnTo>
                <a:lnTo>
                  <a:pt x="687" y="1807"/>
                </a:lnTo>
                <a:lnTo>
                  <a:pt x="690" y="1807"/>
                </a:lnTo>
                <a:lnTo>
                  <a:pt x="690" y="1804"/>
                </a:lnTo>
                <a:lnTo>
                  <a:pt x="692" y="1804"/>
                </a:lnTo>
                <a:lnTo>
                  <a:pt x="694" y="1804"/>
                </a:lnTo>
                <a:lnTo>
                  <a:pt x="694" y="1805"/>
                </a:lnTo>
                <a:lnTo>
                  <a:pt x="694" y="1804"/>
                </a:lnTo>
                <a:lnTo>
                  <a:pt x="696" y="1802"/>
                </a:lnTo>
                <a:close/>
                <a:moveTo>
                  <a:pt x="469" y="2043"/>
                </a:moveTo>
                <a:lnTo>
                  <a:pt x="471" y="2045"/>
                </a:lnTo>
                <a:lnTo>
                  <a:pt x="471" y="2047"/>
                </a:lnTo>
                <a:lnTo>
                  <a:pt x="471" y="2049"/>
                </a:lnTo>
                <a:lnTo>
                  <a:pt x="473" y="2050"/>
                </a:lnTo>
                <a:lnTo>
                  <a:pt x="473" y="2052"/>
                </a:lnTo>
                <a:lnTo>
                  <a:pt x="473" y="2054"/>
                </a:lnTo>
                <a:lnTo>
                  <a:pt x="473" y="2055"/>
                </a:lnTo>
                <a:lnTo>
                  <a:pt x="475" y="2054"/>
                </a:lnTo>
                <a:lnTo>
                  <a:pt x="475" y="2055"/>
                </a:lnTo>
                <a:lnTo>
                  <a:pt x="476" y="2055"/>
                </a:lnTo>
                <a:lnTo>
                  <a:pt x="478" y="2057"/>
                </a:lnTo>
                <a:lnTo>
                  <a:pt x="480" y="2057"/>
                </a:lnTo>
                <a:lnTo>
                  <a:pt x="480" y="2059"/>
                </a:lnTo>
                <a:lnTo>
                  <a:pt x="481" y="2059"/>
                </a:lnTo>
                <a:lnTo>
                  <a:pt x="483" y="2062"/>
                </a:lnTo>
                <a:lnTo>
                  <a:pt x="485" y="2062"/>
                </a:lnTo>
                <a:lnTo>
                  <a:pt x="483" y="2064"/>
                </a:lnTo>
                <a:lnTo>
                  <a:pt x="483" y="2062"/>
                </a:lnTo>
                <a:lnTo>
                  <a:pt x="483" y="2064"/>
                </a:lnTo>
                <a:lnTo>
                  <a:pt x="481" y="2066"/>
                </a:lnTo>
                <a:lnTo>
                  <a:pt x="480" y="2066"/>
                </a:lnTo>
                <a:lnTo>
                  <a:pt x="481" y="2064"/>
                </a:lnTo>
                <a:lnTo>
                  <a:pt x="480" y="2064"/>
                </a:lnTo>
                <a:lnTo>
                  <a:pt x="480" y="2066"/>
                </a:lnTo>
                <a:lnTo>
                  <a:pt x="478" y="2067"/>
                </a:lnTo>
                <a:lnTo>
                  <a:pt x="481" y="2066"/>
                </a:lnTo>
                <a:lnTo>
                  <a:pt x="481" y="2067"/>
                </a:lnTo>
                <a:lnTo>
                  <a:pt x="478" y="2069"/>
                </a:lnTo>
                <a:lnTo>
                  <a:pt x="476" y="2069"/>
                </a:lnTo>
                <a:lnTo>
                  <a:pt x="475" y="2069"/>
                </a:lnTo>
                <a:lnTo>
                  <a:pt x="475" y="2071"/>
                </a:lnTo>
                <a:lnTo>
                  <a:pt x="473" y="2069"/>
                </a:lnTo>
                <a:lnTo>
                  <a:pt x="475" y="2067"/>
                </a:lnTo>
                <a:lnTo>
                  <a:pt x="473" y="2067"/>
                </a:lnTo>
                <a:lnTo>
                  <a:pt x="471" y="2069"/>
                </a:lnTo>
                <a:lnTo>
                  <a:pt x="469" y="2067"/>
                </a:lnTo>
                <a:lnTo>
                  <a:pt x="466" y="2069"/>
                </a:lnTo>
                <a:lnTo>
                  <a:pt x="463" y="2069"/>
                </a:lnTo>
                <a:lnTo>
                  <a:pt x="461" y="2069"/>
                </a:lnTo>
                <a:lnTo>
                  <a:pt x="459" y="2067"/>
                </a:lnTo>
                <a:lnTo>
                  <a:pt x="458" y="2069"/>
                </a:lnTo>
                <a:lnTo>
                  <a:pt x="456" y="2069"/>
                </a:lnTo>
                <a:lnTo>
                  <a:pt x="456" y="2067"/>
                </a:lnTo>
                <a:lnTo>
                  <a:pt x="454" y="2067"/>
                </a:lnTo>
                <a:lnTo>
                  <a:pt x="456" y="2066"/>
                </a:lnTo>
                <a:lnTo>
                  <a:pt x="454" y="2066"/>
                </a:lnTo>
                <a:lnTo>
                  <a:pt x="456" y="2064"/>
                </a:lnTo>
                <a:lnTo>
                  <a:pt x="458" y="2064"/>
                </a:lnTo>
                <a:lnTo>
                  <a:pt x="459" y="2064"/>
                </a:lnTo>
                <a:lnTo>
                  <a:pt x="459" y="2066"/>
                </a:lnTo>
                <a:lnTo>
                  <a:pt x="458" y="2066"/>
                </a:lnTo>
                <a:lnTo>
                  <a:pt x="459" y="2066"/>
                </a:lnTo>
                <a:lnTo>
                  <a:pt x="459" y="2064"/>
                </a:lnTo>
                <a:lnTo>
                  <a:pt x="461" y="2064"/>
                </a:lnTo>
                <a:lnTo>
                  <a:pt x="461" y="2066"/>
                </a:lnTo>
                <a:lnTo>
                  <a:pt x="463" y="2066"/>
                </a:lnTo>
                <a:lnTo>
                  <a:pt x="464" y="2066"/>
                </a:lnTo>
                <a:lnTo>
                  <a:pt x="466" y="2066"/>
                </a:lnTo>
                <a:lnTo>
                  <a:pt x="469" y="2064"/>
                </a:lnTo>
                <a:lnTo>
                  <a:pt x="471" y="2064"/>
                </a:lnTo>
                <a:lnTo>
                  <a:pt x="469" y="2064"/>
                </a:lnTo>
                <a:lnTo>
                  <a:pt x="469" y="2062"/>
                </a:lnTo>
                <a:lnTo>
                  <a:pt x="468" y="2062"/>
                </a:lnTo>
                <a:lnTo>
                  <a:pt x="468" y="2064"/>
                </a:lnTo>
                <a:lnTo>
                  <a:pt x="468" y="2062"/>
                </a:lnTo>
                <a:lnTo>
                  <a:pt x="466" y="2064"/>
                </a:lnTo>
                <a:lnTo>
                  <a:pt x="464" y="2064"/>
                </a:lnTo>
                <a:lnTo>
                  <a:pt x="463" y="2064"/>
                </a:lnTo>
                <a:lnTo>
                  <a:pt x="463" y="2062"/>
                </a:lnTo>
                <a:lnTo>
                  <a:pt x="464" y="2060"/>
                </a:lnTo>
                <a:lnTo>
                  <a:pt x="466" y="2059"/>
                </a:lnTo>
                <a:lnTo>
                  <a:pt x="469" y="2059"/>
                </a:lnTo>
                <a:lnTo>
                  <a:pt x="471" y="2057"/>
                </a:lnTo>
                <a:lnTo>
                  <a:pt x="471" y="2055"/>
                </a:lnTo>
                <a:lnTo>
                  <a:pt x="469" y="2055"/>
                </a:lnTo>
                <a:lnTo>
                  <a:pt x="468" y="2055"/>
                </a:lnTo>
                <a:lnTo>
                  <a:pt x="466" y="2057"/>
                </a:lnTo>
                <a:lnTo>
                  <a:pt x="466" y="2055"/>
                </a:lnTo>
                <a:lnTo>
                  <a:pt x="466" y="2054"/>
                </a:lnTo>
                <a:lnTo>
                  <a:pt x="464" y="2054"/>
                </a:lnTo>
                <a:lnTo>
                  <a:pt x="463" y="2052"/>
                </a:lnTo>
                <a:lnTo>
                  <a:pt x="461" y="2052"/>
                </a:lnTo>
                <a:lnTo>
                  <a:pt x="459" y="2050"/>
                </a:lnTo>
                <a:lnTo>
                  <a:pt x="459" y="2049"/>
                </a:lnTo>
                <a:lnTo>
                  <a:pt x="461" y="2049"/>
                </a:lnTo>
                <a:lnTo>
                  <a:pt x="463" y="2049"/>
                </a:lnTo>
                <a:lnTo>
                  <a:pt x="461" y="2047"/>
                </a:lnTo>
                <a:lnTo>
                  <a:pt x="461" y="2045"/>
                </a:lnTo>
                <a:lnTo>
                  <a:pt x="464" y="2045"/>
                </a:lnTo>
                <a:lnTo>
                  <a:pt x="464" y="2047"/>
                </a:lnTo>
                <a:lnTo>
                  <a:pt x="464" y="2049"/>
                </a:lnTo>
                <a:lnTo>
                  <a:pt x="466" y="2049"/>
                </a:lnTo>
                <a:lnTo>
                  <a:pt x="464" y="2047"/>
                </a:lnTo>
                <a:lnTo>
                  <a:pt x="464" y="2045"/>
                </a:lnTo>
                <a:lnTo>
                  <a:pt x="466" y="2045"/>
                </a:lnTo>
                <a:lnTo>
                  <a:pt x="466" y="2043"/>
                </a:lnTo>
                <a:lnTo>
                  <a:pt x="469" y="2043"/>
                </a:lnTo>
                <a:close/>
                <a:moveTo>
                  <a:pt x="488" y="2278"/>
                </a:moveTo>
                <a:lnTo>
                  <a:pt x="492" y="2280"/>
                </a:lnTo>
                <a:lnTo>
                  <a:pt x="493" y="2282"/>
                </a:lnTo>
                <a:lnTo>
                  <a:pt x="493" y="2283"/>
                </a:lnTo>
                <a:lnTo>
                  <a:pt x="493" y="2285"/>
                </a:lnTo>
                <a:lnTo>
                  <a:pt x="493" y="2283"/>
                </a:lnTo>
                <a:lnTo>
                  <a:pt x="495" y="2285"/>
                </a:lnTo>
                <a:lnTo>
                  <a:pt x="495" y="2287"/>
                </a:lnTo>
                <a:lnTo>
                  <a:pt x="495" y="2288"/>
                </a:lnTo>
                <a:lnTo>
                  <a:pt x="495" y="2290"/>
                </a:lnTo>
                <a:lnTo>
                  <a:pt x="498" y="2290"/>
                </a:lnTo>
                <a:lnTo>
                  <a:pt x="500" y="2288"/>
                </a:lnTo>
                <a:lnTo>
                  <a:pt x="502" y="2290"/>
                </a:lnTo>
                <a:lnTo>
                  <a:pt x="500" y="2292"/>
                </a:lnTo>
                <a:lnTo>
                  <a:pt x="498" y="2293"/>
                </a:lnTo>
                <a:lnTo>
                  <a:pt x="497" y="2295"/>
                </a:lnTo>
                <a:lnTo>
                  <a:pt x="495" y="2295"/>
                </a:lnTo>
                <a:lnTo>
                  <a:pt x="493" y="2297"/>
                </a:lnTo>
                <a:lnTo>
                  <a:pt x="492" y="2297"/>
                </a:lnTo>
                <a:lnTo>
                  <a:pt x="490" y="2299"/>
                </a:lnTo>
                <a:lnTo>
                  <a:pt x="488" y="2299"/>
                </a:lnTo>
                <a:lnTo>
                  <a:pt x="488" y="2300"/>
                </a:lnTo>
                <a:lnTo>
                  <a:pt x="486" y="2300"/>
                </a:lnTo>
                <a:lnTo>
                  <a:pt x="485" y="2299"/>
                </a:lnTo>
                <a:lnTo>
                  <a:pt x="485" y="2297"/>
                </a:lnTo>
                <a:lnTo>
                  <a:pt x="486" y="2297"/>
                </a:lnTo>
                <a:lnTo>
                  <a:pt x="486" y="2295"/>
                </a:lnTo>
                <a:lnTo>
                  <a:pt x="485" y="2297"/>
                </a:lnTo>
                <a:lnTo>
                  <a:pt x="483" y="2297"/>
                </a:lnTo>
                <a:lnTo>
                  <a:pt x="483" y="2295"/>
                </a:lnTo>
                <a:lnTo>
                  <a:pt x="481" y="2295"/>
                </a:lnTo>
                <a:lnTo>
                  <a:pt x="481" y="2293"/>
                </a:lnTo>
                <a:lnTo>
                  <a:pt x="481" y="2292"/>
                </a:lnTo>
                <a:lnTo>
                  <a:pt x="480" y="2290"/>
                </a:lnTo>
                <a:lnTo>
                  <a:pt x="481" y="2288"/>
                </a:lnTo>
                <a:lnTo>
                  <a:pt x="480" y="2288"/>
                </a:lnTo>
                <a:lnTo>
                  <a:pt x="480" y="2287"/>
                </a:lnTo>
                <a:lnTo>
                  <a:pt x="480" y="2288"/>
                </a:lnTo>
                <a:lnTo>
                  <a:pt x="480" y="2290"/>
                </a:lnTo>
                <a:lnTo>
                  <a:pt x="478" y="2290"/>
                </a:lnTo>
                <a:lnTo>
                  <a:pt x="478" y="2288"/>
                </a:lnTo>
                <a:lnTo>
                  <a:pt x="476" y="2287"/>
                </a:lnTo>
                <a:lnTo>
                  <a:pt x="476" y="2285"/>
                </a:lnTo>
                <a:lnTo>
                  <a:pt x="475" y="2285"/>
                </a:lnTo>
                <a:lnTo>
                  <a:pt x="476" y="2283"/>
                </a:lnTo>
                <a:lnTo>
                  <a:pt x="478" y="2285"/>
                </a:lnTo>
                <a:lnTo>
                  <a:pt x="480" y="2287"/>
                </a:lnTo>
                <a:lnTo>
                  <a:pt x="481" y="2285"/>
                </a:lnTo>
                <a:lnTo>
                  <a:pt x="480" y="2285"/>
                </a:lnTo>
                <a:lnTo>
                  <a:pt x="481" y="2283"/>
                </a:lnTo>
                <a:lnTo>
                  <a:pt x="481" y="2282"/>
                </a:lnTo>
                <a:lnTo>
                  <a:pt x="481" y="2280"/>
                </a:lnTo>
                <a:lnTo>
                  <a:pt x="485" y="2280"/>
                </a:lnTo>
                <a:lnTo>
                  <a:pt x="486" y="2278"/>
                </a:lnTo>
                <a:lnTo>
                  <a:pt x="486" y="2280"/>
                </a:lnTo>
                <a:lnTo>
                  <a:pt x="488" y="2278"/>
                </a:lnTo>
                <a:close/>
                <a:moveTo>
                  <a:pt x="612" y="1894"/>
                </a:moveTo>
                <a:lnTo>
                  <a:pt x="612" y="1895"/>
                </a:lnTo>
                <a:lnTo>
                  <a:pt x="614" y="1897"/>
                </a:lnTo>
                <a:lnTo>
                  <a:pt x="616" y="1897"/>
                </a:lnTo>
                <a:lnTo>
                  <a:pt x="616" y="1899"/>
                </a:lnTo>
                <a:lnTo>
                  <a:pt x="617" y="1901"/>
                </a:lnTo>
                <a:lnTo>
                  <a:pt x="617" y="1904"/>
                </a:lnTo>
                <a:lnTo>
                  <a:pt x="616" y="1902"/>
                </a:lnTo>
                <a:lnTo>
                  <a:pt x="614" y="1904"/>
                </a:lnTo>
                <a:lnTo>
                  <a:pt x="612" y="1906"/>
                </a:lnTo>
                <a:lnTo>
                  <a:pt x="614" y="1906"/>
                </a:lnTo>
                <a:lnTo>
                  <a:pt x="616" y="1906"/>
                </a:lnTo>
                <a:lnTo>
                  <a:pt x="617" y="1907"/>
                </a:lnTo>
                <a:lnTo>
                  <a:pt x="619" y="1906"/>
                </a:lnTo>
                <a:lnTo>
                  <a:pt x="621" y="1906"/>
                </a:lnTo>
                <a:lnTo>
                  <a:pt x="619" y="1907"/>
                </a:lnTo>
                <a:lnTo>
                  <a:pt x="621" y="1907"/>
                </a:lnTo>
                <a:lnTo>
                  <a:pt x="619" y="1907"/>
                </a:lnTo>
                <a:lnTo>
                  <a:pt x="619" y="1909"/>
                </a:lnTo>
                <a:lnTo>
                  <a:pt x="621" y="1909"/>
                </a:lnTo>
                <a:lnTo>
                  <a:pt x="621" y="1907"/>
                </a:lnTo>
                <a:lnTo>
                  <a:pt x="624" y="1907"/>
                </a:lnTo>
                <a:lnTo>
                  <a:pt x="624" y="1911"/>
                </a:lnTo>
                <a:lnTo>
                  <a:pt x="621" y="1911"/>
                </a:lnTo>
                <a:lnTo>
                  <a:pt x="622" y="1912"/>
                </a:lnTo>
                <a:lnTo>
                  <a:pt x="621" y="1912"/>
                </a:lnTo>
                <a:lnTo>
                  <a:pt x="622" y="1912"/>
                </a:lnTo>
                <a:lnTo>
                  <a:pt x="622" y="1914"/>
                </a:lnTo>
                <a:lnTo>
                  <a:pt x="622" y="1911"/>
                </a:lnTo>
                <a:lnTo>
                  <a:pt x="624" y="1911"/>
                </a:lnTo>
                <a:lnTo>
                  <a:pt x="626" y="1911"/>
                </a:lnTo>
                <a:lnTo>
                  <a:pt x="626" y="1912"/>
                </a:lnTo>
                <a:lnTo>
                  <a:pt x="626" y="1914"/>
                </a:lnTo>
                <a:lnTo>
                  <a:pt x="622" y="1914"/>
                </a:lnTo>
                <a:lnTo>
                  <a:pt x="621" y="1916"/>
                </a:lnTo>
                <a:lnTo>
                  <a:pt x="619" y="1914"/>
                </a:lnTo>
                <a:lnTo>
                  <a:pt x="617" y="1916"/>
                </a:lnTo>
                <a:lnTo>
                  <a:pt x="619" y="1916"/>
                </a:lnTo>
                <a:lnTo>
                  <a:pt x="619" y="1918"/>
                </a:lnTo>
                <a:lnTo>
                  <a:pt x="617" y="1918"/>
                </a:lnTo>
                <a:lnTo>
                  <a:pt x="619" y="1919"/>
                </a:lnTo>
                <a:lnTo>
                  <a:pt x="616" y="1921"/>
                </a:lnTo>
                <a:lnTo>
                  <a:pt x="616" y="1923"/>
                </a:lnTo>
                <a:lnTo>
                  <a:pt x="617" y="1924"/>
                </a:lnTo>
                <a:lnTo>
                  <a:pt x="616" y="1924"/>
                </a:lnTo>
                <a:lnTo>
                  <a:pt x="614" y="1924"/>
                </a:lnTo>
                <a:lnTo>
                  <a:pt x="614" y="1923"/>
                </a:lnTo>
                <a:lnTo>
                  <a:pt x="614" y="1921"/>
                </a:lnTo>
                <a:lnTo>
                  <a:pt x="614" y="1919"/>
                </a:lnTo>
                <a:lnTo>
                  <a:pt x="616" y="1919"/>
                </a:lnTo>
                <a:lnTo>
                  <a:pt x="612" y="1919"/>
                </a:lnTo>
                <a:lnTo>
                  <a:pt x="614" y="1918"/>
                </a:lnTo>
                <a:lnTo>
                  <a:pt x="616" y="1918"/>
                </a:lnTo>
                <a:lnTo>
                  <a:pt x="616" y="1919"/>
                </a:lnTo>
                <a:lnTo>
                  <a:pt x="617" y="1918"/>
                </a:lnTo>
                <a:lnTo>
                  <a:pt x="616" y="1918"/>
                </a:lnTo>
                <a:lnTo>
                  <a:pt x="617" y="1918"/>
                </a:lnTo>
                <a:lnTo>
                  <a:pt x="617" y="1916"/>
                </a:lnTo>
                <a:lnTo>
                  <a:pt x="619" y="1914"/>
                </a:lnTo>
                <a:lnTo>
                  <a:pt x="617" y="1914"/>
                </a:lnTo>
                <a:lnTo>
                  <a:pt x="617" y="1911"/>
                </a:lnTo>
                <a:lnTo>
                  <a:pt x="617" y="1909"/>
                </a:lnTo>
                <a:lnTo>
                  <a:pt x="614" y="1911"/>
                </a:lnTo>
                <a:lnTo>
                  <a:pt x="612" y="1909"/>
                </a:lnTo>
                <a:lnTo>
                  <a:pt x="612" y="1911"/>
                </a:lnTo>
                <a:lnTo>
                  <a:pt x="611" y="1911"/>
                </a:lnTo>
                <a:lnTo>
                  <a:pt x="609" y="1911"/>
                </a:lnTo>
                <a:lnTo>
                  <a:pt x="607" y="1909"/>
                </a:lnTo>
                <a:lnTo>
                  <a:pt x="607" y="1907"/>
                </a:lnTo>
                <a:lnTo>
                  <a:pt x="607" y="1906"/>
                </a:lnTo>
                <a:lnTo>
                  <a:pt x="605" y="1907"/>
                </a:lnTo>
                <a:lnTo>
                  <a:pt x="605" y="1906"/>
                </a:lnTo>
                <a:lnTo>
                  <a:pt x="605" y="1907"/>
                </a:lnTo>
                <a:lnTo>
                  <a:pt x="604" y="1906"/>
                </a:lnTo>
                <a:lnTo>
                  <a:pt x="604" y="1904"/>
                </a:lnTo>
                <a:lnTo>
                  <a:pt x="604" y="1902"/>
                </a:lnTo>
                <a:lnTo>
                  <a:pt x="605" y="1901"/>
                </a:lnTo>
                <a:lnTo>
                  <a:pt x="605" y="1899"/>
                </a:lnTo>
                <a:lnTo>
                  <a:pt x="605" y="1897"/>
                </a:lnTo>
                <a:lnTo>
                  <a:pt x="607" y="1895"/>
                </a:lnTo>
                <a:lnTo>
                  <a:pt x="609" y="1895"/>
                </a:lnTo>
                <a:lnTo>
                  <a:pt x="611" y="1894"/>
                </a:lnTo>
                <a:lnTo>
                  <a:pt x="612" y="1894"/>
                </a:lnTo>
                <a:close/>
                <a:moveTo>
                  <a:pt x="458" y="2093"/>
                </a:moveTo>
                <a:lnTo>
                  <a:pt x="458" y="2094"/>
                </a:lnTo>
                <a:lnTo>
                  <a:pt x="458" y="2096"/>
                </a:lnTo>
                <a:lnTo>
                  <a:pt x="458" y="2100"/>
                </a:lnTo>
                <a:lnTo>
                  <a:pt x="458" y="2101"/>
                </a:lnTo>
                <a:lnTo>
                  <a:pt x="458" y="2105"/>
                </a:lnTo>
                <a:lnTo>
                  <a:pt x="458" y="2106"/>
                </a:lnTo>
                <a:lnTo>
                  <a:pt x="458" y="2108"/>
                </a:lnTo>
                <a:lnTo>
                  <a:pt x="458" y="2110"/>
                </a:lnTo>
                <a:lnTo>
                  <a:pt x="458" y="2111"/>
                </a:lnTo>
                <a:lnTo>
                  <a:pt x="456" y="2113"/>
                </a:lnTo>
                <a:lnTo>
                  <a:pt x="452" y="2115"/>
                </a:lnTo>
                <a:lnTo>
                  <a:pt x="452" y="2113"/>
                </a:lnTo>
                <a:lnTo>
                  <a:pt x="451" y="2113"/>
                </a:lnTo>
                <a:lnTo>
                  <a:pt x="449" y="2113"/>
                </a:lnTo>
                <a:lnTo>
                  <a:pt x="447" y="2115"/>
                </a:lnTo>
                <a:lnTo>
                  <a:pt x="446" y="2115"/>
                </a:lnTo>
                <a:lnTo>
                  <a:pt x="444" y="2115"/>
                </a:lnTo>
                <a:lnTo>
                  <a:pt x="446" y="2113"/>
                </a:lnTo>
                <a:lnTo>
                  <a:pt x="447" y="2111"/>
                </a:lnTo>
                <a:lnTo>
                  <a:pt x="449" y="2111"/>
                </a:lnTo>
                <a:lnTo>
                  <a:pt x="449" y="2110"/>
                </a:lnTo>
                <a:lnTo>
                  <a:pt x="447" y="2108"/>
                </a:lnTo>
                <a:lnTo>
                  <a:pt x="447" y="2106"/>
                </a:lnTo>
                <a:lnTo>
                  <a:pt x="446" y="2106"/>
                </a:lnTo>
                <a:lnTo>
                  <a:pt x="447" y="2105"/>
                </a:lnTo>
                <a:lnTo>
                  <a:pt x="449" y="2103"/>
                </a:lnTo>
                <a:lnTo>
                  <a:pt x="451" y="2103"/>
                </a:lnTo>
                <a:lnTo>
                  <a:pt x="449" y="2103"/>
                </a:lnTo>
                <a:lnTo>
                  <a:pt x="447" y="2101"/>
                </a:lnTo>
                <a:lnTo>
                  <a:pt x="446" y="2105"/>
                </a:lnTo>
                <a:lnTo>
                  <a:pt x="444" y="2106"/>
                </a:lnTo>
                <a:lnTo>
                  <a:pt x="441" y="2108"/>
                </a:lnTo>
                <a:lnTo>
                  <a:pt x="439" y="2106"/>
                </a:lnTo>
                <a:lnTo>
                  <a:pt x="441" y="2105"/>
                </a:lnTo>
                <a:lnTo>
                  <a:pt x="441" y="2103"/>
                </a:lnTo>
                <a:lnTo>
                  <a:pt x="442" y="2103"/>
                </a:lnTo>
                <a:lnTo>
                  <a:pt x="442" y="2101"/>
                </a:lnTo>
                <a:lnTo>
                  <a:pt x="442" y="2100"/>
                </a:lnTo>
                <a:lnTo>
                  <a:pt x="444" y="2100"/>
                </a:lnTo>
                <a:lnTo>
                  <a:pt x="444" y="2096"/>
                </a:lnTo>
                <a:lnTo>
                  <a:pt x="447" y="2096"/>
                </a:lnTo>
                <a:lnTo>
                  <a:pt x="447" y="2094"/>
                </a:lnTo>
                <a:lnTo>
                  <a:pt x="449" y="2094"/>
                </a:lnTo>
                <a:lnTo>
                  <a:pt x="449" y="2096"/>
                </a:lnTo>
                <a:lnTo>
                  <a:pt x="447" y="2098"/>
                </a:lnTo>
                <a:lnTo>
                  <a:pt x="449" y="2100"/>
                </a:lnTo>
                <a:lnTo>
                  <a:pt x="449" y="2098"/>
                </a:lnTo>
                <a:lnTo>
                  <a:pt x="451" y="2096"/>
                </a:lnTo>
                <a:lnTo>
                  <a:pt x="449" y="2096"/>
                </a:lnTo>
                <a:lnTo>
                  <a:pt x="451" y="2096"/>
                </a:lnTo>
                <a:lnTo>
                  <a:pt x="452" y="2094"/>
                </a:lnTo>
                <a:lnTo>
                  <a:pt x="456" y="2093"/>
                </a:lnTo>
                <a:lnTo>
                  <a:pt x="458" y="2093"/>
                </a:lnTo>
                <a:close/>
                <a:moveTo>
                  <a:pt x="488" y="2115"/>
                </a:moveTo>
                <a:lnTo>
                  <a:pt x="490" y="2117"/>
                </a:lnTo>
                <a:lnTo>
                  <a:pt x="492" y="2118"/>
                </a:lnTo>
                <a:lnTo>
                  <a:pt x="492" y="2122"/>
                </a:lnTo>
                <a:lnTo>
                  <a:pt x="492" y="2123"/>
                </a:lnTo>
                <a:lnTo>
                  <a:pt x="490" y="2125"/>
                </a:lnTo>
                <a:lnTo>
                  <a:pt x="492" y="2127"/>
                </a:lnTo>
                <a:lnTo>
                  <a:pt x="492" y="2128"/>
                </a:lnTo>
                <a:lnTo>
                  <a:pt x="490" y="2128"/>
                </a:lnTo>
                <a:lnTo>
                  <a:pt x="492" y="2132"/>
                </a:lnTo>
                <a:lnTo>
                  <a:pt x="492" y="2134"/>
                </a:lnTo>
                <a:lnTo>
                  <a:pt x="490" y="2135"/>
                </a:lnTo>
                <a:lnTo>
                  <a:pt x="488" y="2135"/>
                </a:lnTo>
                <a:lnTo>
                  <a:pt x="486" y="2135"/>
                </a:lnTo>
                <a:lnTo>
                  <a:pt x="485" y="2135"/>
                </a:lnTo>
                <a:lnTo>
                  <a:pt x="483" y="2134"/>
                </a:lnTo>
                <a:lnTo>
                  <a:pt x="481" y="2132"/>
                </a:lnTo>
                <a:lnTo>
                  <a:pt x="481" y="2130"/>
                </a:lnTo>
                <a:lnTo>
                  <a:pt x="481" y="2128"/>
                </a:lnTo>
                <a:lnTo>
                  <a:pt x="481" y="2127"/>
                </a:lnTo>
                <a:lnTo>
                  <a:pt x="483" y="2125"/>
                </a:lnTo>
                <a:lnTo>
                  <a:pt x="481" y="2123"/>
                </a:lnTo>
                <a:lnTo>
                  <a:pt x="481" y="2122"/>
                </a:lnTo>
                <a:lnTo>
                  <a:pt x="481" y="2120"/>
                </a:lnTo>
                <a:lnTo>
                  <a:pt x="483" y="2117"/>
                </a:lnTo>
                <a:lnTo>
                  <a:pt x="485" y="2115"/>
                </a:lnTo>
                <a:lnTo>
                  <a:pt x="486" y="2117"/>
                </a:lnTo>
                <a:lnTo>
                  <a:pt x="486" y="2115"/>
                </a:lnTo>
                <a:lnTo>
                  <a:pt x="488" y="2115"/>
                </a:lnTo>
                <a:close/>
                <a:moveTo>
                  <a:pt x="478" y="2083"/>
                </a:moveTo>
                <a:lnTo>
                  <a:pt x="478" y="2084"/>
                </a:lnTo>
                <a:lnTo>
                  <a:pt x="476" y="2084"/>
                </a:lnTo>
                <a:lnTo>
                  <a:pt x="476" y="2086"/>
                </a:lnTo>
                <a:lnTo>
                  <a:pt x="475" y="2088"/>
                </a:lnTo>
                <a:lnTo>
                  <a:pt x="475" y="2089"/>
                </a:lnTo>
                <a:lnTo>
                  <a:pt x="473" y="2091"/>
                </a:lnTo>
                <a:lnTo>
                  <a:pt x="471" y="2091"/>
                </a:lnTo>
                <a:lnTo>
                  <a:pt x="469" y="2093"/>
                </a:lnTo>
                <a:lnTo>
                  <a:pt x="469" y="2094"/>
                </a:lnTo>
                <a:lnTo>
                  <a:pt x="468" y="2098"/>
                </a:lnTo>
                <a:lnTo>
                  <a:pt x="466" y="2100"/>
                </a:lnTo>
                <a:lnTo>
                  <a:pt x="466" y="2098"/>
                </a:lnTo>
                <a:lnTo>
                  <a:pt x="466" y="2100"/>
                </a:lnTo>
                <a:lnTo>
                  <a:pt x="464" y="2100"/>
                </a:lnTo>
                <a:lnTo>
                  <a:pt x="463" y="2103"/>
                </a:lnTo>
                <a:lnTo>
                  <a:pt x="463" y="2105"/>
                </a:lnTo>
                <a:lnTo>
                  <a:pt x="459" y="2103"/>
                </a:lnTo>
                <a:lnTo>
                  <a:pt x="458" y="2103"/>
                </a:lnTo>
                <a:lnTo>
                  <a:pt x="458" y="2101"/>
                </a:lnTo>
                <a:lnTo>
                  <a:pt x="458" y="2098"/>
                </a:lnTo>
                <a:lnTo>
                  <a:pt x="459" y="2096"/>
                </a:lnTo>
                <a:lnTo>
                  <a:pt x="461" y="2093"/>
                </a:lnTo>
                <a:lnTo>
                  <a:pt x="463" y="2093"/>
                </a:lnTo>
                <a:lnTo>
                  <a:pt x="464" y="2093"/>
                </a:lnTo>
                <a:lnTo>
                  <a:pt x="466" y="2093"/>
                </a:lnTo>
                <a:lnTo>
                  <a:pt x="463" y="2091"/>
                </a:lnTo>
                <a:lnTo>
                  <a:pt x="464" y="2091"/>
                </a:lnTo>
                <a:lnTo>
                  <a:pt x="466" y="2089"/>
                </a:lnTo>
                <a:lnTo>
                  <a:pt x="466" y="2088"/>
                </a:lnTo>
                <a:lnTo>
                  <a:pt x="468" y="2088"/>
                </a:lnTo>
                <a:lnTo>
                  <a:pt x="469" y="2086"/>
                </a:lnTo>
                <a:lnTo>
                  <a:pt x="471" y="2084"/>
                </a:lnTo>
                <a:lnTo>
                  <a:pt x="471" y="2086"/>
                </a:lnTo>
                <a:lnTo>
                  <a:pt x="473" y="2084"/>
                </a:lnTo>
                <a:lnTo>
                  <a:pt x="476" y="2083"/>
                </a:lnTo>
                <a:lnTo>
                  <a:pt x="478" y="2083"/>
                </a:lnTo>
                <a:close/>
                <a:moveTo>
                  <a:pt x="587" y="2486"/>
                </a:moveTo>
                <a:lnTo>
                  <a:pt x="588" y="2486"/>
                </a:lnTo>
                <a:lnTo>
                  <a:pt x="590" y="2489"/>
                </a:lnTo>
                <a:lnTo>
                  <a:pt x="594" y="2489"/>
                </a:lnTo>
                <a:lnTo>
                  <a:pt x="595" y="2491"/>
                </a:lnTo>
                <a:lnTo>
                  <a:pt x="595" y="2493"/>
                </a:lnTo>
                <a:lnTo>
                  <a:pt x="597" y="2493"/>
                </a:lnTo>
                <a:lnTo>
                  <a:pt x="595" y="2494"/>
                </a:lnTo>
                <a:lnTo>
                  <a:pt x="592" y="2494"/>
                </a:lnTo>
                <a:lnTo>
                  <a:pt x="590" y="2498"/>
                </a:lnTo>
                <a:lnTo>
                  <a:pt x="587" y="2499"/>
                </a:lnTo>
                <a:lnTo>
                  <a:pt x="585" y="2499"/>
                </a:lnTo>
                <a:lnTo>
                  <a:pt x="583" y="2498"/>
                </a:lnTo>
                <a:lnTo>
                  <a:pt x="582" y="2494"/>
                </a:lnTo>
                <a:lnTo>
                  <a:pt x="580" y="2494"/>
                </a:lnTo>
                <a:lnTo>
                  <a:pt x="578" y="2491"/>
                </a:lnTo>
                <a:lnTo>
                  <a:pt x="577" y="2491"/>
                </a:lnTo>
                <a:lnTo>
                  <a:pt x="575" y="2491"/>
                </a:lnTo>
                <a:lnTo>
                  <a:pt x="573" y="2491"/>
                </a:lnTo>
                <a:lnTo>
                  <a:pt x="575" y="2491"/>
                </a:lnTo>
                <a:lnTo>
                  <a:pt x="577" y="2489"/>
                </a:lnTo>
                <a:lnTo>
                  <a:pt x="578" y="2489"/>
                </a:lnTo>
                <a:lnTo>
                  <a:pt x="580" y="2489"/>
                </a:lnTo>
                <a:lnTo>
                  <a:pt x="582" y="2487"/>
                </a:lnTo>
                <a:lnTo>
                  <a:pt x="582" y="2489"/>
                </a:lnTo>
                <a:lnTo>
                  <a:pt x="582" y="2487"/>
                </a:lnTo>
                <a:lnTo>
                  <a:pt x="585" y="2487"/>
                </a:lnTo>
                <a:lnTo>
                  <a:pt x="587" y="2486"/>
                </a:lnTo>
                <a:close/>
                <a:moveTo>
                  <a:pt x="446" y="1963"/>
                </a:moveTo>
                <a:lnTo>
                  <a:pt x="447" y="1965"/>
                </a:lnTo>
                <a:lnTo>
                  <a:pt x="446" y="1967"/>
                </a:lnTo>
                <a:lnTo>
                  <a:pt x="447" y="1967"/>
                </a:lnTo>
                <a:lnTo>
                  <a:pt x="446" y="1967"/>
                </a:lnTo>
                <a:lnTo>
                  <a:pt x="447" y="1967"/>
                </a:lnTo>
                <a:lnTo>
                  <a:pt x="447" y="1969"/>
                </a:lnTo>
                <a:lnTo>
                  <a:pt x="449" y="1967"/>
                </a:lnTo>
                <a:lnTo>
                  <a:pt x="449" y="1969"/>
                </a:lnTo>
                <a:lnTo>
                  <a:pt x="451" y="1969"/>
                </a:lnTo>
                <a:lnTo>
                  <a:pt x="449" y="1970"/>
                </a:lnTo>
                <a:lnTo>
                  <a:pt x="447" y="1969"/>
                </a:lnTo>
                <a:lnTo>
                  <a:pt x="446" y="1967"/>
                </a:lnTo>
                <a:lnTo>
                  <a:pt x="444" y="1967"/>
                </a:lnTo>
                <a:lnTo>
                  <a:pt x="446" y="1969"/>
                </a:lnTo>
                <a:lnTo>
                  <a:pt x="444" y="1969"/>
                </a:lnTo>
                <a:lnTo>
                  <a:pt x="446" y="1969"/>
                </a:lnTo>
                <a:lnTo>
                  <a:pt x="447" y="1970"/>
                </a:lnTo>
                <a:lnTo>
                  <a:pt x="446" y="1970"/>
                </a:lnTo>
                <a:lnTo>
                  <a:pt x="446" y="1972"/>
                </a:lnTo>
                <a:lnTo>
                  <a:pt x="447" y="1972"/>
                </a:lnTo>
                <a:lnTo>
                  <a:pt x="446" y="1974"/>
                </a:lnTo>
                <a:lnTo>
                  <a:pt x="446" y="1977"/>
                </a:lnTo>
                <a:lnTo>
                  <a:pt x="442" y="1975"/>
                </a:lnTo>
                <a:lnTo>
                  <a:pt x="442" y="1977"/>
                </a:lnTo>
                <a:lnTo>
                  <a:pt x="442" y="1975"/>
                </a:lnTo>
                <a:lnTo>
                  <a:pt x="441" y="1975"/>
                </a:lnTo>
                <a:lnTo>
                  <a:pt x="439" y="1974"/>
                </a:lnTo>
                <a:lnTo>
                  <a:pt x="439" y="1975"/>
                </a:lnTo>
                <a:lnTo>
                  <a:pt x="439" y="1972"/>
                </a:lnTo>
                <a:lnTo>
                  <a:pt x="437" y="1975"/>
                </a:lnTo>
                <a:lnTo>
                  <a:pt x="437" y="1974"/>
                </a:lnTo>
                <a:lnTo>
                  <a:pt x="436" y="1972"/>
                </a:lnTo>
                <a:lnTo>
                  <a:pt x="437" y="1972"/>
                </a:lnTo>
                <a:lnTo>
                  <a:pt x="441" y="1972"/>
                </a:lnTo>
                <a:lnTo>
                  <a:pt x="437" y="1972"/>
                </a:lnTo>
                <a:lnTo>
                  <a:pt x="437" y="1969"/>
                </a:lnTo>
                <a:lnTo>
                  <a:pt x="436" y="1969"/>
                </a:lnTo>
                <a:lnTo>
                  <a:pt x="436" y="1970"/>
                </a:lnTo>
                <a:lnTo>
                  <a:pt x="434" y="1970"/>
                </a:lnTo>
                <a:lnTo>
                  <a:pt x="434" y="1969"/>
                </a:lnTo>
                <a:lnTo>
                  <a:pt x="432" y="1967"/>
                </a:lnTo>
                <a:lnTo>
                  <a:pt x="434" y="1967"/>
                </a:lnTo>
                <a:lnTo>
                  <a:pt x="434" y="1965"/>
                </a:lnTo>
                <a:lnTo>
                  <a:pt x="436" y="1963"/>
                </a:lnTo>
                <a:lnTo>
                  <a:pt x="437" y="1963"/>
                </a:lnTo>
                <a:lnTo>
                  <a:pt x="437" y="1965"/>
                </a:lnTo>
                <a:lnTo>
                  <a:pt x="439" y="1967"/>
                </a:lnTo>
                <a:lnTo>
                  <a:pt x="439" y="1965"/>
                </a:lnTo>
                <a:lnTo>
                  <a:pt x="441" y="1963"/>
                </a:lnTo>
                <a:lnTo>
                  <a:pt x="442" y="1963"/>
                </a:lnTo>
                <a:lnTo>
                  <a:pt x="442" y="1965"/>
                </a:lnTo>
                <a:lnTo>
                  <a:pt x="441" y="1965"/>
                </a:lnTo>
                <a:lnTo>
                  <a:pt x="442" y="1967"/>
                </a:lnTo>
                <a:lnTo>
                  <a:pt x="442" y="1965"/>
                </a:lnTo>
                <a:lnTo>
                  <a:pt x="444" y="1965"/>
                </a:lnTo>
                <a:lnTo>
                  <a:pt x="442" y="1965"/>
                </a:lnTo>
                <a:lnTo>
                  <a:pt x="446" y="1963"/>
                </a:lnTo>
                <a:lnTo>
                  <a:pt x="446" y="1965"/>
                </a:lnTo>
                <a:lnTo>
                  <a:pt x="446" y="1963"/>
                </a:lnTo>
                <a:close/>
                <a:moveTo>
                  <a:pt x="436" y="1982"/>
                </a:moveTo>
                <a:lnTo>
                  <a:pt x="437" y="1984"/>
                </a:lnTo>
                <a:lnTo>
                  <a:pt x="439" y="1984"/>
                </a:lnTo>
                <a:lnTo>
                  <a:pt x="437" y="1984"/>
                </a:lnTo>
                <a:lnTo>
                  <a:pt x="439" y="1987"/>
                </a:lnTo>
                <a:lnTo>
                  <a:pt x="437" y="1987"/>
                </a:lnTo>
                <a:lnTo>
                  <a:pt x="439" y="1987"/>
                </a:lnTo>
                <a:lnTo>
                  <a:pt x="437" y="1987"/>
                </a:lnTo>
                <a:lnTo>
                  <a:pt x="437" y="1989"/>
                </a:lnTo>
                <a:lnTo>
                  <a:pt x="439" y="1989"/>
                </a:lnTo>
                <a:lnTo>
                  <a:pt x="439" y="1991"/>
                </a:lnTo>
                <a:lnTo>
                  <a:pt x="441" y="1991"/>
                </a:lnTo>
                <a:lnTo>
                  <a:pt x="439" y="1992"/>
                </a:lnTo>
                <a:lnTo>
                  <a:pt x="437" y="1992"/>
                </a:lnTo>
                <a:lnTo>
                  <a:pt x="436" y="1996"/>
                </a:lnTo>
                <a:lnTo>
                  <a:pt x="434" y="1994"/>
                </a:lnTo>
                <a:lnTo>
                  <a:pt x="436" y="1994"/>
                </a:lnTo>
                <a:lnTo>
                  <a:pt x="434" y="1994"/>
                </a:lnTo>
                <a:lnTo>
                  <a:pt x="432" y="1992"/>
                </a:lnTo>
                <a:lnTo>
                  <a:pt x="432" y="1994"/>
                </a:lnTo>
                <a:lnTo>
                  <a:pt x="434" y="1994"/>
                </a:lnTo>
                <a:lnTo>
                  <a:pt x="434" y="1996"/>
                </a:lnTo>
                <a:lnTo>
                  <a:pt x="436" y="1996"/>
                </a:lnTo>
                <a:lnTo>
                  <a:pt x="436" y="1999"/>
                </a:lnTo>
                <a:lnTo>
                  <a:pt x="434" y="2001"/>
                </a:lnTo>
                <a:lnTo>
                  <a:pt x="432" y="1999"/>
                </a:lnTo>
                <a:lnTo>
                  <a:pt x="434" y="1999"/>
                </a:lnTo>
                <a:lnTo>
                  <a:pt x="432" y="1999"/>
                </a:lnTo>
                <a:lnTo>
                  <a:pt x="432" y="2001"/>
                </a:lnTo>
                <a:lnTo>
                  <a:pt x="434" y="2001"/>
                </a:lnTo>
                <a:lnTo>
                  <a:pt x="436" y="2001"/>
                </a:lnTo>
                <a:lnTo>
                  <a:pt x="436" y="2003"/>
                </a:lnTo>
                <a:lnTo>
                  <a:pt x="436" y="2004"/>
                </a:lnTo>
                <a:lnTo>
                  <a:pt x="432" y="2003"/>
                </a:lnTo>
                <a:lnTo>
                  <a:pt x="430" y="2003"/>
                </a:lnTo>
                <a:lnTo>
                  <a:pt x="429" y="2001"/>
                </a:lnTo>
                <a:lnTo>
                  <a:pt x="429" y="1999"/>
                </a:lnTo>
                <a:lnTo>
                  <a:pt x="430" y="1997"/>
                </a:lnTo>
                <a:lnTo>
                  <a:pt x="429" y="1996"/>
                </a:lnTo>
                <a:lnTo>
                  <a:pt x="430" y="1994"/>
                </a:lnTo>
                <a:lnTo>
                  <a:pt x="429" y="1992"/>
                </a:lnTo>
                <a:lnTo>
                  <a:pt x="430" y="1992"/>
                </a:lnTo>
                <a:lnTo>
                  <a:pt x="432" y="1989"/>
                </a:lnTo>
                <a:lnTo>
                  <a:pt x="434" y="1987"/>
                </a:lnTo>
                <a:lnTo>
                  <a:pt x="434" y="1984"/>
                </a:lnTo>
                <a:lnTo>
                  <a:pt x="432" y="1982"/>
                </a:lnTo>
                <a:lnTo>
                  <a:pt x="434" y="1982"/>
                </a:lnTo>
                <a:lnTo>
                  <a:pt x="436" y="1982"/>
                </a:lnTo>
                <a:close/>
                <a:moveTo>
                  <a:pt x="704" y="1797"/>
                </a:moveTo>
                <a:lnTo>
                  <a:pt x="706" y="1798"/>
                </a:lnTo>
                <a:lnTo>
                  <a:pt x="707" y="1800"/>
                </a:lnTo>
                <a:lnTo>
                  <a:pt x="706" y="1800"/>
                </a:lnTo>
                <a:lnTo>
                  <a:pt x="706" y="1804"/>
                </a:lnTo>
                <a:lnTo>
                  <a:pt x="704" y="1804"/>
                </a:lnTo>
                <a:lnTo>
                  <a:pt x="704" y="1802"/>
                </a:lnTo>
                <a:lnTo>
                  <a:pt x="704" y="1804"/>
                </a:lnTo>
                <a:lnTo>
                  <a:pt x="704" y="1805"/>
                </a:lnTo>
                <a:lnTo>
                  <a:pt x="704" y="1807"/>
                </a:lnTo>
                <a:lnTo>
                  <a:pt x="702" y="1805"/>
                </a:lnTo>
                <a:lnTo>
                  <a:pt x="704" y="1807"/>
                </a:lnTo>
                <a:lnTo>
                  <a:pt x="704" y="1809"/>
                </a:lnTo>
                <a:lnTo>
                  <a:pt x="704" y="1810"/>
                </a:lnTo>
                <a:lnTo>
                  <a:pt x="702" y="1810"/>
                </a:lnTo>
                <a:lnTo>
                  <a:pt x="704" y="1812"/>
                </a:lnTo>
                <a:lnTo>
                  <a:pt x="702" y="1814"/>
                </a:lnTo>
                <a:lnTo>
                  <a:pt x="701" y="1812"/>
                </a:lnTo>
                <a:lnTo>
                  <a:pt x="701" y="1814"/>
                </a:lnTo>
                <a:lnTo>
                  <a:pt x="699" y="1814"/>
                </a:lnTo>
                <a:lnTo>
                  <a:pt x="697" y="1810"/>
                </a:lnTo>
                <a:lnTo>
                  <a:pt x="699" y="1810"/>
                </a:lnTo>
                <a:lnTo>
                  <a:pt x="697" y="1809"/>
                </a:lnTo>
                <a:lnTo>
                  <a:pt x="699" y="1807"/>
                </a:lnTo>
                <a:lnTo>
                  <a:pt x="697" y="1809"/>
                </a:lnTo>
                <a:lnTo>
                  <a:pt x="699" y="1805"/>
                </a:lnTo>
                <a:lnTo>
                  <a:pt x="699" y="1804"/>
                </a:lnTo>
                <a:lnTo>
                  <a:pt x="701" y="1802"/>
                </a:lnTo>
                <a:lnTo>
                  <a:pt x="701" y="1805"/>
                </a:lnTo>
                <a:lnTo>
                  <a:pt x="701" y="1804"/>
                </a:lnTo>
                <a:lnTo>
                  <a:pt x="702" y="1800"/>
                </a:lnTo>
                <a:lnTo>
                  <a:pt x="701" y="1800"/>
                </a:lnTo>
                <a:lnTo>
                  <a:pt x="702" y="1800"/>
                </a:lnTo>
                <a:lnTo>
                  <a:pt x="702" y="1798"/>
                </a:lnTo>
                <a:lnTo>
                  <a:pt x="702" y="1797"/>
                </a:lnTo>
                <a:lnTo>
                  <a:pt x="704" y="1798"/>
                </a:lnTo>
                <a:lnTo>
                  <a:pt x="704" y="1797"/>
                </a:lnTo>
                <a:close/>
                <a:moveTo>
                  <a:pt x="604" y="1909"/>
                </a:moveTo>
                <a:lnTo>
                  <a:pt x="604" y="1911"/>
                </a:lnTo>
                <a:lnTo>
                  <a:pt x="605" y="1911"/>
                </a:lnTo>
                <a:lnTo>
                  <a:pt x="607" y="1912"/>
                </a:lnTo>
                <a:lnTo>
                  <a:pt x="607" y="1914"/>
                </a:lnTo>
                <a:lnTo>
                  <a:pt x="607" y="1916"/>
                </a:lnTo>
                <a:lnTo>
                  <a:pt x="607" y="1918"/>
                </a:lnTo>
                <a:lnTo>
                  <a:pt x="609" y="1918"/>
                </a:lnTo>
                <a:lnTo>
                  <a:pt x="605" y="1918"/>
                </a:lnTo>
                <a:lnTo>
                  <a:pt x="604" y="1919"/>
                </a:lnTo>
                <a:lnTo>
                  <a:pt x="605" y="1919"/>
                </a:lnTo>
                <a:lnTo>
                  <a:pt x="607" y="1919"/>
                </a:lnTo>
                <a:lnTo>
                  <a:pt x="609" y="1919"/>
                </a:lnTo>
                <a:lnTo>
                  <a:pt x="609" y="1921"/>
                </a:lnTo>
                <a:lnTo>
                  <a:pt x="607" y="1921"/>
                </a:lnTo>
                <a:lnTo>
                  <a:pt x="605" y="1919"/>
                </a:lnTo>
                <a:lnTo>
                  <a:pt x="605" y="1921"/>
                </a:lnTo>
                <a:lnTo>
                  <a:pt x="604" y="1919"/>
                </a:lnTo>
                <a:lnTo>
                  <a:pt x="602" y="1916"/>
                </a:lnTo>
                <a:lnTo>
                  <a:pt x="602" y="1912"/>
                </a:lnTo>
                <a:lnTo>
                  <a:pt x="599" y="1912"/>
                </a:lnTo>
                <a:lnTo>
                  <a:pt x="600" y="1911"/>
                </a:lnTo>
                <a:lnTo>
                  <a:pt x="600" y="1909"/>
                </a:lnTo>
                <a:lnTo>
                  <a:pt x="604" y="1909"/>
                </a:lnTo>
                <a:close/>
                <a:moveTo>
                  <a:pt x="713" y="1790"/>
                </a:moveTo>
                <a:lnTo>
                  <a:pt x="711" y="1793"/>
                </a:lnTo>
                <a:lnTo>
                  <a:pt x="713" y="1790"/>
                </a:lnTo>
                <a:lnTo>
                  <a:pt x="714" y="1792"/>
                </a:lnTo>
                <a:lnTo>
                  <a:pt x="716" y="1793"/>
                </a:lnTo>
                <a:lnTo>
                  <a:pt x="714" y="1793"/>
                </a:lnTo>
                <a:lnTo>
                  <a:pt x="714" y="1795"/>
                </a:lnTo>
                <a:lnTo>
                  <a:pt x="713" y="1795"/>
                </a:lnTo>
                <a:lnTo>
                  <a:pt x="714" y="1797"/>
                </a:lnTo>
                <a:lnTo>
                  <a:pt x="711" y="1797"/>
                </a:lnTo>
                <a:lnTo>
                  <a:pt x="713" y="1797"/>
                </a:lnTo>
                <a:lnTo>
                  <a:pt x="713" y="1798"/>
                </a:lnTo>
                <a:lnTo>
                  <a:pt x="711" y="1800"/>
                </a:lnTo>
                <a:lnTo>
                  <a:pt x="713" y="1802"/>
                </a:lnTo>
                <a:lnTo>
                  <a:pt x="711" y="1802"/>
                </a:lnTo>
                <a:lnTo>
                  <a:pt x="709" y="1800"/>
                </a:lnTo>
                <a:lnTo>
                  <a:pt x="707" y="1802"/>
                </a:lnTo>
                <a:lnTo>
                  <a:pt x="707" y="1800"/>
                </a:lnTo>
                <a:lnTo>
                  <a:pt x="707" y="1798"/>
                </a:lnTo>
                <a:lnTo>
                  <a:pt x="707" y="1797"/>
                </a:lnTo>
                <a:lnTo>
                  <a:pt x="709" y="1797"/>
                </a:lnTo>
                <a:lnTo>
                  <a:pt x="709" y="1795"/>
                </a:lnTo>
                <a:lnTo>
                  <a:pt x="709" y="1793"/>
                </a:lnTo>
                <a:lnTo>
                  <a:pt x="709" y="1792"/>
                </a:lnTo>
                <a:lnTo>
                  <a:pt x="711" y="1792"/>
                </a:lnTo>
                <a:lnTo>
                  <a:pt x="711" y="1790"/>
                </a:lnTo>
                <a:lnTo>
                  <a:pt x="713" y="1790"/>
                </a:lnTo>
                <a:close/>
                <a:moveTo>
                  <a:pt x="493" y="2101"/>
                </a:moveTo>
                <a:lnTo>
                  <a:pt x="495" y="2103"/>
                </a:lnTo>
                <a:lnTo>
                  <a:pt x="497" y="2105"/>
                </a:lnTo>
                <a:lnTo>
                  <a:pt x="497" y="2106"/>
                </a:lnTo>
                <a:lnTo>
                  <a:pt x="498" y="2108"/>
                </a:lnTo>
                <a:lnTo>
                  <a:pt x="497" y="2108"/>
                </a:lnTo>
                <a:lnTo>
                  <a:pt x="498" y="2108"/>
                </a:lnTo>
                <a:lnTo>
                  <a:pt x="498" y="2111"/>
                </a:lnTo>
                <a:lnTo>
                  <a:pt x="498" y="2113"/>
                </a:lnTo>
                <a:lnTo>
                  <a:pt x="497" y="2115"/>
                </a:lnTo>
                <a:lnTo>
                  <a:pt x="498" y="2117"/>
                </a:lnTo>
                <a:lnTo>
                  <a:pt x="497" y="2117"/>
                </a:lnTo>
                <a:lnTo>
                  <a:pt x="497" y="2115"/>
                </a:lnTo>
                <a:lnTo>
                  <a:pt x="495" y="2113"/>
                </a:lnTo>
                <a:lnTo>
                  <a:pt x="493" y="2113"/>
                </a:lnTo>
                <a:lnTo>
                  <a:pt x="493" y="2110"/>
                </a:lnTo>
                <a:lnTo>
                  <a:pt x="495" y="2108"/>
                </a:lnTo>
                <a:lnTo>
                  <a:pt x="493" y="2106"/>
                </a:lnTo>
                <a:lnTo>
                  <a:pt x="492" y="2105"/>
                </a:lnTo>
                <a:lnTo>
                  <a:pt x="492" y="2103"/>
                </a:lnTo>
                <a:lnTo>
                  <a:pt x="493" y="2101"/>
                </a:lnTo>
                <a:close/>
                <a:moveTo>
                  <a:pt x="468" y="2015"/>
                </a:moveTo>
                <a:lnTo>
                  <a:pt x="469" y="2016"/>
                </a:lnTo>
                <a:lnTo>
                  <a:pt x="469" y="2018"/>
                </a:lnTo>
                <a:lnTo>
                  <a:pt x="471" y="2020"/>
                </a:lnTo>
                <a:lnTo>
                  <a:pt x="469" y="2020"/>
                </a:lnTo>
                <a:lnTo>
                  <a:pt x="469" y="2021"/>
                </a:lnTo>
                <a:lnTo>
                  <a:pt x="466" y="2023"/>
                </a:lnTo>
                <a:lnTo>
                  <a:pt x="464" y="2021"/>
                </a:lnTo>
                <a:lnTo>
                  <a:pt x="464" y="2020"/>
                </a:lnTo>
                <a:lnTo>
                  <a:pt x="463" y="2018"/>
                </a:lnTo>
                <a:lnTo>
                  <a:pt x="463" y="2016"/>
                </a:lnTo>
                <a:lnTo>
                  <a:pt x="464" y="2016"/>
                </a:lnTo>
                <a:lnTo>
                  <a:pt x="464" y="2015"/>
                </a:lnTo>
                <a:lnTo>
                  <a:pt x="468" y="2015"/>
                </a:lnTo>
                <a:close/>
                <a:moveTo>
                  <a:pt x="437" y="1975"/>
                </a:moveTo>
                <a:lnTo>
                  <a:pt x="437" y="1977"/>
                </a:lnTo>
                <a:lnTo>
                  <a:pt x="439" y="1977"/>
                </a:lnTo>
                <a:lnTo>
                  <a:pt x="441" y="1979"/>
                </a:lnTo>
                <a:lnTo>
                  <a:pt x="442" y="1979"/>
                </a:lnTo>
                <a:lnTo>
                  <a:pt x="441" y="1979"/>
                </a:lnTo>
                <a:lnTo>
                  <a:pt x="441" y="1980"/>
                </a:lnTo>
                <a:lnTo>
                  <a:pt x="441" y="1979"/>
                </a:lnTo>
                <a:lnTo>
                  <a:pt x="441" y="1980"/>
                </a:lnTo>
                <a:lnTo>
                  <a:pt x="439" y="1980"/>
                </a:lnTo>
                <a:lnTo>
                  <a:pt x="442" y="1982"/>
                </a:lnTo>
                <a:lnTo>
                  <a:pt x="441" y="1982"/>
                </a:lnTo>
                <a:lnTo>
                  <a:pt x="439" y="1982"/>
                </a:lnTo>
                <a:lnTo>
                  <a:pt x="441" y="1984"/>
                </a:lnTo>
                <a:lnTo>
                  <a:pt x="437" y="1982"/>
                </a:lnTo>
                <a:lnTo>
                  <a:pt x="439" y="1984"/>
                </a:lnTo>
                <a:lnTo>
                  <a:pt x="437" y="1982"/>
                </a:lnTo>
                <a:lnTo>
                  <a:pt x="437" y="1980"/>
                </a:lnTo>
                <a:lnTo>
                  <a:pt x="434" y="1980"/>
                </a:lnTo>
                <a:lnTo>
                  <a:pt x="434" y="1979"/>
                </a:lnTo>
                <a:lnTo>
                  <a:pt x="436" y="1977"/>
                </a:lnTo>
                <a:lnTo>
                  <a:pt x="437" y="1975"/>
                </a:lnTo>
                <a:close/>
                <a:moveTo>
                  <a:pt x="684" y="2452"/>
                </a:moveTo>
                <a:lnTo>
                  <a:pt x="685" y="2452"/>
                </a:lnTo>
                <a:lnTo>
                  <a:pt x="685" y="2453"/>
                </a:lnTo>
                <a:lnTo>
                  <a:pt x="689" y="2453"/>
                </a:lnTo>
                <a:lnTo>
                  <a:pt x="689" y="2455"/>
                </a:lnTo>
                <a:lnTo>
                  <a:pt x="690" y="2457"/>
                </a:lnTo>
                <a:lnTo>
                  <a:pt x="690" y="2458"/>
                </a:lnTo>
                <a:lnTo>
                  <a:pt x="689" y="2458"/>
                </a:lnTo>
                <a:lnTo>
                  <a:pt x="687" y="2457"/>
                </a:lnTo>
                <a:lnTo>
                  <a:pt x="687" y="2458"/>
                </a:lnTo>
                <a:lnTo>
                  <a:pt x="685" y="2457"/>
                </a:lnTo>
                <a:lnTo>
                  <a:pt x="684" y="2457"/>
                </a:lnTo>
                <a:lnTo>
                  <a:pt x="684" y="2455"/>
                </a:lnTo>
                <a:lnTo>
                  <a:pt x="682" y="2453"/>
                </a:lnTo>
                <a:lnTo>
                  <a:pt x="684" y="2452"/>
                </a:lnTo>
                <a:close/>
                <a:moveTo>
                  <a:pt x="444" y="2045"/>
                </a:moveTo>
                <a:lnTo>
                  <a:pt x="444" y="2047"/>
                </a:lnTo>
                <a:lnTo>
                  <a:pt x="442" y="2047"/>
                </a:lnTo>
                <a:lnTo>
                  <a:pt x="441" y="2049"/>
                </a:lnTo>
                <a:lnTo>
                  <a:pt x="439" y="2049"/>
                </a:lnTo>
                <a:lnTo>
                  <a:pt x="437" y="2050"/>
                </a:lnTo>
                <a:lnTo>
                  <a:pt x="437" y="2052"/>
                </a:lnTo>
                <a:lnTo>
                  <a:pt x="436" y="2052"/>
                </a:lnTo>
                <a:lnTo>
                  <a:pt x="436" y="2050"/>
                </a:lnTo>
                <a:lnTo>
                  <a:pt x="434" y="2050"/>
                </a:lnTo>
                <a:lnTo>
                  <a:pt x="436" y="2049"/>
                </a:lnTo>
                <a:lnTo>
                  <a:pt x="434" y="2047"/>
                </a:lnTo>
                <a:lnTo>
                  <a:pt x="436" y="2045"/>
                </a:lnTo>
                <a:lnTo>
                  <a:pt x="437" y="2045"/>
                </a:lnTo>
                <a:lnTo>
                  <a:pt x="439" y="2047"/>
                </a:lnTo>
                <a:lnTo>
                  <a:pt x="441" y="2045"/>
                </a:lnTo>
                <a:lnTo>
                  <a:pt x="442" y="2047"/>
                </a:lnTo>
                <a:lnTo>
                  <a:pt x="444" y="2045"/>
                </a:lnTo>
                <a:close/>
                <a:moveTo>
                  <a:pt x="458" y="2038"/>
                </a:moveTo>
                <a:lnTo>
                  <a:pt x="458" y="2040"/>
                </a:lnTo>
                <a:lnTo>
                  <a:pt x="456" y="2042"/>
                </a:lnTo>
                <a:lnTo>
                  <a:pt x="454" y="2043"/>
                </a:lnTo>
                <a:lnTo>
                  <a:pt x="454" y="2042"/>
                </a:lnTo>
                <a:lnTo>
                  <a:pt x="454" y="2043"/>
                </a:lnTo>
                <a:lnTo>
                  <a:pt x="452" y="2043"/>
                </a:lnTo>
                <a:lnTo>
                  <a:pt x="451" y="2045"/>
                </a:lnTo>
                <a:lnTo>
                  <a:pt x="449" y="2045"/>
                </a:lnTo>
                <a:lnTo>
                  <a:pt x="449" y="2043"/>
                </a:lnTo>
                <a:lnTo>
                  <a:pt x="449" y="2045"/>
                </a:lnTo>
                <a:lnTo>
                  <a:pt x="447" y="2043"/>
                </a:lnTo>
                <a:lnTo>
                  <a:pt x="446" y="2045"/>
                </a:lnTo>
                <a:lnTo>
                  <a:pt x="446" y="2043"/>
                </a:lnTo>
                <a:lnTo>
                  <a:pt x="449" y="2043"/>
                </a:lnTo>
                <a:lnTo>
                  <a:pt x="451" y="2042"/>
                </a:lnTo>
                <a:lnTo>
                  <a:pt x="454" y="2040"/>
                </a:lnTo>
                <a:lnTo>
                  <a:pt x="454" y="2038"/>
                </a:lnTo>
                <a:lnTo>
                  <a:pt x="454" y="2040"/>
                </a:lnTo>
                <a:lnTo>
                  <a:pt x="456" y="2038"/>
                </a:lnTo>
                <a:lnTo>
                  <a:pt x="458" y="2038"/>
                </a:lnTo>
                <a:close/>
                <a:moveTo>
                  <a:pt x="486" y="1987"/>
                </a:moveTo>
                <a:lnTo>
                  <a:pt x="486" y="1989"/>
                </a:lnTo>
                <a:lnTo>
                  <a:pt x="486" y="1991"/>
                </a:lnTo>
                <a:lnTo>
                  <a:pt x="485" y="1991"/>
                </a:lnTo>
                <a:lnTo>
                  <a:pt x="485" y="1992"/>
                </a:lnTo>
                <a:lnTo>
                  <a:pt x="485" y="1994"/>
                </a:lnTo>
                <a:lnTo>
                  <a:pt x="485" y="1997"/>
                </a:lnTo>
                <a:lnTo>
                  <a:pt x="483" y="1999"/>
                </a:lnTo>
                <a:lnTo>
                  <a:pt x="481" y="1997"/>
                </a:lnTo>
                <a:lnTo>
                  <a:pt x="483" y="1994"/>
                </a:lnTo>
                <a:lnTo>
                  <a:pt x="483" y="1992"/>
                </a:lnTo>
                <a:lnTo>
                  <a:pt x="485" y="1989"/>
                </a:lnTo>
                <a:lnTo>
                  <a:pt x="485" y="1991"/>
                </a:lnTo>
                <a:lnTo>
                  <a:pt x="485" y="1989"/>
                </a:lnTo>
                <a:lnTo>
                  <a:pt x="486" y="1987"/>
                </a:lnTo>
                <a:close/>
                <a:moveTo>
                  <a:pt x="427" y="2004"/>
                </a:moveTo>
                <a:lnTo>
                  <a:pt x="427" y="2006"/>
                </a:lnTo>
                <a:lnTo>
                  <a:pt x="425" y="2008"/>
                </a:lnTo>
                <a:lnTo>
                  <a:pt x="427" y="2009"/>
                </a:lnTo>
                <a:lnTo>
                  <a:pt x="427" y="2008"/>
                </a:lnTo>
                <a:lnTo>
                  <a:pt x="427" y="2009"/>
                </a:lnTo>
                <a:lnTo>
                  <a:pt x="425" y="2009"/>
                </a:lnTo>
                <a:lnTo>
                  <a:pt x="427" y="2011"/>
                </a:lnTo>
                <a:lnTo>
                  <a:pt x="427" y="2009"/>
                </a:lnTo>
                <a:lnTo>
                  <a:pt x="427" y="2011"/>
                </a:lnTo>
                <a:lnTo>
                  <a:pt x="424" y="2013"/>
                </a:lnTo>
                <a:lnTo>
                  <a:pt x="422" y="2011"/>
                </a:lnTo>
                <a:lnTo>
                  <a:pt x="420" y="2011"/>
                </a:lnTo>
                <a:lnTo>
                  <a:pt x="422" y="2009"/>
                </a:lnTo>
                <a:lnTo>
                  <a:pt x="424" y="2009"/>
                </a:lnTo>
                <a:lnTo>
                  <a:pt x="424" y="2008"/>
                </a:lnTo>
                <a:lnTo>
                  <a:pt x="422" y="2008"/>
                </a:lnTo>
                <a:lnTo>
                  <a:pt x="425" y="2008"/>
                </a:lnTo>
                <a:lnTo>
                  <a:pt x="427" y="2004"/>
                </a:lnTo>
                <a:close/>
                <a:moveTo>
                  <a:pt x="641" y="1889"/>
                </a:moveTo>
                <a:lnTo>
                  <a:pt x="641" y="1890"/>
                </a:lnTo>
                <a:lnTo>
                  <a:pt x="638" y="1890"/>
                </a:lnTo>
                <a:lnTo>
                  <a:pt x="636" y="1892"/>
                </a:lnTo>
                <a:lnTo>
                  <a:pt x="636" y="1894"/>
                </a:lnTo>
                <a:lnTo>
                  <a:pt x="636" y="1892"/>
                </a:lnTo>
                <a:lnTo>
                  <a:pt x="634" y="1892"/>
                </a:lnTo>
                <a:lnTo>
                  <a:pt x="634" y="1894"/>
                </a:lnTo>
                <a:lnTo>
                  <a:pt x="634" y="1892"/>
                </a:lnTo>
                <a:lnTo>
                  <a:pt x="633" y="1892"/>
                </a:lnTo>
                <a:lnTo>
                  <a:pt x="631" y="1894"/>
                </a:lnTo>
                <a:lnTo>
                  <a:pt x="631" y="1895"/>
                </a:lnTo>
                <a:lnTo>
                  <a:pt x="631" y="1894"/>
                </a:lnTo>
                <a:lnTo>
                  <a:pt x="629" y="1895"/>
                </a:lnTo>
                <a:lnTo>
                  <a:pt x="629" y="1892"/>
                </a:lnTo>
                <a:lnTo>
                  <a:pt x="631" y="1894"/>
                </a:lnTo>
                <a:lnTo>
                  <a:pt x="631" y="1892"/>
                </a:lnTo>
                <a:lnTo>
                  <a:pt x="634" y="1890"/>
                </a:lnTo>
                <a:lnTo>
                  <a:pt x="634" y="1889"/>
                </a:lnTo>
                <a:lnTo>
                  <a:pt x="638" y="1889"/>
                </a:lnTo>
                <a:lnTo>
                  <a:pt x="636" y="1890"/>
                </a:lnTo>
                <a:lnTo>
                  <a:pt x="634" y="1890"/>
                </a:lnTo>
                <a:lnTo>
                  <a:pt x="636" y="1890"/>
                </a:lnTo>
                <a:lnTo>
                  <a:pt x="638" y="1890"/>
                </a:lnTo>
                <a:lnTo>
                  <a:pt x="639" y="1890"/>
                </a:lnTo>
                <a:lnTo>
                  <a:pt x="641" y="1889"/>
                </a:lnTo>
                <a:close/>
                <a:moveTo>
                  <a:pt x="622" y="1882"/>
                </a:moveTo>
                <a:lnTo>
                  <a:pt x="622" y="1884"/>
                </a:lnTo>
                <a:lnTo>
                  <a:pt x="621" y="1884"/>
                </a:lnTo>
                <a:lnTo>
                  <a:pt x="622" y="1887"/>
                </a:lnTo>
                <a:lnTo>
                  <a:pt x="624" y="1885"/>
                </a:lnTo>
                <a:lnTo>
                  <a:pt x="624" y="1889"/>
                </a:lnTo>
                <a:lnTo>
                  <a:pt x="626" y="1889"/>
                </a:lnTo>
                <a:lnTo>
                  <a:pt x="626" y="1890"/>
                </a:lnTo>
                <a:lnTo>
                  <a:pt x="624" y="1890"/>
                </a:lnTo>
                <a:lnTo>
                  <a:pt x="624" y="1889"/>
                </a:lnTo>
                <a:lnTo>
                  <a:pt x="622" y="1887"/>
                </a:lnTo>
                <a:lnTo>
                  <a:pt x="621" y="1887"/>
                </a:lnTo>
                <a:lnTo>
                  <a:pt x="622" y="1887"/>
                </a:lnTo>
                <a:lnTo>
                  <a:pt x="621" y="1889"/>
                </a:lnTo>
                <a:lnTo>
                  <a:pt x="619" y="1887"/>
                </a:lnTo>
                <a:lnTo>
                  <a:pt x="619" y="1885"/>
                </a:lnTo>
                <a:lnTo>
                  <a:pt x="617" y="1884"/>
                </a:lnTo>
                <a:lnTo>
                  <a:pt x="621" y="1884"/>
                </a:lnTo>
                <a:lnTo>
                  <a:pt x="622" y="1882"/>
                </a:lnTo>
                <a:close/>
                <a:moveTo>
                  <a:pt x="616" y="1892"/>
                </a:moveTo>
                <a:lnTo>
                  <a:pt x="617" y="1894"/>
                </a:lnTo>
                <a:lnTo>
                  <a:pt x="621" y="1894"/>
                </a:lnTo>
                <a:lnTo>
                  <a:pt x="619" y="1895"/>
                </a:lnTo>
                <a:lnTo>
                  <a:pt x="619" y="1897"/>
                </a:lnTo>
                <a:lnTo>
                  <a:pt x="617" y="1897"/>
                </a:lnTo>
                <a:lnTo>
                  <a:pt x="616" y="1895"/>
                </a:lnTo>
                <a:lnTo>
                  <a:pt x="614" y="1894"/>
                </a:lnTo>
                <a:lnTo>
                  <a:pt x="616" y="1892"/>
                </a:lnTo>
                <a:close/>
                <a:moveTo>
                  <a:pt x="711" y="1805"/>
                </a:moveTo>
                <a:lnTo>
                  <a:pt x="711" y="1809"/>
                </a:lnTo>
                <a:lnTo>
                  <a:pt x="713" y="1807"/>
                </a:lnTo>
                <a:lnTo>
                  <a:pt x="713" y="1809"/>
                </a:lnTo>
                <a:lnTo>
                  <a:pt x="711" y="1810"/>
                </a:lnTo>
                <a:lnTo>
                  <a:pt x="711" y="1809"/>
                </a:lnTo>
                <a:lnTo>
                  <a:pt x="709" y="1809"/>
                </a:lnTo>
                <a:lnTo>
                  <a:pt x="709" y="1810"/>
                </a:lnTo>
                <a:lnTo>
                  <a:pt x="707" y="1809"/>
                </a:lnTo>
                <a:lnTo>
                  <a:pt x="707" y="1807"/>
                </a:lnTo>
                <a:lnTo>
                  <a:pt x="707" y="1805"/>
                </a:lnTo>
                <a:lnTo>
                  <a:pt x="709" y="1805"/>
                </a:lnTo>
                <a:lnTo>
                  <a:pt x="711" y="1805"/>
                </a:lnTo>
                <a:close/>
                <a:moveTo>
                  <a:pt x="461" y="2079"/>
                </a:moveTo>
                <a:lnTo>
                  <a:pt x="461" y="2081"/>
                </a:lnTo>
                <a:lnTo>
                  <a:pt x="459" y="2083"/>
                </a:lnTo>
                <a:lnTo>
                  <a:pt x="458" y="2084"/>
                </a:lnTo>
                <a:lnTo>
                  <a:pt x="458" y="2086"/>
                </a:lnTo>
                <a:lnTo>
                  <a:pt x="456" y="2086"/>
                </a:lnTo>
                <a:lnTo>
                  <a:pt x="456" y="2084"/>
                </a:lnTo>
                <a:lnTo>
                  <a:pt x="454" y="2086"/>
                </a:lnTo>
                <a:lnTo>
                  <a:pt x="456" y="2084"/>
                </a:lnTo>
                <a:lnTo>
                  <a:pt x="454" y="2084"/>
                </a:lnTo>
                <a:lnTo>
                  <a:pt x="456" y="2084"/>
                </a:lnTo>
                <a:lnTo>
                  <a:pt x="456" y="2083"/>
                </a:lnTo>
                <a:lnTo>
                  <a:pt x="458" y="2081"/>
                </a:lnTo>
                <a:lnTo>
                  <a:pt x="461" y="2079"/>
                </a:lnTo>
                <a:close/>
                <a:moveTo>
                  <a:pt x="631" y="1897"/>
                </a:moveTo>
                <a:lnTo>
                  <a:pt x="631" y="1899"/>
                </a:lnTo>
                <a:lnTo>
                  <a:pt x="633" y="1899"/>
                </a:lnTo>
                <a:lnTo>
                  <a:pt x="633" y="1901"/>
                </a:lnTo>
                <a:lnTo>
                  <a:pt x="634" y="1901"/>
                </a:lnTo>
                <a:lnTo>
                  <a:pt x="634" y="1902"/>
                </a:lnTo>
                <a:lnTo>
                  <a:pt x="634" y="1904"/>
                </a:lnTo>
                <a:lnTo>
                  <a:pt x="633" y="1904"/>
                </a:lnTo>
                <a:lnTo>
                  <a:pt x="631" y="1904"/>
                </a:lnTo>
                <a:lnTo>
                  <a:pt x="633" y="1902"/>
                </a:lnTo>
                <a:lnTo>
                  <a:pt x="631" y="1901"/>
                </a:lnTo>
                <a:lnTo>
                  <a:pt x="629" y="1902"/>
                </a:lnTo>
                <a:lnTo>
                  <a:pt x="629" y="1904"/>
                </a:lnTo>
                <a:lnTo>
                  <a:pt x="629" y="1902"/>
                </a:lnTo>
                <a:lnTo>
                  <a:pt x="629" y="1901"/>
                </a:lnTo>
                <a:lnTo>
                  <a:pt x="631" y="1901"/>
                </a:lnTo>
                <a:lnTo>
                  <a:pt x="629" y="1897"/>
                </a:lnTo>
                <a:lnTo>
                  <a:pt x="631" y="1897"/>
                </a:lnTo>
                <a:close/>
                <a:moveTo>
                  <a:pt x="697" y="1836"/>
                </a:moveTo>
                <a:lnTo>
                  <a:pt x="697" y="1838"/>
                </a:lnTo>
                <a:lnTo>
                  <a:pt x="699" y="1838"/>
                </a:lnTo>
                <a:lnTo>
                  <a:pt x="697" y="1839"/>
                </a:lnTo>
                <a:lnTo>
                  <a:pt x="697" y="1841"/>
                </a:lnTo>
                <a:lnTo>
                  <a:pt x="696" y="1839"/>
                </a:lnTo>
                <a:lnTo>
                  <a:pt x="696" y="1838"/>
                </a:lnTo>
                <a:lnTo>
                  <a:pt x="696" y="1836"/>
                </a:lnTo>
                <a:lnTo>
                  <a:pt x="697" y="1836"/>
                </a:lnTo>
                <a:close/>
                <a:moveTo>
                  <a:pt x="473" y="2025"/>
                </a:moveTo>
                <a:lnTo>
                  <a:pt x="475" y="2026"/>
                </a:lnTo>
                <a:lnTo>
                  <a:pt x="473" y="2028"/>
                </a:lnTo>
                <a:lnTo>
                  <a:pt x="471" y="2028"/>
                </a:lnTo>
                <a:lnTo>
                  <a:pt x="469" y="2028"/>
                </a:lnTo>
                <a:lnTo>
                  <a:pt x="469" y="2026"/>
                </a:lnTo>
                <a:lnTo>
                  <a:pt x="471" y="2026"/>
                </a:lnTo>
                <a:lnTo>
                  <a:pt x="473" y="2025"/>
                </a:lnTo>
                <a:close/>
                <a:moveTo>
                  <a:pt x="628" y="1890"/>
                </a:moveTo>
                <a:lnTo>
                  <a:pt x="628" y="1892"/>
                </a:lnTo>
                <a:lnTo>
                  <a:pt x="629" y="1892"/>
                </a:lnTo>
                <a:lnTo>
                  <a:pt x="628" y="1894"/>
                </a:lnTo>
                <a:lnTo>
                  <a:pt x="628" y="1897"/>
                </a:lnTo>
                <a:lnTo>
                  <a:pt x="626" y="1899"/>
                </a:lnTo>
                <a:lnTo>
                  <a:pt x="626" y="1897"/>
                </a:lnTo>
                <a:lnTo>
                  <a:pt x="626" y="1894"/>
                </a:lnTo>
                <a:lnTo>
                  <a:pt x="628" y="1894"/>
                </a:lnTo>
                <a:lnTo>
                  <a:pt x="626" y="1892"/>
                </a:lnTo>
                <a:lnTo>
                  <a:pt x="628" y="1892"/>
                </a:lnTo>
                <a:lnTo>
                  <a:pt x="628" y="1890"/>
                </a:lnTo>
                <a:close/>
                <a:moveTo>
                  <a:pt x="624" y="1902"/>
                </a:moveTo>
                <a:lnTo>
                  <a:pt x="624" y="1904"/>
                </a:lnTo>
                <a:lnTo>
                  <a:pt x="624" y="1906"/>
                </a:lnTo>
                <a:lnTo>
                  <a:pt x="622" y="1906"/>
                </a:lnTo>
                <a:lnTo>
                  <a:pt x="621" y="1904"/>
                </a:lnTo>
                <a:lnTo>
                  <a:pt x="619" y="1904"/>
                </a:lnTo>
                <a:lnTo>
                  <a:pt x="621" y="1902"/>
                </a:lnTo>
                <a:lnTo>
                  <a:pt x="622" y="1904"/>
                </a:lnTo>
                <a:lnTo>
                  <a:pt x="622" y="1902"/>
                </a:lnTo>
                <a:lnTo>
                  <a:pt x="624" y="1902"/>
                </a:lnTo>
                <a:close/>
                <a:moveTo>
                  <a:pt x="485" y="1999"/>
                </a:moveTo>
                <a:lnTo>
                  <a:pt x="486" y="2001"/>
                </a:lnTo>
                <a:lnTo>
                  <a:pt x="485" y="2003"/>
                </a:lnTo>
                <a:lnTo>
                  <a:pt x="483" y="2001"/>
                </a:lnTo>
                <a:lnTo>
                  <a:pt x="485" y="1999"/>
                </a:lnTo>
                <a:close/>
                <a:moveTo>
                  <a:pt x="466" y="1928"/>
                </a:moveTo>
                <a:lnTo>
                  <a:pt x="468" y="1928"/>
                </a:lnTo>
                <a:lnTo>
                  <a:pt x="468" y="1929"/>
                </a:lnTo>
                <a:lnTo>
                  <a:pt x="469" y="1931"/>
                </a:lnTo>
                <a:lnTo>
                  <a:pt x="469" y="1933"/>
                </a:lnTo>
                <a:lnTo>
                  <a:pt x="466" y="1931"/>
                </a:lnTo>
                <a:lnTo>
                  <a:pt x="468" y="1931"/>
                </a:lnTo>
                <a:lnTo>
                  <a:pt x="466" y="1928"/>
                </a:lnTo>
                <a:close/>
                <a:moveTo>
                  <a:pt x="493" y="2057"/>
                </a:moveTo>
                <a:lnTo>
                  <a:pt x="492" y="2059"/>
                </a:lnTo>
                <a:lnTo>
                  <a:pt x="490" y="2060"/>
                </a:lnTo>
                <a:lnTo>
                  <a:pt x="488" y="2060"/>
                </a:lnTo>
                <a:lnTo>
                  <a:pt x="486" y="2062"/>
                </a:lnTo>
                <a:lnTo>
                  <a:pt x="488" y="2059"/>
                </a:lnTo>
                <a:lnTo>
                  <a:pt x="490" y="2059"/>
                </a:lnTo>
                <a:lnTo>
                  <a:pt x="492" y="2057"/>
                </a:lnTo>
                <a:lnTo>
                  <a:pt x="492" y="2055"/>
                </a:lnTo>
                <a:lnTo>
                  <a:pt x="493" y="2057"/>
                </a:lnTo>
                <a:close/>
                <a:moveTo>
                  <a:pt x="706" y="1822"/>
                </a:moveTo>
                <a:lnTo>
                  <a:pt x="702" y="1826"/>
                </a:lnTo>
                <a:lnTo>
                  <a:pt x="701" y="1826"/>
                </a:lnTo>
                <a:lnTo>
                  <a:pt x="702" y="1822"/>
                </a:lnTo>
                <a:lnTo>
                  <a:pt x="704" y="1822"/>
                </a:lnTo>
                <a:lnTo>
                  <a:pt x="706" y="1822"/>
                </a:lnTo>
                <a:close/>
                <a:moveTo>
                  <a:pt x="689" y="1819"/>
                </a:moveTo>
                <a:lnTo>
                  <a:pt x="689" y="1821"/>
                </a:lnTo>
                <a:lnTo>
                  <a:pt x="687" y="1822"/>
                </a:lnTo>
                <a:lnTo>
                  <a:pt x="687" y="1821"/>
                </a:lnTo>
                <a:lnTo>
                  <a:pt x="689" y="1819"/>
                </a:lnTo>
                <a:close/>
                <a:moveTo>
                  <a:pt x="463" y="2054"/>
                </a:moveTo>
                <a:lnTo>
                  <a:pt x="464" y="2055"/>
                </a:lnTo>
                <a:lnTo>
                  <a:pt x="466" y="2055"/>
                </a:lnTo>
                <a:lnTo>
                  <a:pt x="466" y="2057"/>
                </a:lnTo>
                <a:lnTo>
                  <a:pt x="464" y="2057"/>
                </a:lnTo>
                <a:lnTo>
                  <a:pt x="463" y="2055"/>
                </a:lnTo>
                <a:lnTo>
                  <a:pt x="461" y="2055"/>
                </a:lnTo>
                <a:lnTo>
                  <a:pt x="463" y="2054"/>
                </a:lnTo>
                <a:close/>
                <a:moveTo>
                  <a:pt x="458" y="1950"/>
                </a:moveTo>
                <a:lnTo>
                  <a:pt x="458" y="1952"/>
                </a:lnTo>
                <a:lnTo>
                  <a:pt x="456" y="1953"/>
                </a:lnTo>
                <a:lnTo>
                  <a:pt x="454" y="1952"/>
                </a:lnTo>
                <a:lnTo>
                  <a:pt x="456" y="1952"/>
                </a:lnTo>
                <a:lnTo>
                  <a:pt x="458" y="1950"/>
                </a:lnTo>
                <a:close/>
                <a:moveTo>
                  <a:pt x="478" y="2079"/>
                </a:moveTo>
                <a:lnTo>
                  <a:pt x="480" y="2081"/>
                </a:lnTo>
                <a:lnTo>
                  <a:pt x="476" y="2081"/>
                </a:lnTo>
                <a:lnTo>
                  <a:pt x="476" y="2079"/>
                </a:lnTo>
                <a:lnTo>
                  <a:pt x="478" y="2079"/>
                </a:lnTo>
                <a:close/>
                <a:moveTo>
                  <a:pt x="663" y="1831"/>
                </a:moveTo>
                <a:lnTo>
                  <a:pt x="665" y="1832"/>
                </a:lnTo>
                <a:lnTo>
                  <a:pt x="663" y="1834"/>
                </a:lnTo>
                <a:lnTo>
                  <a:pt x="662" y="1832"/>
                </a:lnTo>
                <a:lnTo>
                  <a:pt x="663" y="1831"/>
                </a:lnTo>
                <a:close/>
                <a:moveTo>
                  <a:pt x="481" y="2074"/>
                </a:moveTo>
                <a:lnTo>
                  <a:pt x="481" y="2076"/>
                </a:lnTo>
                <a:lnTo>
                  <a:pt x="481" y="2077"/>
                </a:lnTo>
                <a:lnTo>
                  <a:pt x="481" y="2081"/>
                </a:lnTo>
                <a:lnTo>
                  <a:pt x="480" y="2077"/>
                </a:lnTo>
                <a:lnTo>
                  <a:pt x="481" y="2076"/>
                </a:lnTo>
                <a:lnTo>
                  <a:pt x="481" y="2074"/>
                </a:lnTo>
                <a:close/>
                <a:moveTo>
                  <a:pt x="444" y="2135"/>
                </a:moveTo>
                <a:lnTo>
                  <a:pt x="446" y="2135"/>
                </a:lnTo>
                <a:lnTo>
                  <a:pt x="446" y="2139"/>
                </a:lnTo>
                <a:lnTo>
                  <a:pt x="446" y="2137"/>
                </a:lnTo>
                <a:lnTo>
                  <a:pt x="442" y="2135"/>
                </a:lnTo>
                <a:lnTo>
                  <a:pt x="444" y="2135"/>
                </a:lnTo>
                <a:close/>
                <a:moveTo>
                  <a:pt x="485" y="2071"/>
                </a:moveTo>
                <a:lnTo>
                  <a:pt x="483" y="2072"/>
                </a:lnTo>
                <a:lnTo>
                  <a:pt x="483" y="2074"/>
                </a:lnTo>
                <a:lnTo>
                  <a:pt x="481" y="2074"/>
                </a:lnTo>
                <a:lnTo>
                  <a:pt x="481" y="2072"/>
                </a:lnTo>
                <a:lnTo>
                  <a:pt x="483" y="2071"/>
                </a:lnTo>
                <a:lnTo>
                  <a:pt x="483" y="2072"/>
                </a:lnTo>
                <a:lnTo>
                  <a:pt x="485" y="2071"/>
                </a:lnTo>
                <a:close/>
                <a:moveTo>
                  <a:pt x="469" y="2111"/>
                </a:moveTo>
                <a:lnTo>
                  <a:pt x="471" y="2111"/>
                </a:lnTo>
                <a:lnTo>
                  <a:pt x="469" y="2113"/>
                </a:lnTo>
                <a:lnTo>
                  <a:pt x="469" y="2115"/>
                </a:lnTo>
                <a:lnTo>
                  <a:pt x="468" y="2117"/>
                </a:lnTo>
                <a:lnTo>
                  <a:pt x="468" y="2113"/>
                </a:lnTo>
                <a:lnTo>
                  <a:pt x="469" y="2111"/>
                </a:lnTo>
                <a:close/>
                <a:moveTo>
                  <a:pt x="546" y="2239"/>
                </a:moveTo>
                <a:lnTo>
                  <a:pt x="544" y="2239"/>
                </a:lnTo>
                <a:lnTo>
                  <a:pt x="546" y="2241"/>
                </a:lnTo>
                <a:lnTo>
                  <a:pt x="544" y="2242"/>
                </a:lnTo>
                <a:lnTo>
                  <a:pt x="546" y="2244"/>
                </a:lnTo>
                <a:lnTo>
                  <a:pt x="546" y="2246"/>
                </a:lnTo>
                <a:lnTo>
                  <a:pt x="548" y="2246"/>
                </a:lnTo>
                <a:lnTo>
                  <a:pt x="546" y="2246"/>
                </a:lnTo>
                <a:lnTo>
                  <a:pt x="544" y="2244"/>
                </a:lnTo>
                <a:lnTo>
                  <a:pt x="544" y="2241"/>
                </a:lnTo>
                <a:lnTo>
                  <a:pt x="544" y="2239"/>
                </a:lnTo>
                <a:lnTo>
                  <a:pt x="546" y="2239"/>
                </a:lnTo>
                <a:close/>
                <a:moveTo>
                  <a:pt x="490" y="2066"/>
                </a:moveTo>
                <a:lnTo>
                  <a:pt x="488" y="2067"/>
                </a:lnTo>
                <a:lnTo>
                  <a:pt x="486" y="2069"/>
                </a:lnTo>
                <a:lnTo>
                  <a:pt x="486" y="2067"/>
                </a:lnTo>
                <a:lnTo>
                  <a:pt x="485" y="2067"/>
                </a:lnTo>
                <a:lnTo>
                  <a:pt x="486" y="2066"/>
                </a:lnTo>
                <a:lnTo>
                  <a:pt x="490" y="2066"/>
                </a:lnTo>
                <a:close/>
                <a:moveTo>
                  <a:pt x="503" y="2113"/>
                </a:moveTo>
                <a:lnTo>
                  <a:pt x="502" y="2117"/>
                </a:lnTo>
                <a:lnTo>
                  <a:pt x="502" y="2115"/>
                </a:lnTo>
                <a:lnTo>
                  <a:pt x="500" y="2117"/>
                </a:lnTo>
                <a:lnTo>
                  <a:pt x="502" y="2113"/>
                </a:lnTo>
                <a:lnTo>
                  <a:pt x="503" y="2113"/>
                </a:lnTo>
                <a:close/>
                <a:moveTo>
                  <a:pt x="461" y="2013"/>
                </a:moveTo>
                <a:lnTo>
                  <a:pt x="463" y="2013"/>
                </a:lnTo>
                <a:lnTo>
                  <a:pt x="459" y="2013"/>
                </a:lnTo>
                <a:lnTo>
                  <a:pt x="458" y="2013"/>
                </a:lnTo>
                <a:lnTo>
                  <a:pt x="459" y="2011"/>
                </a:lnTo>
                <a:lnTo>
                  <a:pt x="461" y="2013"/>
                </a:lnTo>
                <a:close/>
                <a:moveTo>
                  <a:pt x="447" y="1960"/>
                </a:moveTo>
                <a:lnTo>
                  <a:pt x="449" y="1962"/>
                </a:lnTo>
                <a:lnTo>
                  <a:pt x="447" y="1963"/>
                </a:lnTo>
                <a:lnTo>
                  <a:pt x="446" y="1963"/>
                </a:lnTo>
                <a:lnTo>
                  <a:pt x="447" y="1960"/>
                </a:lnTo>
                <a:close/>
                <a:moveTo>
                  <a:pt x="454" y="1941"/>
                </a:moveTo>
                <a:lnTo>
                  <a:pt x="454" y="1943"/>
                </a:lnTo>
                <a:lnTo>
                  <a:pt x="452" y="1941"/>
                </a:lnTo>
                <a:lnTo>
                  <a:pt x="454" y="1941"/>
                </a:lnTo>
                <a:close/>
                <a:moveTo>
                  <a:pt x="475" y="2008"/>
                </a:moveTo>
                <a:lnTo>
                  <a:pt x="475" y="2009"/>
                </a:lnTo>
                <a:lnTo>
                  <a:pt x="473" y="2011"/>
                </a:lnTo>
                <a:lnTo>
                  <a:pt x="473" y="2009"/>
                </a:lnTo>
                <a:lnTo>
                  <a:pt x="475" y="2008"/>
                </a:lnTo>
                <a:close/>
                <a:moveTo>
                  <a:pt x="490" y="1982"/>
                </a:moveTo>
                <a:lnTo>
                  <a:pt x="488" y="1986"/>
                </a:lnTo>
                <a:lnTo>
                  <a:pt x="488" y="1984"/>
                </a:lnTo>
                <a:lnTo>
                  <a:pt x="488" y="1982"/>
                </a:lnTo>
                <a:lnTo>
                  <a:pt x="490" y="1982"/>
                </a:lnTo>
                <a:close/>
                <a:moveTo>
                  <a:pt x="612" y="1916"/>
                </a:moveTo>
                <a:lnTo>
                  <a:pt x="611" y="1918"/>
                </a:lnTo>
                <a:lnTo>
                  <a:pt x="612" y="1918"/>
                </a:lnTo>
                <a:lnTo>
                  <a:pt x="611" y="1919"/>
                </a:lnTo>
                <a:lnTo>
                  <a:pt x="609" y="1918"/>
                </a:lnTo>
                <a:lnTo>
                  <a:pt x="611" y="1916"/>
                </a:lnTo>
                <a:lnTo>
                  <a:pt x="612" y="1916"/>
                </a:lnTo>
                <a:close/>
                <a:moveTo>
                  <a:pt x="420" y="2011"/>
                </a:moveTo>
                <a:lnTo>
                  <a:pt x="422" y="2011"/>
                </a:lnTo>
                <a:lnTo>
                  <a:pt x="420" y="2013"/>
                </a:lnTo>
                <a:lnTo>
                  <a:pt x="424" y="2013"/>
                </a:lnTo>
                <a:lnTo>
                  <a:pt x="422" y="2013"/>
                </a:lnTo>
                <a:lnTo>
                  <a:pt x="420" y="2013"/>
                </a:lnTo>
                <a:lnTo>
                  <a:pt x="422" y="2015"/>
                </a:lnTo>
                <a:lnTo>
                  <a:pt x="420" y="2015"/>
                </a:lnTo>
                <a:lnTo>
                  <a:pt x="420" y="2011"/>
                </a:lnTo>
                <a:close/>
                <a:moveTo>
                  <a:pt x="626" y="1880"/>
                </a:moveTo>
                <a:lnTo>
                  <a:pt x="624" y="1882"/>
                </a:lnTo>
                <a:lnTo>
                  <a:pt x="626" y="1884"/>
                </a:lnTo>
                <a:lnTo>
                  <a:pt x="624" y="1885"/>
                </a:lnTo>
                <a:lnTo>
                  <a:pt x="624" y="1882"/>
                </a:lnTo>
                <a:lnTo>
                  <a:pt x="626" y="1880"/>
                </a:lnTo>
                <a:close/>
                <a:moveTo>
                  <a:pt x="677" y="1821"/>
                </a:moveTo>
                <a:lnTo>
                  <a:pt x="679" y="1822"/>
                </a:lnTo>
                <a:lnTo>
                  <a:pt x="679" y="1821"/>
                </a:lnTo>
                <a:lnTo>
                  <a:pt x="679" y="1822"/>
                </a:lnTo>
                <a:lnTo>
                  <a:pt x="677" y="1822"/>
                </a:lnTo>
                <a:lnTo>
                  <a:pt x="677" y="1821"/>
                </a:lnTo>
                <a:close/>
                <a:moveTo>
                  <a:pt x="447" y="1957"/>
                </a:moveTo>
                <a:lnTo>
                  <a:pt x="447" y="1958"/>
                </a:lnTo>
                <a:lnTo>
                  <a:pt x="446" y="1958"/>
                </a:lnTo>
                <a:lnTo>
                  <a:pt x="447" y="1957"/>
                </a:lnTo>
                <a:close/>
                <a:moveTo>
                  <a:pt x="672" y="1877"/>
                </a:moveTo>
                <a:lnTo>
                  <a:pt x="672" y="1878"/>
                </a:lnTo>
                <a:lnTo>
                  <a:pt x="670" y="1878"/>
                </a:lnTo>
                <a:lnTo>
                  <a:pt x="672" y="1877"/>
                </a:lnTo>
                <a:close/>
                <a:moveTo>
                  <a:pt x="454" y="2062"/>
                </a:moveTo>
                <a:lnTo>
                  <a:pt x="452" y="2066"/>
                </a:lnTo>
                <a:lnTo>
                  <a:pt x="452" y="2064"/>
                </a:lnTo>
                <a:lnTo>
                  <a:pt x="452" y="2062"/>
                </a:lnTo>
                <a:lnTo>
                  <a:pt x="454" y="2062"/>
                </a:lnTo>
                <a:close/>
                <a:moveTo>
                  <a:pt x="643" y="1884"/>
                </a:moveTo>
                <a:lnTo>
                  <a:pt x="643" y="1885"/>
                </a:lnTo>
                <a:lnTo>
                  <a:pt x="641" y="1885"/>
                </a:lnTo>
                <a:lnTo>
                  <a:pt x="641" y="1884"/>
                </a:lnTo>
                <a:lnTo>
                  <a:pt x="643" y="1884"/>
                </a:lnTo>
                <a:close/>
                <a:moveTo>
                  <a:pt x="442" y="1975"/>
                </a:moveTo>
                <a:lnTo>
                  <a:pt x="442" y="1979"/>
                </a:lnTo>
                <a:lnTo>
                  <a:pt x="441" y="1977"/>
                </a:lnTo>
                <a:lnTo>
                  <a:pt x="439" y="1977"/>
                </a:lnTo>
                <a:lnTo>
                  <a:pt x="441" y="1975"/>
                </a:lnTo>
                <a:lnTo>
                  <a:pt x="441" y="1977"/>
                </a:lnTo>
                <a:lnTo>
                  <a:pt x="441" y="1975"/>
                </a:lnTo>
                <a:lnTo>
                  <a:pt x="442" y="1975"/>
                </a:lnTo>
                <a:close/>
                <a:moveTo>
                  <a:pt x="689" y="1839"/>
                </a:moveTo>
                <a:lnTo>
                  <a:pt x="689" y="1841"/>
                </a:lnTo>
                <a:lnTo>
                  <a:pt x="687" y="1843"/>
                </a:lnTo>
                <a:lnTo>
                  <a:pt x="687" y="1844"/>
                </a:lnTo>
                <a:lnTo>
                  <a:pt x="687" y="1843"/>
                </a:lnTo>
                <a:lnTo>
                  <a:pt x="687" y="1841"/>
                </a:lnTo>
                <a:lnTo>
                  <a:pt x="689" y="1841"/>
                </a:lnTo>
                <a:lnTo>
                  <a:pt x="687" y="1839"/>
                </a:lnTo>
                <a:lnTo>
                  <a:pt x="689" y="1839"/>
                </a:lnTo>
                <a:close/>
                <a:moveTo>
                  <a:pt x="432" y="2004"/>
                </a:moveTo>
                <a:lnTo>
                  <a:pt x="434" y="2004"/>
                </a:lnTo>
                <a:lnTo>
                  <a:pt x="432" y="2006"/>
                </a:lnTo>
                <a:lnTo>
                  <a:pt x="432" y="2004"/>
                </a:lnTo>
                <a:close/>
                <a:moveTo>
                  <a:pt x="468" y="1955"/>
                </a:moveTo>
                <a:lnTo>
                  <a:pt x="469" y="1957"/>
                </a:lnTo>
                <a:lnTo>
                  <a:pt x="468" y="1958"/>
                </a:lnTo>
                <a:lnTo>
                  <a:pt x="468" y="1957"/>
                </a:lnTo>
                <a:lnTo>
                  <a:pt x="468" y="1955"/>
                </a:lnTo>
                <a:close/>
                <a:moveTo>
                  <a:pt x="396" y="1941"/>
                </a:moveTo>
                <a:lnTo>
                  <a:pt x="398" y="1941"/>
                </a:lnTo>
                <a:lnTo>
                  <a:pt x="400" y="1943"/>
                </a:lnTo>
                <a:lnTo>
                  <a:pt x="398" y="1943"/>
                </a:lnTo>
                <a:lnTo>
                  <a:pt x="398" y="1945"/>
                </a:lnTo>
                <a:lnTo>
                  <a:pt x="396" y="1943"/>
                </a:lnTo>
                <a:lnTo>
                  <a:pt x="396" y="1941"/>
                </a:lnTo>
                <a:close/>
                <a:moveTo>
                  <a:pt x="481" y="2035"/>
                </a:moveTo>
                <a:lnTo>
                  <a:pt x="483" y="2037"/>
                </a:lnTo>
                <a:lnTo>
                  <a:pt x="480" y="2037"/>
                </a:lnTo>
                <a:lnTo>
                  <a:pt x="481" y="2035"/>
                </a:lnTo>
                <a:close/>
                <a:moveTo>
                  <a:pt x="621" y="1895"/>
                </a:moveTo>
                <a:lnTo>
                  <a:pt x="622" y="1895"/>
                </a:lnTo>
                <a:lnTo>
                  <a:pt x="621" y="1899"/>
                </a:lnTo>
                <a:lnTo>
                  <a:pt x="621" y="1897"/>
                </a:lnTo>
                <a:lnTo>
                  <a:pt x="621" y="1895"/>
                </a:lnTo>
                <a:close/>
                <a:moveTo>
                  <a:pt x="415" y="2018"/>
                </a:moveTo>
                <a:lnTo>
                  <a:pt x="417" y="2018"/>
                </a:lnTo>
                <a:lnTo>
                  <a:pt x="415" y="2021"/>
                </a:lnTo>
                <a:lnTo>
                  <a:pt x="413" y="2020"/>
                </a:lnTo>
                <a:lnTo>
                  <a:pt x="415" y="2018"/>
                </a:lnTo>
                <a:close/>
                <a:moveTo>
                  <a:pt x="444" y="1977"/>
                </a:moveTo>
                <a:lnTo>
                  <a:pt x="444" y="1979"/>
                </a:lnTo>
                <a:lnTo>
                  <a:pt x="442" y="1979"/>
                </a:lnTo>
                <a:lnTo>
                  <a:pt x="442" y="1977"/>
                </a:lnTo>
                <a:lnTo>
                  <a:pt x="444" y="1977"/>
                </a:lnTo>
                <a:lnTo>
                  <a:pt x="442" y="1977"/>
                </a:lnTo>
                <a:lnTo>
                  <a:pt x="444" y="1977"/>
                </a:lnTo>
                <a:close/>
                <a:moveTo>
                  <a:pt x="357" y="2501"/>
                </a:moveTo>
                <a:lnTo>
                  <a:pt x="357" y="2503"/>
                </a:lnTo>
                <a:lnTo>
                  <a:pt x="356" y="2501"/>
                </a:lnTo>
                <a:lnTo>
                  <a:pt x="357" y="2501"/>
                </a:lnTo>
                <a:close/>
                <a:moveTo>
                  <a:pt x="689" y="1841"/>
                </a:moveTo>
                <a:lnTo>
                  <a:pt x="689" y="1843"/>
                </a:lnTo>
                <a:lnTo>
                  <a:pt x="687" y="1844"/>
                </a:lnTo>
                <a:lnTo>
                  <a:pt x="689" y="1841"/>
                </a:lnTo>
                <a:close/>
                <a:moveTo>
                  <a:pt x="427" y="1970"/>
                </a:moveTo>
                <a:lnTo>
                  <a:pt x="427" y="1972"/>
                </a:lnTo>
                <a:lnTo>
                  <a:pt x="429" y="1972"/>
                </a:lnTo>
                <a:lnTo>
                  <a:pt x="427" y="1972"/>
                </a:lnTo>
                <a:lnTo>
                  <a:pt x="425" y="1972"/>
                </a:lnTo>
                <a:lnTo>
                  <a:pt x="427" y="1970"/>
                </a:lnTo>
                <a:close/>
                <a:moveTo>
                  <a:pt x="468" y="2030"/>
                </a:moveTo>
                <a:lnTo>
                  <a:pt x="469" y="2032"/>
                </a:lnTo>
                <a:lnTo>
                  <a:pt x="468" y="2032"/>
                </a:lnTo>
                <a:lnTo>
                  <a:pt x="466" y="2032"/>
                </a:lnTo>
                <a:lnTo>
                  <a:pt x="468" y="2030"/>
                </a:lnTo>
                <a:close/>
                <a:moveTo>
                  <a:pt x="456" y="2086"/>
                </a:moveTo>
                <a:lnTo>
                  <a:pt x="454" y="2088"/>
                </a:lnTo>
                <a:lnTo>
                  <a:pt x="454" y="2086"/>
                </a:lnTo>
                <a:lnTo>
                  <a:pt x="456" y="2086"/>
                </a:lnTo>
                <a:close/>
                <a:moveTo>
                  <a:pt x="621" y="2142"/>
                </a:moveTo>
                <a:lnTo>
                  <a:pt x="622" y="2144"/>
                </a:lnTo>
                <a:lnTo>
                  <a:pt x="621" y="2144"/>
                </a:lnTo>
                <a:lnTo>
                  <a:pt x="619" y="2142"/>
                </a:lnTo>
                <a:lnTo>
                  <a:pt x="621" y="2142"/>
                </a:lnTo>
                <a:close/>
                <a:moveTo>
                  <a:pt x="461" y="2054"/>
                </a:moveTo>
                <a:lnTo>
                  <a:pt x="463" y="2054"/>
                </a:lnTo>
                <a:lnTo>
                  <a:pt x="461" y="2055"/>
                </a:lnTo>
                <a:lnTo>
                  <a:pt x="459" y="2054"/>
                </a:lnTo>
                <a:lnTo>
                  <a:pt x="461" y="2054"/>
                </a:lnTo>
                <a:close/>
                <a:moveTo>
                  <a:pt x="481" y="2077"/>
                </a:moveTo>
                <a:lnTo>
                  <a:pt x="483" y="2077"/>
                </a:lnTo>
                <a:lnTo>
                  <a:pt x="483" y="2079"/>
                </a:lnTo>
                <a:lnTo>
                  <a:pt x="481" y="2079"/>
                </a:lnTo>
                <a:lnTo>
                  <a:pt x="481" y="2077"/>
                </a:lnTo>
                <a:close/>
                <a:moveTo>
                  <a:pt x="420" y="2015"/>
                </a:moveTo>
                <a:lnTo>
                  <a:pt x="422" y="2015"/>
                </a:lnTo>
                <a:lnTo>
                  <a:pt x="422" y="2016"/>
                </a:lnTo>
                <a:lnTo>
                  <a:pt x="420" y="2016"/>
                </a:lnTo>
                <a:lnTo>
                  <a:pt x="420" y="2015"/>
                </a:lnTo>
                <a:close/>
                <a:moveTo>
                  <a:pt x="685" y="1822"/>
                </a:moveTo>
                <a:lnTo>
                  <a:pt x="687" y="1824"/>
                </a:lnTo>
                <a:lnTo>
                  <a:pt x="685" y="1824"/>
                </a:lnTo>
                <a:lnTo>
                  <a:pt x="685" y="1822"/>
                </a:lnTo>
                <a:close/>
                <a:moveTo>
                  <a:pt x="607" y="1926"/>
                </a:moveTo>
                <a:lnTo>
                  <a:pt x="609" y="1926"/>
                </a:lnTo>
                <a:lnTo>
                  <a:pt x="609" y="1928"/>
                </a:lnTo>
                <a:lnTo>
                  <a:pt x="607" y="1928"/>
                </a:lnTo>
                <a:lnTo>
                  <a:pt x="607" y="1926"/>
                </a:lnTo>
                <a:close/>
                <a:moveTo>
                  <a:pt x="441" y="1982"/>
                </a:moveTo>
                <a:lnTo>
                  <a:pt x="442" y="1984"/>
                </a:lnTo>
                <a:lnTo>
                  <a:pt x="441" y="1986"/>
                </a:lnTo>
                <a:lnTo>
                  <a:pt x="441" y="1984"/>
                </a:lnTo>
                <a:lnTo>
                  <a:pt x="441" y="1982"/>
                </a:lnTo>
                <a:close/>
                <a:moveTo>
                  <a:pt x="447" y="2430"/>
                </a:moveTo>
                <a:lnTo>
                  <a:pt x="447" y="2433"/>
                </a:lnTo>
                <a:lnTo>
                  <a:pt x="446" y="2433"/>
                </a:lnTo>
                <a:lnTo>
                  <a:pt x="447" y="2430"/>
                </a:lnTo>
                <a:close/>
                <a:moveTo>
                  <a:pt x="505" y="1967"/>
                </a:moveTo>
                <a:lnTo>
                  <a:pt x="507" y="1967"/>
                </a:lnTo>
                <a:lnTo>
                  <a:pt x="507" y="1969"/>
                </a:lnTo>
                <a:lnTo>
                  <a:pt x="505" y="1969"/>
                </a:lnTo>
                <a:lnTo>
                  <a:pt x="505" y="1967"/>
                </a:lnTo>
                <a:close/>
                <a:moveTo>
                  <a:pt x="699" y="1838"/>
                </a:moveTo>
                <a:lnTo>
                  <a:pt x="701" y="1838"/>
                </a:lnTo>
                <a:lnTo>
                  <a:pt x="701" y="1839"/>
                </a:lnTo>
                <a:lnTo>
                  <a:pt x="699" y="1839"/>
                </a:lnTo>
                <a:lnTo>
                  <a:pt x="699" y="1838"/>
                </a:lnTo>
                <a:close/>
                <a:moveTo>
                  <a:pt x="529" y="1933"/>
                </a:moveTo>
                <a:lnTo>
                  <a:pt x="531" y="1933"/>
                </a:lnTo>
                <a:lnTo>
                  <a:pt x="531" y="1935"/>
                </a:lnTo>
                <a:lnTo>
                  <a:pt x="529" y="1933"/>
                </a:lnTo>
                <a:close/>
                <a:moveTo>
                  <a:pt x="554" y="2241"/>
                </a:moveTo>
                <a:lnTo>
                  <a:pt x="556" y="2241"/>
                </a:lnTo>
                <a:lnTo>
                  <a:pt x="556" y="2242"/>
                </a:lnTo>
                <a:lnTo>
                  <a:pt x="554" y="2242"/>
                </a:lnTo>
                <a:lnTo>
                  <a:pt x="554" y="2241"/>
                </a:lnTo>
                <a:close/>
                <a:moveTo>
                  <a:pt x="680" y="1831"/>
                </a:moveTo>
                <a:lnTo>
                  <a:pt x="682" y="1831"/>
                </a:lnTo>
                <a:lnTo>
                  <a:pt x="680" y="1832"/>
                </a:lnTo>
                <a:lnTo>
                  <a:pt x="680" y="1831"/>
                </a:lnTo>
                <a:close/>
                <a:moveTo>
                  <a:pt x="490" y="1997"/>
                </a:moveTo>
                <a:lnTo>
                  <a:pt x="492" y="1999"/>
                </a:lnTo>
                <a:lnTo>
                  <a:pt x="490" y="1999"/>
                </a:lnTo>
                <a:lnTo>
                  <a:pt x="490" y="1997"/>
                </a:lnTo>
                <a:close/>
                <a:moveTo>
                  <a:pt x="619" y="1897"/>
                </a:moveTo>
                <a:lnTo>
                  <a:pt x="619" y="1899"/>
                </a:lnTo>
                <a:lnTo>
                  <a:pt x="617" y="1899"/>
                </a:lnTo>
                <a:lnTo>
                  <a:pt x="619" y="1897"/>
                </a:lnTo>
                <a:close/>
                <a:moveTo>
                  <a:pt x="704" y="1805"/>
                </a:moveTo>
                <a:lnTo>
                  <a:pt x="706" y="1805"/>
                </a:lnTo>
                <a:lnTo>
                  <a:pt x="706" y="1807"/>
                </a:lnTo>
                <a:lnTo>
                  <a:pt x="704" y="1807"/>
                </a:lnTo>
                <a:lnTo>
                  <a:pt x="704" y="1805"/>
                </a:lnTo>
                <a:close/>
                <a:moveTo>
                  <a:pt x="475" y="2094"/>
                </a:moveTo>
                <a:lnTo>
                  <a:pt x="476" y="2094"/>
                </a:lnTo>
                <a:lnTo>
                  <a:pt x="476" y="2098"/>
                </a:lnTo>
                <a:lnTo>
                  <a:pt x="475" y="2096"/>
                </a:lnTo>
                <a:lnTo>
                  <a:pt x="475" y="2094"/>
                </a:lnTo>
                <a:close/>
                <a:moveTo>
                  <a:pt x="515" y="1957"/>
                </a:moveTo>
                <a:lnTo>
                  <a:pt x="517" y="1957"/>
                </a:lnTo>
                <a:lnTo>
                  <a:pt x="517" y="1958"/>
                </a:lnTo>
                <a:lnTo>
                  <a:pt x="515" y="1958"/>
                </a:lnTo>
                <a:lnTo>
                  <a:pt x="515" y="1957"/>
                </a:lnTo>
                <a:close/>
                <a:moveTo>
                  <a:pt x="609" y="1914"/>
                </a:moveTo>
                <a:lnTo>
                  <a:pt x="609" y="1916"/>
                </a:lnTo>
                <a:lnTo>
                  <a:pt x="607" y="1916"/>
                </a:lnTo>
                <a:lnTo>
                  <a:pt x="609" y="1914"/>
                </a:lnTo>
                <a:close/>
                <a:moveTo>
                  <a:pt x="689" y="1838"/>
                </a:moveTo>
                <a:lnTo>
                  <a:pt x="690" y="1838"/>
                </a:lnTo>
                <a:lnTo>
                  <a:pt x="690" y="1841"/>
                </a:lnTo>
                <a:lnTo>
                  <a:pt x="689" y="1839"/>
                </a:lnTo>
                <a:lnTo>
                  <a:pt x="689" y="1838"/>
                </a:lnTo>
                <a:close/>
                <a:moveTo>
                  <a:pt x="500" y="2117"/>
                </a:moveTo>
                <a:lnTo>
                  <a:pt x="500" y="2118"/>
                </a:lnTo>
                <a:lnTo>
                  <a:pt x="498" y="2118"/>
                </a:lnTo>
                <a:lnTo>
                  <a:pt x="500" y="2117"/>
                </a:lnTo>
                <a:close/>
                <a:moveTo>
                  <a:pt x="427" y="2387"/>
                </a:moveTo>
                <a:lnTo>
                  <a:pt x="429" y="2387"/>
                </a:lnTo>
                <a:lnTo>
                  <a:pt x="427" y="2387"/>
                </a:lnTo>
                <a:close/>
                <a:moveTo>
                  <a:pt x="492" y="2128"/>
                </a:moveTo>
                <a:lnTo>
                  <a:pt x="493" y="2130"/>
                </a:lnTo>
                <a:lnTo>
                  <a:pt x="493" y="2132"/>
                </a:lnTo>
                <a:lnTo>
                  <a:pt x="492" y="2130"/>
                </a:lnTo>
                <a:lnTo>
                  <a:pt x="492" y="2128"/>
                </a:lnTo>
                <a:close/>
                <a:moveTo>
                  <a:pt x="468" y="1946"/>
                </a:moveTo>
                <a:lnTo>
                  <a:pt x="468" y="1948"/>
                </a:lnTo>
                <a:lnTo>
                  <a:pt x="468" y="1946"/>
                </a:lnTo>
                <a:close/>
                <a:moveTo>
                  <a:pt x="439" y="1963"/>
                </a:moveTo>
                <a:lnTo>
                  <a:pt x="439" y="1965"/>
                </a:lnTo>
                <a:lnTo>
                  <a:pt x="437" y="1963"/>
                </a:lnTo>
                <a:lnTo>
                  <a:pt x="439" y="1963"/>
                </a:lnTo>
                <a:close/>
                <a:moveTo>
                  <a:pt x="356" y="2498"/>
                </a:moveTo>
                <a:lnTo>
                  <a:pt x="357" y="2498"/>
                </a:lnTo>
                <a:lnTo>
                  <a:pt x="356" y="2499"/>
                </a:lnTo>
                <a:lnTo>
                  <a:pt x="356" y="2498"/>
                </a:lnTo>
                <a:close/>
                <a:moveTo>
                  <a:pt x="709" y="1802"/>
                </a:moveTo>
                <a:lnTo>
                  <a:pt x="711" y="1802"/>
                </a:lnTo>
                <a:lnTo>
                  <a:pt x="709" y="1804"/>
                </a:lnTo>
                <a:lnTo>
                  <a:pt x="709" y="1802"/>
                </a:lnTo>
                <a:close/>
                <a:moveTo>
                  <a:pt x="478" y="2076"/>
                </a:moveTo>
                <a:lnTo>
                  <a:pt x="480" y="2076"/>
                </a:lnTo>
                <a:lnTo>
                  <a:pt x="478" y="2079"/>
                </a:lnTo>
                <a:lnTo>
                  <a:pt x="478" y="2076"/>
                </a:lnTo>
                <a:close/>
                <a:moveTo>
                  <a:pt x="526" y="1940"/>
                </a:moveTo>
                <a:lnTo>
                  <a:pt x="526" y="1941"/>
                </a:lnTo>
                <a:lnTo>
                  <a:pt x="524" y="1941"/>
                </a:lnTo>
                <a:lnTo>
                  <a:pt x="526" y="1940"/>
                </a:lnTo>
                <a:close/>
                <a:moveTo>
                  <a:pt x="493" y="2110"/>
                </a:moveTo>
                <a:lnTo>
                  <a:pt x="493" y="2111"/>
                </a:lnTo>
                <a:lnTo>
                  <a:pt x="493" y="2110"/>
                </a:lnTo>
                <a:close/>
                <a:moveTo>
                  <a:pt x="488" y="2003"/>
                </a:moveTo>
                <a:lnTo>
                  <a:pt x="490" y="2003"/>
                </a:lnTo>
                <a:lnTo>
                  <a:pt x="488" y="2004"/>
                </a:lnTo>
                <a:lnTo>
                  <a:pt x="488" y="2003"/>
                </a:lnTo>
                <a:close/>
                <a:moveTo>
                  <a:pt x="427" y="2377"/>
                </a:moveTo>
                <a:lnTo>
                  <a:pt x="429" y="2377"/>
                </a:lnTo>
                <a:lnTo>
                  <a:pt x="429" y="2379"/>
                </a:lnTo>
                <a:lnTo>
                  <a:pt x="427" y="2379"/>
                </a:lnTo>
                <a:lnTo>
                  <a:pt x="427" y="2377"/>
                </a:lnTo>
                <a:close/>
                <a:moveTo>
                  <a:pt x="689" y="1822"/>
                </a:moveTo>
                <a:lnTo>
                  <a:pt x="689" y="1824"/>
                </a:lnTo>
                <a:lnTo>
                  <a:pt x="689" y="1822"/>
                </a:lnTo>
                <a:close/>
                <a:moveTo>
                  <a:pt x="629" y="1890"/>
                </a:moveTo>
                <a:lnTo>
                  <a:pt x="629" y="1892"/>
                </a:lnTo>
                <a:lnTo>
                  <a:pt x="629" y="1890"/>
                </a:lnTo>
                <a:close/>
                <a:moveTo>
                  <a:pt x="429" y="2004"/>
                </a:moveTo>
                <a:lnTo>
                  <a:pt x="429" y="2006"/>
                </a:lnTo>
                <a:lnTo>
                  <a:pt x="429" y="2004"/>
                </a:lnTo>
                <a:close/>
                <a:moveTo>
                  <a:pt x="444" y="1962"/>
                </a:moveTo>
                <a:lnTo>
                  <a:pt x="442" y="1962"/>
                </a:lnTo>
                <a:lnTo>
                  <a:pt x="444" y="1962"/>
                </a:lnTo>
                <a:close/>
                <a:moveTo>
                  <a:pt x="454" y="2066"/>
                </a:moveTo>
                <a:lnTo>
                  <a:pt x="454" y="2067"/>
                </a:lnTo>
                <a:lnTo>
                  <a:pt x="454" y="2066"/>
                </a:lnTo>
                <a:close/>
                <a:moveTo>
                  <a:pt x="480" y="2028"/>
                </a:moveTo>
                <a:lnTo>
                  <a:pt x="481" y="2028"/>
                </a:lnTo>
                <a:lnTo>
                  <a:pt x="481" y="2030"/>
                </a:lnTo>
                <a:lnTo>
                  <a:pt x="480" y="2028"/>
                </a:lnTo>
                <a:close/>
                <a:moveTo>
                  <a:pt x="357" y="2498"/>
                </a:moveTo>
                <a:lnTo>
                  <a:pt x="359" y="2498"/>
                </a:lnTo>
                <a:lnTo>
                  <a:pt x="359" y="2499"/>
                </a:lnTo>
                <a:lnTo>
                  <a:pt x="357" y="2499"/>
                </a:lnTo>
                <a:lnTo>
                  <a:pt x="357" y="2498"/>
                </a:lnTo>
                <a:close/>
                <a:moveTo>
                  <a:pt x="512" y="1963"/>
                </a:moveTo>
                <a:lnTo>
                  <a:pt x="512" y="1965"/>
                </a:lnTo>
                <a:lnTo>
                  <a:pt x="512" y="1963"/>
                </a:lnTo>
                <a:close/>
                <a:moveTo>
                  <a:pt x="451" y="2399"/>
                </a:moveTo>
                <a:lnTo>
                  <a:pt x="452" y="2399"/>
                </a:lnTo>
                <a:lnTo>
                  <a:pt x="452" y="2401"/>
                </a:lnTo>
                <a:lnTo>
                  <a:pt x="451" y="2399"/>
                </a:lnTo>
                <a:close/>
                <a:moveTo>
                  <a:pt x="461" y="2013"/>
                </a:moveTo>
                <a:lnTo>
                  <a:pt x="463" y="2015"/>
                </a:lnTo>
                <a:lnTo>
                  <a:pt x="461" y="2015"/>
                </a:lnTo>
                <a:lnTo>
                  <a:pt x="461" y="2013"/>
                </a:lnTo>
                <a:close/>
                <a:moveTo>
                  <a:pt x="478" y="2045"/>
                </a:moveTo>
                <a:lnTo>
                  <a:pt x="480" y="2045"/>
                </a:lnTo>
                <a:lnTo>
                  <a:pt x="478" y="2047"/>
                </a:lnTo>
                <a:lnTo>
                  <a:pt x="478" y="2045"/>
                </a:lnTo>
                <a:close/>
                <a:moveTo>
                  <a:pt x="451" y="1958"/>
                </a:moveTo>
                <a:lnTo>
                  <a:pt x="452" y="1960"/>
                </a:lnTo>
                <a:lnTo>
                  <a:pt x="451" y="1960"/>
                </a:lnTo>
                <a:lnTo>
                  <a:pt x="451" y="1958"/>
                </a:lnTo>
                <a:close/>
                <a:moveTo>
                  <a:pt x="692" y="1848"/>
                </a:moveTo>
                <a:lnTo>
                  <a:pt x="694" y="1848"/>
                </a:lnTo>
                <a:lnTo>
                  <a:pt x="692" y="1848"/>
                </a:lnTo>
                <a:close/>
                <a:moveTo>
                  <a:pt x="711" y="1819"/>
                </a:moveTo>
                <a:lnTo>
                  <a:pt x="713" y="1821"/>
                </a:lnTo>
                <a:lnTo>
                  <a:pt x="711" y="1821"/>
                </a:lnTo>
                <a:lnTo>
                  <a:pt x="709" y="1821"/>
                </a:lnTo>
                <a:lnTo>
                  <a:pt x="711" y="1819"/>
                </a:lnTo>
                <a:close/>
                <a:moveTo>
                  <a:pt x="451" y="1960"/>
                </a:moveTo>
                <a:lnTo>
                  <a:pt x="452" y="1962"/>
                </a:lnTo>
                <a:lnTo>
                  <a:pt x="451" y="1962"/>
                </a:lnTo>
                <a:lnTo>
                  <a:pt x="451" y="1960"/>
                </a:lnTo>
                <a:close/>
                <a:moveTo>
                  <a:pt x="463" y="2321"/>
                </a:moveTo>
                <a:lnTo>
                  <a:pt x="464" y="2321"/>
                </a:lnTo>
                <a:lnTo>
                  <a:pt x="464" y="2322"/>
                </a:lnTo>
                <a:lnTo>
                  <a:pt x="463" y="2322"/>
                </a:lnTo>
                <a:lnTo>
                  <a:pt x="463" y="2321"/>
                </a:lnTo>
                <a:close/>
                <a:moveTo>
                  <a:pt x="480" y="1957"/>
                </a:moveTo>
                <a:lnTo>
                  <a:pt x="480" y="1958"/>
                </a:lnTo>
                <a:lnTo>
                  <a:pt x="480" y="1957"/>
                </a:lnTo>
                <a:close/>
                <a:moveTo>
                  <a:pt x="495" y="2054"/>
                </a:moveTo>
                <a:lnTo>
                  <a:pt x="497" y="2054"/>
                </a:lnTo>
                <a:lnTo>
                  <a:pt x="497" y="2055"/>
                </a:lnTo>
                <a:lnTo>
                  <a:pt x="495" y="2055"/>
                </a:lnTo>
                <a:lnTo>
                  <a:pt x="495" y="2054"/>
                </a:lnTo>
                <a:close/>
                <a:moveTo>
                  <a:pt x="497" y="1972"/>
                </a:moveTo>
                <a:lnTo>
                  <a:pt x="498" y="1972"/>
                </a:lnTo>
                <a:lnTo>
                  <a:pt x="498" y="1974"/>
                </a:lnTo>
                <a:lnTo>
                  <a:pt x="497" y="1974"/>
                </a:lnTo>
                <a:lnTo>
                  <a:pt x="497" y="1972"/>
                </a:lnTo>
                <a:close/>
                <a:moveTo>
                  <a:pt x="626" y="1892"/>
                </a:moveTo>
                <a:lnTo>
                  <a:pt x="626" y="1894"/>
                </a:lnTo>
                <a:lnTo>
                  <a:pt x="626" y="1892"/>
                </a:lnTo>
                <a:close/>
                <a:moveTo>
                  <a:pt x="485" y="1987"/>
                </a:moveTo>
                <a:lnTo>
                  <a:pt x="486" y="1987"/>
                </a:lnTo>
                <a:lnTo>
                  <a:pt x="486" y="1989"/>
                </a:lnTo>
                <a:lnTo>
                  <a:pt x="485" y="1989"/>
                </a:lnTo>
                <a:lnTo>
                  <a:pt x="485" y="1987"/>
                </a:lnTo>
                <a:close/>
                <a:moveTo>
                  <a:pt x="476" y="2074"/>
                </a:moveTo>
                <a:lnTo>
                  <a:pt x="476" y="2076"/>
                </a:lnTo>
                <a:lnTo>
                  <a:pt x="476" y="2074"/>
                </a:lnTo>
                <a:close/>
                <a:moveTo>
                  <a:pt x="701" y="1822"/>
                </a:moveTo>
                <a:lnTo>
                  <a:pt x="702" y="1822"/>
                </a:lnTo>
                <a:lnTo>
                  <a:pt x="701" y="1824"/>
                </a:lnTo>
                <a:lnTo>
                  <a:pt x="701" y="1822"/>
                </a:lnTo>
                <a:close/>
                <a:moveTo>
                  <a:pt x="517" y="1877"/>
                </a:moveTo>
                <a:lnTo>
                  <a:pt x="519" y="1877"/>
                </a:lnTo>
                <a:lnTo>
                  <a:pt x="519" y="1878"/>
                </a:lnTo>
                <a:lnTo>
                  <a:pt x="517" y="1878"/>
                </a:lnTo>
                <a:lnTo>
                  <a:pt x="517" y="1877"/>
                </a:lnTo>
                <a:close/>
                <a:moveTo>
                  <a:pt x="650" y="2288"/>
                </a:moveTo>
                <a:lnTo>
                  <a:pt x="651" y="2288"/>
                </a:lnTo>
                <a:lnTo>
                  <a:pt x="651" y="2290"/>
                </a:lnTo>
                <a:lnTo>
                  <a:pt x="650" y="2290"/>
                </a:lnTo>
                <a:lnTo>
                  <a:pt x="650" y="2288"/>
                </a:lnTo>
                <a:close/>
                <a:moveTo>
                  <a:pt x="356" y="2498"/>
                </a:moveTo>
                <a:lnTo>
                  <a:pt x="356" y="2499"/>
                </a:lnTo>
                <a:lnTo>
                  <a:pt x="354" y="2499"/>
                </a:lnTo>
                <a:lnTo>
                  <a:pt x="356" y="2498"/>
                </a:lnTo>
                <a:close/>
                <a:moveTo>
                  <a:pt x="714" y="1797"/>
                </a:moveTo>
                <a:lnTo>
                  <a:pt x="714" y="1798"/>
                </a:lnTo>
                <a:lnTo>
                  <a:pt x="714" y="1797"/>
                </a:lnTo>
                <a:close/>
                <a:moveTo>
                  <a:pt x="483" y="2083"/>
                </a:moveTo>
                <a:lnTo>
                  <a:pt x="485" y="2083"/>
                </a:lnTo>
                <a:lnTo>
                  <a:pt x="485" y="2084"/>
                </a:lnTo>
                <a:lnTo>
                  <a:pt x="483" y="2084"/>
                </a:lnTo>
                <a:lnTo>
                  <a:pt x="483" y="2083"/>
                </a:lnTo>
                <a:close/>
                <a:moveTo>
                  <a:pt x="611" y="1923"/>
                </a:moveTo>
                <a:lnTo>
                  <a:pt x="612" y="1923"/>
                </a:lnTo>
                <a:lnTo>
                  <a:pt x="611" y="1924"/>
                </a:lnTo>
                <a:lnTo>
                  <a:pt x="611" y="1923"/>
                </a:lnTo>
                <a:close/>
                <a:moveTo>
                  <a:pt x="483" y="2081"/>
                </a:moveTo>
                <a:lnTo>
                  <a:pt x="485" y="2081"/>
                </a:lnTo>
                <a:lnTo>
                  <a:pt x="485" y="2083"/>
                </a:lnTo>
                <a:lnTo>
                  <a:pt x="483" y="2083"/>
                </a:lnTo>
                <a:lnTo>
                  <a:pt x="483" y="2081"/>
                </a:lnTo>
                <a:close/>
                <a:moveTo>
                  <a:pt x="441" y="1979"/>
                </a:moveTo>
                <a:lnTo>
                  <a:pt x="442" y="1979"/>
                </a:lnTo>
                <a:lnTo>
                  <a:pt x="441" y="1979"/>
                </a:lnTo>
                <a:close/>
                <a:moveTo>
                  <a:pt x="436" y="1980"/>
                </a:moveTo>
                <a:lnTo>
                  <a:pt x="436" y="1982"/>
                </a:lnTo>
                <a:lnTo>
                  <a:pt x="434" y="1982"/>
                </a:lnTo>
                <a:lnTo>
                  <a:pt x="436" y="1980"/>
                </a:lnTo>
                <a:close/>
                <a:moveTo>
                  <a:pt x="519" y="2564"/>
                </a:moveTo>
                <a:lnTo>
                  <a:pt x="519" y="2566"/>
                </a:lnTo>
                <a:lnTo>
                  <a:pt x="517" y="2567"/>
                </a:lnTo>
                <a:lnTo>
                  <a:pt x="517" y="2569"/>
                </a:lnTo>
                <a:lnTo>
                  <a:pt x="515" y="2569"/>
                </a:lnTo>
                <a:lnTo>
                  <a:pt x="514" y="2569"/>
                </a:lnTo>
                <a:lnTo>
                  <a:pt x="512" y="2569"/>
                </a:lnTo>
                <a:lnTo>
                  <a:pt x="510" y="2567"/>
                </a:lnTo>
                <a:lnTo>
                  <a:pt x="512" y="2567"/>
                </a:lnTo>
                <a:lnTo>
                  <a:pt x="512" y="2566"/>
                </a:lnTo>
                <a:lnTo>
                  <a:pt x="514" y="2566"/>
                </a:lnTo>
                <a:lnTo>
                  <a:pt x="517" y="2564"/>
                </a:lnTo>
                <a:lnTo>
                  <a:pt x="519" y="2564"/>
                </a:lnTo>
                <a:close/>
                <a:moveTo>
                  <a:pt x="537" y="2552"/>
                </a:moveTo>
                <a:lnTo>
                  <a:pt x="536" y="2552"/>
                </a:lnTo>
                <a:lnTo>
                  <a:pt x="534" y="2552"/>
                </a:lnTo>
                <a:lnTo>
                  <a:pt x="537" y="2552"/>
                </a:lnTo>
                <a:close/>
                <a:moveTo>
                  <a:pt x="524" y="2569"/>
                </a:moveTo>
                <a:lnTo>
                  <a:pt x="526" y="2569"/>
                </a:lnTo>
                <a:lnTo>
                  <a:pt x="526" y="2572"/>
                </a:lnTo>
                <a:lnTo>
                  <a:pt x="524" y="2572"/>
                </a:lnTo>
                <a:lnTo>
                  <a:pt x="524" y="2569"/>
                </a:lnTo>
                <a:close/>
                <a:moveTo>
                  <a:pt x="532" y="2584"/>
                </a:moveTo>
                <a:lnTo>
                  <a:pt x="534" y="2584"/>
                </a:lnTo>
                <a:lnTo>
                  <a:pt x="536" y="2586"/>
                </a:lnTo>
                <a:lnTo>
                  <a:pt x="537" y="2586"/>
                </a:lnTo>
                <a:lnTo>
                  <a:pt x="537" y="2589"/>
                </a:lnTo>
                <a:lnTo>
                  <a:pt x="536" y="2591"/>
                </a:lnTo>
                <a:lnTo>
                  <a:pt x="534" y="2591"/>
                </a:lnTo>
                <a:lnTo>
                  <a:pt x="534" y="2589"/>
                </a:lnTo>
                <a:lnTo>
                  <a:pt x="532" y="2591"/>
                </a:lnTo>
                <a:lnTo>
                  <a:pt x="532" y="2588"/>
                </a:lnTo>
                <a:lnTo>
                  <a:pt x="531" y="2588"/>
                </a:lnTo>
                <a:lnTo>
                  <a:pt x="531" y="2589"/>
                </a:lnTo>
                <a:lnTo>
                  <a:pt x="529" y="2588"/>
                </a:lnTo>
                <a:lnTo>
                  <a:pt x="527" y="2588"/>
                </a:lnTo>
                <a:lnTo>
                  <a:pt x="529" y="2588"/>
                </a:lnTo>
                <a:lnTo>
                  <a:pt x="527" y="2584"/>
                </a:lnTo>
                <a:lnTo>
                  <a:pt x="527" y="2583"/>
                </a:lnTo>
                <a:lnTo>
                  <a:pt x="529" y="2583"/>
                </a:lnTo>
                <a:lnTo>
                  <a:pt x="531" y="2584"/>
                </a:lnTo>
                <a:lnTo>
                  <a:pt x="532" y="2584"/>
                </a:lnTo>
                <a:close/>
                <a:moveTo>
                  <a:pt x="92" y="3362"/>
                </a:moveTo>
                <a:lnTo>
                  <a:pt x="92" y="3365"/>
                </a:lnTo>
                <a:lnTo>
                  <a:pt x="92" y="3369"/>
                </a:lnTo>
                <a:lnTo>
                  <a:pt x="92" y="3367"/>
                </a:lnTo>
                <a:lnTo>
                  <a:pt x="89" y="3367"/>
                </a:lnTo>
                <a:lnTo>
                  <a:pt x="87" y="3367"/>
                </a:lnTo>
                <a:lnTo>
                  <a:pt x="84" y="3367"/>
                </a:lnTo>
                <a:lnTo>
                  <a:pt x="82" y="3367"/>
                </a:lnTo>
                <a:lnTo>
                  <a:pt x="80" y="3367"/>
                </a:lnTo>
                <a:lnTo>
                  <a:pt x="80" y="3369"/>
                </a:lnTo>
                <a:lnTo>
                  <a:pt x="77" y="3370"/>
                </a:lnTo>
                <a:lnTo>
                  <a:pt x="75" y="3370"/>
                </a:lnTo>
                <a:lnTo>
                  <a:pt x="73" y="3370"/>
                </a:lnTo>
                <a:lnTo>
                  <a:pt x="72" y="3372"/>
                </a:lnTo>
                <a:lnTo>
                  <a:pt x="70" y="3372"/>
                </a:lnTo>
                <a:lnTo>
                  <a:pt x="68" y="3374"/>
                </a:lnTo>
                <a:lnTo>
                  <a:pt x="67" y="3374"/>
                </a:lnTo>
                <a:lnTo>
                  <a:pt x="63" y="3375"/>
                </a:lnTo>
                <a:lnTo>
                  <a:pt x="62" y="3375"/>
                </a:lnTo>
                <a:lnTo>
                  <a:pt x="60" y="3374"/>
                </a:lnTo>
                <a:lnTo>
                  <a:pt x="58" y="3374"/>
                </a:lnTo>
                <a:lnTo>
                  <a:pt x="56" y="3370"/>
                </a:lnTo>
                <a:lnTo>
                  <a:pt x="55" y="3369"/>
                </a:lnTo>
                <a:lnTo>
                  <a:pt x="53" y="3367"/>
                </a:lnTo>
                <a:lnTo>
                  <a:pt x="53" y="3365"/>
                </a:lnTo>
                <a:lnTo>
                  <a:pt x="51" y="3363"/>
                </a:lnTo>
                <a:lnTo>
                  <a:pt x="51" y="3365"/>
                </a:lnTo>
                <a:lnTo>
                  <a:pt x="50" y="3363"/>
                </a:lnTo>
                <a:lnTo>
                  <a:pt x="48" y="3362"/>
                </a:lnTo>
                <a:lnTo>
                  <a:pt x="45" y="3362"/>
                </a:lnTo>
                <a:lnTo>
                  <a:pt x="43" y="3362"/>
                </a:lnTo>
                <a:lnTo>
                  <a:pt x="41" y="3362"/>
                </a:lnTo>
                <a:lnTo>
                  <a:pt x="39" y="3360"/>
                </a:lnTo>
                <a:lnTo>
                  <a:pt x="38" y="3358"/>
                </a:lnTo>
                <a:lnTo>
                  <a:pt x="36" y="3358"/>
                </a:lnTo>
                <a:lnTo>
                  <a:pt x="34" y="3358"/>
                </a:lnTo>
                <a:lnTo>
                  <a:pt x="33" y="3358"/>
                </a:lnTo>
                <a:lnTo>
                  <a:pt x="31" y="3357"/>
                </a:lnTo>
                <a:lnTo>
                  <a:pt x="29" y="3357"/>
                </a:lnTo>
                <a:lnTo>
                  <a:pt x="29" y="3355"/>
                </a:lnTo>
                <a:lnTo>
                  <a:pt x="26" y="3355"/>
                </a:lnTo>
                <a:lnTo>
                  <a:pt x="24" y="3353"/>
                </a:lnTo>
                <a:lnTo>
                  <a:pt x="22" y="3353"/>
                </a:lnTo>
                <a:lnTo>
                  <a:pt x="21" y="3353"/>
                </a:lnTo>
                <a:lnTo>
                  <a:pt x="21" y="3355"/>
                </a:lnTo>
                <a:lnTo>
                  <a:pt x="19" y="3355"/>
                </a:lnTo>
                <a:lnTo>
                  <a:pt x="17" y="3355"/>
                </a:lnTo>
                <a:lnTo>
                  <a:pt x="16" y="3355"/>
                </a:lnTo>
                <a:lnTo>
                  <a:pt x="14" y="3355"/>
                </a:lnTo>
                <a:lnTo>
                  <a:pt x="11" y="3355"/>
                </a:lnTo>
                <a:lnTo>
                  <a:pt x="9" y="3355"/>
                </a:lnTo>
                <a:lnTo>
                  <a:pt x="7" y="3355"/>
                </a:lnTo>
                <a:lnTo>
                  <a:pt x="5" y="3357"/>
                </a:lnTo>
                <a:lnTo>
                  <a:pt x="4" y="3358"/>
                </a:lnTo>
                <a:lnTo>
                  <a:pt x="2" y="3355"/>
                </a:lnTo>
                <a:lnTo>
                  <a:pt x="0" y="3355"/>
                </a:lnTo>
                <a:lnTo>
                  <a:pt x="2" y="3353"/>
                </a:lnTo>
                <a:lnTo>
                  <a:pt x="4" y="3352"/>
                </a:lnTo>
                <a:lnTo>
                  <a:pt x="4" y="3350"/>
                </a:lnTo>
                <a:lnTo>
                  <a:pt x="5" y="3350"/>
                </a:lnTo>
                <a:lnTo>
                  <a:pt x="7" y="3348"/>
                </a:lnTo>
                <a:lnTo>
                  <a:pt x="7" y="3346"/>
                </a:lnTo>
                <a:lnTo>
                  <a:pt x="9" y="3346"/>
                </a:lnTo>
                <a:lnTo>
                  <a:pt x="9" y="3345"/>
                </a:lnTo>
                <a:lnTo>
                  <a:pt x="9" y="3343"/>
                </a:lnTo>
                <a:lnTo>
                  <a:pt x="9" y="3345"/>
                </a:lnTo>
                <a:lnTo>
                  <a:pt x="11" y="3343"/>
                </a:lnTo>
                <a:lnTo>
                  <a:pt x="12" y="3341"/>
                </a:lnTo>
                <a:lnTo>
                  <a:pt x="14" y="3340"/>
                </a:lnTo>
                <a:lnTo>
                  <a:pt x="14" y="3338"/>
                </a:lnTo>
                <a:lnTo>
                  <a:pt x="12" y="3338"/>
                </a:lnTo>
                <a:lnTo>
                  <a:pt x="12" y="3336"/>
                </a:lnTo>
                <a:lnTo>
                  <a:pt x="14" y="3336"/>
                </a:lnTo>
                <a:lnTo>
                  <a:pt x="16" y="3335"/>
                </a:lnTo>
                <a:lnTo>
                  <a:pt x="16" y="3333"/>
                </a:lnTo>
                <a:lnTo>
                  <a:pt x="17" y="3333"/>
                </a:lnTo>
                <a:lnTo>
                  <a:pt x="19" y="3329"/>
                </a:lnTo>
                <a:lnTo>
                  <a:pt x="21" y="3328"/>
                </a:lnTo>
                <a:lnTo>
                  <a:pt x="21" y="3326"/>
                </a:lnTo>
                <a:lnTo>
                  <a:pt x="21" y="3324"/>
                </a:lnTo>
                <a:lnTo>
                  <a:pt x="22" y="3323"/>
                </a:lnTo>
                <a:lnTo>
                  <a:pt x="22" y="3321"/>
                </a:lnTo>
                <a:lnTo>
                  <a:pt x="22" y="3319"/>
                </a:lnTo>
                <a:lnTo>
                  <a:pt x="22" y="3318"/>
                </a:lnTo>
                <a:lnTo>
                  <a:pt x="22" y="3316"/>
                </a:lnTo>
                <a:lnTo>
                  <a:pt x="24" y="3312"/>
                </a:lnTo>
                <a:lnTo>
                  <a:pt x="24" y="3311"/>
                </a:lnTo>
                <a:lnTo>
                  <a:pt x="26" y="3309"/>
                </a:lnTo>
                <a:lnTo>
                  <a:pt x="24" y="3307"/>
                </a:lnTo>
                <a:lnTo>
                  <a:pt x="26" y="3307"/>
                </a:lnTo>
                <a:lnTo>
                  <a:pt x="26" y="3306"/>
                </a:lnTo>
                <a:lnTo>
                  <a:pt x="26" y="3304"/>
                </a:lnTo>
                <a:lnTo>
                  <a:pt x="28" y="3301"/>
                </a:lnTo>
                <a:lnTo>
                  <a:pt x="28" y="3299"/>
                </a:lnTo>
                <a:lnTo>
                  <a:pt x="28" y="3295"/>
                </a:lnTo>
                <a:lnTo>
                  <a:pt x="28" y="3294"/>
                </a:lnTo>
                <a:lnTo>
                  <a:pt x="26" y="3294"/>
                </a:lnTo>
                <a:lnTo>
                  <a:pt x="26" y="3292"/>
                </a:lnTo>
                <a:lnTo>
                  <a:pt x="24" y="3292"/>
                </a:lnTo>
                <a:lnTo>
                  <a:pt x="24" y="3290"/>
                </a:lnTo>
                <a:lnTo>
                  <a:pt x="26" y="3290"/>
                </a:lnTo>
                <a:lnTo>
                  <a:pt x="28" y="3287"/>
                </a:lnTo>
                <a:lnTo>
                  <a:pt x="29" y="3287"/>
                </a:lnTo>
                <a:lnTo>
                  <a:pt x="31" y="3285"/>
                </a:lnTo>
                <a:lnTo>
                  <a:pt x="31" y="3284"/>
                </a:lnTo>
                <a:lnTo>
                  <a:pt x="33" y="3280"/>
                </a:lnTo>
                <a:lnTo>
                  <a:pt x="34" y="3278"/>
                </a:lnTo>
                <a:lnTo>
                  <a:pt x="34" y="3277"/>
                </a:lnTo>
                <a:lnTo>
                  <a:pt x="36" y="3275"/>
                </a:lnTo>
                <a:lnTo>
                  <a:pt x="36" y="3272"/>
                </a:lnTo>
                <a:lnTo>
                  <a:pt x="36" y="3270"/>
                </a:lnTo>
                <a:lnTo>
                  <a:pt x="38" y="3266"/>
                </a:lnTo>
                <a:lnTo>
                  <a:pt x="38" y="3265"/>
                </a:lnTo>
                <a:lnTo>
                  <a:pt x="36" y="3261"/>
                </a:lnTo>
                <a:lnTo>
                  <a:pt x="36" y="3260"/>
                </a:lnTo>
                <a:lnTo>
                  <a:pt x="36" y="3258"/>
                </a:lnTo>
                <a:lnTo>
                  <a:pt x="34" y="3256"/>
                </a:lnTo>
                <a:lnTo>
                  <a:pt x="34" y="3255"/>
                </a:lnTo>
                <a:lnTo>
                  <a:pt x="33" y="3255"/>
                </a:lnTo>
                <a:lnTo>
                  <a:pt x="34" y="3255"/>
                </a:lnTo>
                <a:lnTo>
                  <a:pt x="34" y="3256"/>
                </a:lnTo>
                <a:lnTo>
                  <a:pt x="34" y="3255"/>
                </a:lnTo>
                <a:lnTo>
                  <a:pt x="36" y="3256"/>
                </a:lnTo>
                <a:lnTo>
                  <a:pt x="38" y="3258"/>
                </a:lnTo>
                <a:lnTo>
                  <a:pt x="38" y="3260"/>
                </a:lnTo>
                <a:lnTo>
                  <a:pt x="38" y="3261"/>
                </a:lnTo>
                <a:lnTo>
                  <a:pt x="38" y="3260"/>
                </a:lnTo>
                <a:lnTo>
                  <a:pt x="38" y="3258"/>
                </a:lnTo>
                <a:lnTo>
                  <a:pt x="41" y="3260"/>
                </a:lnTo>
                <a:lnTo>
                  <a:pt x="39" y="3260"/>
                </a:lnTo>
                <a:lnTo>
                  <a:pt x="41" y="3260"/>
                </a:lnTo>
                <a:lnTo>
                  <a:pt x="43" y="3261"/>
                </a:lnTo>
                <a:lnTo>
                  <a:pt x="45" y="3261"/>
                </a:lnTo>
                <a:lnTo>
                  <a:pt x="45" y="3263"/>
                </a:lnTo>
                <a:lnTo>
                  <a:pt x="46" y="3263"/>
                </a:lnTo>
                <a:lnTo>
                  <a:pt x="45" y="3263"/>
                </a:lnTo>
                <a:lnTo>
                  <a:pt x="45" y="3260"/>
                </a:lnTo>
                <a:lnTo>
                  <a:pt x="41" y="3260"/>
                </a:lnTo>
                <a:lnTo>
                  <a:pt x="43" y="3258"/>
                </a:lnTo>
                <a:lnTo>
                  <a:pt x="43" y="3256"/>
                </a:lnTo>
                <a:lnTo>
                  <a:pt x="43" y="3255"/>
                </a:lnTo>
                <a:lnTo>
                  <a:pt x="43" y="3253"/>
                </a:lnTo>
                <a:lnTo>
                  <a:pt x="41" y="3253"/>
                </a:lnTo>
                <a:lnTo>
                  <a:pt x="41" y="3251"/>
                </a:lnTo>
                <a:lnTo>
                  <a:pt x="39" y="3253"/>
                </a:lnTo>
                <a:lnTo>
                  <a:pt x="41" y="3255"/>
                </a:lnTo>
                <a:lnTo>
                  <a:pt x="41" y="3256"/>
                </a:lnTo>
                <a:lnTo>
                  <a:pt x="39" y="3256"/>
                </a:lnTo>
                <a:lnTo>
                  <a:pt x="38" y="3256"/>
                </a:lnTo>
                <a:lnTo>
                  <a:pt x="39" y="3256"/>
                </a:lnTo>
                <a:lnTo>
                  <a:pt x="38" y="3256"/>
                </a:lnTo>
                <a:lnTo>
                  <a:pt x="38" y="3255"/>
                </a:lnTo>
                <a:lnTo>
                  <a:pt x="36" y="3253"/>
                </a:lnTo>
                <a:lnTo>
                  <a:pt x="34" y="3251"/>
                </a:lnTo>
                <a:lnTo>
                  <a:pt x="33" y="3253"/>
                </a:lnTo>
                <a:lnTo>
                  <a:pt x="29" y="3253"/>
                </a:lnTo>
                <a:lnTo>
                  <a:pt x="28" y="3255"/>
                </a:lnTo>
                <a:lnTo>
                  <a:pt x="26" y="3255"/>
                </a:lnTo>
                <a:lnTo>
                  <a:pt x="24" y="3255"/>
                </a:lnTo>
                <a:lnTo>
                  <a:pt x="21" y="3255"/>
                </a:lnTo>
                <a:lnTo>
                  <a:pt x="17" y="3255"/>
                </a:lnTo>
                <a:lnTo>
                  <a:pt x="16" y="3255"/>
                </a:lnTo>
                <a:lnTo>
                  <a:pt x="16" y="3253"/>
                </a:lnTo>
                <a:lnTo>
                  <a:pt x="17" y="3251"/>
                </a:lnTo>
                <a:lnTo>
                  <a:pt x="19" y="3249"/>
                </a:lnTo>
                <a:lnTo>
                  <a:pt x="19" y="3248"/>
                </a:lnTo>
                <a:lnTo>
                  <a:pt x="19" y="3244"/>
                </a:lnTo>
                <a:lnTo>
                  <a:pt x="19" y="3243"/>
                </a:lnTo>
                <a:lnTo>
                  <a:pt x="19" y="3241"/>
                </a:lnTo>
                <a:lnTo>
                  <a:pt x="19" y="3239"/>
                </a:lnTo>
                <a:lnTo>
                  <a:pt x="17" y="3238"/>
                </a:lnTo>
                <a:lnTo>
                  <a:pt x="17" y="3236"/>
                </a:lnTo>
                <a:lnTo>
                  <a:pt x="19" y="3236"/>
                </a:lnTo>
                <a:lnTo>
                  <a:pt x="22" y="3238"/>
                </a:lnTo>
                <a:lnTo>
                  <a:pt x="24" y="3236"/>
                </a:lnTo>
                <a:lnTo>
                  <a:pt x="24" y="3238"/>
                </a:lnTo>
                <a:lnTo>
                  <a:pt x="26" y="3239"/>
                </a:lnTo>
                <a:lnTo>
                  <a:pt x="24" y="3239"/>
                </a:lnTo>
                <a:lnTo>
                  <a:pt x="24" y="3241"/>
                </a:lnTo>
                <a:lnTo>
                  <a:pt x="26" y="3243"/>
                </a:lnTo>
                <a:lnTo>
                  <a:pt x="26" y="3241"/>
                </a:lnTo>
                <a:lnTo>
                  <a:pt x="28" y="3241"/>
                </a:lnTo>
                <a:lnTo>
                  <a:pt x="26" y="3241"/>
                </a:lnTo>
                <a:lnTo>
                  <a:pt x="28" y="3241"/>
                </a:lnTo>
                <a:lnTo>
                  <a:pt x="28" y="3243"/>
                </a:lnTo>
                <a:lnTo>
                  <a:pt x="28" y="3244"/>
                </a:lnTo>
                <a:lnTo>
                  <a:pt x="28" y="3243"/>
                </a:lnTo>
                <a:lnTo>
                  <a:pt x="28" y="3239"/>
                </a:lnTo>
                <a:lnTo>
                  <a:pt x="29" y="3238"/>
                </a:lnTo>
                <a:lnTo>
                  <a:pt x="29" y="3241"/>
                </a:lnTo>
                <a:lnTo>
                  <a:pt x="31" y="3239"/>
                </a:lnTo>
                <a:lnTo>
                  <a:pt x="31" y="3241"/>
                </a:lnTo>
                <a:lnTo>
                  <a:pt x="31" y="3239"/>
                </a:lnTo>
                <a:lnTo>
                  <a:pt x="33" y="3239"/>
                </a:lnTo>
                <a:lnTo>
                  <a:pt x="34" y="3239"/>
                </a:lnTo>
                <a:lnTo>
                  <a:pt x="33" y="3238"/>
                </a:lnTo>
                <a:lnTo>
                  <a:pt x="31" y="3238"/>
                </a:lnTo>
                <a:lnTo>
                  <a:pt x="29" y="3238"/>
                </a:lnTo>
                <a:lnTo>
                  <a:pt x="31" y="3236"/>
                </a:lnTo>
                <a:lnTo>
                  <a:pt x="33" y="3236"/>
                </a:lnTo>
                <a:lnTo>
                  <a:pt x="36" y="3234"/>
                </a:lnTo>
                <a:lnTo>
                  <a:pt x="38" y="3234"/>
                </a:lnTo>
                <a:lnTo>
                  <a:pt x="38" y="3232"/>
                </a:lnTo>
                <a:lnTo>
                  <a:pt x="38" y="3229"/>
                </a:lnTo>
                <a:lnTo>
                  <a:pt x="36" y="3229"/>
                </a:lnTo>
                <a:lnTo>
                  <a:pt x="36" y="3227"/>
                </a:lnTo>
                <a:lnTo>
                  <a:pt x="36" y="3226"/>
                </a:lnTo>
                <a:lnTo>
                  <a:pt x="38" y="3224"/>
                </a:lnTo>
                <a:lnTo>
                  <a:pt x="38" y="3222"/>
                </a:lnTo>
                <a:lnTo>
                  <a:pt x="36" y="3222"/>
                </a:lnTo>
                <a:lnTo>
                  <a:pt x="34" y="3224"/>
                </a:lnTo>
                <a:lnTo>
                  <a:pt x="33" y="3226"/>
                </a:lnTo>
                <a:lnTo>
                  <a:pt x="31" y="3227"/>
                </a:lnTo>
                <a:lnTo>
                  <a:pt x="29" y="3229"/>
                </a:lnTo>
                <a:lnTo>
                  <a:pt x="29" y="3231"/>
                </a:lnTo>
                <a:lnTo>
                  <a:pt x="29" y="3232"/>
                </a:lnTo>
                <a:lnTo>
                  <a:pt x="28" y="3234"/>
                </a:lnTo>
                <a:lnTo>
                  <a:pt x="26" y="3236"/>
                </a:lnTo>
                <a:lnTo>
                  <a:pt x="24" y="3236"/>
                </a:lnTo>
                <a:lnTo>
                  <a:pt x="21" y="3236"/>
                </a:lnTo>
                <a:lnTo>
                  <a:pt x="19" y="3234"/>
                </a:lnTo>
                <a:lnTo>
                  <a:pt x="17" y="3234"/>
                </a:lnTo>
                <a:lnTo>
                  <a:pt x="14" y="3236"/>
                </a:lnTo>
                <a:lnTo>
                  <a:pt x="14" y="3234"/>
                </a:lnTo>
                <a:lnTo>
                  <a:pt x="11" y="3232"/>
                </a:lnTo>
                <a:lnTo>
                  <a:pt x="9" y="3232"/>
                </a:lnTo>
                <a:lnTo>
                  <a:pt x="7" y="3231"/>
                </a:lnTo>
                <a:lnTo>
                  <a:pt x="5" y="3231"/>
                </a:lnTo>
                <a:lnTo>
                  <a:pt x="7" y="3229"/>
                </a:lnTo>
                <a:lnTo>
                  <a:pt x="7" y="3227"/>
                </a:lnTo>
                <a:lnTo>
                  <a:pt x="7" y="3226"/>
                </a:lnTo>
                <a:lnTo>
                  <a:pt x="9" y="3222"/>
                </a:lnTo>
                <a:lnTo>
                  <a:pt x="11" y="3221"/>
                </a:lnTo>
                <a:lnTo>
                  <a:pt x="12" y="3219"/>
                </a:lnTo>
                <a:lnTo>
                  <a:pt x="12" y="3217"/>
                </a:lnTo>
                <a:lnTo>
                  <a:pt x="14" y="3215"/>
                </a:lnTo>
                <a:lnTo>
                  <a:pt x="16" y="3212"/>
                </a:lnTo>
                <a:lnTo>
                  <a:pt x="16" y="3210"/>
                </a:lnTo>
                <a:lnTo>
                  <a:pt x="16" y="3209"/>
                </a:lnTo>
                <a:lnTo>
                  <a:pt x="17" y="3205"/>
                </a:lnTo>
                <a:lnTo>
                  <a:pt x="19" y="3204"/>
                </a:lnTo>
                <a:lnTo>
                  <a:pt x="21" y="3202"/>
                </a:lnTo>
                <a:lnTo>
                  <a:pt x="22" y="3200"/>
                </a:lnTo>
                <a:lnTo>
                  <a:pt x="22" y="3198"/>
                </a:lnTo>
                <a:lnTo>
                  <a:pt x="24" y="3197"/>
                </a:lnTo>
                <a:lnTo>
                  <a:pt x="24" y="3195"/>
                </a:lnTo>
                <a:lnTo>
                  <a:pt x="26" y="3193"/>
                </a:lnTo>
                <a:lnTo>
                  <a:pt x="26" y="3190"/>
                </a:lnTo>
                <a:lnTo>
                  <a:pt x="24" y="3190"/>
                </a:lnTo>
                <a:lnTo>
                  <a:pt x="24" y="3188"/>
                </a:lnTo>
                <a:lnTo>
                  <a:pt x="22" y="3187"/>
                </a:lnTo>
                <a:lnTo>
                  <a:pt x="24" y="3185"/>
                </a:lnTo>
                <a:lnTo>
                  <a:pt x="26" y="3187"/>
                </a:lnTo>
                <a:lnTo>
                  <a:pt x="28" y="3187"/>
                </a:lnTo>
                <a:lnTo>
                  <a:pt x="29" y="3187"/>
                </a:lnTo>
                <a:lnTo>
                  <a:pt x="31" y="3185"/>
                </a:lnTo>
                <a:lnTo>
                  <a:pt x="34" y="3183"/>
                </a:lnTo>
                <a:lnTo>
                  <a:pt x="36" y="3181"/>
                </a:lnTo>
                <a:lnTo>
                  <a:pt x="38" y="3180"/>
                </a:lnTo>
                <a:lnTo>
                  <a:pt x="39" y="3180"/>
                </a:lnTo>
                <a:lnTo>
                  <a:pt x="41" y="3178"/>
                </a:lnTo>
                <a:lnTo>
                  <a:pt x="43" y="3178"/>
                </a:lnTo>
                <a:lnTo>
                  <a:pt x="45" y="3176"/>
                </a:lnTo>
                <a:lnTo>
                  <a:pt x="45" y="3175"/>
                </a:lnTo>
                <a:lnTo>
                  <a:pt x="45" y="3173"/>
                </a:lnTo>
                <a:lnTo>
                  <a:pt x="46" y="3173"/>
                </a:lnTo>
                <a:lnTo>
                  <a:pt x="48" y="3170"/>
                </a:lnTo>
                <a:lnTo>
                  <a:pt x="48" y="3168"/>
                </a:lnTo>
                <a:lnTo>
                  <a:pt x="48" y="3166"/>
                </a:lnTo>
                <a:lnTo>
                  <a:pt x="50" y="3164"/>
                </a:lnTo>
                <a:lnTo>
                  <a:pt x="51" y="3164"/>
                </a:lnTo>
                <a:lnTo>
                  <a:pt x="51" y="3163"/>
                </a:lnTo>
                <a:lnTo>
                  <a:pt x="51" y="3161"/>
                </a:lnTo>
                <a:lnTo>
                  <a:pt x="53" y="3159"/>
                </a:lnTo>
                <a:lnTo>
                  <a:pt x="55" y="3158"/>
                </a:lnTo>
                <a:lnTo>
                  <a:pt x="56" y="3154"/>
                </a:lnTo>
                <a:lnTo>
                  <a:pt x="58" y="3154"/>
                </a:lnTo>
                <a:lnTo>
                  <a:pt x="58" y="3153"/>
                </a:lnTo>
                <a:lnTo>
                  <a:pt x="60" y="3151"/>
                </a:lnTo>
                <a:lnTo>
                  <a:pt x="62" y="3149"/>
                </a:lnTo>
                <a:lnTo>
                  <a:pt x="62" y="3147"/>
                </a:lnTo>
                <a:lnTo>
                  <a:pt x="63" y="3147"/>
                </a:lnTo>
                <a:lnTo>
                  <a:pt x="63" y="3146"/>
                </a:lnTo>
                <a:lnTo>
                  <a:pt x="65" y="3144"/>
                </a:lnTo>
                <a:lnTo>
                  <a:pt x="67" y="3141"/>
                </a:lnTo>
                <a:lnTo>
                  <a:pt x="67" y="3139"/>
                </a:lnTo>
                <a:lnTo>
                  <a:pt x="65" y="3137"/>
                </a:lnTo>
                <a:lnTo>
                  <a:pt x="65" y="3136"/>
                </a:lnTo>
                <a:lnTo>
                  <a:pt x="67" y="3134"/>
                </a:lnTo>
                <a:lnTo>
                  <a:pt x="68" y="3132"/>
                </a:lnTo>
                <a:lnTo>
                  <a:pt x="68" y="3130"/>
                </a:lnTo>
                <a:lnTo>
                  <a:pt x="70" y="3129"/>
                </a:lnTo>
                <a:lnTo>
                  <a:pt x="72" y="3127"/>
                </a:lnTo>
                <a:lnTo>
                  <a:pt x="72" y="3125"/>
                </a:lnTo>
                <a:lnTo>
                  <a:pt x="73" y="3124"/>
                </a:lnTo>
                <a:lnTo>
                  <a:pt x="73" y="3122"/>
                </a:lnTo>
                <a:lnTo>
                  <a:pt x="75" y="3120"/>
                </a:lnTo>
                <a:lnTo>
                  <a:pt x="77" y="3117"/>
                </a:lnTo>
                <a:lnTo>
                  <a:pt x="77" y="3115"/>
                </a:lnTo>
                <a:lnTo>
                  <a:pt x="79" y="3113"/>
                </a:lnTo>
                <a:lnTo>
                  <a:pt x="80" y="3112"/>
                </a:lnTo>
                <a:lnTo>
                  <a:pt x="82" y="3108"/>
                </a:lnTo>
                <a:lnTo>
                  <a:pt x="82" y="3107"/>
                </a:lnTo>
                <a:lnTo>
                  <a:pt x="84" y="3103"/>
                </a:lnTo>
                <a:lnTo>
                  <a:pt x="85" y="3101"/>
                </a:lnTo>
                <a:lnTo>
                  <a:pt x="85" y="3100"/>
                </a:lnTo>
                <a:lnTo>
                  <a:pt x="87" y="3098"/>
                </a:lnTo>
                <a:lnTo>
                  <a:pt x="87" y="3096"/>
                </a:lnTo>
                <a:lnTo>
                  <a:pt x="89" y="3095"/>
                </a:lnTo>
                <a:lnTo>
                  <a:pt x="89" y="3093"/>
                </a:lnTo>
                <a:lnTo>
                  <a:pt x="90" y="3091"/>
                </a:lnTo>
                <a:lnTo>
                  <a:pt x="92" y="3090"/>
                </a:lnTo>
                <a:lnTo>
                  <a:pt x="92" y="3086"/>
                </a:lnTo>
                <a:lnTo>
                  <a:pt x="94" y="3084"/>
                </a:lnTo>
                <a:lnTo>
                  <a:pt x="94" y="3083"/>
                </a:lnTo>
                <a:lnTo>
                  <a:pt x="94" y="3081"/>
                </a:lnTo>
                <a:lnTo>
                  <a:pt x="94" y="3078"/>
                </a:lnTo>
                <a:lnTo>
                  <a:pt x="94" y="3074"/>
                </a:lnTo>
                <a:lnTo>
                  <a:pt x="96" y="3074"/>
                </a:lnTo>
                <a:lnTo>
                  <a:pt x="94" y="3071"/>
                </a:lnTo>
                <a:lnTo>
                  <a:pt x="94" y="3069"/>
                </a:lnTo>
                <a:lnTo>
                  <a:pt x="94" y="3066"/>
                </a:lnTo>
                <a:lnTo>
                  <a:pt x="94" y="3062"/>
                </a:lnTo>
                <a:lnTo>
                  <a:pt x="94" y="3061"/>
                </a:lnTo>
                <a:lnTo>
                  <a:pt x="96" y="3059"/>
                </a:lnTo>
                <a:lnTo>
                  <a:pt x="94" y="3059"/>
                </a:lnTo>
                <a:lnTo>
                  <a:pt x="94" y="3057"/>
                </a:lnTo>
                <a:lnTo>
                  <a:pt x="94" y="3056"/>
                </a:lnTo>
                <a:lnTo>
                  <a:pt x="94" y="3054"/>
                </a:lnTo>
                <a:lnTo>
                  <a:pt x="96" y="3052"/>
                </a:lnTo>
                <a:lnTo>
                  <a:pt x="96" y="3049"/>
                </a:lnTo>
                <a:lnTo>
                  <a:pt x="96" y="3047"/>
                </a:lnTo>
                <a:lnTo>
                  <a:pt x="96" y="3044"/>
                </a:lnTo>
                <a:lnTo>
                  <a:pt x="96" y="3042"/>
                </a:lnTo>
                <a:lnTo>
                  <a:pt x="96" y="3040"/>
                </a:lnTo>
                <a:lnTo>
                  <a:pt x="96" y="3039"/>
                </a:lnTo>
                <a:lnTo>
                  <a:pt x="96" y="3037"/>
                </a:lnTo>
                <a:lnTo>
                  <a:pt x="97" y="3035"/>
                </a:lnTo>
                <a:lnTo>
                  <a:pt x="96" y="3035"/>
                </a:lnTo>
                <a:lnTo>
                  <a:pt x="97" y="3033"/>
                </a:lnTo>
                <a:lnTo>
                  <a:pt x="96" y="3033"/>
                </a:lnTo>
                <a:lnTo>
                  <a:pt x="96" y="3035"/>
                </a:lnTo>
                <a:lnTo>
                  <a:pt x="96" y="3033"/>
                </a:lnTo>
                <a:lnTo>
                  <a:pt x="96" y="3032"/>
                </a:lnTo>
                <a:lnTo>
                  <a:pt x="96" y="3028"/>
                </a:lnTo>
                <a:lnTo>
                  <a:pt x="96" y="3027"/>
                </a:lnTo>
                <a:lnTo>
                  <a:pt x="97" y="3025"/>
                </a:lnTo>
                <a:lnTo>
                  <a:pt x="97" y="3023"/>
                </a:lnTo>
                <a:lnTo>
                  <a:pt x="99" y="3022"/>
                </a:lnTo>
                <a:lnTo>
                  <a:pt x="101" y="3022"/>
                </a:lnTo>
                <a:lnTo>
                  <a:pt x="101" y="3020"/>
                </a:lnTo>
                <a:lnTo>
                  <a:pt x="102" y="3020"/>
                </a:lnTo>
                <a:lnTo>
                  <a:pt x="101" y="3020"/>
                </a:lnTo>
                <a:lnTo>
                  <a:pt x="97" y="3022"/>
                </a:lnTo>
                <a:lnTo>
                  <a:pt x="97" y="3020"/>
                </a:lnTo>
                <a:lnTo>
                  <a:pt x="99" y="3020"/>
                </a:lnTo>
                <a:lnTo>
                  <a:pt x="97" y="3018"/>
                </a:lnTo>
                <a:lnTo>
                  <a:pt x="99" y="3015"/>
                </a:lnTo>
                <a:lnTo>
                  <a:pt x="99" y="3013"/>
                </a:lnTo>
                <a:lnTo>
                  <a:pt x="101" y="3011"/>
                </a:lnTo>
                <a:lnTo>
                  <a:pt x="101" y="3010"/>
                </a:lnTo>
                <a:lnTo>
                  <a:pt x="101" y="3008"/>
                </a:lnTo>
                <a:lnTo>
                  <a:pt x="101" y="3006"/>
                </a:lnTo>
                <a:lnTo>
                  <a:pt x="101" y="3005"/>
                </a:lnTo>
                <a:lnTo>
                  <a:pt x="104" y="3003"/>
                </a:lnTo>
                <a:lnTo>
                  <a:pt x="104" y="3005"/>
                </a:lnTo>
                <a:lnTo>
                  <a:pt x="106" y="3005"/>
                </a:lnTo>
                <a:lnTo>
                  <a:pt x="104" y="3005"/>
                </a:lnTo>
                <a:lnTo>
                  <a:pt x="106" y="3003"/>
                </a:lnTo>
                <a:lnTo>
                  <a:pt x="104" y="3001"/>
                </a:lnTo>
                <a:lnTo>
                  <a:pt x="106" y="3003"/>
                </a:lnTo>
                <a:lnTo>
                  <a:pt x="106" y="2999"/>
                </a:lnTo>
                <a:lnTo>
                  <a:pt x="109" y="2999"/>
                </a:lnTo>
                <a:lnTo>
                  <a:pt x="111" y="2998"/>
                </a:lnTo>
                <a:lnTo>
                  <a:pt x="113" y="2998"/>
                </a:lnTo>
                <a:lnTo>
                  <a:pt x="113" y="2996"/>
                </a:lnTo>
                <a:lnTo>
                  <a:pt x="114" y="2996"/>
                </a:lnTo>
                <a:lnTo>
                  <a:pt x="118" y="2996"/>
                </a:lnTo>
                <a:lnTo>
                  <a:pt x="119" y="2996"/>
                </a:lnTo>
                <a:lnTo>
                  <a:pt x="119" y="2994"/>
                </a:lnTo>
                <a:lnTo>
                  <a:pt x="121" y="2993"/>
                </a:lnTo>
                <a:lnTo>
                  <a:pt x="119" y="2991"/>
                </a:lnTo>
                <a:lnTo>
                  <a:pt x="118" y="2993"/>
                </a:lnTo>
                <a:lnTo>
                  <a:pt x="116" y="2994"/>
                </a:lnTo>
                <a:lnTo>
                  <a:pt x="114" y="2996"/>
                </a:lnTo>
                <a:lnTo>
                  <a:pt x="113" y="2994"/>
                </a:lnTo>
                <a:lnTo>
                  <a:pt x="113" y="2996"/>
                </a:lnTo>
                <a:lnTo>
                  <a:pt x="109" y="2996"/>
                </a:lnTo>
                <a:lnTo>
                  <a:pt x="107" y="2994"/>
                </a:lnTo>
                <a:lnTo>
                  <a:pt x="106" y="2994"/>
                </a:lnTo>
                <a:lnTo>
                  <a:pt x="106" y="2996"/>
                </a:lnTo>
                <a:lnTo>
                  <a:pt x="104" y="2994"/>
                </a:lnTo>
                <a:lnTo>
                  <a:pt x="106" y="2994"/>
                </a:lnTo>
                <a:lnTo>
                  <a:pt x="107" y="2991"/>
                </a:lnTo>
                <a:lnTo>
                  <a:pt x="107" y="2994"/>
                </a:lnTo>
                <a:lnTo>
                  <a:pt x="109" y="2991"/>
                </a:lnTo>
                <a:lnTo>
                  <a:pt x="107" y="2989"/>
                </a:lnTo>
                <a:lnTo>
                  <a:pt x="111" y="2991"/>
                </a:lnTo>
                <a:lnTo>
                  <a:pt x="113" y="2991"/>
                </a:lnTo>
                <a:lnTo>
                  <a:pt x="114" y="2988"/>
                </a:lnTo>
                <a:lnTo>
                  <a:pt x="116" y="2988"/>
                </a:lnTo>
                <a:lnTo>
                  <a:pt x="119" y="2986"/>
                </a:lnTo>
                <a:lnTo>
                  <a:pt x="118" y="2986"/>
                </a:lnTo>
                <a:lnTo>
                  <a:pt x="118" y="2984"/>
                </a:lnTo>
                <a:lnTo>
                  <a:pt x="116" y="2986"/>
                </a:lnTo>
                <a:lnTo>
                  <a:pt x="114" y="2986"/>
                </a:lnTo>
                <a:lnTo>
                  <a:pt x="113" y="2988"/>
                </a:lnTo>
                <a:lnTo>
                  <a:pt x="111" y="2986"/>
                </a:lnTo>
                <a:lnTo>
                  <a:pt x="109" y="2986"/>
                </a:lnTo>
                <a:lnTo>
                  <a:pt x="107" y="2984"/>
                </a:lnTo>
                <a:lnTo>
                  <a:pt x="107" y="2981"/>
                </a:lnTo>
                <a:lnTo>
                  <a:pt x="106" y="2981"/>
                </a:lnTo>
                <a:lnTo>
                  <a:pt x="106" y="2979"/>
                </a:lnTo>
                <a:lnTo>
                  <a:pt x="107" y="2979"/>
                </a:lnTo>
                <a:lnTo>
                  <a:pt x="109" y="2977"/>
                </a:lnTo>
                <a:lnTo>
                  <a:pt x="109" y="2981"/>
                </a:lnTo>
                <a:lnTo>
                  <a:pt x="111" y="2982"/>
                </a:lnTo>
                <a:lnTo>
                  <a:pt x="111" y="2979"/>
                </a:lnTo>
                <a:lnTo>
                  <a:pt x="113" y="2979"/>
                </a:lnTo>
                <a:lnTo>
                  <a:pt x="113" y="2977"/>
                </a:lnTo>
                <a:lnTo>
                  <a:pt x="113" y="2974"/>
                </a:lnTo>
                <a:lnTo>
                  <a:pt x="113" y="2976"/>
                </a:lnTo>
                <a:lnTo>
                  <a:pt x="113" y="2974"/>
                </a:lnTo>
                <a:lnTo>
                  <a:pt x="114" y="2974"/>
                </a:lnTo>
                <a:lnTo>
                  <a:pt x="116" y="2972"/>
                </a:lnTo>
                <a:lnTo>
                  <a:pt x="116" y="2971"/>
                </a:lnTo>
                <a:lnTo>
                  <a:pt x="119" y="2969"/>
                </a:lnTo>
                <a:lnTo>
                  <a:pt x="119" y="2967"/>
                </a:lnTo>
                <a:lnTo>
                  <a:pt x="121" y="2965"/>
                </a:lnTo>
                <a:lnTo>
                  <a:pt x="119" y="2967"/>
                </a:lnTo>
                <a:lnTo>
                  <a:pt x="119" y="2969"/>
                </a:lnTo>
                <a:lnTo>
                  <a:pt x="116" y="2969"/>
                </a:lnTo>
                <a:lnTo>
                  <a:pt x="114" y="2969"/>
                </a:lnTo>
                <a:lnTo>
                  <a:pt x="116" y="2967"/>
                </a:lnTo>
                <a:lnTo>
                  <a:pt x="114" y="2965"/>
                </a:lnTo>
                <a:lnTo>
                  <a:pt x="114" y="2967"/>
                </a:lnTo>
                <a:lnTo>
                  <a:pt x="113" y="2969"/>
                </a:lnTo>
                <a:lnTo>
                  <a:pt x="114" y="2969"/>
                </a:lnTo>
                <a:lnTo>
                  <a:pt x="113" y="2969"/>
                </a:lnTo>
                <a:lnTo>
                  <a:pt x="113" y="2971"/>
                </a:lnTo>
                <a:lnTo>
                  <a:pt x="111" y="2971"/>
                </a:lnTo>
                <a:lnTo>
                  <a:pt x="113" y="2969"/>
                </a:lnTo>
                <a:lnTo>
                  <a:pt x="111" y="2967"/>
                </a:lnTo>
                <a:lnTo>
                  <a:pt x="107" y="2969"/>
                </a:lnTo>
                <a:lnTo>
                  <a:pt x="109" y="2971"/>
                </a:lnTo>
                <a:lnTo>
                  <a:pt x="107" y="2971"/>
                </a:lnTo>
                <a:lnTo>
                  <a:pt x="104" y="2972"/>
                </a:lnTo>
                <a:lnTo>
                  <a:pt x="104" y="2974"/>
                </a:lnTo>
                <a:lnTo>
                  <a:pt x="101" y="2974"/>
                </a:lnTo>
                <a:lnTo>
                  <a:pt x="102" y="2972"/>
                </a:lnTo>
                <a:lnTo>
                  <a:pt x="102" y="2971"/>
                </a:lnTo>
                <a:lnTo>
                  <a:pt x="101" y="2969"/>
                </a:lnTo>
                <a:lnTo>
                  <a:pt x="102" y="2969"/>
                </a:lnTo>
                <a:lnTo>
                  <a:pt x="104" y="2965"/>
                </a:lnTo>
                <a:lnTo>
                  <a:pt x="104" y="2964"/>
                </a:lnTo>
                <a:lnTo>
                  <a:pt x="106" y="2964"/>
                </a:lnTo>
                <a:lnTo>
                  <a:pt x="106" y="2962"/>
                </a:lnTo>
                <a:lnTo>
                  <a:pt x="107" y="2960"/>
                </a:lnTo>
                <a:lnTo>
                  <a:pt x="109" y="2960"/>
                </a:lnTo>
                <a:lnTo>
                  <a:pt x="113" y="2957"/>
                </a:lnTo>
                <a:lnTo>
                  <a:pt x="114" y="2959"/>
                </a:lnTo>
                <a:lnTo>
                  <a:pt x="114" y="2957"/>
                </a:lnTo>
                <a:lnTo>
                  <a:pt x="114" y="2955"/>
                </a:lnTo>
                <a:lnTo>
                  <a:pt x="113" y="2957"/>
                </a:lnTo>
                <a:lnTo>
                  <a:pt x="113" y="2955"/>
                </a:lnTo>
                <a:lnTo>
                  <a:pt x="111" y="2957"/>
                </a:lnTo>
                <a:lnTo>
                  <a:pt x="109" y="2957"/>
                </a:lnTo>
                <a:lnTo>
                  <a:pt x="107" y="2957"/>
                </a:lnTo>
                <a:lnTo>
                  <a:pt x="107" y="2955"/>
                </a:lnTo>
                <a:lnTo>
                  <a:pt x="106" y="2955"/>
                </a:lnTo>
                <a:lnTo>
                  <a:pt x="106" y="2957"/>
                </a:lnTo>
                <a:lnTo>
                  <a:pt x="102" y="2959"/>
                </a:lnTo>
                <a:lnTo>
                  <a:pt x="102" y="2957"/>
                </a:lnTo>
                <a:lnTo>
                  <a:pt x="102" y="2955"/>
                </a:lnTo>
                <a:lnTo>
                  <a:pt x="101" y="2954"/>
                </a:lnTo>
                <a:lnTo>
                  <a:pt x="104" y="2954"/>
                </a:lnTo>
                <a:lnTo>
                  <a:pt x="104" y="2952"/>
                </a:lnTo>
                <a:lnTo>
                  <a:pt x="102" y="2950"/>
                </a:lnTo>
                <a:lnTo>
                  <a:pt x="102" y="2948"/>
                </a:lnTo>
                <a:lnTo>
                  <a:pt x="102" y="2947"/>
                </a:lnTo>
                <a:lnTo>
                  <a:pt x="104" y="2947"/>
                </a:lnTo>
                <a:lnTo>
                  <a:pt x="102" y="2945"/>
                </a:lnTo>
                <a:lnTo>
                  <a:pt x="102" y="2943"/>
                </a:lnTo>
                <a:lnTo>
                  <a:pt x="101" y="2945"/>
                </a:lnTo>
                <a:lnTo>
                  <a:pt x="101" y="2943"/>
                </a:lnTo>
                <a:lnTo>
                  <a:pt x="99" y="2943"/>
                </a:lnTo>
                <a:lnTo>
                  <a:pt x="97" y="2943"/>
                </a:lnTo>
                <a:lnTo>
                  <a:pt x="97" y="2947"/>
                </a:lnTo>
                <a:lnTo>
                  <a:pt x="96" y="2945"/>
                </a:lnTo>
                <a:lnTo>
                  <a:pt x="97" y="2945"/>
                </a:lnTo>
                <a:lnTo>
                  <a:pt x="96" y="2943"/>
                </a:lnTo>
                <a:lnTo>
                  <a:pt x="97" y="2942"/>
                </a:lnTo>
                <a:lnTo>
                  <a:pt x="99" y="2940"/>
                </a:lnTo>
                <a:lnTo>
                  <a:pt x="99" y="2938"/>
                </a:lnTo>
                <a:lnTo>
                  <a:pt x="99" y="2936"/>
                </a:lnTo>
                <a:lnTo>
                  <a:pt x="99" y="2935"/>
                </a:lnTo>
                <a:lnTo>
                  <a:pt x="101" y="2935"/>
                </a:lnTo>
                <a:lnTo>
                  <a:pt x="101" y="2931"/>
                </a:lnTo>
                <a:lnTo>
                  <a:pt x="102" y="2933"/>
                </a:lnTo>
                <a:lnTo>
                  <a:pt x="104" y="2931"/>
                </a:lnTo>
                <a:lnTo>
                  <a:pt x="104" y="2933"/>
                </a:lnTo>
                <a:lnTo>
                  <a:pt x="107" y="2931"/>
                </a:lnTo>
                <a:lnTo>
                  <a:pt x="109" y="2931"/>
                </a:lnTo>
                <a:lnTo>
                  <a:pt x="106" y="2931"/>
                </a:lnTo>
                <a:lnTo>
                  <a:pt x="107" y="2930"/>
                </a:lnTo>
                <a:lnTo>
                  <a:pt x="106" y="2931"/>
                </a:lnTo>
                <a:lnTo>
                  <a:pt x="104" y="2930"/>
                </a:lnTo>
                <a:lnTo>
                  <a:pt x="104" y="2928"/>
                </a:lnTo>
                <a:lnTo>
                  <a:pt x="106" y="2928"/>
                </a:lnTo>
                <a:lnTo>
                  <a:pt x="107" y="2926"/>
                </a:lnTo>
                <a:lnTo>
                  <a:pt x="107" y="2928"/>
                </a:lnTo>
                <a:lnTo>
                  <a:pt x="109" y="2926"/>
                </a:lnTo>
                <a:lnTo>
                  <a:pt x="111" y="2928"/>
                </a:lnTo>
                <a:lnTo>
                  <a:pt x="113" y="2928"/>
                </a:lnTo>
                <a:lnTo>
                  <a:pt x="114" y="2926"/>
                </a:lnTo>
                <a:lnTo>
                  <a:pt x="116" y="2926"/>
                </a:lnTo>
                <a:lnTo>
                  <a:pt x="116" y="2928"/>
                </a:lnTo>
                <a:lnTo>
                  <a:pt x="119" y="2926"/>
                </a:lnTo>
                <a:lnTo>
                  <a:pt x="119" y="2928"/>
                </a:lnTo>
                <a:lnTo>
                  <a:pt x="121" y="2926"/>
                </a:lnTo>
                <a:lnTo>
                  <a:pt x="119" y="2928"/>
                </a:lnTo>
                <a:lnTo>
                  <a:pt x="119" y="2925"/>
                </a:lnTo>
                <a:lnTo>
                  <a:pt x="118" y="2923"/>
                </a:lnTo>
                <a:lnTo>
                  <a:pt x="119" y="2923"/>
                </a:lnTo>
                <a:lnTo>
                  <a:pt x="121" y="2923"/>
                </a:lnTo>
                <a:lnTo>
                  <a:pt x="123" y="2923"/>
                </a:lnTo>
                <a:lnTo>
                  <a:pt x="123" y="2921"/>
                </a:lnTo>
                <a:lnTo>
                  <a:pt x="124" y="2923"/>
                </a:lnTo>
                <a:lnTo>
                  <a:pt x="126" y="2923"/>
                </a:lnTo>
                <a:lnTo>
                  <a:pt x="126" y="2921"/>
                </a:lnTo>
                <a:lnTo>
                  <a:pt x="128" y="2925"/>
                </a:lnTo>
                <a:lnTo>
                  <a:pt x="131" y="2925"/>
                </a:lnTo>
                <a:lnTo>
                  <a:pt x="131" y="2926"/>
                </a:lnTo>
                <a:lnTo>
                  <a:pt x="135" y="2926"/>
                </a:lnTo>
                <a:lnTo>
                  <a:pt x="136" y="2926"/>
                </a:lnTo>
                <a:lnTo>
                  <a:pt x="136" y="2925"/>
                </a:lnTo>
                <a:lnTo>
                  <a:pt x="138" y="2926"/>
                </a:lnTo>
                <a:lnTo>
                  <a:pt x="138" y="2925"/>
                </a:lnTo>
                <a:lnTo>
                  <a:pt x="140" y="2926"/>
                </a:lnTo>
                <a:lnTo>
                  <a:pt x="141" y="2926"/>
                </a:lnTo>
                <a:lnTo>
                  <a:pt x="143" y="2925"/>
                </a:lnTo>
                <a:lnTo>
                  <a:pt x="145" y="2925"/>
                </a:lnTo>
                <a:lnTo>
                  <a:pt x="147" y="2923"/>
                </a:lnTo>
                <a:lnTo>
                  <a:pt x="148" y="2925"/>
                </a:lnTo>
                <a:lnTo>
                  <a:pt x="150" y="2923"/>
                </a:lnTo>
                <a:lnTo>
                  <a:pt x="150" y="2925"/>
                </a:lnTo>
                <a:lnTo>
                  <a:pt x="148" y="2925"/>
                </a:lnTo>
                <a:lnTo>
                  <a:pt x="150" y="2925"/>
                </a:lnTo>
                <a:lnTo>
                  <a:pt x="148" y="2926"/>
                </a:lnTo>
                <a:lnTo>
                  <a:pt x="150" y="2928"/>
                </a:lnTo>
                <a:lnTo>
                  <a:pt x="150" y="2926"/>
                </a:lnTo>
                <a:lnTo>
                  <a:pt x="152" y="2926"/>
                </a:lnTo>
                <a:lnTo>
                  <a:pt x="152" y="2925"/>
                </a:lnTo>
                <a:lnTo>
                  <a:pt x="155" y="2923"/>
                </a:lnTo>
                <a:lnTo>
                  <a:pt x="155" y="2925"/>
                </a:lnTo>
                <a:lnTo>
                  <a:pt x="157" y="2926"/>
                </a:lnTo>
                <a:lnTo>
                  <a:pt x="157" y="2928"/>
                </a:lnTo>
                <a:lnTo>
                  <a:pt x="158" y="2930"/>
                </a:lnTo>
                <a:lnTo>
                  <a:pt x="157" y="2933"/>
                </a:lnTo>
                <a:lnTo>
                  <a:pt x="158" y="2930"/>
                </a:lnTo>
                <a:lnTo>
                  <a:pt x="157" y="2928"/>
                </a:lnTo>
                <a:lnTo>
                  <a:pt x="158" y="2928"/>
                </a:lnTo>
                <a:lnTo>
                  <a:pt x="158" y="2925"/>
                </a:lnTo>
                <a:lnTo>
                  <a:pt x="162" y="2925"/>
                </a:lnTo>
                <a:lnTo>
                  <a:pt x="164" y="2925"/>
                </a:lnTo>
                <a:lnTo>
                  <a:pt x="162" y="2925"/>
                </a:lnTo>
                <a:lnTo>
                  <a:pt x="160" y="2923"/>
                </a:lnTo>
                <a:lnTo>
                  <a:pt x="158" y="2923"/>
                </a:lnTo>
                <a:lnTo>
                  <a:pt x="157" y="2923"/>
                </a:lnTo>
                <a:lnTo>
                  <a:pt x="157" y="2921"/>
                </a:lnTo>
                <a:lnTo>
                  <a:pt x="155" y="2921"/>
                </a:lnTo>
                <a:lnTo>
                  <a:pt x="155" y="2919"/>
                </a:lnTo>
                <a:lnTo>
                  <a:pt x="158" y="2919"/>
                </a:lnTo>
                <a:lnTo>
                  <a:pt x="160" y="2921"/>
                </a:lnTo>
                <a:lnTo>
                  <a:pt x="162" y="2919"/>
                </a:lnTo>
                <a:lnTo>
                  <a:pt x="164" y="2918"/>
                </a:lnTo>
                <a:lnTo>
                  <a:pt x="160" y="2919"/>
                </a:lnTo>
                <a:lnTo>
                  <a:pt x="158" y="2919"/>
                </a:lnTo>
                <a:lnTo>
                  <a:pt x="158" y="2918"/>
                </a:lnTo>
                <a:lnTo>
                  <a:pt x="157" y="2919"/>
                </a:lnTo>
                <a:lnTo>
                  <a:pt x="155" y="2919"/>
                </a:lnTo>
                <a:lnTo>
                  <a:pt x="153" y="2919"/>
                </a:lnTo>
                <a:lnTo>
                  <a:pt x="155" y="2918"/>
                </a:lnTo>
                <a:lnTo>
                  <a:pt x="155" y="2916"/>
                </a:lnTo>
                <a:lnTo>
                  <a:pt x="157" y="2914"/>
                </a:lnTo>
                <a:lnTo>
                  <a:pt x="157" y="2913"/>
                </a:lnTo>
                <a:lnTo>
                  <a:pt x="158" y="2913"/>
                </a:lnTo>
                <a:lnTo>
                  <a:pt x="162" y="2913"/>
                </a:lnTo>
                <a:lnTo>
                  <a:pt x="164" y="2909"/>
                </a:lnTo>
                <a:lnTo>
                  <a:pt x="165" y="2911"/>
                </a:lnTo>
                <a:lnTo>
                  <a:pt x="167" y="2909"/>
                </a:lnTo>
                <a:lnTo>
                  <a:pt x="169" y="2909"/>
                </a:lnTo>
                <a:lnTo>
                  <a:pt x="169" y="2908"/>
                </a:lnTo>
                <a:lnTo>
                  <a:pt x="169" y="2911"/>
                </a:lnTo>
                <a:lnTo>
                  <a:pt x="170" y="2909"/>
                </a:lnTo>
                <a:lnTo>
                  <a:pt x="170" y="2908"/>
                </a:lnTo>
                <a:lnTo>
                  <a:pt x="172" y="2906"/>
                </a:lnTo>
                <a:lnTo>
                  <a:pt x="174" y="2906"/>
                </a:lnTo>
                <a:lnTo>
                  <a:pt x="175" y="2908"/>
                </a:lnTo>
                <a:lnTo>
                  <a:pt x="177" y="2906"/>
                </a:lnTo>
                <a:lnTo>
                  <a:pt x="177" y="2904"/>
                </a:lnTo>
                <a:lnTo>
                  <a:pt x="179" y="2906"/>
                </a:lnTo>
                <a:lnTo>
                  <a:pt x="181" y="2904"/>
                </a:lnTo>
                <a:lnTo>
                  <a:pt x="182" y="2904"/>
                </a:lnTo>
                <a:lnTo>
                  <a:pt x="182" y="2906"/>
                </a:lnTo>
                <a:lnTo>
                  <a:pt x="182" y="2908"/>
                </a:lnTo>
                <a:lnTo>
                  <a:pt x="181" y="2908"/>
                </a:lnTo>
                <a:lnTo>
                  <a:pt x="181" y="2909"/>
                </a:lnTo>
                <a:lnTo>
                  <a:pt x="181" y="2911"/>
                </a:lnTo>
                <a:lnTo>
                  <a:pt x="179" y="2911"/>
                </a:lnTo>
                <a:lnTo>
                  <a:pt x="181" y="2911"/>
                </a:lnTo>
                <a:lnTo>
                  <a:pt x="182" y="2911"/>
                </a:lnTo>
                <a:lnTo>
                  <a:pt x="182" y="2908"/>
                </a:lnTo>
                <a:lnTo>
                  <a:pt x="182" y="2909"/>
                </a:lnTo>
                <a:lnTo>
                  <a:pt x="184" y="2909"/>
                </a:lnTo>
                <a:lnTo>
                  <a:pt x="184" y="2908"/>
                </a:lnTo>
                <a:lnTo>
                  <a:pt x="186" y="2908"/>
                </a:lnTo>
                <a:lnTo>
                  <a:pt x="189" y="2908"/>
                </a:lnTo>
                <a:lnTo>
                  <a:pt x="191" y="2906"/>
                </a:lnTo>
                <a:lnTo>
                  <a:pt x="191" y="2904"/>
                </a:lnTo>
                <a:lnTo>
                  <a:pt x="192" y="2906"/>
                </a:lnTo>
                <a:lnTo>
                  <a:pt x="191" y="2908"/>
                </a:lnTo>
                <a:lnTo>
                  <a:pt x="191" y="2909"/>
                </a:lnTo>
                <a:lnTo>
                  <a:pt x="189" y="2909"/>
                </a:lnTo>
                <a:lnTo>
                  <a:pt x="191" y="2911"/>
                </a:lnTo>
                <a:lnTo>
                  <a:pt x="191" y="2909"/>
                </a:lnTo>
                <a:lnTo>
                  <a:pt x="191" y="2908"/>
                </a:lnTo>
                <a:lnTo>
                  <a:pt x="194" y="2908"/>
                </a:lnTo>
                <a:lnTo>
                  <a:pt x="194" y="2911"/>
                </a:lnTo>
                <a:lnTo>
                  <a:pt x="194" y="2913"/>
                </a:lnTo>
                <a:lnTo>
                  <a:pt x="194" y="2914"/>
                </a:lnTo>
                <a:lnTo>
                  <a:pt x="194" y="2913"/>
                </a:lnTo>
                <a:lnTo>
                  <a:pt x="196" y="2913"/>
                </a:lnTo>
                <a:lnTo>
                  <a:pt x="196" y="2911"/>
                </a:lnTo>
                <a:lnTo>
                  <a:pt x="198" y="2911"/>
                </a:lnTo>
                <a:lnTo>
                  <a:pt x="199" y="2911"/>
                </a:lnTo>
                <a:lnTo>
                  <a:pt x="201" y="2913"/>
                </a:lnTo>
                <a:lnTo>
                  <a:pt x="201" y="2914"/>
                </a:lnTo>
                <a:lnTo>
                  <a:pt x="203" y="2914"/>
                </a:lnTo>
                <a:lnTo>
                  <a:pt x="204" y="2916"/>
                </a:lnTo>
                <a:lnTo>
                  <a:pt x="206" y="2918"/>
                </a:lnTo>
                <a:lnTo>
                  <a:pt x="206" y="2919"/>
                </a:lnTo>
                <a:lnTo>
                  <a:pt x="208" y="2921"/>
                </a:lnTo>
                <a:lnTo>
                  <a:pt x="208" y="2923"/>
                </a:lnTo>
                <a:lnTo>
                  <a:pt x="209" y="2925"/>
                </a:lnTo>
                <a:lnTo>
                  <a:pt x="209" y="2926"/>
                </a:lnTo>
                <a:lnTo>
                  <a:pt x="213" y="2926"/>
                </a:lnTo>
                <a:lnTo>
                  <a:pt x="215" y="2928"/>
                </a:lnTo>
                <a:lnTo>
                  <a:pt x="216" y="2928"/>
                </a:lnTo>
                <a:lnTo>
                  <a:pt x="218" y="2928"/>
                </a:lnTo>
                <a:lnTo>
                  <a:pt x="220" y="2928"/>
                </a:lnTo>
                <a:lnTo>
                  <a:pt x="220" y="2930"/>
                </a:lnTo>
                <a:lnTo>
                  <a:pt x="218" y="2933"/>
                </a:lnTo>
                <a:lnTo>
                  <a:pt x="218" y="2935"/>
                </a:lnTo>
                <a:lnTo>
                  <a:pt x="216" y="2935"/>
                </a:lnTo>
                <a:lnTo>
                  <a:pt x="218" y="2935"/>
                </a:lnTo>
                <a:lnTo>
                  <a:pt x="220" y="2933"/>
                </a:lnTo>
                <a:lnTo>
                  <a:pt x="220" y="2931"/>
                </a:lnTo>
                <a:lnTo>
                  <a:pt x="221" y="2931"/>
                </a:lnTo>
                <a:lnTo>
                  <a:pt x="220" y="2930"/>
                </a:lnTo>
                <a:lnTo>
                  <a:pt x="220" y="2928"/>
                </a:lnTo>
                <a:lnTo>
                  <a:pt x="223" y="2930"/>
                </a:lnTo>
                <a:lnTo>
                  <a:pt x="225" y="2928"/>
                </a:lnTo>
                <a:lnTo>
                  <a:pt x="228" y="2930"/>
                </a:lnTo>
                <a:lnTo>
                  <a:pt x="230" y="2930"/>
                </a:lnTo>
                <a:lnTo>
                  <a:pt x="232" y="2931"/>
                </a:lnTo>
                <a:lnTo>
                  <a:pt x="233" y="2931"/>
                </a:lnTo>
                <a:lnTo>
                  <a:pt x="235" y="2931"/>
                </a:lnTo>
                <a:lnTo>
                  <a:pt x="235" y="2935"/>
                </a:lnTo>
                <a:lnTo>
                  <a:pt x="235" y="2933"/>
                </a:lnTo>
                <a:lnTo>
                  <a:pt x="237" y="2931"/>
                </a:lnTo>
                <a:lnTo>
                  <a:pt x="238" y="2933"/>
                </a:lnTo>
                <a:lnTo>
                  <a:pt x="240" y="2933"/>
                </a:lnTo>
                <a:lnTo>
                  <a:pt x="242" y="2935"/>
                </a:lnTo>
                <a:lnTo>
                  <a:pt x="245" y="2935"/>
                </a:lnTo>
                <a:lnTo>
                  <a:pt x="249" y="2936"/>
                </a:lnTo>
                <a:lnTo>
                  <a:pt x="249" y="2935"/>
                </a:lnTo>
                <a:lnTo>
                  <a:pt x="250" y="2936"/>
                </a:lnTo>
                <a:lnTo>
                  <a:pt x="252" y="2936"/>
                </a:lnTo>
                <a:lnTo>
                  <a:pt x="254" y="2936"/>
                </a:lnTo>
                <a:lnTo>
                  <a:pt x="255" y="2936"/>
                </a:lnTo>
                <a:lnTo>
                  <a:pt x="257" y="2936"/>
                </a:lnTo>
                <a:lnTo>
                  <a:pt x="259" y="2936"/>
                </a:lnTo>
                <a:lnTo>
                  <a:pt x="260" y="2935"/>
                </a:lnTo>
                <a:lnTo>
                  <a:pt x="262" y="2938"/>
                </a:lnTo>
                <a:lnTo>
                  <a:pt x="262" y="2936"/>
                </a:lnTo>
                <a:lnTo>
                  <a:pt x="262" y="2938"/>
                </a:lnTo>
                <a:lnTo>
                  <a:pt x="264" y="2938"/>
                </a:lnTo>
                <a:lnTo>
                  <a:pt x="266" y="2940"/>
                </a:lnTo>
                <a:lnTo>
                  <a:pt x="267" y="2940"/>
                </a:lnTo>
                <a:lnTo>
                  <a:pt x="267" y="2942"/>
                </a:lnTo>
                <a:lnTo>
                  <a:pt x="267" y="2940"/>
                </a:lnTo>
                <a:lnTo>
                  <a:pt x="269" y="2940"/>
                </a:lnTo>
                <a:lnTo>
                  <a:pt x="271" y="2938"/>
                </a:lnTo>
                <a:lnTo>
                  <a:pt x="272" y="2940"/>
                </a:lnTo>
                <a:lnTo>
                  <a:pt x="274" y="2940"/>
                </a:lnTo>
                <a:lnTo>
                  <a:pt x="276" y="2940"/>
                </a:lnTo>
                <a:lnTo>
                  <a:pt x="276" y="2942"/>
                </a:lnTo>
                <a:lnTo>
                  <a:pt x="276" y="2940"/>
                </a:lnTo>
                <a:lnTo>
                  <a:pt x="276" y="2938"/>
                </a:lnTo>
                <a:lnTo>
                  <a:pt x="277" y="2938"/>
                </a:lnTo>
                <a:lnTo>
                  <a:pt x="277" y="2936"/>
                </a:lnTo>
                <a:lnTo>
                  <a:pt x="279" y="2936"/>
                </a:lnTo>
                <a:lnTo>
                  <a:pt x="281" y="2935"/>
                </a:lnTo>
                <a:lnTo>
                  <a:pt x="281" y="2936"/>
                </a:lnTo>
                <a:lnTo>
                  <a:pt x="284" y="2938"/>
                </a:lnTo>
                <a:lnTo>
                  <a:pt x="283" y="2940"/>
                </a:lnTo>
                <a:lnTo>
                  <a:pt x="284" y="2940"/>
                </a:lnTo>
                <a:lnTo>
                  <a:pt x="286" y="2943"/>
                </a:lnTo>
                <a:lnTo>
                  <a:pt x="288" y="2943"/>
                </a:lnTo>
                <a:lnTo>
                  <a:pt x="288" y="2942"/>
                </a:lnTo>
                <a:lnTo>
                  <a:pt x="288" y="2943"/>
                </a:lnTo>
                <a:lnTo>
                  <a:pt x="286" y="2943"/>
                </a:lnTo>
                <a:lnTo>
                  <a:pt x="288" y="2945"/>
                </a:lnTo>
                <a:lnTo>
                  <a:pt x="289" y="2945"/>
                </a:lnTo>
                <a:lnTo>
                  <a:pt x="291" y="2945"/>
                </a:lnTo>
                <a:lnTo>
                  <a:pt x="291" y="2947"/>
                </a:lnTo>
                <a:lnTo>
                  <a:pt x="294" y="2947"/>
                </a:lnTo>
                <a:lnTo>
                  <a:pt x="296" y="2947"/>
                </a:lnTo>
                <a:lnTo>
                  <a:pt x="298" y="2947"/>
                </a:lnTo>
                <a:lnTo>
                  <a:pt x="300" y="2948"/>
                </a:lnTo>
                <a:lnTo>
                  <a:pt x="301" y="2948"/>
                </a:lnTo>
                <a:lnTo>
                  <a:pt x="301" y="2950"/>
                </a:lnTo>
                <a:lnTo>
                  <a:pt x="303" y="2948"/>
                </a:lnTo>
                <a:lnTo>
                  <a:pt x="303" y="2950"/>
                </a:lnTo>
                <a:lnTo>
                  <a:pt x="306" y="2950"/>
                </a:lnTo>
                <a:lnTo>
                  <a:pt x="308" y="2954"/>
                </a:lnTo>
                <a:lnTo>
                  <a:pt x="310" y="2955"/>
                </a:lnTo>
                <a:lnTo>
                  <a:pt x="311" y="2955"/>
                </a:lnTo>
                <a:lnTo>
                  <a:pt x="315" y="2955"/>
                </a:lnTo>
                <a:lnTo>
                  <a:pt x="315" y="2957"/>
                </a:lnTo>
                <a:lnTo>
                  <a:pt x="317" y="2957"/>
                </a:lnTo>
                <a:lnTo>
                  <a:pt x="317" y="2959"/>
                </a:lnTo>
                <a:lnTo>
                  <a:pt x="318" y="2957"/>
                </a:lnTo>
                <a:lnTo>
                  <a:pt x="317" y="2957"/>
                </a:lnTo>
                <a:lnTo>
                  <a:pt x="320" y="2959"/>
                </a:lnTo>
                <a:lnTo>
                  <a:pt x="322" y="2959"/>
                </a:lnTo>
                <a:lnTo>
                  <a:pt x="323" y="2959"/>
                </a:lnTo>
                <a:lnTo>
                  <a:pt x="327" y="2960"/>
                </a:lnTo>
                <a:lnTo>
                  <a:pt x="328" y="2960"/>
                </a:lnTo>
                <a:lnTo>
                  <a:pt x="328" y="2962"/>
                </a:lnTo>
                <a:lnTo>
                  <a:pt x="330" y="2962"/>
                </a:lnTo>
                <a:lnTo>
                  <a:pt x="332" y="2964"/>
                </a:lnTo>
                <a:lnTo>
                  <a:pt x="334" y="2964"/>
                </a:lnTo>
                <a:lnTo>
                  <a:pt x="334" y="2965"/>
                </a:lnTo>
                <a:lnTo>
                  <a:pt x="335" y="2965"/>
                </a:lnTo>
                <a:lnTo>
                  <a:pt x="337" y="2965"/>
                </a:lnTo>
                <a:lnTo>
                  <a:pt x="339" y="2967"/>
                </a:lnTo>
                <a:lnTo>
                  <a:pt x="340" y="2967"/>
                </a:lnTo>
                <a:lnTo>
                  <a:pt x="342" y="2967"/>
                </a:lnTo>
                <a:lnTo>
                  <a:pt x="344" y="2969"/>
                </a:lnTo>
                <a:lnTo>
                  <a:pt x="345" y="2969"/>
                </a:lnTo>
                <a:lnTo>
                  <a:pt x="349" y="2969"/>
                </a:lnTo>
                <a:lnTo>
                  <a:pt x="351" y="2969"/>
                </a:lnTo>
                <a:lnTo>
                  <a:pt x="351" y="2971"/>
                </a:lnTo>
                <a:lnTo>
                  <a:pt x="352" y="2969"/>
                </a:lnTo>
                <a:lnTo>
                  <a:pt x="354" y="2971"/>
                </a:lnTo>
                <a:lnTo>
                  <a:pt x="356" y="2971"/>
                </a:lnTo>
                <a:lnTo>
                  <a:pt x="357" y="2971"/>
                </a:lnTo>
                <a:lnTo>
                  <a:pt x="361" y="2971"/>
                </a:lnTo>
                <a:lnTo>
                  <a:pt x="362" y="2971"/>
                </a:lnTo>
                <a:lnTo>
                  <a:pt x="364" y="2971"/>
                </a:lnTo>
                <a:lnTo>
                  <a:pt x="366" y="2969"/>
                </a:lnTo>
                <a:lnTo>
                  <a:pt x="369" y="2971"/>
                </a:lnTo>
                <a:lnTo>
                  <a:pt x="369" y="2969"/>
                </a:lnTo>
                <a:lnTo>
                  <a:pt x="371" y="2971"/>
                </a:lnTo>
                <a:lnTo>
                  <a:pt x="373" y="2971"/>
                </a:lnTo>
                <a:lnTo>
                  <a:pt x="371" y="2971"/>
                </a:lnTo>
                <a:lnTo>
                  <a:pt x="374" y="2969"/>
                </a:lnTo>
                <a:lnTo>
                  <a:pt x="376" y="2969"/>
                </a:lnTo>
                <a:lnTo>
                  <a:pt x="378" y="2969"/>
                </a:lnTo>
                <a:lnTo>
                  <a:pt x="379" y="2969"/>
                </a:lnTo>
                <a:lnTo>
                  <a:pt x="381" y="2969"/>
                </a:lnTo>
                <a:lnTo>
                  <a:pt x="383" y="2971"/>
                </a:lnTo>
                <a:lnTo>
                  <a:pt x="379" y="2971"/>
                </a:lnTo>
                <a:lnTo>
                  <a:pt x="379" y="2972"/>
                </a:lnTo>
                <a:lnTo>
                  <a:pt x="378" y="2974"/>
                </a:lnTo>
                <a:lnTo>
                  <a:pt x="379" y="2976"/>
                </a:lnTo>
                <a:lnTo>
                  <a:pt x="381" y="2976"/>
                </a:lnTo>
                <a:lnTo>
                  <a:pt x="379" y="2974"/>
                </a:lnTo>
                <a:lnTo>
                  <a:pt x="381" y="2974"/>
                </a:lnTo>
                <a:lnTo>
                  <a:pt x="381" y="2972"/>
                </a:lnTo>
                <a:lnTo>
                  <a:pt x="383" y="2974"/>
                </a:lnTo>
                <a:lnTo>
                  <a:pt x="383" y="2972"/>
                </a:lnTo>
                <a:lnTo>
                  <a:pt x="381" y="2971"/>
                </a:lnTo>
                <a:lnTo>
                  <a:pt x="385" y="2972"/>
                </a:lnTo>
                <a:lnTo>
                  <a:pt x="385" y="2971"/>
                </a:lnTo>
                <a:lnTo>
                  <a:pt x="386" y="2971"/>
                </a:lnTo>
                <a:lnTo>
                  <a:pt x="390" y="2969"/>
                </a:lnTo>
                <a:lnTo>
                  <a:pt x="391" y="2971"/>
                </a:lnTo>
                <a:lnTo>
                  <a:pt x="391" y="2969"/>
                </a:lnTo>
                <a:lnTo>
                  <a:pt x="391" y="2971"/>
                </a:lnTo>
                <a:lnTo>
                  <a:pt x="395" y="2971"/>
                </a:lnTo>
                <a:lnTo>
                  <a:pt x="396" y="2972"/>
                </a:lnTo>
                <a:lnTo>
                  <a:pt x="398" y="2974"/>
                </a:lnTo>
                <a:lnTo>
                  <a:pt x="400" y="2974"/>
                </a:lnTo>
                <a:lnTo>
                  <a:pt x="398" y="2976"/>
                </a:lnTo>
                <a:lnTo>
                  <a:pt x="396" y="2974"/>
                </a:lnTo>
                <a:lnTo>
                  <a:pt x="398" y="2976"/>
                </a:lnTo>
                <a:lnTo>
                  <a:pt x="396" y="2974"/>
                </a:lnTo>
                <a:lnTo>
                  <a:pt x="396" y="2976"/>
                </a:lnTo>
                <a:lnTo>
                  <a:pt x="395" y="2976"/>
                </a:lnTo>
                <a:lnTo>
                  <a:pt x="396" y="2976"/>
                </a:lnTo>
                <a:lnTo>
                  <a:pt x="396" y="2979"/>
                </a:lnTo>
                <a:lnTo>
                  <a:pt x="398" y="2976"/>
                </a:lnTo>
                <a:lnTo>
                  <a:pt x="398" y="2977"/>
                </a:lnTo>
                <a:lnTo>
                  <a:pt x="400" y="2977"/>
                </a:lnTo>
                <a:lnTo>
                  <a:pt x="402" y="2979"/>
                </a:lnTo>
                <a:lnTo>
                  <a:pt x="405" y="2979"/>
                </a:lnTo>
                <a:lnTo>
                  <a:pt x="407" y="2979"/>
                </a:lnTo>
                <a:lnTo>
                  <a:pt x="408" y="2981"/>
                </a:lnTo>
                <a:lnTo>
                  <a:pt x="410" y="2982"/>
                </a:lnTo>
                <a:lnTo>
                  <a:pt x="412" y="2984"/>
                </a:lnTo>
                <a:lnTo>
                  <a:pt x="413" y="2986"/>
                </a:lnTo>
                <a:lnTo>
                  <a:pt x="415" y="2984"/>
                </a:lnTo>
                <a:lnTo>
                  <a:pt x="415" y="2982"/>
                </a:lnTo>
                <a:lnTo>
                  <a:pt x="415" y="2984"/>
                </a:lnTo>
                <a:lnTo>
                  <a:pt x="415" y="2986"/>
                </a:lnTo>
                <a:lnTo>
                  <a:pt x="417" y="2984"/>
                </a:lnTo>
                <a:lnTo>
                  <a:pt x="417" y="2986"/>
                </a:lnTo>
                <a:lnTo>
                  <a:pt x="419" y="2986"/>
                </a:lnTo>
                <a:lnTo>
                  <a:pt x="417" y="2986"/>
                </a:lnTo>
                <a:lnTo>
                  <a:pt x="419" y="2988"/>
                </a:lnTo>
                <a:lnTo>
                  <a:pt x="420" y="2989"/>
                </a:lnTo>
                <a:lnTo>
                  <a:pt x="419" y="2988"/>
                </a:lnTo>
                <a:lnTo>
                  <a:pt x="419" y="2986"/>
                </a:lnTo>
                <a:lnTo>
                  <a:pt x="419" y="2984"/>
                </a:lnTo>
                <a:lnTo>
                  <a:pt x="420" y="2982"/>
                </a:lnTo>
                <a:lnTo>
                  <a:pt x="422" y="2982"/>
                </a:lnTo>
                <a:lnTo>
                  <a:pt x="424" y="2982"/>
                </a:lnTo>
                <a:lnTo>
                  <a:pt x="424" y="2981"/>
                </a:lnTo>
                <a:lnTo>
                  <a:pt x="425" y="2981"/>
                </a:lnTo>
                <a:lnTo>
                  <a:pt x="427" y="2981"/>
                </a:lnTo>
                <a:lnTo>
                  <a:pt x="427" y="2982"/>
                </a:lnTo>
                <a:lnTo>
                  <a:pt x="430" y="2982"/>
                </a:lnTo>
                <a:lnTo>
                  <a:pt x="432" y="2981"/>
                </a:lnTo>
                <a:lnTo>
                  <a:pt x="434" y="2981"/>
                </a:lnTo>
                <a:lnTo>
                  <a:pt x="434" y="2982"/>
                </a:lnTo>
                <a:lnTo>
                  <a:pt x="436" y="2984"/>
                </a:lnTo>
                <a:lnTo>
                  <a:pt x="436" y="2988"/>
                </a:lnTo>
                <a:lnTo>
                  <a:pt x="436" y="2989"/>
                </a:lnTo>
                <a:lnTo>
                  <a:pt x="436" y="2986"/>
                </a:lnTo>
                <a:lnTo>
                  <a:pt x="439" y="2984"/>
                </a:lnTo>
                <a:lnTo>
                  <a:pt x="439" y="2986"/>
                </a:lnTo>
                <a:lnTo>
                  <a:pt x="442" y="2988"/>
                </a:lnTo>
                <a:lnTo>
                  <a:pt x="442" y="2989"/>
                </a:lnTo>
                <a:lnTo>
                  <a:pt x="444" y="2989"/>
                </a:lnTo>
                <a:lnTo>
                  <a:pt x="446" y="2989"/>
                </a:lnTo>
                <a:lnTo>
                  <a:pt x="447" y="2993"/>
                </a:lnTo>
                <a:lnTo>
                  <a:pt x="449" y="2993"/>
                </a:lnTo>
                <a:lnTo>
                  <a:pt x="451" y="2994"/>
                </a:lnTo>
                <a:lnTo>
                  <a:pt x="451" y="2996"/>
                </a:lnTo>
                <a:lnTo>
                  <a:pt x="452" y="2994"/>
                </a:lnTo>
                <a:lnTo>
                  <a:pt x="456" y="2996"/>
                </a:lnTo>
                <a:lnTo>
                  <a:pt x="458" y="2996"/>
                </a:lnTo>
                <a:lnTo>
                  <a:pt x="459" y="2996"/>
                </a:lnTo>
                <a:lnTo>
                  <a:pt x="459" y="2998"/>
                </a:lnTo>
                <a:lnTo>
                  <a:pt x="463" y="2998"/>
                </a:lnTo>
                <a:lnTo>
                  <a:pt x="464" y="2998"/>
                </a:lnTo>
                <a:lnTo>
                  <a:pt x="468" y="2998"/>
                </a:lnTo>
                <a:lnTo>
                  <a:pt x="468" y="2996"/>
                </a:lnTo>
                <a:lnTo>
                  <a:pt x="471" y="2998"/>
                </a:lnTo>
                <a:lnTo>
                  <a:pt x="471" y="2996"/>
                </a:lnTo>
                <a:lnTo>
                  <a:pt x="475" y="2998"/>
                </a:lnTo>
                <a:lnTo>
                  <a:pt x="475" y="2996"/>
                </a:lnTo>
                <a:lnTo>
                  <a:pt x="476" y="2996"/>
                </a:lnTo>
                <a:lnTo>
                  <a:pt x="478" y="2994"/>
                </a:lnTo>
                <a:lnTo>
                  <a:pt x="481" y="2994"/>
                </a:lnTo>
                <a:lnTo>
                  <a:pt x="481" y="2996"/>
                </a:lnTo>
                <a:lnTo>
                  <a:pt x="481" y="2994"/>
                </a:lnTo>
                <a:lnTo>
                  <a:pt x="483" y="2994"/>
                </a:lnTo>
                <a:lnTo>
                  <a:pt x="485" y="2994"/>
                </a:lnTo>
                <a:lnTo>
                  <a:pt x="486" y="2994"/>
                </a:lnTo>
                <a:lnTo>
                  <a:pt x="488" y="2994"/>
                </a:lnTo>
                <a:lnTo>
                  <a:pt x="490" y="2994"/>
                </a:lnTo>
                <a:lnTo>
                  <a:pt x="492" y="2993"/>
                </a:lnTo>
                <a:lnTo>
                  <a:pt x="493" y="2991"/>
                </a:lnTo>
                <a:lnTo>
                  <a:pt x="493" y="2989"/>
                </a:lnTo>
                <a:lnTo>
                  <a:pt x="495" y="2989"/>
                </a:lnTo>
                <a:lnTo>
                  <a:pt x="497" y="2986"/>
                </a:lnTo>
                <a:lnTo>
                  <a:pt x="498" y="2984"/>
                </a:lnTo>
                <a:lnTo>
                  <a:pt x="500" y="2981"/>
                </a:lnTo>
                <a:lnTo>
                  <a:pt x="502" y="2979"/>
                </a:lnTo>
                <a:lnTo>
                  <a:pt x="502" y="2977"/>
                </a:lnTo>
                <a:lnTo>
                  <a:pt x="502" y="2976"/>
                </a:lnTo>
                <a:lnTo>
                  <a:pt x="503" y="2974"/>
                </a:lnTo>
                <a:lnTo>
                  <a:pt x="503" y="2972"/>
                </a:lnTo>
                <a:lnTo>
                  <a:pt x="505" y="2969"/>
                </a:lnTo>
                <a:lnTo>
                  <a:pt x="507" y="2965"/>
                </a:lnTo>
                <a:lnTo>
                  <a:pt x="507" y="2962"/>
                </a:lnTo>
                <a:lnTo>
                  <a:pt x="509" y="2960"/>
                </a:lnTo>
                <a:lnTo>
                  <a:pt x="509" y="2959"/>
                </a:lnTo>
                <a:lnTo>
                  <a:pt x="510" y="2955"/>
                </a:lnTo>
                <a:lnTo>
                  <a:pt x="512" y="2948"/>
                </a:lnTo>
                <a:lnTo>
                  <a:pt x="514" y="2947"/>
                </a:lnTo>
                <a:lnTo>
                  <a:pt x="514" y="2943"/>
                </a:lnTo>
                <a:lnTo>
                  <a:pt x="515" y="2940"/>
                </a:lnTo>
                <a:lnTo>
                  <a:pt x="517" y="2936"/>
                </a:lnTo>
                <a:lnTo>
                  <a:pt x="517" y="2935"/>
                </a:lnTo>
                <a:lnTo>
                  <a:pt x="519" y="2931"/>
                </a:lnTo>
                <a:lnTo>
                  <a:pt x="519" y="2928"/>
                </a:lnTo>
                <a:lnTo>
                  <a:pt x="520" y="2923"/>
                </a:lnTo>
                <a:lnTo>
                  <a:pt x="520" y="2921"/>
                </a:lnTo>
                <a:lnTo>
                  <a:pt x="520" y="2918"/>
                </a:lnTo>
                <a:lnTo>
                  <a:pt x="522" y="2918"/>
                </a:lnTo>
                <a:lnTo>
                  <a:pt x="524" y="2914"/>
                </a:lnTo>
                <a:lnTo>
                  <a:pt x="524" y="2913"/>
                </a:lnTo>
                <a:lnTo>
                  <a:pt x="526" y="2911"/>
                </a:lnTo>
                <a:lnTo>
                  <a:pt x="526" y="2909"/>
                </a:lnTo>
                <a:lnTo>
                  <a:pt x="527" y="2911"/>
                </a:lnTo>
                <a:lnTo>
                  <a:pt x="527" y="2913"/>
                </a:lnTo>
                <a:lnTo>
                  <a:pt x="527" y="2911"/>
                </a:lnTo>
                <a:lnTo>
                  <a:pt x="529" y="2913"/>
                </a:lnTo>
                <a:lnTo>
                  <a:pt x="531" y="2913"/>
                </a:lnTo>
                <a:lnTo>
                  <a:pt x="532" y="2911"/>
                </a:lnTo>
                <a:lnTo>
                  <a:pt x="534" y="2913"/>
                </a:lnTo>
                <a:lnTo>
                  <a:pt x="534" y="2911"/>
                </a:lnTo>
                <a:lnTo>
                  <a:pt x="534" y="2909"/>
                </a:lnTo>
                <a:lnTo>
                  <a:pt x="532" y="2909"/>
                </a:lnTo>
                <a:lnTo>
                  <a:pt x="534" y="2909"/>
                </a:lnTo>
                <a:lnTo>
                  <a:pt x="532" y="2908"/>
                </a:lnTo>
                <a:lnTo>
                  <a:pt x="532" y="2906"/>
                </a:lnTo>
                <a:lnTo>
                  <a:pt x="531" y="2904"/>
                </a:lnTo>
                <a:lnTo>
                  <a:pt x="529" y="2904"/>
                </a:lnTo>
                <a:lnTo>
                  <a:pt x="529" y="2902"/>
                </a:lnTo>
                <a:lnTo>
                  <a:pt x="527" y="2904"/>
                </a:lnTo>
                <a:lnTo>
                  <a:pt x="526" y="2906"/>
                </a:lnTo>
                <a:lnTo>
                  <a:pt x="524" y="2908"/>
                </a:lnTo>
                <a:lnTo>
                  <a:pt x="522" y="2911"/>
                </a:lnTo>
                <a:lnTo>
                  <a:pt x="522" y="2913"/>
                </a:lnTo>
                <a:lnTo>
                  <a:pt x="522" y="2911"/>
                </a:lnTo>
                <a:lnTo>
                  <a:pt x="522" y="2909"/>
                </a:lnTo>
                <a:lnTo>
                  <a:pt x="524" y="2906"/>
                </a:lnTo>
                <a:lnTo>
                  <a:pt x="524" y="2904"/>
                </a:lnTo>
                <a:lnTo>
                  <a:pt x="524" y="2902"/>
                </a:lnTo>
                <a:lnTo>
                  <a:pt x="524" y="2901"/>
                </a:lnTo>
                <a:lnTo>
                  <a:pt x="526" y="2901"/>
                </a:lnTo>
                <a:lnTo>
                  <a:pt x="526" y="2899"/>
                </a:lnTo>
                <a:lnTo>
                  <a:pt x="526" y="2897"/>
                </a:lnTo>
                <a:lnTo>
                  <a:pt x="526" y="2896"/>
                </a:lnTo>
                <a:lnTo>
                  <a:pt x="527" y="2892"/>
                </a:lnTo>
                <a:lnTo>
                  <a:pt x="527" y="2889"/>
                </a:lnTo>
                <a:lnTo>
                  <a:pt x="529" y="2885"/>
                </a:lnTo>
                <a:lnTo>
                  <a:pt x="531" y="2882"/>
                </a:lnTo>
                <a:lnTo>
                  <a:pt x="531" y="2877"/>
                </a:lnTo>
                <a:lnTo>
                  <a:pt x="532" y="2874"/>
                </a:lnTo>
                <a:lnTo>
                  <a:pt x="532" y="2868"/>
                </a:lnTo>
                <a:lnTo>
                  <a:pt x="534" y="2867"/>
                </a:lnTo>
                <a:lnTo>
                  <a:pt x="534" y="2863"/>
                </a:lnTo>
                <a:lnTo>
                  <a:pt x="534" y="2862"/>
                </a:lnTo>
                <a:lnTo>
                  <a:pt x="536" y="2860"/>
                </a:lnTo>
                <a:lnTo>
                  <a:pt x="536" y="2858"/>
                </a:lnTo>
                <a:lnTo>
                  <a:pt x="536" y="2857"/>
                </a:lnTo>
                <a:lnTo>
                  <a:pt x="536" y="2853"/>
                </a:lnTo>
                <a:lnTo>
                  <a:pt x="537" y="2851"/>
                </a:lnTo>
                <a:lnTo>
                  <a:pt x="539" y="2850"/>
                </a:lnTo>
                <a:lnTo>
                  <a:pt x="541" y="2848"/>
                </a:lnTo>
                <a:lnTo>
                  <a:pt x="543" y="2848"/>
                </a:lnTo>
                <a:lnTo>
                  <a:pt x="543" y="2850"/>
                </a:lnTo>
                <a:lnTo>
                  <a:pt x="541" y="2850"/>
                </a:lnTo>
                <a:lnTo>
                  <a:pt x="541" y="2851"/>
                </a:lnTo>
                <a:lnTo>
                  <a:pt x="543" y="2853"/>
                </a:lnTo>
                <a:lnTo>
                  <a:pt x="544" y="2855"/>
                </a:lnTo>
                <a:lnTo>
                  <a:pt x="544" y="2857"/>
                </a:lnTo>
                <a:lnTo>
                  <a:pt x="548" y="2858"/>
                </a:lnTo>
                <a:lnTo>
                  <a:pt x="548" y="2860"/>
                </a:lnTo>
                <a:lnTo>
                  <a:pt x="549" y="2860"/>
                </a:lnTo>
                <a:lnTo>
                  <a:pt x="551" y="2863"/>
                </a:lnTo>
                <a:lnTo>
                  <a:pt x="553" y="2865"/>
                </a:lnTo>
                <a:lnTo>
                  <a:pt x="553" y="2867"/>
                </a:lnTo>
                <a:lnTo>
                  <a:pt x="553" y="2870"/>
                </a:lnTo>
                <a:lnTo>
                  <a:pt x="554" y="2874"/>
                </a:lnTo>
                <a:lnTo>
                  <a:pt x="553" y="2875"/>
                </a:lnTo>
                <a:lnTo>
                  <a:pt x="553" y="2877"/>
                </a:lnTo>
                <a:lnTo>
                  <a:pt x="554" y="2879"/>
                </a:lnTo>
                <a:lnTo>
                  <a:pt x="554" y="2880"/>
                </a:lnTo>
                <a:lnTo>
                  <a:pt x="554" y="2882"/>
                </a:lnTo>
                <a:lnTo>
                  <a:pt x="554" y="2884"/>
                </a:lnTo>
                <a:lnTo>
                  <a:pt x="556" y="2885"/>
                </a:lnTo>
                <a:lnTo>
                  <a:pt x="558" y="2889"/>
                </a:lnTo>
                <a:lnTo>
                  <a:pt x="558" y="2891"/>
                </a:lnTo>
                <a:lnTo>
                  <a:pt x="560" y="2891"/>
                </a:lnTo>
                <a:lnTo>
                  <a:pt x="561" y="2892"/>
                </a:lnTo>
                <a:lnTo>
                  <a:pt x="561" y="2894"/>
                </a:lnTo>
                <a:lnTo>
                  <a:pt x="560" y="2896"/>
                </a:lnTo>
                <a:lnTo>
                  <a:pt x="560" y="2899"/>
                </a:lnTo>
                <a:lnTo>
                  <a:pt x="561" y="2899"/>
                </a:lnTo>
                <a:lnTo>
                  <a:pt x="560" y="2896"/>
                </a:lnTo>
                <a:lnTo>
                  <a:pt x="561" y="2894"/>
                </a:lnTo>
                <a:lnTo>
                  <a:pt x="561" y="2892"/>
                </a:lnTo>
                <a:lnTo>
                  <a:pt x="561" y="2891"/>
                </a:lnTo>
                <a:lnTo>
                  <a:pt x="560" y="2889"/>
                </a:lnTo>
                <a:lnTo>
                  <a:pt x="558" y="2887"/>
                </a:lnTo>
                <a:lnTo>
                  <a:pt x="560" y="2889"/>
                </a:lnTo>
                <a:lnTo>
                  <a:pt x="561" y="2891"/>
                </a:lnTo>
                <a:lnTo>
                  <a:pt x="563" y="2891"/>
                </a:lnTo>
                <a:lnTo>
                  <a:pt x="565" y="2892"/>
                </a:lnTo>
                <a:lnTo>
                  <a:pt x="565" y="2894"/>
                </a:lnTo>
                <a:lnTo>
                  <a:pt x="565" y="2892"/>
                </a:lnTo>
                <a:lnTo>
                  <a:pt x="563" y="2891"/>
                </a:lnTo>
                <a:lnTo>
                  <a:pt x="561" y="2889"/>
                </a:lnTo>
                <a:lnTo>
                  <a:pt x="560" y="2887"/>
                </a:lnTo>
                <a:lnTo>
                  <a:pt x="558" y="2885"/>
                </a:lnTo>
                <a:lnTo>
                  <a:pt x="558" y="2884"/>
                </a:lnTo>
                <a:lnTo>
                  <a:pt x="556" y="2882"/>
                </a:lnTo>
                <a:lnTo>
                  <a:pt x="556" y="2879"/>
                </a:lnTo>
                <a:lnTo>
                  <a:pt x="556" y="2875"/>
                </a:lnTo>
                <a:lnTo>
                  <a:pt x="556" y="2874"/>
                </a:lnTo>
                <a:lnTo>
                  <a:pt x="556" y="2872"/>
                </a:lnTo>
                <a:lnTo>
                  <a:pt x="556" y="2870"/>
                </a:lnTo>
                <a:lnTo>
                  <a:pt x="556" y="2867"/>
                </a:lnTo>
                <a:lnTo>
                  <a:pt x="556" y="2865"/>
                </a:lnTo>
                <a:lnTo>
                  <a:pt x="554" y="2862"/>
                </a:lnTo>
                <a:lnTo>
                  <a:pt x="554" y="2860"/>
                </a:lnTo>
                <a:lnTo>
                  <a:pt x="554" y="2858"/>
                </a:lnTo>
                <a:lnTo>
                  <a:pt x="553" y="2855"/>
                </a:lnTo>
                <a:lnTo>
                  <a:pt x="551" y="2853"/>
                </a:lnTo>
                <a:lnTo>
                  <a:pt x="549" y="2851"/>
                </a:lnTo>
                <a:lnTo>
                  <a:pt x="549" y="2850"/>
                </a:lnTo>
                <a:lnTo>
                  <a:pt x="546" y="2850"/>
                </a:lnTo>
                <a:lnTo>
                  <a:pt x="546" y="2848"/>
                </a:lnTo>
                <a:lnTo>
                  <a:pt x="546" y="2846"/>
                </a:lnTo>
                <a:lnTo>
                  <a:pt x="544" y="2845"/>
                </a:lnTo>
                <a:lnTo>
                  <a:pt x="543" y="2845"/>
                </a:lnTo>
                <a:lnTo>
                  <a:pt x="543" y="2843"/>
                </a:lnTo>
                <a:lnTo>
                  <a:pt x="541" y="2841"/>
                </a:lnTo>
                <a:lnTo>
                  <a:pt x="537" y="2840"/>
                </a:lnTo>
                <a:lnTo>
                  <a:pt x="536" y="2838"/>
                </a:lnTo>
                <a:lnTo>
                  <a:pt x="537" y="2840"/>
                </a:lnTo>
                <a:lnTo>
                  <a:pt x="534" y="2840"/>
                </a:lnTo>
                <a:lnTo>
                  <a:pt x="534" y="2838"/>
                </a:lnTo>
                <a:lnTo>
                  <a:pt x="536" y="2836"/>
                </a:lnTo>
                <a:lnTo>
                  <a:pt x="536" y="2833"/>
                </a:lnTo>
                <a:lnTo>
                  <a:pt x="536" y="2831"/>
                </a:lnTo>
                <a:lnTo>
                  <a:pt x="537" y="2831"/>
                </a:lnTo>
                <a:lnTo>
                  <a:pt x="539" y="2831"/>
                </a:lnTo>
                <a:lnTo>
                  <a:pt x="541" y="2831"/>
                </a:lnTo>
                <a:lnTo>
                  <a:pt x="541" y="2829"/>
                </a:lnTo>
                <a:lnTo>
                  <a:pt x="539" y="2828"/>
                </a:lnTo>
                <a:lnTo>
                  <a:pt x="543" y="2828"/>
                </a:lnTo>
                <a:lnTo>
                  <a:pt x="543" y="2826"/>
                </a:lnTo>
                <a:lnTo>
                  <a:pt x="544" y="2824"/>
                </a:lnTo>
                <a:lnTo>
                  <a:pt x="544" y="2823"/>
                </a:lnTo>
                <a:lnTo>
                  <a:pt x="543" y="2821"/>
                </a:lnTo>
                <a:lnTo>
                  <a:pt x="546" y="2821"/>
                </a:lnTo>
                <a:lnTo>
                  <a:pt x="548" y="2821"/>
                </a:lnTo>
                <a:lnTo>
                  <a:pt x="549" y="2821"/>
                </a:lnTo>
                <a:lnTo>
                  <a:pt x="548" y="2823"/>
                </a:lnTo>
                <a:lnTo>
                  <a:pt x="549" y="2824"/>
                </a:lnTo>
                <a:lnTo>
                  <a:pt x="548" y="2823"/>
                </a:lnTo>
                <a:lnTo>
                  <a:pt x="549" y="2821"/>
                </a:lnTo>
                <a:lnTo>
                  <a:pt x="548" y="2821"/>
                </a:lnTo>
                <a:lnTo>
                  <a:pt x="546" y="2821"/>
                </a:lnTo>
                <a:lnTo>
                  <a:pt x="546" y="2819"/>
                </a:lnTo>
                <a:lnTo>
                  <a:pt x="544" y="2817"/>
                </a:lnTo>
                <a:lnTo>
                  <a:pt x="546" y="2817"/>
                </a:lnTo>
                <a:lnTo>
                  <a:pt x="548" y="2816"/>
                </a:lnTo>
                <a:lnTo>
                  <a:pt x="546" y="2814"/>
                </a:lnTo>
                <a:lnTo>
                  <a:pt x="546" y="2811"/>
                </a:lnTo>
                <a:lnTo>
                  <a:pt x="544" y="2811"/>
                </a:lnTo>
                <a:lnTo>
                  <a:pt x="544" y="2809"/>
                </a:lnTo>
                <a:lnTo>
                  <a:pt x="543" y="2807"/>
                </a:lnTo>
                <a:lnTo>
                  <a:pt x="544" y="2806"/>
                </a:lnTo>
                <a:lnTo>
                  <a:pt x="541" y="2807"/>
                </a:lnTo>
                <a:lnTo>
                  <a:pt x="539" y="2806"/>
                </a:lnTo>
                <a:lnTo>
                  <a:pt x="541" y="2806"/>
                </a:lnTo>
                <a:lnTo>
                  <a:pt x="539" y="2806"/>
                </a:lnTo>
                <a:lnTo>
                  <a:pt x="541" y="2804"/>
                </a:lnTo>
                <a:lnTo>
                  <a:pt x="543" y="2802"/>
                </a:lnTo>
                <a:lnTo>
                  <a:pt x="544" y="2802"/>
                </a:lnTo>
                <a:lnTo>
                  <a:pt x="546" y="2800"/>
                </a:lnTo>
                <a:lnTo>
                  <a:pt x="546" y="2799"/>
                </a:lnTo>
                <a:lnTo>
                  <a:pt x="546" y="2795"/>
                </a:lnTo>
                <a:lnTo>
                  <a:pt x="544" y="2795"/>
                </a:lnTo>
                <a:lnTo>
                  <a:pt x="543" y="2799"/>
                </a:lnTo>
                <a:lnTo>
                  <a:pt x="541" y="2797"/>
                </a:lnTo>
                <a:lnTo>
                  <a:pt x="539" y="2795"/>
                </a:lnTo>
                <a:lnTo>
                  <a:pt x="539" y="2797"/>
                </a:lnTo>
                <a:lnTo>
                  <a:pt x="537" y="2795"/>
                </a:lnTo>
                <a:lnTo>
                  <a:pt x="537" y="2794"/>
                </a:lnTo>
                <a:lnTo>
                  <a:pt x="536" y="2792"/>
                </a:lnTo>
                <a:lnTo>
                  <a:pt x="534" y="2792"/>
                </a:lnTo>
                <a:lnTo>
                  <a:pt x="532" y="2790"/>
                </a:lnTo>
                <a:lnTo>
                  <a:pt x="531" y="2790"/>
                </a:lnTo>
                <a:lnTo>
                  <a:pt x="531" y="2788"/>
                </a:lnTo>
                <a:lnTo>
                  <a:pt x="529" y="2787"/>
                </a:lnTo>
                <a:lnTo>
                  <a:pt x="527" y="2785"/>
                </a:lnTo>
                <a:lnTo>
                  <a:pt x="526" y="2785"/>
                </a:lnTo>
                <a:lnTo>
                  <a:pt x="524" y="2785"/>
                </a:lnTo>
                <a:lnTo>
                  <a:pt x="522" y="2783"/>
                </a:lnTo>
                <a:lnTo>
                  <a:pt x="524" y="2783"/>
                </a:lnTo>
                <a:lnTo>
                  <a:pt x="522" y="2783"/>
                </a:lnTo>
                <a:lnTo>
                  <a:pt x="520" y="2782"/>
                </a:lnTo>
                <a:lnTo>
                  <a:pt x="519" y="2780"/>
                </a:lnTo>
                <a:lnTo>
                  <a:pt x="517" y="2778"/>
                </a:lnTo>
                <a:lnTo>
                  <a:pt x="517" y="2777"/>
                </a:lnTo>
                <a:lnTo>
                  <a:pt x="517" y="2778"/>
                </a:lnTo>
                <a:lnTo>
                  <a:pt x="515" y="2778"/>
                </a:lnTo>
                <a:lnTo>
                  <a:pt x="515" y="2775"/>
                </a:lnTo>
                <a:lnTo>
                  <a:pt x="515" y="2773"/>
                </a:lnTo>
                <a:lnTo>
                  <a:pt x="515" y="2771"/>
                </a:lnTo>
                <a:lnTo>
                  <a:pt x="515" y="2770"/>
                </a:lnTo>
                <a:lnTo>
                  <a:pt x="514" y="2766"/>
                </a:lnTo>
                <a:lnTo>
                  <a:pt x="514" y="2765"/>
                </a:lnTo>
                <a:lnTo>
                  <a:pt x="512" y="2763"/>
                </a:lnTo>
                <a:lnTo>
                  <a:pt x="510" y="2763"/>
                </a:lnTo>
                <a:lnTo>
                  <a:pt x="510" y="2761"/>
                </a:lnTo>
                <a:lnTo>
                  <a:pt x="509" y="2758"/>
                </a:lnTo>
                <a:lnTo>
                  <a:pt x="507" y="2756"/>
                </a:lnTo>
                <a:lnTo>
                  <a:pt x="505" y="2753"/>
                </a:lnTo>
                <a:lnTo>
                  <a:pt x="503" y="2753"/>
                </a:lnTo>
                <a:lnTo>
                  <a:pt x="503" y="2751"/>
                </a:lnTo>
                <a:lnTo>
                  <a:pt x="505" y="2749"/>
                </a:lnTo>
                <a:lnTo>
                  <a:pt x="503" y="2748"/>
                </a:lnTo>
                <a:lnTo>
                  <a:pt x="505" y="2748"/>
                </a:lnTo>
                <a:lnTo>
                  <a:pt x="507" y="2746"/>
                </a:lnTo>
                <a:lnTo>
                  <a:pt x="509" y="2744"/>
                </a:lnTo>
                <a:lnTo>
                  <a:pt x="510" y="2744"/>
                </a:lnTo>
                <a:lnTo>
                  <a:pt x="512" y="2741"/>
                </a:lnTo>
                <a:lnTo>
                  <a:pt x="514" y="2739"/>
                </a:lnTo>
                <a:lnTo>
                  <a:pt x="514" y="2737"/>
                </a:lnTo>
                <a:lnTo>
                  <a:pt x="512" y="2736"/>
                </a:lnTo>
                <a:lnTo>
                  <a:pt x="512" y="2734"/>
                </a:lnTo>
                <a:lnTo>
                  <a:pt x="509" y="2732"/>
                </a:lnTo>
                <a:lnTo>
                  <a:pt x="507" y="2732"/>
                </a:lnTo>
                <a:lnTo>
                  <a:pt x="503" y="2731"/>
                </a:lnTo>
                <a:lnTo>
                  <a:pt x="505" y="2729"/>
                </a:lnTo>
                <a:lnTo>
                  <a:pt x="507" y="2729"/>
                </a:lnTo>
                <a:lnTo>
                  <a:pt x="509" y="2726"/>
                </a:lnTo>
                <a:lnTo>
                  <a:pt x="507" y="2724"/>
                </a:lnTo>
                <a:lnTo>
                  <a:pt x="509" y="2720"/>
                </a:lnTo>
                <a:lnTo>
                  <a:pt x="512" y="2720"/>
                </a:lnTo>
                <a:lnTo>
                  <a:pt x="514" y="2720"/>
                </a:lnTo>
                <a:lnTo>
                  <a:pt x="515" y="2720"/>
                </a:lnTo>
                <a:lnTo>
                  <a:pt x="514" y="2719"/>
                </a:lnTo>
                <a:lnTo>
                  <a:pt x="512" y="2719"/>
                </a:lnTo>
                <a:lnTo>
                  <a:pt x="510" y="2719"/>
                </a:lnTo>
                <a:lnTo>
                  <a:pt x="509" y="2720"/>
                </a:lnTo>
                <a:lnTo>
                  <a:pt x="509" y="2719"/>
                </a:lnTo>
                <a:lnTo>
                  <a:pt x="507" y="2720"/>
                </a:lnTo>
                <a:lnTo>
                  <a:pt x="505" y="2720"/>
                </a:lnTo>
                <a:lnTo>
                  <a:pt x="505" y="2722"/>
                </a:lnTo>
                <a:lnTo>
                  <a:pt x="503" y="2722"/>
                </a:lnTo>
                <a:lnTo>
                  <a:pt x="502" y="2722"/>
                </a:lnTo>
                <a:lnTo>
                  <a:pt x="500" y="2720"/>
                </a:lnTo>
                <a:lnTo>
                  <a:pt x="498" y="2719"/>
                </a:lnTo>
                <a:lnTo>
                  <a:pt x="497" y="2719"/>
                </a:lnTo>
                <a:lnTo>
                  <a:pt x="495" y="2720"/>
                </a:lnTo>
                <a:lnTo>
                  <a:pt x="495" y="2719"/>
                </a:lnTo>
                <a:lnTo>
                  <a:pt x="493" y="2719"/>
                </a:lnTo>
                <a:lnTo>
                  <a:pt x="490" y="2717"/>
                </a:lnTo>
                <a:lnTo>
                  <a:pt x="492" y="2715"/>
                </a:lnTo>
                <a:lnTo>
                  <a:pt x="493" y="2717"/>
                </a:lnTo>
                <a:lnTo>
                  <a:pt x="493" y="2715"/>
                </a:lnTo>
                <a:lnTo>
                  <a:pt x="495" y="2715"/>
                </a:lnTo>
                <a:lnTo>
                  <a:pt x="492" y="2715"/>
                </a:lnTo>
                <a:lnTo>
                  <a:pt x="493" y="2714"/>
                </a:lnTo>
                <a:lnTo>
                  <a:pt x="493" y="2712"/>
                </a:lnTo>
                <a:lnTo>
                  <a:pt x="492" y="2710"/>
                </a:lnTo>
                <a:lnTo>
                  <a:pt x="495" y="2709"/>
                </a:lnTo>
                <a:lnTo>
                  <a:pt x="497" y="2709"/>
                </a:lnTo>
                <a:lnTo>
                  <a:pt x="498" y="2709"/>
                </a:lnTo>
                <a:lnTo>
                  <a:pt x="497" y="2709"/>
                </a:lnTo>
                <a:lnTo>
                  <a:pt x="497" y="2707"/>
                </a:lnTo>
                <a:lnTo>
                  <a:pt x="495" y="2707"/>
                </a:lnTo>
                <a:lnTo>
                  <a:pt x="495" y="2703"/>
                </a:lnTo>
                <a:lnTo>
                  <a:pt x="497" y="2703"/>
                </a:lnTo>
                <a:lnTo>
                  <a:pt x="500" y="2703"/>
                </a:lnTo>
                <a:lnTo>
                  <a:pt x="498" y="2703"/>
                </a:lnTo>
                <a:lnTo>
                  <a:pt x="497" y="2702"/>
                </a:lnTo>
                <a:lnTo>
                  <a:pt x="495" y="2702"/>
                </a:lnTo>
                <a:lnTo>
                  <a:pt x="495" y="2700"/>
                </a:lnTo>
                <a:lnTo>
                  <a:pt x="493" y="2702"/>
                </a:lnTo>
                <a:lnTo>
                  <a:pt x="492" y="2700"/>
                </a:lnTo>
                <a:lnTo>
                  <a:pt x="490" y="2702"/>
                </a:lnTo>
                <a:lnTo>
                  <a:pt x="492" y="2700"/>
                </a:lnTo>
                <a:lnTo>
                  <a:pt x="493" y="2698"/>
                </a:lnTo>
                <a:lnTo>
                  <a:pt x="492" y="2700"/>
                </a:lnTo>
                <a:lnTo>
                  <a:pt x="488" y="2698"/>
                </a:lnTo>
                <a:lnTo>
                  <a:pt x="490" y="2700"/>
                </a:lnTo>
                <a:lnTo>
                  <a:pt x="488" y="2700"/>
                </a:lnTo>
                <a:lnTo>
                  <a:pt x="486" y="2702"/>
                </a:lnTo>
                <a:lnTo>
                  <a:pt x="485" y="2700"/>
                </a:lnTo>
                <a:lnTo>
                  <a:pt x="483" y="2700"/>
                </a:lnTo>
                <a:lnTo>
                  <a:pt x="481" y="2702"/>
                </a:lnTo>
                <a:lnTo>
                  <a:pt x="480" y="2700"/>
                </a:lnTo>
                <a:lnTo>
                  <a:pt x="478" y="2698"/>
                </a:lnTo>
                <a:lnTo>
                  <a:pt x="476" y="2695"/>
                </a:lnTo>
                <a:lnTo>
                  <a:pt x="478" y="2695"/>
                </a:lnTo>
                <a:lnTo>
                  <a:pt x="480" y="2697"/>
                </a:lnTo>
                <a:lnTo>
                  <a:pt x="481" y="2697"/>
                </a:lnTo>
                <a:lnTo>
                  <a:pt x="481" y="2698"/>
                </a:lnTo>
                <a:lnTo>
                  <a:pt x="483" y="2697"/>
                </a:lnTo>
                <a:lnTo>
                  <a:pt x="483" y="2698"/>
                </a:lnTo>
                <a:lnTo>
                  <a:pt x="485" y="2698"/>
                </a:lnTo>
                <a:lnTo>
                  <a:pt x="485" y="2697"/>
                </a:lnTo>
                <a:lnTo>
                  <a:pt x="488" y="2695"/>
                </a:lnTo>
                <a:lnTo>
                  <a:pt x="488" y="2693"/>
                </a:lnTo>
                <a:lnTo>
                  <a:pt x="488" y="2692"/>
                </a:lnTo>
                <a:lnTo>
                  <a:pt x="488" y="2693"/>
                </a:lnTo>
                <a:lnTo>
                  <a:pt x="486" y="2695"/>
                </a:lnTo>
                <a:lnTo>
                  <a:pt x="486" y="2693"/>
                </a:lnTo>
                <a:lnTo>
                  <a:pt x="483" y="2692"/>
                </a:lnTo>
                <a:lnTo>
                  <a:pt x="486" y="2693"/>
                </a:lnTo>
                <a:lnTo>
                  <a:pt x="485" y="2692"/>
                </a:lnTo>
                <a:lnTo>
                  <a:pt x="483" y="2692"/>
                </a:lnTo>
                <a:lnTo>
                  <a:pt x="481" y="2692"/>
                </a:lnTo>
                <a:lnTo>
                  <a:pt x="480" y="2692"/>
                </a:lnTo>
                <a:lnTo>
                  <a:pt x="480" y="2693"/>
                </a:lnTo>
                <a:lnTo>
                  <a:pt x="478" y="2693"/>
                </a:lnTo>
                <a:lnTo>
                  <a:pt x="476" y="2693"/>
                </a:lnTo>
                <a:lnTo>
                  <a:pt x="476" y="2692"/>
                </a:lnTo>
                <a:lnTo>
                  <a:pt x="476" y="2693"/>
                </a:lnTo>
                <a:lnTo>
                  <a:pt x="476" y="2692"/>
                </a:lnTo>
                <a:lnTo>
                  <a:pt x="476" y="2690"/>
                </a:lnTo>
                <a:lnTo>
                  <a:pt x="475" y="2692"/>
                </a:lnTo>
                <a:lnTo>
                  <a:pt x="475" y="2693"/>
                </a:lnTo>
                <a:lnTo>
                  <a:pt x="476" y="2693"/>
                </a:lnTo>
                <a:lnTo>
                  <a:pt x="476" y="2695"/>
                </a:lnTo>
                <a:lnTo>
                  <a:pt x="475" y="2695"/>
                </a:lnTo>
                <a:lnTo>
                  <a:pt x="473" y="2692"/>
                </a:lnTo>
                <a:lnTo>
                  <a:pt x="473" y="2693"/>
                </a:lnTo>
                <a:lnTo>
                  <a:pt x="473" y="2692"/>
                </a:lnTo>
                <a:lnTo>
                  <a:pt x="473" y="2693"/>
                </a:lnTo>
                <a:lnTo>
                  <a:pt x="471" y="2693"/>
                </a:lnTo>
                <a:lnTo>
                  <a:pt x="468" y="2693"/>
                </a:lnTo>
                <a:lnTo>
                  <a:pt x="469" y="2692"/>
                </a:lnTo>
                <a:lnTo>
                  <a:pt x="468" y="2690"/>
                </a:lnTo>
                <a:lnTo>
                  <a:pt x="466" y="2692"/>
                </a:lnTo>
                <a:lnTo>
                  <a:pt x="468" y="2692"/>
                </a:lnTo>
                <a:lnTo>
                  <a:pt x="466" y="2693"/>
                </a:lnTo>
                <a:lnTo>
                  <a:pt x="466" y="2697"/>
                </a:lnTo>
                <a:lnTo>
                  <a:pt x="466" y="2698"/>
                </a:lnTo>
                <a:lnTo>
                  <a:pt x="468" y="2700"/>
                </a:lnTo>
                <a:lnTo>
                  <a:pt x="466" y="2698"/>
                </a:lnTo>
                <a:lnTo>
                  <a:pt x="464" y="2698"/>
                </a:lnTo>
                <a:lnTo>
                  <a:pt x="464" y="2695"/>
                </a:lnTo>
                <a:lnTo>
                  <a:pt x="466" y="2695"/>
                </a:lnTo>
                <a:lnTo>
                  <a:pt x="466" y="2693"/>
                </a:lnTo>
                <a:lnTo>
                  <a:pt x="466" y="2692"/>
                </a:lnTo>
                <a:lnTo>
                  <a:pt x="466" y="2690"/>
                </a:lnTo>
                <a:lnTo>
                  <a:pt x="464" y="2688"/>
                </a:lnTo>
                <a:lnTo>
                  <a:pt x="464" y="2686"/>
                </a:lnTo>
                <a:lnTo>
                  <a:pt x="463" y="2685"/>
                </a:lnTo>
                <a:lnTo>
                  <a:pt x="461" y="2683"/>
                </a:lnTo>
                <a:lnTo>
                  <a:pt x="459" y="2681"/>
                </a:lnTo>
                <a:lnTo>
                  <a:pt x="458" y="2683"/>
                </a:lnTo>
                <a:lnTo>
                  <a:pt x="458" y="2681"/>
                </a:lnTo>
                <a:lnTo>
                  <a:pt x="459" y="2681"/>
                </a:lnTo>
                <a:lnTo>
                  <a:pt x="461" y="2683"/>
                </a:lnTo>
                <a:lnTo>
                  <a:pt x="461" y="2681"/>
                </a:lnTo>
                <a:lnTo>
                  <a:pt x="458" y="2681"/>
                </a:lnTo>
                <a:lnTo>
                  <a:pt x="459" y="2681"/>
                </a:lnTo>
                <a:lnTo>
                  <a:pt x="459" y="2680"/>
                </a:lnTo>
                <a:lnTo>
                  <a:pt x="461" y="2678"/>
                </a:lnTo>
                <a:lnTo>
                  <a:pt x="459" y="2680"/>
                </a:lnTo>
                <a:lnTo>
                  <a:pt x="459" y="2678"/>
                </a:lnTo>
                <a:lnTo>
                  <a:pt x="458" y="2680"/>
                </a:lnTo>
                <a:lnTo>
                  <a:pt x="458" y="2681"/>
                </a:lnTo>
                <a:lnTo>
                  <a:pt x="454" y="2681"/>
                </a:lnTo>
                <a:lnTo>
                  <a:pt x="452" y="2680"/>
                </a:lnTo>
                <a:lnTo>
                  <a:pt x="451" y="2676"/>
                </a:lnTo>
                <a:lnTo>
                  <a:pt x="449" y="2676"/>
                </a:lnTo>
                <a:lnTo>
                  <a:pt x="449" y="2675"/>
                </a:lnTo>
                <a:lnTo>
                  <a:pt x="446" y="2675"/>
                </a:lnTo>
                <a:lnTo>
                  <a:pt x="446" y="2673"/>
                </a:lnTo>
                <a:lnTo>
                  <a:pt x="444" y="2673"/>
                </a:lnTo>
                <a:lnTo>
                  <a:pt x="442" y="2671"/>
                </a:lnTo>
                <a:lnTo>
                  <a:pt x="441" y="2671"/>
                </a:lnTo>
                <a:lnTo>
                  <a:pt x="439" y="2671"/>
                </a:lnTo>
                <a:lnTo>
                  <a:pt x="437" y="2671"/>
                </a:lnTo>
                <a:lnTo>
                  <a:pt x="436" y="2671"/>
                </a:lnTo>
                <a:lnTo>
                  <a:pt x="437" y="2669"/>
                </a:lnTo>
                <a:lnTo>
                  <a:pt x="436" y="2668"/>
                </a:lnTo>
                <a:lnTo>
                  <a:pt x="434" y="2668"/>
                </a:lnTo>
                <a:lnTo>
                  <a:pt x="436" y="2666"/>
                </a:lnTo>
                <a:lnTo>
                  <a:pt x="434" y="2666"/>
                </a:lnTo>
                <a:lnTo>
                  <a:pt x="436" y="2666"/>
                </a:lnTo>
                <a:lnTo>
                  <a:pt x="436" y="2664"/>
                </a:lnTo>
                <a:lnTo>
                  <a:pt x="434" y="2664"/>
                </a:lnTo>
                <a:lnTo>
                  <a:pt x="434" y="2663"/>
                </a:lnTo>
                <a:lnTo>
                  <a:pt x="430" y="2663"/>
                </a:lnTo>
                <a:lnTo>
                  <a:pt x="432" y="2666"/>
                </a:lnTo>
                <a:lnTo>
                  <a:pt x="429" y="2666"/>
                </a:lnTo>
                <a:lnTo>
                  <a:pt x="425" y="2664"/>
                </a:lnTo>
                <a:lnTo>
                  <a:pt x="425" y="2663"/>
                </a:lnTo>
                <a:lnTo>
                  <a:pt x="425" y="2664"/>
                </a:lnTo>
                <a:lnTo>
                  <a:pt x="422" y="2664"/>
                </a:lnTo>
                <a:lnTo>
                  <a:pt x="422" y="2661"/>
                </a:lnTo>
                <a:lnTo>
                  <a:pt x="422" y="2663"/>
                </a:lnTo>
                <a:lnTo>
                  <a:pt x="422" y="2666"/>
                </a:lnTo>
                <a:lnTo>
                  <a:pt x="420" y="2668"/>
                </a:lnTo>
                <a:lnTo>
                  <a:pt x="417" y="2668"/>
                </a:lnTo>
                <a:lnTo>
                  <a:pt x="415" y="2666"/>
                </a:lnTo>
                <a:lnTo>
                  <a:pt x="413" y="2666"/>
                </a:lnTo>
                <a:lnTo>
                  <a:pt x="412" y="2666"/>
                </a:lnTo>
                <a:lnTo>
                  <a:pt x="412" y="2664"/>
                </a:lnTo>
                <a:lnTo>
                  <a:pt x="413" y="2664"/>
                </a:lnTo>
                <a:lnTo>
                  <a:pt x="413" y="2663"/>
                </a:lnTo>
                <a:lnTo>
                  <a:pt x="413" y="2659"/>
                </a:lnTo>
                <a:lnTo>
                  <a:pt x="413" y="2658"/>
                </a:lnTo>
                <a:lnTo>
                  <a:pt x="413" y="2656"/>
                </a:lnTo>
                <a:lnTo>
                  <a:pt x="412" y="2654"/>
                </a:lnTo>
                <a:lnTo>
                  <a:pt x="412" y="2652"/>
                </a:lnTo>
                <a:lnTo>
                  <a:pt x="410" y="2652"/>
                </a:lnTo>
                <a:lnTo>
                  <a:pt x="408" y="2651"/>
                </a:lnTo>
                <a:lnTo>
                  <a:pt x="408" y="2649"/>
                </a:lnTo>
                <a:lnTo>
                  <a:pt x="407" y="2651"/>
                </a:lnTo>
                <a:lnTo>
                  <a:pt x="403" y="2649"/>
                </a:lnTo>
                <a:lnTo>
                  <a:pt x="403" y="2647"/>
                </a:lnTo>
                <a:lnTo>
                  <a:pt x="400" y="2647"/>
                </a:lnTo>
                <a:lnTo>
                  <a:pt x="398" y="2646"/>
                </a:lnTo>
                <a:lnTo>
                  <a:pt x="400" y="2646"/>
                </a:lnTo>
                <a:lnTo>
                  <a:pt x="400" y="2644"/>
                </a:lnTo>
                <a:lnTo>
                  <a:pt x="402" y="2644"/>
                </a:lnTo>
                <a:lnTo>
                  <a:pt x="403" y="2644"/>
                </a:lnTo>
                <a:lnTo>
                  <a:pt x="407" y="2644"/>
                </a:lnTo>
                <a:lnTo>
                  <a:pt x="408" y="2644"/>
                </a:lnTo>
                <a:lnTo>
                  <a:pt x="412" y="2644"/>
                </a:lnTo>
                <a:lnTo>
                  <a:pt x="413" y="2644"/>
                </a:lnTo>
                <a:lnTo>
                  <a:pt x="417" y="2644"/>
                </a:lnTo>
                <a:lnTo>
                  <a:pt x="419" y="2646"/>
                </a:lnTo>
                <a:lnTo>
                  <a:pt x="420" y="2646"/>
                </a:lnTo>
                <a:lnTo>
                  <a:pt x="422" y="2644"/>
                </a:lnTo>
                <a:lnTo>
                  <a:pt x="422" y="2642"/>
                </a:lnTo>
                <a:lnTo>
                  <a:pt x="420" y="2642"/>
                </a:lnTo>
                <a:lnTo>
                  <a:pt x="422" y="2641"/>
                </a:lnTo>
                <a:lnTo>
                  <a:pt x="420" y="2639"/>
                </a:lnTo>
                <a:lnTo>
                  <a:pt x="419" y="2637"/>
                </a:lnTo>
                <a:lnTo>
                  <a:pt x="415" y="2635"/>
                </a:lnTo>
                <a:lnTo>
                  <a:pt x="415" y="2634"/>
                </a:lnTo>
                <a:lnTo>
                  <a:pt x="413" y="2635"/>
                </a:lnTo>
                <a:lnTo>
                  <a:pt x="412" y="2637"/>
                </a:lnTo>
                <a:lnTo>
                  <a:pt x="408" y="2639"/>
                </a:lnTo>
                <a:lnTo>
                  <a:pt x="410" y="2635"/>
                </a:lnTo>
                <a:lnTo>
                  <a:pt x="410" y="2634"/>
                </a:lnTo>
                <a:lnTo>
                  <a:pt x="408" y="2632"/>
                </a:lnTo>
                <a:lnTo>
                  <a:pt x="407" y="2632"/>
                </a:lnTo>
                <a:lnTo>
                  <a:pt x="407" y="2630"/>
                </a:lnTo>
                <a:lnTo>
                  <a:pt x="410" y="2630"/>
                </a:lnTo>
                <a:lnTo>
                  <a:pt x="410" y="2629"/>
                </a:lnTo>
                <a:lnTo>
                  <a:pt x="412" y="2627"/>
                </a:lnTo>
                <a:lnTo>
                  <a:pt x="413" y="2627"/>
                </a:lnTo>
                <a:lnTo>
                  <a:pt x="412" y="2629"/>
                </a:lnTo>
                <a:lnTo>
                  <a:pt x="412" y="2630"/>
                </a:lnTo>
                <a:lnTo>
                  <a:pt x="413" y="2629"/>
                </a:lnTo>
                <a:lnTo>
                  <a:pt x="413" y="2630"/>
                </a:lnTo>
                <a:lnTo>
                  <a:pt x="413" y="2632"/>
                </a:lnTo>
                <a:lnTo>
                  <a:pt x="415" y="2630"/>
                </a:lnTo>
                <a:lnTo>
                  <a:pt x="417" y="2630"/>
                </a:lnTo>
                <a:lnTo>
                  <a:pt x="419" y="2632"/>
                </a:lnTo>
                <a:lnTo>
                  <a:pt x="422" y="2632"/>
                </a:lnTo>
                <a:lnTo>
                  <a:pt x="424" y="2632"/>
                </a:lnTo>
                <a:lnTo>
                  <a:pt x="424" y="2634"/>
                </a:lnTo>
                <a:lnTo>
                  <a:pt x="425" y="2634"/>
                </a:lnTo>
                <a:lnTo>
                  <a:pt x="429" y="2634"/>
                </a:lnTo>
                <a:lnTo>
                  <a:pt x="425" y="2632"/>
                </a:lnTo>
                <a:lnTo>
                  <a:pt x="424" y="2632"/>
                </a:lnTo>
                <a:lnTo>
                  <a:pt x="425" y="2630"/>
                </a:lnTo>
                <a:lnTo>
                  <a:pt x="424" y="2630"/>
                </a:lnTo>
                <a:lnTo>
                  <a:pt x="420" y="2630"/>
                </a:lnTo>
                <a:lnTo>
                  <a:pt x="424" y="2630"/>
                </a:lnTo>
                <a:lnTo>
                  <a:pt x="422" y="2629"/>
                </a:lnTo>
                <a:lnTo>
                  <a:pt x="424" y="2629"/>
                </a:lnTo>
                <a:lnTo>
                  <a:pt x="425" y="2629"/>
                </a:lnTo>
                <a:lnTo>
                  <a:pt x="424" y="2629"/>
                </a:lnTo>
                <a:lnTo>
                  <a:pt x="422" y="2629"/>
                </a:lnTo>
                <a:lnTo>
                  <a:pt x="422" y="2627"/>
                </a:lnTo>
                <a:lnTo>
                  <a:pt x="422" y="2629"/>
                </a:lnTo>
                <a:lnTo>
                  <a:pt x="422" y="2627"/>
                </a:lnTo>
                <a:lnTo>
                  <a:pt x="420" y="2629"/>
                </a:lnTo>
                <a:lnTo>
                  <a:pt x="417" y="2629"/>
                </a:lnTo>
                <a:lnTo>
                  <a:pt x="419" y="2629"/>
                </a:lnTo>
                <a:lnTo>
                  <a:pt x="415" y="2629"/>
                </a:lnTo>
                <a:lnTo>
                  <a:pt x="417" y="2627"/>
                </a:lnTo>
                <a:lnTo>
                  <a:pt x="419" y="2625"/>
                </a:lnTo>
                <a:lnTo>
                  <a:pt x="422" y="2623"/>
                </a:lnTo>
                <a:lnTo>
                  <a:pt x="424" y="2623"/>
                </a:lnTo>
                <a:lnTo>
                  <a:pt x="425" y="2623"/>
                </a:lnTo>
                <a:lnTo>
                  <a:pt x="422" y="2623"/>
                </a:lnTo>
                <a:lnTo>
                  <a:pt x="419" y="2625"/>
                </a:lnTo>
                <a:lnTo>
                  <a:pt x="419" y="2623"/>
                </a:lnTo>
                <a:lnTo>
                  <a:pt x="417" y="2625"/>
                </a:lnTo>
                <a:lnTo>
                  <a:pt x="415" y="2625"/>
                </a:lnTo>
                <a:lnTo>
                  <a:pt x="415" y="2623"/>
                </a:lnTo>
                <a:lnTo>
                  <a:pt x="415" y="2625"/>
                </a:lnTo>
                <a:lnTo>
                  <a:pt x="413" y="2625"/>
                </a:lnTo>
                <a:lnTo>
                  <a:pt x="412" y="2625"/>
                </a:lnTo>
                <a:lnTo>
                  <a:pt x="408" y="2627"/>
                </a:lnTo>
                <a:lnTo>
                  <a:pt x="407" y="2625"/>
                </a:lnTo>
                <a:lnTo>
                  <a:pt x="405" y="2625"/>
                </a:lnTo>
                <a:lnTo>
                  <a:pt x="402" y="2625"/>
                </a:lnTo>
                <a:lnTo>
                  <a:pt x="402" y="2623"/>
                </a:lnTo>
                <a:lnTo>
                  <a:pt x="403" y="2622"/>
                </a:lnTo>
                <a:lnTo>
                  <a:pt x="402" y="2620"/>
                </a:lnTo>
                <a:lnTo>
                  <a:pt x="402" y="2618"/>
                </a:lnTo>
                <a:lnTo>
                  <a:pt x="403" y="2617"/>
                </a:lnTo>
                <a:lnTo>
                  <a:pt x="403" y="2613"/>
                </a:lnTo>
                <a:lnTo>
                  <a:pt x="405" y="2613"/>
                </a:lnTo>
                <a:lnTo>
                  <a:pt x="403" y="2612"/>
                </a:lnTo>
                <a:lnTo>
                  <a:pt x="405" y="2612"/>
                </a:lnTo>
                <a:lnTo>
                  <a:pt x="407" y="2610"/>
                </a:lnTo>
                <a:lnTo>
                  <a:pt x="408" y="2610"/>
                </a:lnTo>
                <a:lnTo>
                  <a:pt x="410" y="2610"/>
                </a:lnTo>
                <a:lnTo>
                  <a:pt x="413" y="2610"/>
                </a:lnTo>
                <a:lnTo>
                  <a:pt x="413" y="2608"/>
                </a:lnTo>
                <a:lnTo>
                  <a:pt x="415" y="2608"/>
                </a:lnTo>
                <a:lnTo>
                  <a:pt x="417" y="2606"/>
                </a:lnTo>
                <a:lnTo>
                  <a:pt x="419" y="2608"/>
                </a:lnTo>
                <a:lnTo>
                  <a:pt x="420" y="2608"/>
                </a:lnTo>
                <a:lnTo>
                  <a:pt x="420" y="2606"/>
                </a:lnTo>
                <a:lnTo>
                  <a:pt x="422" y="2608"/>
                </a:lnTo>
                <a:lnTo>
                  <a:pt x="422" y="2606"/>
                </a:lnTo>
                <a:lnTo>
                  <a:pt x="424" y="2606"/>
                </a:lnTo>
                <a:lnTo>
                  <a:pt x="425" y="2605"/>
                </a:lnTo>
                <a:lnTo>
                  <a:pt x="429" y="2606"/>
                </a:lnTo>
                <a:lnTo>
                  <a:pt x="427" y="2608"/>
                </a:lnTo>
                <a:lnTo>
                  <a:pt x="429" y="2608"/>
                </a:lnTo>
                <a:lnTo>
                  <a:pt x="430" y="2608"/>
                </a:lnTo>
                <a:lnTo>
                  <a:pt x="434" y="2606"/>
                </a:lnTo>
                <a:lnTo>
                  <a:pt x="436" y="2606"/>
                </a:lnTo>
                <a:lnTo>
                  <a:pt x="439" y="2606"/>
                </a:lnTo>
                <a:lnTo>
                  <a:pt x="442" y="2605"/>
                </a:lnTo>
                <a:lnTo>
                  <a:pt x="442" y="2606"/>
                </a:lnTo>
                <a:lnTo>
                  <a:pt x="442" y="2605"/>
                </a:lnTo>
                <a:lnTo>
                  <a:pt x="444" y="2606"/>
                </a:lnTo>
                <a:lnTo>
                  <a:pt x="442" y="2606"/>
                </a:lnTo>
                <a:lnTo>
                  <a:pt x="444" y="2608"/>
                </a:lnTo>
                <a:lnTo>
                  <a:pt x="442" y="2608"/>
                </a:lnTo>
                <a:lnTo>
                  <a:pt x="444" y="2610"/>
                </a:lnTo>
                <a:lnTo>
                  <a:pt x="446" y="2610"/>
                </a:lnTo>
                <a:lnTo>
                  <a:pt x="446" y="2612"/>
                </a:lnTo>
                <a:lnTo>
                  <a:pt x="447" y="2613"/>
                </a:lnTo>
                <a:lnTo>
                  <a:pt x="447" y="2610"/>
                </a:lnTo>
                <a:lnTo>
                  <a:pt x="447" y="2612"/>
                </a:lnTo>
                <a:lnTo>
                  <a:pt x="447" y="2608"/>
                </a:lnTo>
                <a:lnTo>
                  <a:pt x="449" y="2608"/>
                </a:lnTo>
                <a:lnTo>
                  <a:pt x="451" y="2606"/>
                </a:lnTo>
                <a:lnTo>
                  <a:pt x="451" y="2608"/>
                </a:lnTo>
                <a:lnTo>
                  <a:pt x="454" y="2608"/>
                </a:lnTo>
                <a:lnTo>
                  <a:pt x="456" y="2610"/>
                </a:lnTo>
                <a:lnTo>
                  <a:pt x="458" y="2610"/>
                </a:lnTo>
                <a:lnTo>
                  <a:pt x="458" y="2612"/>
                </a:lnTo>
                <a:lnTo>
                  <a:pt x="459" y="2612"/>
                </a:lnTo>
                <a:lnTo>
                  <a:pt x="459" y="2613"/>
                </a:lnTo>
                <a:lnTo>
                  <a:pt x="461" y="2613"/>
                </a:lnTo>
                <a:lnTo>
                  <a:pt x="461" y="2612"/>
                </a:lnTo>
                <a:lnTo>
                  <a:pt x="461" y="2608"/>
                </a:lnTo>
                <a:lnTo>
                  <a:pt x="463" y="2610"/>
                </a:lnTo>
                <a:lnTo>
                  <a:pt x="463" y="2606"/>
                </a:lnTo>
                <a:lnTo>
                  <a:pt x="461" y="2606"/>
                </a:lnTo>
                <a:lnTo>
                  <a:pt x="461" y="2605"/>
                </a:lnTo>
                <a:lnTo>
                  <a:pt x="463" y="2605"/>
                </a:lnTo>
                <a:lnTo>
                  <a:pt x="463" y="2603"/>
                </a:lnTo>
                <a:lnTo>
                  <a:pt x="463" y="2605"/>
                </a:lnTo>
                <a:lnTo>
                  <a:pt x="464" y="2605"/>
                </a:lnTo>
                <a:lnTo>
                  <a:pt x="464" y="2603"/>
                </a:lnTo>
                <a:lnTo>
                  <a:pt x="464" y="2601"/>
                </a:lnTo>
                <a:lnTo>
                  <a:pt x="466" y="2601"/>
                </a:lnTo>
                <a:lnTo>
                  <a:pt x="466" y="2603"/>
                </a:lnTo>
                <a:lnTo>
                  <a:pt x="468" y="2601"/>
                </a:lnTo>
                <a:lnTo>
                  <a:pt x="468" y="2603"/>
                </a:lnTo>
                <a:lnTo>
                  <a:pt x="469" y="2603"/>
                </a:lnTo>
                <a:lnTo>
                  <a:pt x="468" y="2605"/>
                </a:lnTo>
                <a:lnTo>
                  <a:pt x="471" y="2605"/>
                </a:lnTo>
                <a:lnTo>
                  <a:pt x="473" y="2605"/>
                </a:lnTo>
                <a:lnTo>
                  <a:pt x="475" y="2603"/>
                </a:lnTo>
                <a:lnTo>
                  <a:pt x="476" y="2605"/>
                </a:lnTo>
                <a:lnTo>
                  <a:pt x="480" y="2601"/>
                </a:lnTo>
                <a:lnTo>
                  <a:pt x="480" y="2603"/>
                </a:lnTo>
                <a:lnTo>
                  <a:pt x="480" y="2605"/>
                </a:lnTo>
                <a:lnTo>
                  <a:pt x="481" y="2603"/>
                </a:lnTo>
                <a:lnTo>
                  <a:pt x="485" y="2603"/>
                </a:lnTo>
                <a:lnTo>
                  <a:pt x="486" y="2601"/>
                </a:lnTo>
                <a:lnTo>
                  <a:pt x="486" y="2603"/>
                </a:lnTo>
                <a:lnTo>
                  <a:pt x="485" y="2603"/>
                </a:lnTo>
                <a:lnTo>
                  <a:pt x="486" y="2605"/>
                </a:lnTo>
                <a:lnTo>
                  <a:pt x="485" y="2603"/>
                </a:lnTo>
                <a:lnTo>
                  <a:pt x="485" y="2605"/>
                </a:lnTo>
                <a:lnTo>
                  <a:pt x="486" y="2606"/>
                </a:lnTo>
                <a:lnTo>
                  <a:pt x="485" y="2606"/>
                </a:lnTo>
                <a:lnTo>
                  <a:pt x="483" y="2610"/>
                </a:lnTo>
                <a:lnTo>
                  <a:pt x="483" y="2608"/>
                </a:lnTo>
                <a:lnTo>
                  <a:pt x="483" y="2610"/>
                </a:lnTo>
                <a:lnTo>
                  <a:pt x="485" y="2606"/>
                </a:lnTo>
                <a:lnTo>
                  <a:pt x="488" y="2606"/>
                </a:lnTo>
                <a:lnTo>
                  <a:pt x="488" y="2608"/>
                </a:lnTo>
                <a:lnTo>
                  <a:pt x="486" y="2610"/>
                </a:lnTo>
                <a:lnTo>
                  <a:pt x="488" y="2610"/>
                </a:lnTo>
                <a:lnTo>
                  <a:pt x="486" y="2610"/>
                </a:lnTo>
                <a:lnTo>
                  <a:pt x="488" y="2612"/>
                </a:lnTo>
                <a:lnTo>
                  <a:pt x="490" y="2612"/>
                </a:lnTo>
                <a:lnTo>
                  <a:pt x="492" y="2612"/>
                </a:lnTo>
                <a:lnTo>
                  <a:pt x="490" y="2615"/>
                </a:lnTo>
                <a:lnTo>
                  <a:pt x="492" y="2617"/>
                </a:lnTo>
                <a:lnTo>
                  <a:pt x="492" y="2618"/>
                </a:lnTo>
                <a:lnTo>
                  <a:pt x="493" y="2618"/>
                </a:lnTo>
                <a:lnTo>
                  <a:pt x="493" y="2620"/>
                </a:lnTo>
                <a:lnTo>
                  <a:pt x="495" y="2620"/>
                </a:lnTo>
                <a:lnTo>
                  <a:pt x="495" y="2623"/>
                </a:lnTo>
                <a:lnTo>
                  <a:pt x="493" y="2623"/>
                </a:lnTo>
                <a:lnTo>
                  <a:pt x="495" y="2625"/>
                </a:lnTo>
                <a:lnTo>
                  <a:pt x="497" y="2627"/>
                </a:lnTo>
                <a:lnTo>
                  <a:pt x="498" y="2629"/>
                </a:lnTo>
                <a:lnTo>
                  <a:pt x="498" y="2630"/>
                </a:lnTo>
                <a:lnTo>
                  <a:pt x="498" y="2632"/>
                </a:lnTo>
                <a:lnTo>
                  <a:pt x="500" y="2630"/>
                </a:lnTo>
                <a:lnTo>
                  <a:pt x="502" y="2630"/>
                </a:lnTo>
                <a:lnTo>
                  <a:pt x="503" y="2629"/>
                </a:lnTo>
                <a:lnTo>
                  <a:pt x="505" y="2627"/>
                </a:lnTo>
                <a:lnTo>
                  <a:pt x="507" y="2627"/>
                </a:lnTo>
                <a:lnTo>
                  <a:pt x="510" y="2625"/>
                </a:lnTo>
                <a:lnTo>
                  <a:pt x="510" y="2623"/>
                </a:lnTo>
                <a:lnTo>
                  <a:pt x="512" y="2623"/>
                </a:lnTo>
                <a:lnTo>
                  <a:pt x="514" y="2623"/>
                </a:lnTo>
                <a:lnTo>
                  <a:pt x="514" y="2625"/>
                </a:lnTo>
                <a:lnTo>
                  <a:pt x="515" y="2623"/>
                </a:lnTo>
                <a:lnTo>
                  <a:pt x="517" y="2623"/>
                </a:lnTo>
                <a:lnTo>
                  <a:pt x="519" y="2622"/>
                </a:lnTo>
                <a:lnTo>
                  <a:pt x="519" y="2623"/>
                </a:lnTo>
                <a:lnTo>
                  <a:pt x="517" y="2625"/>
                </a:lnTo>
                <a:lnTo>
                  <a:pt x="517" y="2627"/>
                </a:lnTo>
                <a:lnTo>
                  <a:pt x="519" y="2625"/>
                </a:lnTo>
                <a:lnTo>
                  <a:pt x="520" y="2625"/>
                </a:lnTo>
                <a:lnTo>
                  <a:pt x="520" y="2627"/>
                </a:lnTo>
                <a:lnTo>
                  <a:pt x="522" y="2629"/>
                </a:lnTo>
                <a:lnTo>
                  <a:pt x="522" y="2630"/>
                </a:lnTo>
                <a:lnTo>
                  <a:pt x="522" y="2629"/>
                </a:lnTo>
                <a:lnTo>
                  <a:pt x="522" y="2630"/>
                </a:lnTo>
                <a:lnTo>
                  <a:pt x="524" y="2630"/>
                </a:lnTo>
                <a:lnTo>
                  <a:pt x="526" y="2629"/>
                </a:lnTo>
                <a:lnTo>
                  <a:pt x="526" y="2627"/>
                </a:lnTo>
                <a:lnTo>
                  <a:pt x="527" y="2627"/>
                </a:lnTo>
                <a:lnTo>
                  <a:pt x="529" y="2627"/>
                </a:lnTo>
                <a:lnTo>
                  <a:pt x="529" y="2629"/>
                </a:lnTo>
                <a:lnTo>
                  <a:pt x="531" y="2629"/>
                </a:lnTo>
                <a:lnTo>
                  <a:pt x="531" y="2630"/>
                </a:lnTo>
                <a:lnTo>
                  <a:pt x="531" y="2632"/>
                </a:lnTo>
                <a:lnTo>
                  <a:pt x="532" y="2634"/>
                </a:lnTo>
                <a:lnTo>
                  <a:pt x="531" y="2637"/>
                </a:lnTo>
                <a:lnTo>
                  <a:pt x="534" y="2635"/>
                </a:lnTo>
                <a:lnTo>
                  <a:pt x="532" y="2635"/>
                </a:lnTo>
                <a:lnTo>
                  <a:pt x="532" y="2634"/>
                </a:lnTo>
                <a:lnTo>
                  <a:pt x="532" y="2632"/>
                </a:lnTo>
                <a:lnTo>
                  <a:pt x="534" y="2632"/>
                </a:lnTo>
                <a:lnTo>
                  <a:pt x="532" y="2632"/>
                </a:lnTo>
                <a:lnTo>
                  <a:pt x="531" y="2630"/>
                </a:lnTo>
                <a:lnTo>
                  <a:pt x="532" y="2630"/>
                </a:lnTo>
                <a:lnTo>
                  <a:pt x="531" y="2627"/>
                </a:lnTo>
                <a:lnTo>
                  <a:pt x="532" y="2627"/>
                </a:lnTo>
                <a:lnTo>
                  <a:pt x="531" y="2627"/>
                </a:lnTo>
                <a:lnTo>
                  <a:pt x="532" y="2627"/>
                </a:lnTo>
                <a:lnTo>
                  <a:pt x="532" y="2625"/>
                </a:lnTo>
                <a:lnTo>
                  <a:pt x="536" y="2625"/>
                </a:lnTo>
                <a:lnTo>
                  <a:pt x="534" y="2625"/>
                </a:lnTo>
                <a:lnTo>
                  <a:pt x="536" y="2623"/>
                </a:lnTo>
                <a:lnTo>
                  <a:pt x="537" y="2625"/>
                </a:lnTo>
                <a:lnTo>
                  <a:pt x="539" y="2623"/>
                </a:lnTo>
                <a:lnTo>
                  <a:pt x="539" y="2627"/>
                </a:lnTo>
                <a:lnTo>
                  <a:pt x="537" y="2629"/>
                </a:lnTo>
                <a:lnTo>
                  <a:pt x="539" y="2630"/>
                </a:lnTo>
                <a:lnTo>
                  <a:pt x="541" y="2632"/>
                </a:lnTo>
                <a:lnTo>
                  <a:pt x="543" y="2632"/>
                </a:lnTo>
                <a:lnTo>
                  <a:pt x="544" y="2632"/>
                </a:lnTo>
                <a:lnTo>
                  <a:pt x="546" y="2632"/>
                </a:lnTo>
                <a:lnTo>
                  <a:pt x="548" y="2632"/>
                </a:lnTo>
                <a:lnTo>
                  <a:pt x="549" y="2632"/>
                </a:lnTo>
                <a:lnTo>
                  <a:pt x="551" y="2630"/>
                </a:lnTo>
                <a:lnTo>
                  <a:pt x="553" y="2630"/>
                </a:lnTo>
                <a:lnTo>
                  <a:pt x="554" y="2632"/>
                </a:lnTo>
                <a:lnTo>
                  <a:pt x="556" y="2632"/>
                </a:lnTo>
                <a:lnTo>
                  <a:pt x="560" y="2632"/>
                </a:lnTo>
                <a:lnTo>
                  <a:pt x="560" y="2630"/>
                </a:lnTo>
                <a:lnTo>
                  <a:pt x="561" y="2630"/>
                </a:lnTo>
                <a:lnTo>
                  <a:pt x="560" y="2630"/>
                </a:lnTo>
                <a:lnTo>
                  <a:pt x="558" y="2632"/>
                </a:lnTo>
                <a:lnTo>
                  <a:pt x="558" y="2630"/>
                </a:lnTo>
                <a:lnTo>
                  <a:pt x="554" y="2629"/>
                </a:lnTo>
                <a:lnTo>
                  <a:pt x="554" y="2625"/>
                </a:lnTo>
                <a:lnTo>
                  <a:pt x="553" y="2623"/>
                </a:lnTo>
                <a:lnTo>
                  <a:pt x="553" y="2620"/>
                </a:lnTo>
                <a:lnTo>
                  <a:pt x="553" y="2618"/>
                </a:lnTo>
                <a:lnTo>
                  <a:pt x="551" y="2617"/>
                </a:lnTo>
                <a:lnTo>
                  <a:pt x="554" y="2615"/>
                </a:lnTo>
                <a:lnTo>
                  <a:pt x="554" y="2613"/>
                </a:lnTo>
                <a:lnTo>
                  <a:pt x="554" y="2612"/>
                </a:lnTo>
                <a:lnTo>
                  <a:pt x="556" y="2610"/>
                </a:lnTo>
                <a:lnTo>
                  <a:pt x="554" y="2610"/>
                </a:lnTo>
                <a:lnTo>
                  <a:pt x="556" y="2606"/>
                </a:lnTo>
                <a:lnTo>
                  <a:pt x="556" y="2605"/>
                </a:lnTo>
                <a:lnTo>
                  <a:pt x="558" y="2603"/>
                </a:lnTo>
                <a:lnTo>
                  <a:pt x="556" y="2605"/>
                </a:lnTo>
                <a:lnTo>
                  <a:pt x="556" y="2606"/>
                </a:lnTo>
                <a:lnTo>
                  <a:pt x="554" y="2605"/>
                </a:lnTo>
                <a:lnTo>
                  <a:pt x="554" y="2601"/>
                </a:lnTo>
                <a:lnTo>
                  <a:pt x="554" y="2600"/>
                </a:lnTo>
                <a:lnTo>
                  <a:pt x="554" y="2598"/>
                </a:lnTo>
                <a:lnTo>
                  <a:pt x="556" y="2596"/>
                </a:lnTo>
                <a:lnTo>
                  <a:pt x="556" y="2595"/>
                </a:lnTo>
                <a:lnTo>
                  <a:pt x="556" y="2593"/>
                </a:lnTo>
                <a:lnTo>
                  <a:pt x="556" y="2591"/>
                </a:lnTo>
                <a:lnTo>
                  <a:pt x="554" y="2589"/>
                </a:lnTo>
                <a:lnTo>
                  <a:pt x="554" y="2588"/>
                </a:lnTo>
                <a:lnTo>
                  <a:pt x="553" y="2586"/>
                </a:lnTo>
                <a:lnTo>
                  <a:pt x="553" y="2583"/>
                </a:lnTo>
                <a:lnTo>
                  <a:pt x="551" y="2579"/>
                </a:lnTo>
                <a:lnTo>
                  <a:pt x="549" y="2579"/>
                </a:lnTo>
                <a:lnTo>
                  <a:pt x="551" y="2578"/>
                </a:lnTo>
                <a:lnTo>
                  <a:pt x="549" y="2579"/>
                </a:lnTo>
                <a:lnTo>
                  <a:pt x="549" y="2578"/>
                </a:lnTo>
                <a:lnTo>
                  <a:pt x="549" y="2576"/>
                </a:lnTo>
                <a:lnTo>
                  <a:pt x="549" y="2574"/>
                </a:lnTo>
                <a:lnTo>
                  <a:pt x="549" y="2572"/>
                </a:lnTo>
                <a:lnTo>
                  <a:pt x="549" y="2571"/>
                </a:lnTo>
                <a:lnTo>
                  <a:pt x="549" y="2569"/>
                </a:lnTo>
                <a:lnTo>
                  <a:pt x="548" y="2567"/>
                </a:lnTo>
                <a:lnTo>
                  <a:pt x="549" y="2566"/>
                </a:lnTo>
                <a:lnTo>
                  <a:pt x="549" y="2564"/>
                </a:lnTo>
                <a:lnTo>
                  <a:pt x="549" y="2562"/>
                </a:lnTo>
                <a:lnTo>
                  <a:pt x="551" y="2561"/>
                </a:lnTo>
                <a:lnTo>
                  <a:pt x="549" y="2559"/>
                </a:lnTo>
                <a:lnTo>
                  <a:pt x="548" y="2557"/>
                </a:lnTo>
                <a:lnTo>
                  <a:pt x="546" y="2557"/>
                </a:lnTo>
                <a:lnTo>
                  <a:pt x="548" y="2555"/>
                </a:lnTo>
                <a:lnTo>
                  <a:pt x="548" y="2554"/>
                </a:lnTo>
                <a:lnTo>
                  <a:pt x="549" y="2555"/>
                </a:lnTo>
                <a:lnTo>
                  <a:pt x="551" y="2554"/>
                </a:lnTo>
                <a:lnTo>
                  <a:pt x="553" y="2557"/>
                </a:lnTo>
                <a:lnTo>
                  <a:pt x="554" y="2557"/>
                </a:lnTo>
                <a:lnTo>
                  <a:pt x="556" y="2559"/>
                </a:lnTo>
                <a:lnTo>
                  <a:pt x="558" y="2559"/>
                </a:lnTo>
                <a:lnTo>
                  <a:pt x="558" y="2561"/>
                </a:lnTo>
                <a:lnTo>
                  <a:pt x="561" y="2561"/>
                </a:lnTo>
                <a:lnTo>
                  <a:pt x="560" y="2561"/>
                </a:lnTo>
                <a:lnTo>
                  <a:pt x="561" y="2562"/>
                </a:lnTo>
                <a:lnTo>
                  <a:pt x="561" y="2561"/>
                </a:lnTo>
                <a:lnTo>
                  <a:pt x="565" y="2561"/>
                </a:lnTo>
                <a:lnTo>
                  <a:pt x="566" y="2561"/>
                </a:lnTo>
                <a:lnTo>
                  <a:pt x="568" y="2559"/>
                </a:lnTo>
                <a:lnTo>
                  <a:pt x="570" y="2559"/>
                </a:lnTo>
                <a:lnTo>
                  <a:pt x="573" y="2559"/>
                </a:lnTo>
                <a:lnTo>
                  <a:pt x="575" y="2559"/>
                </a:lnTo>
                <a:lnTo>
                  <a:pt x="577" y="2561"/>
                </a:lnTo>
                <a:lnTo>
                  <a:pt x="578" y="2564"/>
                </a:lnTo>
                <a:lnTo>
                  <a:pt x="578" y="2567"/>
                </a:lnTo>
                <a:lnTo>
                  <a:pt x="577" y="2566"/>
                </a:lnTo>
                <a:lnTo>
                  <a:pt x="575" y="2569"/>
                </a:lnTo>
                <a:lnTo>
                  <a:pt x="575" y="2567"/>
                </a:lnTo>
                <a:lnTo>
                  <a:pt x="573" y="2571"/>
                </a:lnTo>
                <a:lnTo>
                  <a:pt x="575" y="2572"/>
                </a:lnTo>
                <a:lnTo>
                  <a:pt x="575" y="2574"/>
                </a:lnTo>
                <a:lnTo>
                  <a:pt x="577" y="2578"/>
                </a:lnTo>
                <a:lnTo>
                  <a:pt x="578" y="2579"/>
                </a:lnTo>
                <a:lnTo>
                  <a:pt x="578" y="2581"/>
                </a:lnTo>
                <a:lnTo>
                  <a:pt x="577" y="2584"/>
                </a:lnTo>
                <a:lnTo>
                  <a:pt x="580" y="2584"/>
                </a:lnTo>
                <a:lnTo>
                  <a:pt x="580" y="2586"/>
                </a:lnTo>
                <a:lnTo>
                  <a:pt x="580" y="2584"/>
                </a:lnTo>
                <a:lnTo>
                  <a:pt x="582" y="2583"/>
                </a:lnTo>
                <a:lnTo>
                  <a:pt x="585" y="2583"/>
                </a:lnTo>
                <a:lnTo>
                  <a:pt x="587" y="2583"/>
                </a:lnTo>
                <a:lnTo>
                  <a:pt x="588" y="2584"/>
                </a:lnTo>
                <a:lnTo>
                  <a:pt x="590" y="2586"/>
                </a:lnTo>
                <a:lnTo>
                  <a:pt x="592" y="2586"/>
                </a:lnTo>
                <a:lnTo>
                  <a:pt x="594" y="2588"/>
                </a:lnTo>
                <a:lnTo>
                  <a:pt x="597" y="2588"/>
                </a:lnTo>
                <a:lnTo>
                  <a:pt x="599" y="2588"/>
                </a:lnTo>
                <a:lnTo>
                  <a:pt x="600" y="2588"/>
                </a:lnTo>
                <a:lnTo>
                  <a:pt x="604" y="2589"/>
                </a:lnTo>
                <a:lnTo>
                  <a:pt x="605" y="2589"/>
                </a:lnTo>
                <a:lnTo>
                  <a:pt x="607" y="2589"/>
                </a:lnTo>
                <a:lnTo>
                  <a:pt x="609" y="2591"/>
                </a:lnTo>
                <a:lnTo>
                  <a:pt x="612" y="2591"/>
                </a:lnTo>
                <a:lnTo>
                  <a:pt x="614" y="2593"/>
                </a:lnTo>
                <a:lnTo>
                  <a:pt x="616" y="2595"/>
                </a:lnTo>
                <a:lnTo>
                  <a:pt x="619" y="2595"/>
                </a:lnTo>
                <a:lnTo>
                  <a:pt x="619" y="2596"/>
                </a:lnTo>
                <a:lnTo>
                  <a:pt x="622" y="2596"/>
                </a:lnTo>
                <a:lnTo>
                  <a:pt x="626" y="2596"/>
                </a:lnTo>
                <a:lnTo>
                  <a:pt x="626" y="2595"/>
                </a:lnTo>
                <a:lnTo>
                  <a:pt x="628" y="2595"/>
                </a:lnTo>
                <a:lnTo>
                  <a:pt x="629" y="2595"/>
                </a:lnTo>
                <a:lnTo>
                  <a:pt x="631" y="2595"/>
                </a:lnTo>
                <a:lnTo>
                  <a:pt x="633" y="2593"/>
                </a:lnTo>
                <a:lnTo>
                  <a:pt x="634" y="2593"/>
                </a:lnTo>
                <a:lnTo>
                  <a:pt x="634" y="2591"/>
                </a:lnTo>
                <a:lnTo>
                  <a:pt x="634" y="2593"/>
                </a:lnTo>
                <a:lnTo>
                  <a:pt x="634" y="2591"/>
                </a:lnTo>
                <a:lnTo>
                  <a:pt x="636" y="2589"/>
                </a:lnTo>
                <a:lnTo>
                  <a:pt x="639" y="2589"/>
                </a:lnTo>
                <a:lnTo>
                  <a:pt x="641" y="2588"/>
                </a:lnTo>
                <a:lnTo>
                  <a:pt x="643" y="2589"/>
                </a:lnTo>
                <a:lnTo>
                  <a:pt x="645" y="2589"/>
                </a:lnTo>
                <a:lnTo>
                  <a:pt x="643" y="2588"/>
                </a:lnTo>
                <a:lnTo>
                  <a:pt x="641" y="2586"/>
                </a:lnTo>
                <a:lnTo>
                  <a:pt x="638" y="2586"/>
                </a:lnTo>
                <a:lnTo>
                  <a:pt x="636" y="2586"/>
                </a:lnTo>
                <a:lnTo>
                  <a:pt x="639" y="2586"/>
                </a:lnTo>
                <a:lnTo>
                  <a:pt x="636" y="2586"/>
                </a:lnTo>
                <a:lnTo>
                  <a:pt x="636" y="2584"/>
                </a:lnTo>
                <a:lnTo>
                  <a:pt x="638" y="2586"/>
                </a:lnTo>
                <a:lnTo>
                  <a:pt x="639" y="2584"/>
                </a:lnTo>
                <a:lnTo>
                  <a:pt x="639" y="2586"/>
                </a:lnTo>
                <a:lnTo>
                  <a:pt x="639" y="2584"/>
                </a:lnTo>
                <a:lnTo>
                  <a:pt x="643" y="2586"/>
                </a:lnTo>
                <a:lnTo>
                  <a:pt x="646" y="2588"/>
                </a:lnTo>
                <a:lnTo>
                  <a:pt x="646" y="2586"/>
                </a:lnTo>
                <a:lnTo>
                  <a:pt x="645" y="2586"/>
                </a:lnTo>
                <a:lnTo>
                  <a:pt x="643" y="2586"/>
                </a:lnTo>
                <a:lnTo>
                  <a:pt x="639" y="2584"/>
                </a:lnTo>
                <a:lnTo>
                  <a:pt x="641" y="2584"/>
                </a:lnTo>
                <a:lnTo>
                  <a:pt x="638" y="2584"/>
                </a:lnTo>
                <a:lnTo>
                  <a:pt x="638" y="2583"/>
                </a:lnTo>
                <a:lnTo>
                  <a:pt x="636" y="2584"/>
                </a:lnTo>
                <a:lnTo>
                  <a:pt x="634" y="2583"/>
                </a:lnTo>
                <a:lnTo>
                  <a:pt x="636" y="2581"/>
                </a:lnTo>
                <a:lnTo>
                  <a:pt x="636" y="2579"/>
                </a:lnTo>
                <a:lnTo>
                  <a:pt x="638" y="2578"/>
                </a:lnTo>
                <a:lnTo>
                  <a:pt x="638" y="2576"/>
                </a:lnTo>
                <a:lnTo>
                  <a:pt x="639" y="2576"/>
                </a:lnTo>
                <a:lnTo>
                  <a:pt x="639" y="2572"/>
                </a:lnTo>
                <a:lnTo>
                  <a:pt x="639" y="2571"/>
                </a:lnTo>
                <a:lnTo>
                  <a:pt x="641" y="2572"/>
                </a:lnTo>
                <a:lnTo>
                  <a:pt x="641" y="2571"/>
                </a:lnTo>
                <a:lnTo>
                  <a:pt x="643" y="2569"/>
                </a:lnTo>
                <a:lnTo>
                  <a:pt x="645" y="2569"/>
                </a:lnTo>
                <a:lnTo>
                  <a:pt x="646" y="2567"/>
                </a:lnTo>
                <a:lnTo>
                  <a:pt x="648" y="2567"/>
                </a:lnTo>
                <a:lnTo>
                  <a:pt x="651" y="2566"/>
                </a:lnTo>
                <a:lnTo>
                  <a:pt x="651" y="2567"/>
                </a:lnTo>
                <a:lnTo>
                  <a:pt x="651" y="2566"/>
                </a:lnTo>
                <a:lnTo>
                  <a:pt x="653" y="2566"/>
                </a:lnTo>
                <a:lnTo>
                  <a:pt x="655" y="2564"/>
                </a:lnTo>
                <a:lnTo>
                  <a:pt x="656" y="2564"/>
                </a:lnTo>
                <a:lnTo>
                  <a:pt x="658" y="2562"/>
                </a:lnTo>
                <a:lnTo>
                  <a:pt x="660" y="2562"/>
                </a:lnTo>
                <a:lnTo>
                  <a:pt x="662" y="2561"/>
                </a:lnTo>
                <a:lnTo>
                  <a:pt x="663" y="2561"/>
                </a:lnTo>
                <a:lnTo>
                  <a:pt x="667" y="2561"/>
                </a:lnTo>
                <a:lnTo>
                  <a:pt x="668" y="2561"/>
                </a:lnTo>
                <a:lnTo>
                  <a:pt x="670" y="2561"/>
                </a:lnTo>
                <a:lnTo>
                  <a:pt x="673" y="2561"/>
                </a:lnTo>
                <a:lnTo>
                  <a:pt x="675" y="2561"/>
                </a:lnTo>
                <a:lnTo>
                  <a:pt x="677" y="2559"/>
                </a:lnTo>
                <a:lnTo>
                  <a:pt x="679" y="2559"/>
                </a:lnTo>
                <a:lnTo>
                  <a:pt x="682" y="2559"/>
                </a:lnTo>
                <a:lnTo>
                  <a:pt x="684" y="2559"/>
                </a:lnTo>
                <a:lnTo>
                  <a:pt x="685" y="2561"/>
                </a:lnTo>
                <a:lnTo>
                  <a:pt x="684" y="2559"/>
                </a:lnTo>
                <a:lnTo>
                  <a:pt x="685" y="2559"/>
                </a:lnTo>
                <a:lnTo>
                  <a:pt x="689" y="2557"/>
                </a:lnTo>
                <a:lnTo>
                  <a:pt x="690" y="2557"/>
                </a:lnTo>
                <a:lnTo>
                  <a:pt x="690" y="2555"/>
                </a:lnTo>
                <a:lnTo>
                  <a:pt x="692" y="2555"/>
                </a:lnTo>
                <a:lnTo>
                  <a:pt x="696" y="2554"/>
                </a:lnTo>
                <a:lnTo>
                  <a:pt x="696" y="2552"/>
                </a:lnTo>
                <a:lnTo>
                  <a:pt x="697" y="2552"/>
                </a:lnTo>
                <a:lnTo>
                  <a:pt x="699" y="2550"/>
                </a:lnTo>
                <a:lnTo>
                  <a:pt x="699" y="2552"/>
                </a:lnTo>
                <a:lnTo>
                  <a:pt x="699" y="2550"/>
                </a:lnTo>
                <a:lnTo>
                  <a:pt x="701" y="2549"/>
                </a:lnTo>
                <a:lnTo>
                  <a:pt x="702" y="2549"/>
                </a:lnTo>
                <a:lnTo>
                  <a:pt x="704" y="2545"/>
                </a:lnTo>
                <a:lnTo>
                  <a:pt x="704" y="2544"/>
                </a:lnTo>
                <a:lnTo>
                  <a:pt x="706" y="2542"/>
                </a:lnTo>
                <a:lnTo>
                  <a:pt x="707" y="2542"/>
                </a:lnTo>
                <a:lnTo>
                  <a:pt x="709" y="2544"/>
                </a:lnTo>
                <a:lnTo>
                  <a:pt x="711" y="2544"/>
                </a:lnTo>
                <a:lnTo>
                  <a:pt x="713" y="2545"/>
                </a:lnTo>
                <a:lnTo>
                  <a:pt x="713" y="2544"/>
                </a:lnTo>
                <a:lnTo>
                  <a:pt x="711" y="2544"/>
                </a:lnTo>
                <a:lnTo>
                  <a:pt x="713" y="2544"/>
                </a:lnTo>
                <a:lnTo>
                  <a:pt x="711" y="2544"/>
                </a:lnTo>
                <a:lnTo>
                  <a:pt x="713" y="2542"/>
                </a:lnTo>
                <a:lnTo>
                  <a:pt x="711" y="2542"/>
                </a:lnTo>
                <a:lnTo>
                  <a:pt x="709" y="2538"/>
                </a:lnTo>
                <a:lnTo>
                  <a:pt x="707" y="2538"/>
                </a:lnTo>
                <a:lnTo>
                  <a:pt x="707" y="2537"/>
                </a:lnTo>
                <a:lnTo>
                  <a:pt x="707" y="2535"/>
                </a:lnTo>
                <a:lnTo>
                  <a:pt x="709" y="2533"/>
                </a:lnTo>
                <a:lnTo>
                  <a:pt x="709" y="2532"/>
                </a:lnTo>
                <a:lnTo>
                  <a:pt x="711" y="2532"/>
                </a:lnTo>
                <a:lnTo>
                  <a:pt x="711" y="2530"/>
                </a:lnTo>
                <a:lnTo>
                  <a:pt x="709" y="2528"/>
                </a:lnTo>
                <a:lnTo>
                  <a:pt x="711" y="2527"/>
                </a:lnTo>
                <a:lnTo>
                  <a:pt x="711" y="2523"/>
                </a:lnTo>
                <a:lnTo>
                  <a:pt x="711" y="2520"/>
                </a:lnTo>
                <a:lnTo>
                  <a:pt x="714" y="2521"/>
                </a:lnTo>
                <a:lnTo>
                  <a:pt x="713" y="2520"/>
                </a:lnTo>
                <a:lnTo>
                  <a:pt x="711" y="2516"/>
                </a:lnTo>
                <a:lnTo>
                  <a:pt x="713" y="2515"/>
                </a:lnTo>
                <a:lnTo>
                  <a:pt x="713" y="2513"/>
                </a:lnTo>
                <a:lnTo>
                  <a:pt x="713" y="2510"/>
                </a:lnTo>
                <a:lnTo>
                  <a:pt x="713" y="2508"/>
                </a:lnTo>
                <a:lnTo>
                  <a:pt x="713" y="2506"/>
                </a:lnTo>
                <a:lnTo>
                  <a:pt x="714" y="2506"/>
                </a:lnTo>
                <a:lnTo>
                  <a:pt x="714" y="2508"/>
                </a:lnTo>
                <a:lnTo>
                  <a:pt x="714" y="2506"/>
                </a:lnTo>
                <a:lnTo>
                  <a:pt x="714" y="2503"/>
                </a:lnTo>
                <a:lnTo>
                  <a:pt x="714" y="2501"/>
                </a:lnTo>
                <a:lnTo>
                  <a:pt x="714" y="2499"/>
                </a:lnTo>
                <a:lnTo>
                  <a:pt x="714" y="2498"/>
                </a:lnTo>
                <a:lnTo>
                  <a:pt x="714" y="2496"/>
                </a:lnTo>
                <a:lnTo>
                  <a:pt x="718" y="2496"/>
                </a:lnTo>
                <a:lnTo>
                  <a:pt x="718" y="2494"/>
                </a:lnTo>
                <a:lnTo>
                  <a:pt x="721" y="2493"/>
                </a:lnTo>
                <a:lnTo>
                  <a:pt x="723" y="2491"/>
                </a:lnTo>
                <a:lnTo>
                  <a:pt x="726" y="2491"/>
                </a:lnTo>
                <a:lnTo>
                  <a:pt x="728" y="2491"/>
                </a:lnTo>
                <a:lnTo>
                  <a:pt x="726" y="2491"/>
                </a:lnTo>
                <a:lnTo>
                  <a:pt x="728" y="2491"/>
                </a:lnTo>
                <a:lnTo>
                  <a:pt x="726" y="2491"/>
                </a:lnTo>
                <a:lnTo>
                  <a:pt x="728" y="2491"/>
                </a:lnTo>
                <a:lnTo>
                  <a:pt x="731" y="2489"/>
                </a:lnTo>
                <a:lnTo>
                  <a:pt x="735" y="2489"/>
                </a:lnTo>
                <a:lnTo>
                  <a:pt x="736" y="2489"/>
                </a:lnTo>
                <a:lnTo>
                  <a:pt x="738" y="2489"/>
                </a:lnTo>
                <a:lnTo>
                  <a:pt x="738" y="2491"/>
                </a:lnTo>
                <a:lnTo>
                  <a:pt x="738" y="2489"/>
                </a:lnTo>
                <a:lnTo>
                  <a:pt x="740" y="2489"/>
                </a:lnTo>
                <a:lnTo>
                  <a:pt x="740" y="2487"/>
                </a:lnTo>
                <a:lnTo>
                  <a:pt x="741" y="2487"/>
                </a:lnTo>
                <a:lnTo>
                  <a:pt x="740" y="2489"/>
                </a:lnTo>
                <a:lnTo>
                  <a:pt x="741" y="2489"/>
                </a:lnTo>
                <a:lnTo>
                  <a:pt x="745" y="2487"/>
                </a:lnTo>
                <a:lnTo>
                  <a:pt x="745" y="2489"/>
                </a:lnTo>
                <a:lnTo>
                  <a:pt x="745" y="2487"/>
                </a:lnTo>
                <a:lnTo>
                  <a:pt x="748" y="2487"/>
                </a:lnTo>
                <a:lnTo>
                  <a:pt x="750" y="2489"/>
                </a:lnTo>
                <a:lnTo>
                  <a:pt x="750" y="2487"/>
                </a:lnTo>
                <a:lnTo>
                  <a:pt x="752" y="2487"/>
                </a:lnTo>
                <a:lnTo>
                  <a:pt x="753" y="2487"/>
                </a:lnTo>
                <a:lnTo>
                  <a:pt x="755" y="2487"/>
                </a:lnTo>
                <a:lnTo>
                  <a:pt x="757" y="2486"/>
                </a:lnTo>
                <a:lnTo>
                  <a:pt x="758" y="2486"/>
                </a:lnTo>
                <a:lnTo>
                  <a:pt x="760" y="2484"/>
                </a:lnTo>
                <a:lnTo>
                  <a:pt x="764" y="2484"/>
                </a:lnTo>
                <a:lnTo>
                  <a:pt x="765" y="2482"/>
                </a:lnTo>
                <a:lnTo>
                  <a:pt x="767" y="2484"/>
                </a:lnTo>
                <a:lnTo>
                  <a:pt x="765" y="2482"/>
                </a:lnTo>
                <a:lnTo>
                  <a:pt x="769" y="2481"/>
                </a:lnTo>
                <a:lnTo>
                  <a:pt x="770" y="2481"/>
                </a:lnTo>
                <a:lnTo>
                  <a:pt x="774" y="2479"/>
                </a:lnTo>
                <a:lnTo>
                  <a:pt x="775" y="2477"/>
                </a:lnTo>
                <a:lnTo>
                  <a:pt x="777" y="2479"/>
                </a:lnTo>
                <a:lnTo>
                  <a:pt x="779" y="2479"/>
                </a:lnTo>
                <a:lnTo>
                  <a:pt x="775" y="2477"/>
                </a:lnTo>
                <a:lnTo>
                  <a:pt x="777" y="2477"/>
                </a:lnTo>
                <a:lnTo>
                  <a:pt x="775" y="2477"/>
                </a:lnTo>
                <a:lnTo>
                  <a:pt x="779" y="2475"/>
                </a:lnTo>
                <a:lnTo>
                  <a:pt x="781" y="2474"/>
                </a:lnTo>
                <a:lnTo>
                  <a:pt x="782" y="2474"/>
                </a:lnTo>
                <a:lnTo>
                  <a:pt x="784" y="2472"/>
                </a:lnTo>
                <a:lnTo>
                  <a:pt x="786" y="2472"/>
                </a:lnTo>
                <a:lnTo>
                  <a:pt x="787" y="2472"/>
                </a:lnTo>
                <a:lnTo>
                  <a:pt x="787" y="2470"/>
                </a:lnTo>
                <a:lnTo>
                  <a:pt x="787" y="2469"/>
                </a:lnTo>
                <a:lnTo>
                  <a:pt x="787" y="2470"/>
                </a:lnTo>
                <a:lnTo>
                  <a:pt x="789" y="2470"/>
                </a:lnTo>
                <a:lnTo>
                  <a:pt x="787" y="2472"/>
                </a:lnTo>
                <a:lnTo>
                  <a:pt x="789" y="2470"/>
                </a:lnTo>
                <a:lnTo>
                  <a:pt x="789" y="2469"/>
                </a:lnTo>
                <a:lnTo>
                  <a:pt x="789" y="2470"/>
                </a:lnTo>
                <a:lnTo>
                  <a:pt x="791" y="2470"/>
                </a:lnTo>
                <a:lnTo>
                  <a:pt x="792" y="2470"/>
                </a:lnTo>
                <a:lnTo>
                  <a:pt x="796" y="2470"/>
                </a:lnTo>
                <a:lnTo>
                  <a:pt x="796" y="2469"/>
                </a:lnTo>
                <a:lnTo>
                  <a:pt x="799" y="2469"/>
                </a:lnTo>
                <a:lnTo>
                  <a:pt x="801" y="2469"/>
                </a:lnTo>
                <a:lnTo>
                  <a:pt x="803" y="2467"/>
                </a:lnTo>
                <a:lnTo>
                  <a:pt x="804" y="2467"/>
                </a:lnTo>
                <a:lnTo>
                  <a:pt x="806" y="2469"/>
                </a:lnTo>
                <a:lnTo>
                  <a:pt x="808" y="2470"/>
                </a:lnTo>
                <a:lnTo>
                  <a:pt x="809" y="2470"/>
                </a:lnTo>
                <a:lnTo>
                  <a:pt x="811" y="2472"/>
                </a:lnTo>
                <a:lnTo>
                  <a:pt x="813" y="2474"/>
                </a:lnTo>
                <a:lnTo>
                  <a:pt x="813" y="2472"/>
                </a:lnTo>
                <a:lnTo>
                  <a:pt x="815" y="2474"/>
                </a:lnTo>
                <a:lnTo>
                  <a:pt x="818" y="2474"/>
                </a:lnTo>
                <a:lnTo>
                  <a:pt x="820" y="2472"/>
                </a:lnTo>
                <a:lnTo>
                  <a:pt x="821" y="2472"/>
                </a:lnTo>
                <a:lnTo>
                  <a:pt x="823" y="2469"/>
                </a:lnTo>
                <a:lnTo>
                  <a:pt x="821" y="2469"/>
                </a:lnTo>
                <a:lnTo>
                  <a:pt x="823" y="2469"/>
                </a:lnTo>
                <a:lnTo>
                  <a:pt x="825" y="2470"/>
                </a:lnTo>
                <a:lnTo>
                  <a:pt x="825" y="2472"/>
                </a:lnTo>
                <a:lnTo>
                  <a:pt x="828" y="2472"/>
                </a:lnTo>
                <a:lnTo>
                  <a:pt x="828" y="2475"/>
                </a:lnTo>
                <a:lnTo>
                  <a:pt x="830" y="2475"/>
                </a:lnTo>
                <a:lnTo>
                  <a:pt x="828" y="2474"/>
                </a:lnTo>
                <a:lnTo>
                  <a:pt x="830" y="2475"/>
                </a:lnTo>
                <a:lnTo>
                  <a:pt x="830" y="2474"/>
                </a:lnTo>
                <a:lnTo>
                  <a:pt x="830" y="2475"/>
                </a:lnTo>
                <a:lnTo>
                  <a:pt x="832" y="2475"/>
                </a:lnTo>
                <a:lnTo>
                  <a:pt x="830" y="2474"/>
                </a:lnTo>
                <a:lnTo>
                  <a:pt x="832" y="2474"/>
                </a:lnTo>
                <a:lnTo>
                  <a:pt x="830" y="2474"/>
                </a:lnTo>
                <a:lnTo>
                  <a:pt x="832" y="2474"/>
                </a:lnTo>
                <a:lnTo>
                  <a:pt x="832" y="2472"/>
                </a:lnTo>
                <a:lnTo>
                  <a:pt x="832" y="2474"/>
                </a:lnTo>
                <a:lnTo>
                  <a:pt x="833" y="2472"/>
                </a:lnTo>
                <a:lnTo>
                  <a:pt x="833" y="2474"/>
                </a:lnTo>
                <a:lnTo>
                  <a:pt x="832" y="2475"/>
                </a:lnTo>
                <a:lnTo>
                  <a:pt x="833" y="2474"/>
                </a:lnTo>
                <a:lnTo>
                  <a:pt x="835" y="2474"/>
                </a:lnTo>
                <a:lnTo>
                  <a:pt x="833" y="2472"/>
                </a:lnTo>
                <a:lnTo>
                  <a:pt x="832" y="2470"/>
                </a:lnTo>
                <a:lnTo>
                  <a:pt x="830" y="2470"/>
                </a:lnTo>
                <a:lnTo>
                  <a:pt x="828" y="2470"/>
                </a:lnTo>
                <a:lnTo>
                  <a:pt x="826" y="2469"/>
                </a:lnTo>
                <a:lnTo>
                  <a:pt x="825" y="2467"/>
                </a:lnTo>
                <a:lnTo>
                  <a:pt x="825" y="2465"/>
                </a:lnTo>
                <a:lnTo>
                  <a:pt x="825" y="2467"/>
                </a:lnTo>
                <a:lnTo>
                  <a:pt x="823" y="2465"/>
                </a:lnTo>
                <a:lnTo>
                  <a:pt x="820" y="2465"/>
                </a:lnTo>
                <a:lnTo>
                  <a:pt x="821" y="2467"/>
                </a:lnTo>
                <a:lnTo>
                  <a:pt x="820" y="2467"/>
                </a:lnTo>
                <a:lnTo>
                  <a:pt x="820" y="2470"/>
                </a:lnTo>
                <a:lnTo>
                  <a:pt x="818" y="2470"/>
                </a:lnTo>
                <a:lnTo>
                  <a:pt x="815" y="2470"/>
                </a:lnTo>
                <a:lnTo>
                  <a:pt x="815" y="2469"/>
                </a:lnTo>
                <a:lnTo>
                  <a:pt x="811" y="2469"/>
                </a:lnTo>
                <a:lnTo>
                  <a:pt x="811" y="2467"/>
                </a:lnTo>
                <a:lnTo>
                  <a:pt x="809" y="2465"/>
                </a:lnTo>
                <a:lnTo>
                  <a:pt x="811" y="2465"/>
                </a:lnTo>
                <a:lnTo>
                  <a:pt x="811" y="2464"/>
                </a:lnTo>
                <a:lnTo>
                  <a:pt x="809" y="2465"/>
                </a:lnTo>
                <a:lnTo>
                  <a:pt x="806" y="2465"/>
                </a:lnTo>
                <a:lnTo>
                  <a:pt x="803" y="2464"/>
                </a:lnTo>
                <a:lnTo>
                  <a:pt x="803" y="2462"/>
                </a:lnTo>
                <a:lnTo>
                  <a:pt x="799" y="2458"/>
                </a:lnTo>
                <a:lnTo>
                  <a:pt x="803" y="2457"/>
                </a:lnTo>
                <a:lnTo>
                  <a:pt x="806" y="2455"/>
                </a:lnTo>
                <a:lnTo>
                  <a:pt x="808" y="2455"/>
                </a:lnTo>
                <a:lnTo>
                  <a:pt x="811" y="2455"/>
                </a:lnTo>
                <a:lnTo>
                  <a:pt x="811" y="2453"/>
                </a:lnTo>
                <a:lnTo>
                  <a:pt x="813" y="2452"/>
                </a:lnTo>
                <a:lnTo>
                  <a:pt x="811" y="2448"/>
                </a:lnTo>
                <a:lnTo>
                  <a:pt x="811" y="2447"/>
                </a:lnTo>
                <a:lnTo>
                  <a:pt x="813" y="2445"/>
                </a:lnTo>
                <a:lnTo>
                  <a:pt x="816" y="2445"/>
                </a:lnTo>
                <a:lnTo>
                  <a:pt x="818" y="2445"/>
                </a:lnTo>
                <a:lnTo>
                  <a:pt x="820" y="2443"/>
                </a:lnTo>
                <a:lnTo>
                  <a:pt x="820" y="2440"/>
                </a:lnTo>
                <a:lnTo>
                  <a:pt x="823" y="2440"/>
                </a:lnTo>
                <a:lnTo>
                  <a:pt x="825" y="2438"/>
                </a:lnTo>
                <a:lnTo>
                  <a:pt x="826" y="2438"/>
                </a:lnTo>
                <a:lnTo>
                  <a:pt x="825" y="2438"/>
                </a:lnTo>
                <a:lnTo>
                  <a:pt x="826" y="2438"/>
                </a:lnTo>
                <a:lnTo>
                  <a:pt x="825" y="2440"/>
                </a:lnTo>
                <a:lnTo>
                  <a:pt x="826" y="2440"/>
                </a:lnTo>
                <a:lnTo>
                  <a:pt x="828" y="2441"/>
                </a:lnTo>
                <a:lnTo>
                  <a:pt x="832" y="2443"/>
                </a:lnTo>
                <a:lnTo>
                  <a:pt x="833" y="2445"/>
                </a:lnTo>
                <a:lnTo>
                  <a:pt x="837" y="2447"/>
                </a:lnTo>
                <a:lnTo>
                  <a:pt x="837" y="2448"/>
                </a:lnTo>
                <a:lnTo>
                  <a:pt x="840" y="2450"/>
                </a:lnTo>
                <a:lnTo>
                  <a:pt x="842" y="2450"/>
                </a:lnTo>
                <a:lnTo>
                  <a:pt x="842" y="2452"/>
                </a:lnTo>
                <a:lnTo>
                  <a:pt x="842" y="2450"/>
                </a:lnTo>
                <a:lnTo>
                  <a:pt x="840" y="2450"/>
                </a:lnTo>
                <a:lnTo>
                  <a:pt x="842" y="2452"/>
                </a:lnTo>
                <a:lnTo>
                  <a:pt x="840" y="2452"/>
                </a:lnTo>
                <a:lnTo>
                  <a:pt x="840" y="2453"/>
                </a:lnTo>
                <a:lnTo>
                  <a:pt x="837" y="2453"/>
                </a:lnTo>
                <a:lnTo>
                  <a:pt x="835" y="2453"/>
                </a:lnTo>
                <a:lnTo>
                  <a:pt x="835" y="2452"/>
                </a:lnTo>
                <a:lnTo>
                  <a:pt x="833" y="2450"/>
                </a:lnTo>
                <a:lnTo>
                  <a:pt x="832" y="2450"/>
                </a:lnTo>
                <a:lnTo>
                  <a:pt x="832" y="2452"/>
                </a:lnTo>
                <a:lnTo>
                  <a:pt x="833" y="2452"/>
                </a:lnTo>
                <a:lnTo>
                  <a:pt x="832" y="2452"/>
                </a:lnTo>
                <a:lnTo>
                  <a:pt x="832" y="2450"/>
                </a:lnTo>
                <a:lnTo>
                  <a:pt x="832" y="2448"/>
                </a:lnTo>
                <a:lnTo>
                  <a:pt x="828" y="2448"/>
                </a:lnTo>
                <a:lnTo>
                  <a:pt x="828" y="2450"/>
                </a:lnTo>
                <a:lnTo>
                  <a:pt x="828" y="2448"/>
                </a:lnTo>
                <a:lnTo>
                  <a:pt x="826" y="2447"/>
                </a:lnTo>
                <a:lnTo>
                  <a:pt x="826" y="2445"/>
                </a:lnTo>
                <a:lnTo>
                  <a:pt x="826" y="2441"/>
                </a:lnTo>
                <a:lnTo>
                  <a:pt x="823" y="2441"/>
                </a:lnTo>
                <a:lnTo>
                  <a:pt x="821" y="2441"/>
                </a:lnTo>
                <a:lnTo>
                  <a:pt x="820" y="2445"/>
                </a:lnTo>
                <a:lnTo>
                  <a:pt x="818" y="2445"/>
                </a:lnTo>
                <a:lnTo>
                  <a:pt x="821" y="2445"/>
                </a:lnTo>
                <a:lnTo>
                  <a:pt x="821" y="2447"/>
                </a:lnTo>
                <a:lnTo>
                  <a:pt x="825" y="2447"/>
                </a:lnTo>
                <a:lnTo>
                  <a:pt x="826" y="2450"/>
                </a:lnTo>
                <a:lnTo>
                  <a:pt x="828" y="2452"/>
                </a:lnTo>
                <a:lnTo>
                  <a:pt x="830" y="2450"/>
                </a:lnTo>
                <a:lnTo>
                  <a:pt x="832" y="2452"/>
                </a:lnTo>
                <a:lnTo>
                  <a:pt x="830" y="2452"/>
                </a:lnTo>
                <a:lnTo>
                  <a:pt x="828" y="2453"/>
                </a:lnTo>
                <a:lnTo>
                  <a:pt x="825" y="2455"/>
                </a:lnTo>
                <a:lnTo>
                  <a:pt x="823" y="2455"/>
                </a:lnTo>
                <a:lnTo>
                  <a:pt x="821" y="2453"/>
                </a:lnTo>
                <a:lnTo>
                  <a:pt x="820" y="2453"/>
                </a:lnTo>
                <a:lnTo>
                  <a:pt x="821" y="2452"/>
                </a:lnTo>
                <a:lnTo>
                  <a:pt x="820" y="2453"/>
                </a:lnTo>
                <a:lnTo>
                  <a:pt x="820" y="2450"/>
                </a:lnTo>
                <a:lnTo>
                  <a:pt x="816" y="2450"/>
                </a:lnTo>
                <a:lnTo>
                  <a:pt x="818" y="2448"/>
                </a:lnTo>
                <a:lnTo>
                  <a:pt x="816" y="2448"/>
                </a:lnTo>
                <a:lnTo>
                  <a:pt x="815" y="2450"/>
                </a:lnTo>
                <a:lnTo>
                  <a:pt x="813" y="2450"/>
                </a:lnTo>
                <a:lnTo>
                  <a:pt x="813" y="2452"/>
                </a:lnTo>
                <a:lnTo>
                  <a:pt x="813" y="2453"/>
                </a:lnTo>
                <a:lnTo>
                  <a:pt x="811" y="2453"/>
                </a:lnTo>
                <a:lnTo>
                  <a:pt x="811" y="2455"/>
                </a:lnTo>
                <a:lnTo>
                  <a:pt x="813" y="2455"/>
                </a:lnTo>
                <a:lnTo>
                  <a:pt x="815" y="2455"/>
                </a:lnTo>
                <a:lnTo>
                  <a:pt x="816" y="2455"/>
                </a:lnTo>
                <a:lnTo>
                  <a:pt x="818" y="2455"/>
                </a:lnTo>
                <a:lnTo>
                  <a:pt x="820" y="2457"/>
                </a:lnTo>
                <a:lnTo>
                  <a:pt x="820" y="2458"/>
                </a:lnTo>
                <a:lnTo>
                  <a:pt x="818" y="2460"/>
                </a:lnTo>
                <a:lnTo>
                  <a:pt x="818" y="2458"/>
                </a:lnTo>
                <a:lnTo>
                  <a:pt x="816" y="2458"/>
                </a:lnTo>
                <a:lnTo>
                  <a:pt x="815" y="2458"/>
                </a:lnTo>
                <a:lnTo>
                  <a:pt x="813" y="2458"/>
                </a:lnTo>
                <a:lnTo>
                  <a:pt x="811" y="2460"/>
                </a:lnTo>
                <a:lnTo>
                  <a:pt x="811" y="2457"/>
                </a:lnTo>
                <a:lnTo>
                  <a:pt x="811" y="2458"/>
                </a:lnTo>
                <a:lnTo>
                  <a:pt x="809" y="2457"/>
                </a:lnTo>
                <a:lnTo>
                  <a:pt x="809" y="2455"/>
                </a:lnTo>
                <a:lnTo>
                  <a:pt x="808" y="2457"/>
                </a:lnTo>
                <a:lnTo>
                  <a:pt x="809" y="2458"/>
                </a:lnTo>
                <a:lnTo>
                  <a:pt x="811" y="2462"/>
                </a:lnTo>
                <a:lnTo>
                  <a:pt x="813" y="2460"/>
                </a:lnTo>
                <a:lnTo>
                  <a:pt x="811" y="2460"/>
                </a:lnTo>
                <a:lnTo>
                  <a:pt x="813" y="2460"/>
                </a:lnTo>
                <a:lnTo>
                  <a:pt x="813" y="2458"/>
                </a:lnTo>
                <a:lnTo>
                  <a:pt x="815" y="2458"/>
                </a:lnTo>
                <a:lnTo>
                  <a:pt x="813" y="2458"/>
                </a:lnTo>
                <a:lnTo>
                  <a:pt x="815" y="2458"/>
                </a:lnTo>
                <a:lnTo>
                  <a:pt x="816" y="2458"/>
                </a:lnTo>
                <a:lnTo>
                  <a:pt x="818" y="2460"/>
                </a:lnTo>
                <a:lnTo>
                  <a:pt x="821" y="2460"/>
                </a:lnTo>
                <a:lnTo>
                  <a:pt x="823" y="2460"/>
                </a:lnTo>
                <a:lnTo>
                  <a:pt x="825" y="2462"/>
                </a:lnTo>
                <a:lnTo>
                  <a:pt x="826" y="2464"/>
                </a:lnTo>
                <a:lnTo>
                  <a:pt x="826" y="2465"/>
                </a:lnTo>
                <a:lnTo>
                  <a:pt x="828" y="2467"/>
                </a:lnTo>
                <a:lnTo>
                  <a:pt x="830" y="2469"/>
                </a:lnTo>
                <a:lnTo>
                  <a:pt x="832" y="2467"/>
                </a:lnTo>
                <a:lnTo>
                  <a:pt x="833" y="2469"/>
                </a:lnTo>
                <a:lnTo>
                  <a:pt x="833" y="2467"/>
                </a:lnTo>
                <a:lnTo>
                  <a:pt x="833" y="2464"/>
                </a:lnTo>
                <a:lnTo>
                  <a:pt x="832" y="2464"/>
                </a:lnTo>
                <a:lnTo>
                  <a:pt x="832" y="2462"/>
                </a:lnTo>
                <a:lnTo>
                  <a:pt x="830" y="2462"/>
                </a:lnTo>
                <a:lnTo>
                  <a:pt x="828" y="2462"/>
                </a:lnTo>
                <a:lnTo>
                  <a:pt x="826" y="2460"/>
                </a:lnTo>
                <a:lnTo>
                  <a:pt x="825" y="2458"/>
                </a:lnTo>
                <a:lnTo>
                  <a:pt x="823" y="2457"/>
                </a:lnTo>
                <a:lnTo>
                  <a:pt x="825" y="2457"/>
                </a:lnTo>
                <a:lnTo>
                  <a:pt x="828" y="2455"/>
                </a:lnTo>
                <a:lnTo>
                  <a:pt x="830" y="2457"/>
                </a:lnTo>
                <a:lnTo>
                  <a:pt x="832" y="2457"/>
                </a:lnTo>
                <a:lnTo>
                  <a:pt x="832" y="2455"/>
                </a:lnTo>
                <a:lnTo>
                  <a:pt x="830" y="2455"/>
                </a:lnTo>
                <a:lnTo>
                  <a:pt x="830" y="2453"/>
                </a:lnTo>
                <a:lnTo>
                  <a:pt x="832" y="2453"/>
                </a:lnTo>
                <a:lnTo>
                  <a:pt x="833" y="2455"/>
                </a:lnTo>
                <a:lnTo>
                  <a:pt x="832" y="2452"/>
                </a:lnTo>
                <a:lnTo>
                  <a:pt x="833" y="2452"/>
                </a:lnTo>
                <a:lnTo>
                  <a:pt x="832" y="2452"/>
                </a:lnTo>
                <a:lnTo>
                  <a:pt x="832" y="2453"/>
                </a:lnTo>
                <a:lnTo>
                  <a:pt x="833" y="2453"/>
                </a:lnTo>
                <a:lnTo>
                  <a:pt x="833" y="2455"/>
                </a:lnTo>
                <a:lnTo>
                  <a:pt x="835" y="2453"/>
                </a:lnTo>
                <a:lnTo>
                  <a:pt x="837" y="2455"/>
                </a:lnTo>
                <a:lnTo>
                  <a:pt x="840" y="2453"/>
                </a:lnTo>
                <a:lnTo>
                  <a:pt x="842" y="2453"/>
                </a:lnTo>
                <a:lnTo>
                  <a:pt x="842" y="2452"/>
                </a:lnTo>
                <a:lnTo>
                  <a:pt x="843" y="2450"/>
                </a:lnTo>
                <a:lnTo>
                  <a:pt x="843" y="2452"/>
                </a:lnTo>
                <a:lnTo>
                  <a:pt x="843" y="2450"/>
                </a:lnTo>
                <a:lnTo>
                  <a:pt x="847" y="2452"/>
                </a:lnTo>
                <a:lnTo>
                  <a:pt x="849" y="2452"/>
                </a:lnTo>
                <a:lnTo>
                  <a:pt x="852" y="2452"/>
                </a:lnTo>
                <a:lnTo>
                  <a:pt x="854" y="2450"/>
                </a:lnTo>
                <a:lnTo>
                  <a:pt x="855" y="2450"/>
                </a:lnTo>
                <a:lnTo>
                  <a:pt x="857" y="2450"/>
                </a:lnTo>
                <a:lnTo>
                  <a:pt x="860" y="2452"/>
                </a:lnTo>
                <a:lnTo>
                  <a:pt x="862" y="2452"/>
                </a:lnTo>
                <a:lnTo>
                  <a:pt x="862" y="2450"/>
                </a:lnTo>
                <a:lnTo>
                  <a:pt x="860" y="2450"/>
                </a:lnTo>
                <a:lnTo>
                  <a:pt x="857" y="2450"/>
                </a:lnTo>
                <a:lnTo>
                  <a:pt x="860" y="2448"/>
                </a:lnTo>
                <a:lnTo>
                  <a:pt x="859" y="2448"/>
                </a:lnTo>
                <a:lnTo>
                  <a:pt x="857" y="2448"/>
                </a:lnTo>
                <a:lnTo>
                  <a:pt x="859" y="2447"/>
                </a:lnTo>
                <a:lnTo>
                  <a:pt x="857" y="2448"/>
                </a:lnTo>
                <a:lnTo>
                  <a:pt x="855" y="2448"/>
                </a:lnTo>
                <a:lnTo>
                  <a:pt x="855" y="2450"/>
                </a:lnTo>
                <a:lnTo>
                  <a:pt x="857" y="2448"/>
                </a:lnTo>
                <a:lnTo>
                  <a:pt x="859" y="2445"/>
                </a:lnTo>
                <a:lnTo>
                  <a:pt x="862" y="2445"/>
                </a:lnTo>
                <a:lnTo>
                  <a:pt x="864" y="2443"/>
                </a:lnTo>
                <a:lnTo>
                  <a:pt x="862" y="2445"/>
                </a:lnTo>
                <a:lnTo>
                  <a:pt x="860" y="2445"/>
                </a:lnTo>
                <a:lnTo>
                  <a:pt x="859" y="2445"/>
                </a:lnTo>
                <a:lnTo>
                  <a:pt x="857" y="2447"/>
                </a:lnTo>
                <a:lnTo>
                  <a:pt x="855" y="2448"/>
                </a:lnTo>
                <a:lnTo>
                  <a:pt x="854" y="2450"/>
                </a:lnTo>
                <a:lnTo>
                  <a:pt x="854" y="2448"/>
                </a:lnTo>
                <a:lnTo>
                  <a:pt x="854" y="2450"/>
                </a:lnTo>
                <a:lnTo>
                  <a:pt x="852" y="2448"/>
                </a:lnTo>
                <a:lnTo>
                  <a:pt x="852" y="2450"/>
                </a:lnTo>
                <a:lnTo>
                  <a:pt x="849" y="2450"/>
                </a:lnTo>
                <a:lnTo>
                  <a:pt x="845" y="2450"/>
                </a:lnTo>
                <a:lnTo>
                  <a:pt x="843" y="2448"/>
                </a:lnTo>
                <a:lnTo>
                  <a:pt x="842" y="2448"/>
                </a:lnTo>
                <a:lnTo>
                  <a:pt x="840" y="2447"/>
                </a:lnTo>
                <a:lnTo>
                  <a:pt x="838" y="2447"/>
                </a:lnTo>
                <a:lnTo>
                  <a:pt x="837" y="2445"/>
                </a:lnTo>
                <a:lnTo>
                  <a:pt x="835" y="2445"/>
                </a:lnTo>
                <a:lnTo>
                  <a:pt x="837" y="2445"/>
                </a:lnTo>
                <a:lnTo>
                  <a:pt x="837" y="2443"/>
                </a:lnTo>
                <a:lnTo>
                  <a:pt x="835" y="2441"/>
                </a:lnTo>
                <a:lnTo>
                  <a:pt x="833" y="2443"/>
                </a:lnTo>
                <a:lnTo>
                  <a:pt x="833" y="2441"/>
                </a:lnTo>
                <a:lnTo>
                  <a:pt x="832" y="2441"/>
                </a:lnTo>
                <a:lnTo>
                  <a:pt x="832" y="2440"/>
                </a:lnTo>
                <a:lnTo>
                  <a:pt x="830" y="2440"/>
                </a:lnTo>
                <a:lnTo>
                  <a:pt x="828" y="2440"/>
                </a:lnTo>
                <a:lnTo>
                  <a:pt x="828" y="2438"/>
                </a:lnTo>
                <a:lnTo>
                  <a:pt x="828" y="2436"/>
                </a:lnTo>
                <a:lnTo>
                  <a:pt x="828" y="2435"/>
                </a:lnTo>
                <a:lnTo>
                  <a:pt x="828" y="2433"/>
                </a:lnTo>
                <a:lnTo>
                  <a:pt x="826" y="2435"/>
                </a:lnTo>
                <a:lnTo>
                  <a:pt x="826" y="2433"/>
                </a:lnTo>
                <a:lnTo>
                  <a:pt x="825" y="2431"/>
                </a:lnTo>
                <a:lnTo>
                  <a:pt x="826" y="2430"/>
                </a:lnTo>
                <a:lnTo>
                  <a:pt x="828" y="2430"/>
                </a:lnTo>
                <a:lnTo>
                  <a:pt x="830" y="2430"/>
                </a:lnTo>
                <a:lnTo>
                  <a:pt x="830" y="2431"/>
                </a:lnTo>
                <a:lnTo>
                  <a:pt x="830" y="2430"/>
                </a:lnTo>
                <a:lnTo>
                  <a:pt x="830" y="2431"/>
                </a:lnTo>
                <a:lnTo>
                  <a:pt x="826" y="2430"/>
                </a:lnTo>
                <a:lnTo>
                  <a:pt x="825" y="2431"/>
                </a:lnTo>
                <a:lnTo>
                  <a:pt x="826" y="2431"/>
                </a:lnTo>
                <a:lnTo>
                  <a:pt x="826" y="2433"/>
                </a:lnTo>
                <a:lnTo>
                  <a:pt x="828" y="2431"/>
                </a:lnTo>
                <a:lnTo>
                  <a:pt x="826" y="2430"/>
                </a:lnTo>
                <a:lnTo>
                  <a:pt x="828" y="2431"/>
                </a:lnTo>
                <a:lnTo>
                  <a:pt x="830" y="2431"/>
                </a:lnTo>
                <a:lnTo>
                  <a:pt x="828" y="2431"/>
                </a:lnTo>
                <a:lnTo>
                  <a:pt x="830" y="2433"/>
                </a:lnTo>
                <a:lnTo>
                  <a:pt x="828" y="2433"/>
                </a:lnTo>
                <a:lnTo>
                  <a:pt x="828" y="2431"/>
                </a:lnTo>
                <a:lnTo>
                  <a:pt x="828" y="2433"/>
                </a:lnTo>
                <a:lnTo>
                  <a:pt x="830" y="2433"/>
                </a:lnTo>
                <a:lnTo>
                  <a:pt x="832" y="2431"/>
                </a:lnTo>
                <a:lnTo>
                  <a:pt x="832" y="2433"/>
                </a:lnTo>
                <a:lnTo>
                  <a:pt x="833" y="2431"/>
                </a:lnTo>
                <a:lnTo>
                  <a:pt x="833" y="2433"/>
                </a:lnTo>
                <a:lnTo>
                  <a:pt x="835" y="2433"/>
                </a:lnTo>
                <a:lnTo>
                  <a:pt x="835" y="2435"/>
                </a:lnTo>
                <a:lnTo>
                  <a:pt x="837" y="2436"/>
                </a:lnTo>
                <a:lnTo>
                  <a:pt x="837" y="2435"/>
                </a:lnTo>
                <a:lnTo>
                  <a:pt x="833" y="2433"/>
                </a:lnTo>
                <a:lnTo>
                  <a:pt x="833" y="2431"/>
                </a:lnTo>
                <a:lnTo>
                  <a:pt x="832" y="2431"/>
                </a:lnTo>
                <a:lnTo>
                  <a:pt x="833" y="2431"/>
                </a:lnTo>
                <a:lnTo>
                  <a:pt x="835" y="2433"/>
                </a:lnTo>
                <a:lnTo>
                  <a:pt x="837" y="2435"/>
                </a:lnTo>
                <a:lnTo>
                  <a:pt x="838" y="2436"/>
                </a:lnTo>
                <a:lnTo>
                  <a:pt x="840" y="2436"/>
                </a:lnTo>
                <a:lnTo>
                  <a:pt x="838" y="2436"/>
                </a:lnTo>
                <a:lnTo>
                  <a:pt x="838" y="2438"/>
                </a:lnTo>
                <a:lnTo>
                  <a:pt x="840" y="2436"/>
                </a:lnTo>
                <a:lnTo>
                  <a:pt x="838" y="2438"/>
                </a:lnTo>
                <a:lnTo>
                  <a:pt x="840" y="2438"/>
                </a:lnTo>
                <a:lnTo>
                  <a:pt x="840" y="2436"/>
                </a:lnTo>
                <a:lnTo>
                  <a:pt x="840" y="2438"/>
                </a:lnTo>
                <a:lnTo>
                  <a:pt x="840" y="2436"/>
                </a:lnTo>
                <a:lnTo>
                  <a:pt x="842" y="2438"/>
                </a:lnTo>
                <a:lnTo>
                  <a:pt x="842" y="2436"/>
                </a:lnTo>
                <a:lnTo>
                  <a:pt x="842" y="2438"/>
                </a:lnTo>
                <a:lnTo>
                  <a:pt x="842" y="2436"/>
                </a:lnTo>
                <a:lnTo>
                  <a:pt x="845" y="2438"/>
                </a:lnTo>
                <a:lnTo>
                  <a:pt x="843" y="2436"/>
                </a:lnTo>
                <a:lnTo>
                  <a:pt x="845" y="2436"/>
                </a:lnTo>
                <a:lnTo>
                  <a:pt x="845" y="2438"/>
                </a:lnTo>
                <a:lnTo>
                  <a:pt x="847" y="2436"/>
                </a:lnTo>
                <a:lnTo>
                  <a:pt x="845" y="2436"/>
                </a:lnTo>
                <a:lnTo>
                  <a:pt x="847" y="2436"/>
                </a:lnTo>
                <a:lnTo>
                  <a:pt x="849" y="2436"/>
                </a:lnTo>
                <a:lnTo>
                  <a:pt x="850" y="2436"/>
                </a:lnTo>
                <a:lnTo>
                  <a:pt x="849" y="2435"/>
                </a:lnTo>
                <a:lnTo>
                  <a:pt x="847" y="2436"/>
                </a:lnTo>
                <a:lnTo>
                  <a:pt x="843" y="2436"/>
                </a:lnTo>
                <a:lnTo>
                  <a:pt x="842" y="2436"/>
                </a:lnTo>
                <a:lnTo>
                  <a:pt x="838" y="2436"/>
                </a:lnTo>
                <a:lnTo>
                  <a:pt x="837" y="2435"/>
                </a:lnTo>
                <a:lnTo>
                  <a:pt x="837" y="2433"/>
                </a:lnTo>
                <a:lnTo>
                  <a:pt x="833" y="2431"/>
                </a:lnTo>
                <a:lnTo>
                  <a:pt x="832" y="2430"/>
                </a:lnTo>
                <a:lnTo>
                  <a:pt x="833" y="2428"/>
                </a:lnTo>
                <a:lnTo>
                  <a:pt x="833" y="2426"/>
                </a:lnTo>
                <a:lnTo>
                  <a:pt x="835" y="2426"/>
                </a:lnTo>
                <a:lnTo>
                  <a:pt x="835" y="2424"/>
                </a:lnTo>
                <a:lnTo>
                  <a:pt x="838" y="2423"/>
                </a:lnTo>
                <a:lnTo>
                  <a:pt x="838" y="2421"/>
                </a:lnTo>
                <a:lnTo>
                  <a:pt x="838" y="2423"/>
                </a:lnTo>
                <a:lnTo>
                  <a:pt x="838" y="2421"/>
                </a:lnTo>
                <a:lnTo>
                  <a:pt x="842" y="2419"/>
                </a:lnTo>
                <a:lnTo>
                  <a:pt x="843" y="2416"/>
                </a:lnTo>
                <a:lnTo>
                  <a:pt x="845" y="2414"/>
                </a:lnTo>
                <a:lnTo>
                  <a:pt x="847" y="2413"/>
                </a:lnTo>
                <a:lnTo>
                  <a:pt x="847" y="2411"/>
                </a:lnTo>
                <a:lnTo>
                  <a:pt x="849" y="2409"/>
                </a:lnTo>
                <a:lnTo>
                  <a:pt x="850" y="2407"/>
                </a:lnTo>
                <a:lnTo>
                  <a:pt x="850" y="2406"/>
                </a:lnTo>
                <a:lnTo>
                  <a:pt x="850" y="2404"/>
                </a:lnTo>
                <a:lnTo>
                  <a:pt x="852" y="2404"/>
                </a:lnTo>
                <a:lnTo>
                  <a:pt x="854" y="2401"/>
                </a:lnTo>
                <a:lnTo>
                  <a:pt x="854" y="2399"/>
                </a:lnTo>
                <a:lnTo>
                  <a:pt x="852" y="2397"/>
                </a:lnTo>
                <a:lnTo>
                  <a:pt x="854" y="2399"/>
                </a:lnTo>
                <a:lnTo>
                  <a:pt x="857" y="2397"/>
                </a:lnTo>
                <a:lnTo>
                  <a:pt x="857" y="2399"/>
                </a:lnTo>
                <a:lnTo>
                  <a:pt x="860" y="2401"/>
                </a:lnTo>
                <a:lnTo>
                  <a:pt x="862" y="2401"/>
                </a:lnTo>
                <a:lnTo>
                  <a:pt x="862" y="2402"/>
                </a:lnTo>
                <a:lnTo>
                  <a:pt x="864" y="2402"/>
                </a:lnTo>
                <a:lnTo>
                  <a:pt x="862" y="2401"/>
                </a:lnTo>
                <a:lnTo>
                  <a:pt x="864" y="2402"/>
                </a:lnTo>
                <a:lnTo>
                  <a:pt x="864" y="2404"/>
                </a:lnTo>
                <a:lnTo>
                  <a:pt x="866" y="2402"/>
                </a:lnTo>
                <a:lnTo>
                  <a:pt x="864" y="2402"/>
                </a:lnTo>
                <a:lnTo>
                  <a:pt x="866" y="2402"/>
                </a:lnTo>
                <a:lnTo>
                  <a:pt x="867" y="2402"/>
                </a:lnTo>
                <a:lnTo>
                  <a:pt x="866" y="2402"/>
                </a:lnTo>
                <a:lnTo>
                  <a:pt x="867" y="2402"/>
                </a:lnTo>
                <a:lnTo>
                  <a:pt x="867" y="2404"/>
                </a:lnTo>
                <a:lnTo>
                  <a:pt x="869" y="2404"/>
                </a:lnTo>
                <a:lnTo>
                  <a:pt x="869" y="2406"/>
                </a:lnTo>
                <a:lnTo>
                  <a:pt x="871" y="2407"/>
                </a:lnTo>
                <a:lnTo>
                  <a:pt x="871" y="2406"/>
                </a:lnTo>
                <a:lnTo>
                  <a:pt x="869" y="2406"/>
                </a:lnTo>
                <a:lnTo>
                  <a:pt x="869" y="2404"/>
                </a:lnTo>
                <a:lnTo>
                  <a:pt x="871" y="2404"/>
                </a:lnTo>
                <a:lnTo>
                  <a:pt x="871" y="2406"/>
                </a:lnTo>
                <a:lnTo>
                  <a:pt x="869" y="2406"/>
                </a:lnTo>
                <a:lnTo>
                  <a:pt x="872" y="2407"/>
                </a:lnTo>
                <a:lnTo>
                  <a:pt x="874" y="2407"/>
                </a:lnTo>
                <a:lnTo>
                  <a:pt x="874" y="2409"/>
                </a:lnTo>
                <a:lnTo>
                  <a:pt x="874" y="2407"/>
                </a:lnTo>
                <a:lnTo>
                  <a:pt x="876" y="2407"/>
                </a:lnTo>
                <a:lnTo>
                  <a:pt x="877" y="2409"/>
                </a:lnTo>
                <a:lnTo>
                  <a:pt x="879" y="2411"/>
                </a:lnTo>
                <a:lnTo>
                  <a:pt x="881" y="2411"/>
                </a:lnTo>
                <a:lnTo>
                  <a:pt x="883" y="2409"/>
                </a:lnTo>
                <a:lnTo>
                  <a:pt x="881" y="2411"/>
                </a:lnTo>
                <a:lnTo>
                  <a:pt x="883" y="2409"/>
                </a:lnTo>
                <a:lnTo>
                  <a:pt x="884" y="2411"/>
                </a:lnTo>
                <a:lnTo>
                  <a:pt x="884" y="2413"/>
                </a:lnTo>
                <a:lnTo>
                  <a:pt x="886" y="2414"/>
                </a:lnTo>
                <a:lnTo>
                  <a:pt x="888" y="2414"/>
                </a:lnTo>
                <a:lnTo>
                  <a:pt x="889" y="2416"/>
                </a:lnTo>
                <a:lnTo>
                  <a:pt x="891" y="2414"/>
                </a:lnTo>
                <a:lnTo>
                  <a:pt x="894" y="2414"/>
                </a:lnTo>
                <a:lnTo>
                  <a:pt x="891" y="2414"/>
                </a:lnTo>
                <a:lnTo>
                  <a:pt x="894" y="2414"/>
                </a:lnTo>
                <a:lnTo>
                  <a:pt x="894" y="2413"/>
                </a:lnTo>
                <a:lnTo>
                  <a:pt x="894" y="2411"/>
                </a:lnTo>
                <a:lnTo>
                  <a:pt x="898" y="2409"/>
                </a:lnTo>
                <a:lnTo>
                  <a:pt x="898" y="2407"/>
                </a:lnTo>
                <a:lnTo>
                  <a:pt x="898" y="2409"/>
                </a:lnTo>
                <a:lnTo>
                  <a:pt x="898" y="2407"/>
                </a:lnTo>
                <a:lnTo>
                  <a:pt x="896" y="2407"/>
                </a:lnTo>
                <a:lnTo>
                  <a:pt x="894" y="2409"/>
                </a:lnTo>
                <a:lnTo>
                  <a:pt x="894" y="2411"/>
                </a:lnTo>
                <a:lnTo>
                  <a:pt x="894" y="2413"/>
                </a:lnTo>
                <a:lnTo>
                  <a:pt x="893" y="2414"/>
                </a:lnTo>
                <a:lnTo>
                  <a:pt x="891" y="2414"/>
                </a:lnTo>
                <a:lnTo>
                  <a:pt x="889" y="2414"/>
                </a:lnTo>
                <a:lnTo>
                  <a:pt x="888" y="2414"/>
                </a:lnTo>
                <a:lnTo>
                  <a:pt x="886" y="2413"/>
                </a:lnTo>
                <a:lnTo>
                  <a:pt x="886" y="2411"/>
                </a:lnTo>
                <a:lnTo>
                  <a:pt x="884" y="2411"/>
                </a:lnTo>
                <a:lnTo>
                  <a:pt x="883" y="2409"/>
                </a:lnTo>
                <a:lnTo>
                  <a:pt x="881" y="2409"/>
                </a:lnTo>
                <a:lnTo>
                  <a:pt x="879" y="2409"/>
                </a:lnTo>
                <a:lnTo>
                  <a:pt x="877" y="2409"/>
                </a:lnTo>
                <a:lnTo>
                  <a:pt x="877" y="2407"/>
                </a:lnTo>
                <a:lnTo>
                  <a:pt x="877" y="2406"/>
                </a:lnTo>
                <a:lnTo>
                  <a:pt x="879" y="2404"/>
                </a:lnTo>
                <a:lnTo>
                  <a:pt x="877" y="2404"/>
                </a:lnTo>
                <a:lnTo>
                  <a:pt x="879" y="2404"/>
                </a:lnTo>
                <a:lnTo>
                  <a:pt x="881" y="2402"/>
                </a:lnTo>
                <a:lnTo>
                  <a:pt x="883" y="2402"/>
                </a:lnTo>
                <a:lnTo>
                  <a:pt x="888" y="2399"/>
                </a:lnTo>
                <a:lnTo>
                  <a:pt x="889" y="2399"/>
                </a:lnTo>
                <a:lnTo>
                  <a:pt x="891" y="2397"/>
                </a:lnTo>
                <a:lnTo>
                  <a:pt x="891" y="2394"/>
                </a:lnTo>
                <a:lnTo>
                  <a:pt x="893" y="2394"/>
                </a:lnTo>
                <a:lnTo>
                  <a:pt x="894" y="2394"/>
                </a:lnTo>
                <a:lnTo>
                  <a:pt x="894" y="2392"/>
                </a:lnTo>
                <a:lnTo>
                  <a:pt x="896" y="2392"/>
                </a:lnTo>
                <a:lnTo>
                  <a:pt x="900" y="2390"/>
                </a:lnTo>
                <a:lnTo>
                  <a:pt x="901" y="2392"/>
                </a:lnTo>
                <a:lnTo>
                  <a:pt x="903" y="2392"/>
                </a:lnTo>
                <a:lnTo>
                  <a:pt x="905" y="2392"/>
                </a:lnTo>
                <a:lnTo>
                  <a:pt x="905" y="2394"/>
                </a:lnTo>
                <a:lnTo>
                  <a:pt x="905" y="2392"/>
                </a:lnTo>
                <a:lnTo>
                  <a:pt x="905" y="2394"/>
                </a:lnTo>
                <a:lnTo>
                  <a:pt x="906" y="2394"/>
                </a:lnTo>
                <a:lnTo>
                  <a:pt x="908" y="2396"/>
                </a:lnTo>
                <a:lnTo>
                  <a:pt x="908" y="2397"/>
                </a:lnTo>
                <a:lnTo>
                  <a:pt x="908" y="2399"/>
                </a:lnTo>
                <a:lnTo>
                  <a:pt x="906" y="2402"/>
                </a:lnTo>
                <a:lnTo>
                  <a:pt x="903" y="2404"/>
                </a:lnTo>
                <a:lnTo>
                  <a:pt x="900" y="2406"/>
                </a:lnTo>
                <a:lnTo>
                  <a:pt x="898" y="2407"/>
                </a:lnTo>
                <a:lnTo>
                  <a:pt x="900" y="2407"/>
                </a:lnTo>
                <a:lnTo>
                  <a:pt x="901" y="2407"/>
                </a:lnTo>
                <a:lnTo>
                  <a:pt x="903" y="2406"/>
                </a:lnTo>
                <a:lnTo>
                  <a:pt x="905" y="2404"/>
                </a:lnTo>
                <a:lnTo>
                  <a:pt x="906" y="2404"/>
                </a:lnTo>
                <a:lnTo>
                  <a:pt x="906" y="2402"/>
                </a:lnTo>
                <a:lnTo>
                  <a:pt x="908" y="2402"/>
                </a:lnTo>
                <a:lnTo>
                  <a:pt x="906" y="2402"/>
                </a:lnTo>
                <a:lnTo>
                  <a:pt x="908" y="2401"/>
                </a:lnTo>
                <a:lnTo>
                  <a:pt x="908" y="2399"/>
                </a:lnTo>
                <a:lnTo>
                  <a:pt x="910" y="2397"/>
                </a:lnTo>
                <a:lnTo>
                  <a:pt x="908" y="2396"/>
                </a:lnTo>
                <a:lnTo>
                  <a:pt x="908" y="2394"/>
                </a:lnTo>
                <a:lnTo>
                  <a:pt x="906" y="2392"/>
                </a:lnTo>
                <a:lnTo>
                  <a:pt x="908" y="2392"/>
                </a:lnTo>
                <a:lnTo>
                  <a:pt x="906" y="2392"/>
                </a:lnTo>
                <a:lnTo>
                  <a:pt x="908" y="2392"/>
                </a:lnTo>
                <a:lnTo>
                  <a:pt x="908" y="2390"/>
                </a:lnTo>
                <a:lnTo>
                  <a:pt x="910" y="2390"/>
                </a:lnTo>
                <a:lnTo>
                  <a:pt x="911" y="2390"/>
                </a:lnTo>
                <a:lnTo>
                  <a:pt x="915" y="2390"/>
                </a:lnTo>
                <a:lnTo>
                  <a:pt x="917" y="2389"/>
                </a:lnTo>
                <a:lnTo>
                  <a:pt x="915" y="2389"/>
                </a:lnTo>
                <a:lnTo>
                  <a:pt x="913" y="2389"/>
                </a:lnTo>
                <a:lnTo>
                  <a:pt x="911" y="2390"/>
                </a:lnTo>
                <a:lnTo>
                  <a:pt x="908" y="2390"/>
                </a:lnTo>
                <a:lnTo>
                  <a:pt x="905" y="2390"/>
                </a:lnTo>
                <a:lnTo>
                  <a:pt x="908" y="2390"/>
                </a:lnTo>
                <a:lnTo>
                  <a:pt x="905" y="2390"/>
                </a:lnTo>
                <a:lnTo>
                  <a:pt x="903" y="2390"/>
                </a:lnTo>
                <a:lnTo>
                  <a:pt x="901" y="2390"/>
                </a:lnTo>
                <a:lnTo>
                  <a:pt x="900" y="2390"/>
                </a:lnTo>
                <a:lnTo>
                  <a:pt x="900" y="2387"/>
                </a:lnTo>
                <a:lnTo>
                  <a:pt x="898" y="2387"/>
                </a:lnTo>
                <a:lnTo>
                  <a:pt x="898" y="2385"/>
                </a:lnTo>
                <a:lnTo>
                  <a:pt x="898" y="2384"/>
                </a:lnTo>
                <a:lnTo>
                  <a:pt x="898" y="2382"/>
                </a:lnTo>
                <a:lnTo>
                  <a:pt x="898" y="2380"/>
                </a:lnTo>
                <a:lnTo>
                  <a:pt x="900" y="2379"/>
                </a:lnTo>
                <a:lnTo>
                  <a:pt x="901" y="2375"/>
                </a:lnTo>
                <a:lnTo>
                  <a:pt x="905" y="2375"/>
                </a:lnTo>
                <a:lnTo>
                  <a:pt x="903" y="2373"/>
                </a:lnTo>
                <a:lnTo>
                  <a:pt x="903" y="2375"/>
                </a:lnTo>
                <a:lnTo>
                  <a:pt x="901" y="2373"/>
                </a:lnTo>
                <a:lnTo>
                  <a:pt x="898" y="2373"/>
                </a:lnTo>
                <a:lnTo>
                  <a:pt x="898" y="2375"/>
                </a:lnTo>
                <a:lnTo>
                  <a:pt x="896" y="2375"/>
                </a:lnTo>
                <a:lnTo>
                  <a:pt x="894" y="2373"/>
                </a:lnTo>
                <a:lnTo>
                  <a:pt x="893" y="2373"/>
                </a:lnTo>
                <a:lnTo>
                  <a:pt x="891" y="2373"/>
                </a:lnTo>
                <a:lnTo>
                  <a:pt x="889" y="2372"/>
                </a:lnTo>
                <a:lnTo>
                  <a:pt x="889" y="2370"/>
                </a:lnTo>
                <a:lnTo>
                  <a:pt x="891" y="2368"/>
                </a:lnTo>
                <a:lnTo>
                  <a:pt x="891" y="2367"/>
                </a:lnTo>
                <a:lnTo>
                  <a:pt x="893" y="2365"/>
                </a:lnTo>
                <a:lnTo>
                  <a:pt x="891" y="2365"/>
                </a:lnTo>
                <a:lnTo>
                  <a:pt x="891" y="2363"/>
                </a:lnTo>
                <a:lnTo>
                  <a:pt x="893" y="2362"/>
                </a:lnTo>
                <a:lnTo>
                  <a:pt x="891" y="2362"/>
                </a:lnTo>
                <a:lnTo>
                  <a:pt x="891" y="2360"/>
                </a:lnTo>
                <a:lnTo>
                  <a:pt x="891" y="2358"/>
                </a:lnTo>
                <a:lnTo>
                  <a:pt x="891" y="2360"/>
                </a:lnTo>
                <a:lnTo>
                  <a:pt x="891" y="2356"/>
                </a:lnTo>
                <a:lnTo>
                  <a:pt x="889" y="2358"/>
                </a:lnTo>
                <a:lnTo>
                  <a:pt x="889" y="2356"/>
                </a:lnTo>
                <a:lnTo>
                  <a:pt x="891" y="2355"/>
                </a:lnTo>
                <a:lnTo>
                  <a:pt x="893" y="2355"/>
                </a:lnTo>
                <a:lnTo>
                  <a:pt x="893" y="2351"/>
                </a:lnTo>
                <a:lnTo>
                  <a:pt x="894" y="2350"/>
                </a:lnTo>
                <a:lnTo>
                  <a:pt x="893" y="2350"/>
                </a:lnTo>
                <a:lnTo>
                  <a:pt x="894" y="2348"/>
                </a:lnTo>
                <a:lnTo>
                  <a:pt x="896" y="2346"/>
                </a:lnTo>
                <a:lnTo>
                  <a:pt x="898" y="2345"/>
                </a:lnTo>
                <a:lnTo>
                  <a:pt x="900" y="2343"/>
                </a:lnTo>
                <a:lnTo>
                  <a:pt x="901" y="2343"/>
                </a:lnTo>
                <a:lnTo>
                  <a:pt x="903" y="2341"/>
                </a:lnTo>
                <a:lnTo>
                  <a:pt x="905" y="2341"/>
                </a:lnTo>
                <a:lnTo>
                  <a:pt x="908" y="2339"/>
                </a:lnTo>
                <a:lnTo>
                  <a:pt x="911" y="2338"/>
                </a:lnTo>
                <a:lnTo>
                  <a:pt x="913" y="2338"/>
                </a:lnTo>
                <a:lnTo>
                  <a:pt x="913" y="2336"/>
                </a:lnTo>
                <a:lnTo>
                  <a:pt x="915" y="2338"/>
                </a:lnTo>
                <a:lnTo>
                  <a:pt x="917" y="2336"/>
                </a:lnTo>
                <a:lnTo>
                  <a:pt x="918" y="2336"/>
                </a:lnTo>
                <a:lnTo>
                  <a:pt x="922" y="2336"/>
                </a:lnTo>
                <a:lnTo>
                  <a:pt x="923" y="2336"/>
                </a:lnTo>
                <a:lnTo>
                  <a:pt x="925" y="2336"/>
                </a:lnTo>
                <a:lnTo>
                  <a:pt x="927" y="2336"/>
                </a:lnTo>
                <a:lnTo>
                  <a:pt x="925" y="2336"/>
                </a:lnTo>
                <a:lnTo>
                  <a:pt x="925" y="2338"/>
                </a:lnTo>
                <a:lnTo>
                  <a:pt x="925" y="2339"/>
                </a:lnTo>
                <a:lnTo>
                  <a:pt x="923" y="2339"/>
                </a:lnTo>
                <a:lnTo>
                  <a:pt x="925" y="2341"/>
                </a:lnTo>
                <a:lnTo>
                  <a:pt x="925" y="2343"/>
                </a:lnTo>
                <a:lnTo>
                  <a:pt x="925" y="2341"/>
                </a:lnTo>
                <a:lnTo>
                  <a:pt x="927" y="2341"/>
                </a:lnTo>
                <a:lnTo>
                  <a:pt x="925" y="2339"/>
                </a:lnTo>
                <a:lnTo>
                  <a:pt x="927" y="2341"/>
                </a:lnTo>
                <a:lnTo>
                  <a:pt x="927" y="2339"/>
                </a:lnTo>
                <a:lnTo>
                  <a:pt x="927" y="2341"/>
                </a:lnTo>
                <a:lnTo>
                  <a:pt x="928" y="2341"/>
                </a:lnTo>
                <a:lnTo>
                  <a:pt x="927" y="2339"/>
                </a:lnTo>
                <a:lnTo>
                  <a:pt x="928" y="2341"/>
                </a:lnTo>
                <a:lnTo>
                  <a:pt x="930" y="2341"/>
                </a:lnTo>
                <a:lnTo>
                  <a:pt x="928" y="2341"/>
                </a:lnTo>
                <a:lnTo>
                  <a:pt x="928" y="2339"/>
                </a:lnTo>
                <a:lnTo>
                  <a:pt x="927" y="2339"/>
                </a:lnTo>
                <a:lnTo>
                  <a:pt x="928" y="2339"/>
                </a:lnTo>
                <a:lnTo>
                  <a:pt x="925" y="2338"/>
                </a:lnTo>
                <a:lnTo>
                  <a:pt x="927" y="2338"/>
                </a:lnTo>
                <a:lnTo>
                  <a:pt x="925" y="2336"/>
                </a:lnTo>
                <a:lnTo>
                  <a:pt x="928" y="2338"/>
                </a:lnTo>
                <a:lnTo>
                  <a:pt x="927" y="2336"/>
                </a:lnTo>
                <a:lnTo>
                  <a:pt x="928" y="2336"/>
                </a:lnTo>
                <a:lnTo>
                  <a:pt x="932" y="2338"/>
                </a:lnTo>
                <a:lnTo>
                  <a:pt x="934" y="2336"/>
                </a:lnTo>
                <a:lnTo>
                  <a:pt x="937" y="2336"/>
                </a:lnTo>
                <a:lnTo>
                  <a:pt x="939" y="2336"/>
                </a:lnTo>
                <a:lnTo>
                  <a:pt x="940" y="2336"/>
                </a:lnTo>
                <a:lnTo>
                  <a:pt x="942" y="2334"/>
                </a:lnTo>
                <a:lnTo>
                  <a:pt x="942" y="2336"/>
                </a:lnTo>
                <a:lnTo>
                  <a:pt x="942" y="2334"/>
                </a:lnTo>
                <a:lnTo>
                  <a:pt x="944" y="2334"/>
                </a:lnTo>
                <a:lnTo>
                  <a:pt x="947" y="2334"/>
                </a:lnTo>
                <a:lnTo>
                  <a:pt x="949" y="2333"/>
                </a:lnTo>
                <a:lnTo>
                  <a:pt x="952" y="2334"/>
                </a:lnTo>
                <a:lnTo>
                  <a:pt x="954" y="2336"/>
                </a:lnTo>
                <a:lnTo>
                  <a:pt x="954" y="2334"/>
                </a:lnTo>
                <a:lnTo>
                  <a:pt x="956" y="2334"/>
                </a:lnTo>
                <a:lnTo>
                  <a:pt x="954" y="2338"/>
                </a:lnTo>
                <a:lnTo>
                  <a:pt x="956" y="2339"/>
                </a:lnTo>
                <a:lnTo>
                  <a:pt x="956" y="2341"/>
                </a:lnTo>
                <a:lnTo>
                  <a:pt x="957" y="2343"/>
                </a:lnTo>
                <a:lnTo>
                  <a:pt x="959" y="2345"/>
                </a:lnTo>
                <a:lnTo>
                  <a:pt x="957" y="2343"/>
                </a:lnTo>
                <a:lnTo>
                  <a:pt x="956" y="2343"/>
                </a:lnTo>
                <a:lnTo>
                  <a:pt x="957" y="2345"/>
                </a:lnTo>
                <a:lnTo>
                  <a:pt x="959" y="2345"/>
                </a:lnTo>
                <a:lnTo>
                  <a:pt x="961" y="2345"/>
                </a:lnTo>
                <a:lnTo>
                  <a:pt x="961" y="2346"/>
                </a:lnTo>
                <a:lnTo>
                  <a:pt x="964" y="2345"/>
                </a:lnTo>
                <a:lnTo>
                  <a:pt x="962" y="2346"/>
                </a:lnTo>
                <a:lnTo>
                  <a:pt x="962" y="2348"/>
                </a:lnTo>
                <a:lnTo>
                  <a:pt x="966" y="2350"/>
                </a:lnTo>
                <a:lnTo>
                  <a:pt x="968" y="2350"/>
                </a:lnTo>
                <a:lnTo>
                  <a:pt x="969" y="2348"/>
                </a:lnTo>
                <a:lnTo>
                  <a:pt x="969" y="2346"/>
                </a:lnTo>
                <a:lnTo>
                  <a:pt x="969" y="2345"/>
                </a:lnTo>
                <a:lnTo>
                  <a:pt x="971" y="2345"/>
                </a:lnTo>
                <a:lnTo>
                  <a:pt x="973" y="2345"/>
                </a:lnTo>
                <a:lnTo>
                  <a:pt x="974" y="2346"/>
                </a:lnTo>
                <a:lnTo>
                  <a:pt x="976" y="2346"/>
                </a:lnTo>
                <a:lnTo>
                  <a:pt x="976" y="2350"/>
                </a:lnTo>
                <a:lnTo>
                  <a:pt x="976" y="2351"/>
                </a:lnTo>
                <a:lnTo>
                  <a:pt x="976" y="2350"/>
                </a:lnTo>
                <a:lnTo>
                  <a:pt x="976" y="2348"/>
                </a:lnTo>
                <a:lnTo>
                  <a:pt x="976" y="2346"/>
                </a:lnTo>
                <a:lnTo>
                  <a:pt x="974" y="2346"/>
                </a:lnTo>
                <a:lnTo>
                  <a:pt x="974" y="2345"/>
                </a:lnTo>
                <a:lnTo>
                  <a:pt x="971" y="2343"/>
                </a:lnTo>
                <a:lnTo>
                  <a:pt x="971" y="2345"/>
                </a:lnTo>
                <a:lnTo>
                  <a:pt x="969" y="2343"/>
                </a:lnTo>
                <a:lnTo>
                  <a:pt x="968" y="2343"/>
                </a:lnTo>
                <a:lnTo>
                  <a:pt x="966" y="2343"/>
                </a:lnTo>
                <a:lnTo>
                  <a:pt x="964" y="2343"/>
                </a:lnTo>
                <a:lnTo>
                  <a:pt x="962" y="2343"/>
                </a:lnTo>
                <a:lnTo>
                  <a:pt x="961" y="2343"/>
                </a:lnTo>
                <a:lnTo>
                  <a:pt x="959" y="2341"/>
                </a:lnTo>
                <a:lnTo>
                  <a:pt x="961" y="2339"/>
                </a:lnTo>
                <a:lnTo>
                  <a:pt x="961" y="2336"/>
                </a:lnTo>
                <a:lnTo>
                  <a:pt x="961" y="2333"/>
                </a:lnTo>
                <a:lnTo>
                  <a:pt x="962" y="2329"/>
                </a:lnTo>
                <a:lnTo>
                  <a:pt x="964" y="2329"/>
                </a:lnTo>
                <a:lnTo>
                  <a:pt x="962" y="2329"/>
                </a:lnTo>
                <a:lnTo>
                  <a:pt x="964" y="2331"/>
                </a:lnTo>
                <a:lnTo>
                  <a:pt x="964" y="2329"/>
                </a:lnTo>
                <a:lnTo>
                  <a:pt x="966" y="2329"/>
                </a:lnTo>
                <a:lnTo>
                  <a:pt x="964" y="2326"/>
                </a:lnTo>
                <a:lnTo>
                  <a:pt x="966" y="2324"/>
                </a:lnTo>
                <a:lnTo>
                  <a:pt x="968" y="2322"/>
                </a:lnTo>
                <a:lnTo>
                  <a:pt x="971" y="2321"/>
                </a:lnTo>
                <a:lnTo>
                  <a:pt x="973" y="2319"/>
                </a:lnTo>
                <a:lnTo>
                  <a:pt x="974" y="2319"/>
                </a:lnTo>
                <a:lnTo>
                  <a:pt x="976" y="2319"/>
                </a:lnTo>
                <a:lnTo>
                  <a:pt x="978" y="2319"/>
                </a:lnTo>
                <a:lnTo>
                  <a:pt x="981" y="2319"/>
                </a:lnTo>
                <a:lnTo>
                  <a:pt x="983" y="2321"/>
                </a:lnTo>
                <a:lnTo>
                  <a:pt x="985" y="2319"/>
                </a:lnTo>
                <a:lnTo>
                  <a:pt x="986" y="2319"/>
                </a:lnTo>
                <a:lnTo>
                  <a:pt x="988" y="2319"/>
                </a:lnTo>
                <a:lnTo>
                  <a:pt x="990" y="2319"/>
                </a:lnTo>
                <a:lnTo>
                  <a:pt x="991" y="2319"/>
                </a:lnTo>
                <a:lnTo>
                  <a:pt x="995" y="2317"/>
                </a:lnTo>
                <a:lnTo>
                  <a:pt x="996" y="2317"/>
                </a:lnTo>
                <a:lnTo>
                  <a:pt x="998" y="2317"/>
                </a:lnTo>
                <a:lnTo>
                  <a:pt x="1000" y="2317"/>
                </a:lnTo>
                <a:lnTo>
                  <a:pt x="1003" y="2317"/>
                </a:lnTo>
                <a:lnTo>
                  <a:pt x="1003" y="2319"/>
                </a:lnTo>
                <a:lnTo>
                  <a:pt x="1003" y="2321"/>
                </a:lnTo>
                <a:lnTo>
                  <a:pt x="1003" y="2322"/>
                </a:lnTo>
                <a:lnTo>
                  <a:pt x="1005" y="2322"/>
                </a:lnTo>
                <a:lnTo>
                  <a:pt x="1007" y="2324"/>
                </a:lnTo>
                <a:lnTo>
                  <a:pt x="1007" y="2328"/>
                </a:lnTo>
                <a:lnTo>
                  <a:pt x="1008" y="2329"/>
                </a:lnTo>
                <a:lnTo>
                  <a:pt x="1008" y="2331"/>
                </a:lnTo>
                <a:lnTo>
                  <a:pt x="1008" y="2333"/>
                </a:lnTo>
                <a:lnTo>
                  <a:pt x="1005" y="2333"/>
                </a:lnTo>
                <a:lnTo>
                  <a:pt x="1003" y="2333"/>
                </a:lnTo>
                <a:lnTo>
                  <a:pt x="1005" y="2334"/>
                </a:lnTo>
                <a:lnTo>
                  <a:pt x="1005" y="2336"/>
                </a:lnTo>
                <a:lnTo>
                  <a:pt x="1008" y="2336"/>
                </a:lnTo>
                <a:lnTo>
                  <a:pt x="1008" y="2338"/>
                </a:lnTo>
                <a:lnTo>
                  <a:pt x="1010" y="2339"/>
                </a:lnTo>
                <a:lnTo>
                  <a:pt x="1012" y="2339"/>
                </a:lnTo>
                <a:lnTo>
                  <a:pt x="1013" y="2338"/>
                </a:lnTo>
                <a:lnTo>
                  <a:pt x="1015" y="2336"/>
                </a:lnTo>
                <a:lnTo>
                  <a:pt x="1015" y="2333"/>
                </a:lnTo>
                <a:lnTo>
                  <a:pt x="1015" y="2331"/>
                </a:lnTo>
                <a:lnTo>
                  <a:pt x="1013" y="2331"/>
                </a:lnTo>
                <a:lnTo>
                  <a:pt x="1012" y="2331"/>
                </a:lnTo>
                <a:lnTo>
                  <a:pt x="1012" y="2329"/>
                </a:lnTo>
                <a:lnTo>
                  <a:pt x="1012" y="2328"/>
                </a:lnTo>
                <a:lnTo>
                  <a:pt x="1013" y="2326"/>
                </a:lnTo>
                <a:lnTo>
                  <a:pt x="1015" y="2326"/>
                </a:lnTo>
                <a:lnTo>
                  <a:pt x="1017" y="2326"/>
                </a:lnTo>
                <a:lnTo>
                  <a:pt x="1017" y="2328"/>
                </a:lnTo>
                <a:lnTo>
                  <a:pt x="1019" y="2328"/>
                </a:lnTo>
                <a:lnTo>
                  <a:pt x="1020" y="2329"/>
                </a:lnTo>
                <a:lnTo>
                  <a:pt x="1024" y="2329"/>
                </a:lnTo>
                <a:lnTo>
                  <a:pt x="1025" y="2331"/>
                </a:lnTo>
                <a:lnTo>
                  <a:pt x="1024" y="2333"/>
                </a:lnTo>
                <a:lnTo>
                  <a:pt x="1022" y="2334"/>
                </a:lnTo>
                <a:lnTo>
                  <a:pt x="1022" y="2336"/>
                </a:lnTo>
                <a:lnTo>
                  <a:pt x="1022" y="2339"/>
                </a:lnTo>
                <a:lnTo>
                  <a:pt x="1022" y="2341"/>
                </a:lnTo>
                <a:lnTo>
                  <a:pt x="1022" y="2343"/>
                </a:lnTo>
                <a:lnTo>
                  <a:pt x="1022" y="2345"/>
                </a:lnTo>
                <a:lnTo>
                  <a:pt x="1022" y="2341"/>
                </a:lnTo>
                <a:lnTo>
                  <a:pt x="1022" y="2339"/>
                </a:lnTo>
                <a:lnTo>
                  <a:pt x="1022" y="2338"/>
                </a:lnTo>
                <a:lnTo>
                  <a:pt x="1022" y="2334"/>
                </a:lnTo>
                <a:lnTo>
                  <a:pt x="1024" y="2333"/>
                </a:lnTo>
                <a:lnTo>
                  <a:pt x="1025" y="2333"/>
                </a:lnTo>
                <a:lnTo>
                  <a:pt x="1025" y="2331"/>
                </a:lnTo>
                <a:lnTo>
                  <a:pt x="1025" y="2329"/>
                </a:lnTo>
                <a:lnTo>
                  <a:pt x="1024" y="2328"/>
                </a:lnTo>
                <a:lnTo>
                  <a:pt x="1024" y="2326"/>
                </a:lnTo>
                <a:lnTo>
                  <a:pt x="1022" y="2322"/>
                </a:lnTo>
                <a:lnTo>
                  <a:pt x="1022" y="2319"/>
                </a:lnTo>
                <a:lnTo>
                  <a:pt x="1024" y="2317"/>
                </a:lnTo>
                <a:lnTo>
                  <a:pt x="1024" y="2316"/>
                </a:lnTo>
                <a:lnTo>
                  <a:pt x="1024" y="2314"/>
                </a:lnTo>
                <a:lnTo>
                  <a:pt x="1025" y="2314"/>
                </a:lnTo>
                <a:lnTo>
                  <a:pt x="1025" y="2312"/>
                </a:lnTo>
                <a:lnTo>
                  <a:pt x="1025" y="2309"/>
                </a:lnTo>
                <a:lnTo>
                  <a:pt x="1027" y="2307"/>
                </a:lnTo>
                <a:lnTo>
                  <a:pt x="1029" y="2307"/>
                </a:lnTo>
                <a:lnTo>
                  <a:pt x="1030" y="2305"/>
                </a:lnTo>
                <a:lnTo>
                  <a:pt x="1030" y="2307"/>
                </a:lnTo>
                <a:lnTo>
                  <a:pt x="1032" y="2307"/>
                </a:lnTo>
                <a:lnTo>
                  <a:pt x="1032" y="2309"/>
                </a:lnTo>
                <a:lnTo>
                  <a:pt x="1034" y="2310"/>
                </a:lnTo>
                <a:lnTo>
                  <a:pt x="1036" y="2310"/>
                </a:lnTo>
                <a:lnTo>
                  <a:pt x="1037" y="2310"/>
                </a:lnTo>
                <a:lnTo>
                  <a:pt x="1039" y="2310"/>
                </a:lnTo>
                <a:lnTo>
                  <a:pt x="1041" y="2310"/>
                </a:lnTo>
                <a:lnTo>
                  <a:pt x="1042" y="2310"/>
                </a:lnTo>
                <a:lnTo>
                  <a:pt x="1044" y="2310"/>
                </a:lnTo>
                <a:lnTo>
                  <a:pt x="1046" y="2309"/>
                </a:lnTo>
                <a:lnTo>
                  <a:pt x="1047" y="2309"/>
                </a:lnTo>
                <a:lnTo>
                  <a:pt x="1049" y="2309"/>
                </a:lnTo>
                <a:lnTo>
                  <a:pt x="1051" y="2309"/>
                </a:lnTo>
                <a:lnTo>
                  <a:pt x="1053" y="2309"/>
                </a:lnTo>
                <a:lnTo>
                  <a:pt x="1054" y="2309"/>
                </a:lnTo>
                <a:lnTo>
                  <a:pt x="1058" y="2310"/>
                </a:lnTo>
                <a:lnTo>
                  <a:pt x="1058" y="2314"/>
                </a:lnTo>
                <a:lnTo>
                  <a:pt x="1059" y="2317"/>
                </a:lnTo>
                <a:lnTo>
                  <a:pt x="1061" y="2317"/>
                </a:lnTo>
                <a:lnTo>
                  <a:pt x="1063" y="2321"/>
                </a:lnTo>
                <a:lnTo>
                  <a:pt x="1064" y="2322"/>
                </a:lnTo>
                <a:lnTo>
                  <a:pt x="1064" y="2324"/>
                </a:lnTo>
                <a:lnTo>
                  <a:pt x="1066" y="2326"/>
                </a:lnTo>
                <a:lnTo>
                  <a:pt x="1068" y="2328"/>
                </a:lnTo>
                <a:lnTo>
                  <a:pt x="1070" y="2329"/>
                </a:lnTo>
                <a:lnTo>
                  <a:pt x="1071" y="2331"/>
                </a:lnTo>
                <a:lnTo>
                  <a:pt x="1073" y="2331"/>
                </a:lnTo>
                <a:lnTo>
                  <a:pt x="1075" y="2331"/>
                </a:lnTo>
                <a:lnTo>
                  <a:pt x="1076" y="2333"/>
                </a:lnTo>
                <a:lnTo>
                  <a:pt x="1078" y="2331"/>
                </a:lnTo>
                <a:lnTo>
                  <a:pt x="1080" y="2331"/>
                </a:lnTo>
                <a:lnTo>
                  <a:pt x="1081" y="2331"/>
                </a:lnTo>
                <a:lnTo>
                  <a:pt x="1080" y="2331"/>
                </a:lnTo>
                <a:lnTo>
                  <a:pt x="1076" y="2329"/>
                </a:lnTo>
                <a:lnTo>
                  <a:pt x="1075" y="2329"/>
                </a:lnTo>
                <a:lnTo>
                  <a:pt x="1073" y="2329"/>
                </a:lnTo>
                <a:lnTo>
                  <a:pt x="1071" y="2329"/>
                </a:lnTo>
                <a:lnTo>
                  <a:pt x="1070" y="2328"/>
                </a:lnTo>
                <a:lnTo>
                  <a:pt x="1068" y="2328"/>
                </a:lnTo>
                <a:lnTo>
                  <a:pt x="1066" y="2326"/>
                </a:lnTo>
                <a:lnTo>
                  <a:pt x="1066" y="2324"/>
                </a:lnTo>
                <a:lnTo>
                  <a:pt x="1066" y="2322"/>
                </a:lnTo>
                <a:lnTo>
                  <a:pt x="1066" y="2324"/>
                </a:lnTo>
                <a:lnTo>
                  <a:pt x="1068" y="2324"/>
                </a:lnTo>
                <a:lnTo>
                  <a:pt x="1066" y="2324"/>
                </a:lnTo>
                <a:lnTo>
                  <a:pt x="1066" y="2322"/>
                </a:lnTo>
                <a:lnTo>
                  <a:pt x="1064" y="2319"/>
                </a:lnTo>
                <a:lnTo>
                  <a:pt x="1063" y="2319"/>
                </a:lnTo>
                <a:lnTo>
                  <a:pt x="1063" y="2317"/>
                </a:lnTo>
                <a:lnTo>
                  <a:pt x="1061" y="2317"/>
                </a:lnTo>
                <a:lnTo>
                  <a:pt x="1061" y="2314"/>
                </a:lnTo>
                <a:lnTo>
                  <a:pt x="1059" y="2312"/>
                </a:lnTo>
                <a:lnTo>
                  <a:pt x="1059" y="2310"/>
                </a:lnTo>
                <a:lnTo>
                  <a:pt x="1056" y="2309"/>
                </a:lnTo>
                <a:lnTo>
                  <a:pt x="1056" y="2307"/>
                </a:lnTo>
                <a:lnTo>
                  <a:pt x="1054" y="2307"/>
                </a:lnTo>
                <a:lnTo>
                  <a:pt x="1053" y="2307"/>
                </a:lnTo>
                <a:lnTo>
                  <a:pt x="1051" y="2307"/>
                </a:lnTo>
                <a:lnTo>
                  <a:pt x="1049" y="2307"/>
                </a:lnTo>
                <a:lnTo>
                  <a:pt x="1047" y="2307"/>
                </a:lnTo>
                <a:lnTo>
                  <a:pt x="1046" y="2305"/>
                </a:lnTo>
                <a:lnTo>
                  <a:pt x="1042" y="2307"/>
                </a:lnTo>
                <a:lnTo>
                  <a:pt x="1042" y="2305"/>
                </a:lnTo>
                <a:lnTo>
                  <a:pt x="1041" y="2305"/>
                </a:lnTo>
                <a:lnTo>
                  <a:pt x="1041" y="2304"/>
                </a:lnTo>
                <a:lnTo>
                  <a:pt x="1039" y="2302"/>
                </a:lnTo>
                <a:lnTo>
                  <a:pt x="1039" y="2300"/>
                </a:lnTo>
                <a:lnTo>
                  <a:pt x="1037" y="2297"/>
                </a:lnTo>
                <a:lnTo>
                  <a:pt x="1036" y="2297"/>
                </a:lnTo>
                <a:lnTo>
                  <a:pt x="1039" y="2295"/>
                </a:lnTo>
                <a:lnTo>
                  <a:pt x="1041" y="2297"/>
                </a:lnTo>
                <a:lnTo>
                  <a:pt x="1042" y="2295"/>
                </a:lnTo>
                <a:lnTo>
                  <a:pt x="1042" y="2293"/>
                </a:lnTo>
                <a:lnTo>
                  <a:pt x="1042" y="2292"/>
                </a:lnTo>
                <a:lnTo>
                  <a:pt x="1041" y="2290"/>
                </a:lnTo>
                <a:lnTo>
                  <a:pt x="1037" y="2290"/>
                </a:lnTo>
                <a:lnTo>
                  <a:pt x="1037" y="2288"/>
                </a:lnTo>
                <a:lnTo>
                  <a:pt x="1036" y="2287"/>
                </a:lnTo>
                <a:lnTo>
                  <a:pt x="1036" y="2285"/>
                </a:lnTo>
                <a:lnTo>
                  <a:pt x="1037" y="2283"/>
                </a:lnTo>
                <a:lnTo>
                  <a:pt x="1037" y="2282"/>
                </a:lnTo>
                <a:lnTo>
                  <a:pt x="1041" y="2280"/>
                </a:lnTo>
                <a:lnTo>
                  <a:pt x="1042" y="2276"/>
                </a:lnTo>
                <a:lnTo>
                  <a:pt x="1041" y="2278"/>
                </a:lnTo>
                <a:lnTo>
                  <a:pt x="1039" y="2278"/>
                </a:lnTo>
                <a:lnTo>
                  <a:pt x="1039" y="2280"/>
                </a:lnTo>
                <a:lnTo>
                  <a:pt x="1037" y="2280"/>
                </a:lnTo>
                <a:lnTo>
                  <a:pt x="1037" y="2278"/>
                </a:lnTo>
                <a:lnTo>
                  <a:pt x="1036" y="2278"/>
                </a:lnTo>
                <a:lnTo>
                  <a:pt x="1034" y="2278"/>
                </a:lnTo>
                <a:lnTo>
                  <a:pt x="1032" y="2278"/>
                </a:lnTo>
                <a:lnTo>
                  <a:pt x="1030" y="2280"/>
                </a:lnTo>
                <a:lnTo>
                  <a:pt x="1029" y="2280"/>
                </a:lnTo>
                <a:lnTo>
                  <a:pt x="1027" y="2276"/>
                </a:lnTo>
                <a:lnTo>
                  <a:pt x="1029" y="2278"/>
                </a:lnTo>
                <a:lnTo>
                  <a:pt x="1027" y="2276"/>
                </a:lnTo>
                <a:lnTo>
                  <a:pt x="1029" y="2278"/>
                </a:lnTo>
                <a:lnTo>
                  <a:pt x="1027" y="2278"/>
                </a:lnTo>
                <a:lnTo>
                  <a:pt x="1027" y="2276"/>
                </a:lnTo>
                <a:lnTo>
                  <a:pt x="1027" y="2273"/>
                </a:lnTo>
                <a:lnTo>
                  <a:pt x="1029" y="2275"/>
                </a:lnTo>
                <a:lnTo>
                  <a:pt x="1030" y="2273"/>
                </a:lnTo>
                <a:lnTo>
                  <a:pt x="1029" y="2273"/>
                </a:lnTo>
                <a:lnTo>
                  <a:pt x="1029" y="2271"/>
                </a:lnTo>
                <a:lnTo>
                  <a:pt x="1030" y="2271"/>
                </a:lnTo>
                <a:lnTo>
                  <a:pt x="1030" y="2270"/>
                </a:lnTo>
                <a:lnTo>
                  <a:pt x="1030" y="2271"/>
                </a:lnTo>
                <a:lnTo>
                  <a:pt x="1032" y="2270"/>
                </a:lnTo>
                <a:lnTo>
                  <a:pt x="1034" y="2270"/>
                </a:lnTo>
                <a:lnTo>
                  <a:pt x="1037" y="2270"/>
                </a:lnTo>
                <a:lnTo>
                  <a:pt x="1039" y="2270"/>
                </a:lnTo>
                <a:lnTo>
                  <a:pt x="1041" y="2270"/>
                </a:lnTo>
                <a:lnTo>
                  <a:pt x="1042" y="2266"/>
                </a:lnTo>
                <a:lnTo>
                  <a:pt x="1044" y="2266"/>
                </a:lnTo>
                <a:lnTo>
                  <a:pt x="1044" y="2265"/>
                </a:lnTo>
                <a:lnTo>
                  <a:pt x="1044" y="2263"/>
                </a:lnTo>
                <a:lnTo>
                  <a:pt x="1042" y="2263"/>
                </a:lnTo>
                <a:lnTo>
                  <a:pt x="1041" y="2266"/>
                </a:lnTo>
                <a:lnTo>
                  <a:pt x="1039" y="2266"/>
                </a:lnTo>
                <a:lnTo>
                  <a:pt x="1036" y="2266"/>
                </a:lnTo>
                <a:lnTo>
                  <a:pt x="1036" y="2265"/>
                </a:lnTo>
                <a:lnTo>
                  <a:pt x="1037" y="2263"/>
                </a:lnTo>
                <a:lnTo>
                  <a:pt x="1039" y="2261"/>
                </a:lnTo>
                <a:lnTo>
                  <a:pt x="1039" y="2259"/>
                </a:lnTo>
                <a:lnTo>
                  <a:pt x="1037" y="2261"/>
                </a:lnTo>
                <a:lnTo>
                  <a:pt x="1036" y="2259"/>
                </a:lnTo>
                <a:lnTo>
                  <a:pt x="1037" y="2259"/>
                </a:lnTo>
                <a:lnTo>
                  <a:pt x="1039" y="2259"/>
                </a:lnTo>
                <a:lnTo>
                  <a:pt x="1039" y="2258"/>
                </a:lnTo>
                <a:lnTo>
                  <a:pt x="1037" y="2256"/>
                </a:lnTo>
                <a:lnTo>
                  <a:pt x="1037" y="2253"/>
                </a:lnTo>
                <a:lnTo>
                  <a:pt x="1034" y="2251"/>
                </a:lnTo>
                <a:lnTo>
                  <a:pt x="1034" y="2249"/>
                </a:lnTo>
                <a:lnTo>
                  <a:pt x="1032" y="2248"/>
                </a:lnTo>
                <a:lnTo>
                  <a:pt x="1034" y="2251"/>
                </a:lnTo>
                <a:lnTo>
                  <a:pt x="1032" y="2251"/>
                </a:lnTo>
                <a:lnTo>
                  <a:pt x="1030" y="2251"/>
                </a:lnTo>
                <a:lnTo>
                  <a:pt x="1030" y="2254"/>
                </a:lnTo>
                <a:lnTo>
                  <a:pt x="1027" y="2254"/>
                </a:lnTo>
                <a:lnTo>
                  <a:pt x="1025" y="2256"/>
                </a:lnTo>
                <a:lnTo>
                  <a:pt x="1025" y="2254"/>
                </a:lnTo>
                <a:lnTo>
                  <a:pt x="1029" y="2254"/>
                </a:lnTo>
                <a:lnTo>
                  <a:pt x="1030" y="2253"/>
                </a:lnTo>
                <a:lnTo>
                  <a:pt x="1030" y="2251"/>
                </a:lnTo>
                <a:lnTo>
                  <a:pt x="1032" y="2251"/>
                </a:lnTo>
                <a:lnTo>
                  <a:pt x="1032" y="2248"/>
                </a:lnTo>
                <a:lnTo>
                  <a:pt x="1032" y="2244"/>
                </a:lnTo>
                <a:lnTo>
                  <a:pt x="1030" y="2242"/>
                </a:lnTo>
                <a:lnTo>
                  <a:pt x="1030" y="2241"/>
                </a:lnTo>
                <a:lnTo>
                  <a:pt x="1029" y="2239"/>
                </a:lnTo>
                <a:lnTo>
                  <a:pt x="1029" y="2237"/>
                </a:lnTo>
                <a:lnTo>
                  <a:pt x="1025" y="2237"/>
                </a:lnTo>
                <a:lnTo>
                  <a:pt x="1022" y="2239"/>
                </a:lnTo>
                <a:lnTo>
                  <a:pt x="1020" y="2239"/>
                </a:lnTo>
                <a:lnTo>
                  <a:pt x="1019" y="2237"/>
                </a:lnTo>
                <a:lnTo>
                  <a:pt x="1017" y="2237"/>
                </a:lnTo>
                <a:lnTo>
                  <a:pt x="1017" y="2239"/>
                </a:lnTo>
                <a:lnTo>
                  <a:pt x="1017" y="2242"/>
                </a:lnTo>
                <a:lnTo>
                  <a:pt x="1015" y="2242"/>
                </a:lnTo>
                <a:lnTo>
                  <a:pt x="1017" y="2246"/>
                </a:lnTo>
                <a:lnTo>
                  <a:pt x="1015" y="2246"/>
                </a:lnTo>
                <a:lnTo>
                  <a:pt x="1015" y="2244"/>
                </a:lnTo>
                <a:lnTo>
                  <a:pt x="1015" y="2242"/>
                </a:lnTo>
                <a:lnTo>
                  <a:pt x="1015" y="2239"/>
                </a:lnTo>
                <a:lnTo>
                  <a:pt x="1015" y="2236"/>
                </a:lnTo>
                <a:lnTo>
                  <a:pt x="1017" y="2234"/>
                </a:lnTo>
                <a:lnTo>
                  <a:pt x="1017" y="2232"/>
                </a:lnTo>
                <a:lnTo>
                  <a:pt x="1017" y="2231"/>
                </a:lnTo>
                <a:lnTo>
                  <a:pt x="1019" y="2229"/>
                </a:lnTo>
                <a:lnTo>
                  <a:pt x="1020" y="2225"/>
                </a:lnTo>
                <a:lnTo>
                  <a:pt x="1020" y="2224"/>
                </a:lnTo>
                <a:lnTo>
                  <a:pt x="1024" y="2225"/>
                </a:lnTo>
                <a:lnTo>
                  <a:pt x="1020" y="2225"/>
                </a:lnTo>
                <a:lnTo>
                  <a:pt x="1022" y="2227"/>
                </a:lnTo>
                <a:lnTo>
                  <a:pt x="1020" y="2229"/>
                </a:lnTo>
                <a:lnTo>
                  <a:pt x="1019" y="2231"/>
                </a:lnTo>
                <a:lnTo>
                  <a:pt x="1019" y="2234"/>
                </a:lnTo>
                <a:lnTo>
                  <a:pt x="1020" y="2236"/>
                </a:lnTo>
                <a:lnTo>
                  <a:pt x="1022" y="2237"/>
                </a:lnTo>
                <a:lnTo>
                  <a:pt x="1024" y="2237"/>
                </a:lnTo>
                <a:lnTo>
                  <a:pt x="1025" y="2237"/>
                </a:lnTo>
                <a:lnTo>
                  <a:pt x="1027" y="2237"/>
                </a:lnTo>
                <a:lnTo>
                  <a:pt x="1029" y="2236"/>
                </a:lnTo>
                <a:lnTo>
                  <a:pt x="1030" y="2236"/>
                </a:lnTo>
                <a:lnTo>
                  <a:pt x="1030" y="2234"/>
                </a:lnTo>
                <a:lnTo>
                  <a:pt x="1030" y="2232"/>
                </a:lnTo>
                <a:lnTo>
                  <a:pt x="1030" y="2231"/>
                </a:lnTo>
                <a:lnTo>
                  <a:pt x="1030" y="2229"/>
                </a:lnTo>
                <a:lnTo>
                  <a:pt x="1030" y="2225"/>
                </a:lnTo>
                <a:lnTo>
                  <a:pt x="1030" y="2222"/>
                </a:lnTo>
                <a:lnTo>
                  <a:pt x="1032" y="2219"/>
                </a:lnTo>
                <a:lnTo>
                  <a:pt x="1030" y="2219"/>
                </a:lnTo>
                <a:lnTo>
                  <a:pt x="1029" y="2219"/>
                </a:lnTo>
                <a:lnTo>
                  <a:pt x="1027" y="2219"/>
                </a:lnTo>
                <a:lnTo>
                  <a:pt x="1027" y="2220"/>
                </a:lnTo>
                <a:lnTo>
                  <a:pt x="1027" y="2222"/>
                </a:lnTo>
                <a:lnTo>
                  <a:pt x="1025" y="2224"/>
                </a:lnTo>
                <a:lnTo>
                  <a:pt x="1024" y="2222"/>
                </a:lnTo>
                <a:lnTo>
                  <a:pt x="1024" y="2219"/>
                </a:lnTo>
                <a:lnTo>
                  <a:pt x="1024" y="2217"/>
                </a:lnTo>
                <a:lnTo>
                  <a:pt x="1025" y="2214"/>
                </a:lnTo>
                <a:lnTo>
                  <a:pt x="1025" y="2215"/>
                </a:lnTo>
                <a:lnTo>
                  <a:pt x="1025" y="2214"/>
                </a:lnTo>
                <a:lnTo>
                  <a:pt x="1029" y="2215"/>
                </a:lnTo>
                <a:lnTo>
                  <a:pt x="1027" y="2217"/>
                </a:lnTo>
                <a:lnTo>
                  <a:pt x="1030" y="2219"/>
                </a:lnTo>
                <a:lnTo>
                  <a:pt x="1032" y="2217"/>
                </a:lnTo>
                <a:lnTo>
                  <a:pt x="1032" y="2215"/>
                </a:lnTo>
                <a:lnTo>
                  <a:pt x="1032" y="2214"/>
                </a:lnTo>
                <a:lnTo>
                  <a:pt x="1030" y="2214"/>
                </a:lnTo>
                <a:lnTo>
                  <a:pt x="1032" y="2210"/>
                </a:lnTo>
                <a:lnTo>
                  <a:pt x="1030" y="2210"/>
                </a:lnTo>
                <a:lnTo>
                  <a:pt x="1030" y="2207"/>
                </a:lnTo>
                <a:lnTo>
                  <a:pt x="1029" y="2208"/>
                </a:lnTo>
                <a:lnTo>
                  <a:pt x="1027" y="2210"/>
                </a:lnTo>
                <a:lnTo>
                  <a:pt x="1025" y="2208"/>
                </a:lnTo>
                <a:lnTo>
                  <a:pt x="1027" y="2208"/>
                </a:lnTo>
                <a:lnTo>
                  <a:pt x="1029" y="2208"/>
                </a:lnTo>
                <a:lnTo>
                  <a:pt x="1032" y="2207"/>
                </a:lnTo>
                <a:lnTo>
                  <a:pt x="1032" y="2205"/>
                </a:lnTo>
                <a:lnTo>
                  <a:pt x="1030" y="2203"/>
                </a:lnTo>
                <a:lnTo>
                  <a:pt x="1030" y="2202"/>
                </a:lnTo>
                <a:lnTo>
                  <a:pt x="1030" y="2200"/>
                </a:lnTo>
                <a:lnTo>
                  <a:pt x="1030" y="2198"/>
                </a:lnTo>
                <a:lnTo>
                  <a:pt x="1027" y="2197"/>
                </a:lnTo>
                <a:lnTo>
                  <a:pt x="1024" y="2197"/>
                </a:lnTo>
                <a:lnTo>
                  <a:pt x="1022" y="2197"/>
                </a:lnTo>
                <a:lnTo>
                  <a:pt x="1022" y="2195"/>
                </a:lnTo>
                <a:lnTo>
                  <a:pt x="1020" y="2193"/>
                </a:lnTo>
                <a:lnTo>
                  <a:pt x="1020" y="2191"/>
                </a:lnTo>
                <a:lnTo>
                  <a:pt x="1019" y="2190"/>
                </a:lnTo>
                <a:lnTo>
                  <a:pt x="1017" y="2188"/>
                </a:lnTo>
                <a:lnTo>
                  <a:pt x="1019" y="2188"/>
                </a:lnTo>
                <a:lnTo>
                  <a:pt x="1017" y="2186"/>
                </a:lnTo>
                <a:lnTo>
                  <a:pt x="1015" y="2188"/>
                </a:lnTo>
                <a:lnTo>
                  <a:pt x="1015" y="2190"/>
                </a:lnTo>
                <a:lnTo>
                  <a:pt x="1017" y="2191"/>
                </a:lnTo>
                <a:lnTo>
                  <a:pt x="1015" y="2191"/>
                </a:lnTo>
                <a:lnTo>
                  <a:pt x="1017" y="2193"/>
                </a:lnTo>
                <a:lnTo>
                  <a:pt x="1017" y="2195"/>
                </a:lnTo>
                <a:lnTo>
                  <a:pt x="1015" y="2193"/>
                </a:lnTo>
                <a:lnTo>
                  <a:pt x="1013" y="2191"/>
                </a:lnTo>
                <a:lnTo>
                  <a:pt x="1012" y="2191"/>
                </a:lnTo>
                <a:lnTo>
                  <a:pt x="1012" y="2190"/>
                </a:lnTo>
                <a:lnTo>
                  <a:pt x="1008" y="2190"/>
                </a:lnTo>
                <a:lnTo>
                  <a:pt x="1008" y="2188"/>
                </a:lnTo>
                <a:lnTo>
                  <a:pt x="1010" y="2186"/>
                </a:lnTo>
                <a:lnTo>
                  <a:pt x="1010" y="2183"/>
                </a:lnTo>
                <a:lnTo>
                  <a:pt x="1012" y="2183"/>
                </a:lnTo>
                <a:lnTo>
                  <a:pt x="1012" y="2180"/>
                </a:lnTo>
                <a:lnTo>
                  <a:pt x="1012" y="2178"/>
                </a:lnTo>
                <a:lnTo>
                  <a:pt x="1013" y="2176"/>
                </a:lnTo>
                <a:lnTo>
                  <a:pt x="1013" y="2174"/>
                </a:lnTo>
                <a:lnTo>
                  <a:pt x="1013" y="2171"/>
                </a:lnTo>
                <a:lnTo>
                  <a:pt x="1012" y="2169"/>
                </a:lnTo>
                <a:lnTo>
                  <a:pt x="1012" y="2168"/>
                </a:lnTo>
                <a:lnTo>
                  <a:pt x="1012" y="2166"/>
                </a:lnTo>
                <a:lnTo>
                  <a:pt x="1012" y="2163"/>
                </a:lnTo>
                <a:lnTo>
                  <a:pt x="1012" y="2159"/>
                </a:lnTo>
                <a:lnTo>
                  <a:pt x="1010" y="2157"/>
                </a:lnTo>
                <a:lnTo>
                  <a:pt x="1012" y="2159"/>
                </a:lnTo>
                <a:lnTo>
                  <a:pt x="1012" y="2161"/>
                </a:lnTo>
                <a:lnTo>
                  <a:pt x="1013" y="2163"/>
                </a:lnTo>
                <a:lnTo>
                  <a:pt x="1013" y="2164"/>
                </a:lnTo>
                <a:lnTo>
                  <a:pt x="1013" y="2168"/>
                </a:lnTo>
                <a:lnTo>
                  <a:pt x="1013" y="2169"/>
                </a:lnTo>
                <a:lnTo>
                  <a:pt x="1013" y="2171"/>
                </a:lnTo>
                <a:lnTo>
                  <a:pt x="1013" y="2169"/>
                </a:lnTo>
                <a:lnTo>
                  <a:pt x="1015" y="2168"/>
                </a:lnTo>
                <a:lnTo>
                  <a:pt x="1015" y="2166"/>
                </a:lnTo>
                <a:lnTo>
                  <a:pt x="1015" y="2168"/>
                </a:lnTo>
                <a:lnTo>
                  <a:pt x="1017" y="2166"/>
                </a:lnTo>
                <a:lnTo>
                  <a:pt x="1017" y="2169"/>
                </a:lnTo>
                <a:lnTo>
                  <a:pt x="1019" y="2168"/>
                </a:lnTo>
                <a:lnTo>
                  <a:pt x="1020" y="2166"/>
                </a:lnTo>
                <a:lnTo>
                  <a:pt x="1022" y="2164"/>
                </a:lnTo>
                <a:lnTo>
                  <a:pt x="1020" y="2164"/>
                </a:lnTo>
                <a:lnTo>
                  <a:pt x="1022" y="2164"/>
                </a:lnTo>
                <a:lnTo>
                  <a:pt x="1020" y="2164"/>
                </a:lnTo>
                <a:lnTo>
                  <a:pt x="1022" y="2163"/>
                </a:lnTo>
                <a:lnTo>
                  <a:pt x="1020" y="2163"/>
                </a:lnTo>
                <a:lnTo>
                  <a:pt x="1020" y="2161"/>
                </a:lnTo>
                <a:lnTo>
                  <a:pt x="1019" y="2159"/>
                </a:lnTo>
                <a:lnTo>
                  <a:pt x="1019" y="2156"/>
                </a:lnTo>
                <a:lnTo>
                  <a:pt x="1019" y="2154"/>
                </a:lnTo>
                <a:lnTo>
                  <a:pt x="1017" y="2152"/>
                </a:lnTo>
                <a:lnTo>
                  <a:pt x="1015" y="2152"/>
                </a:lnTo>
                <a:lnTo>
                  <a:pt x="1013" y="2151"/>
                </a:lnTo>
                <a:lnTo>
                  <a:pt x="1012" y="2151"/>
                </a:lnTo>
                <a:lnTo>
                  <a:pt x="1012" y="2152"/>
                </a:lnTo>
                <a:lnTo>
                  <a:pt x="1012" y="2154"/>
                </a:lnTo>
                <a:lnTo>
                  <a:pt x="1012" y="2156"/>
                </a:lnTo>
                <a:lnTo>
                  <a:pt x="1012" y="2157"/>
                </a:lnTo>
                <a:lnTo>
                  <a:pt x="1010" y="2157"/>
                </a:lnTo>
                <a:lnTo>
                  <a:pt x="1010" y="2156"/>
                </a:lnTo>
                <a:lnTo>
                  <a:pt x="1010" y="2154"/>
                </a:lnTo>
                <a:lnTo>
                  <a:pt x="1010" y="2151"/>
                </a:lnTo>
                <a:lnTo>
                  <a:pt x="1012" y="2149"/>
                </a:lnTo>
                <a:lnTo>
                  <a:pt x="1012" y="2147"/>
                </a:lnTo>
                <a:lnTo>
                  <a:pt x="1012" y="2145"/>
                </a:lnTo>
                <a:lnTo>
                  <a:pt x="1012" y="2144"/>
                </a:lnTo>
                <a:lnTo>
                  <a:pt x="1012" y="2142"/>
                </a:lnTo>
                <a:lnTo>
                  <a:pt x="1012" y="2140"/>
                </a:lnTo>
                <a:lnTo>
                  <a:pt x="1012" y="2139"/>
                </a:lnTo>
                <a:lnTo>
                  <a:pt x="1012" y="2137"/>
                </a:lnTo>
                <a:lnTo>
                  <a:pt x="1012" y="2135"/>
                </a:lnTo>
                <a:lnTo>
                  <a:pt x="1012" y="2134"/>
                </a:lnTo>
                <a:lnTo>
                  <a:pt x="1012" y="2132"/>
                </a:lnTo>
                <a:lnTo>
                  <a:pt x="1012" y="2135"/>
                </a:lnTo>
                <a:lnTo>
                  <a:pt x="1013" y="2135"/>
                </a:lnTo>
                <a:lnTo>
                  <a:pt x="1017" y="2135"/>
                </a:lnTo>
                <a:lnTo>
                  <a:pt x="1017" y="2139"/>
                </a:lnTo>
                <a:lnTo>
                  <a:pt x="1019" y="2135"/>
                </a:lnTo>
                <a:lnTo>
                  <a:pt x="1017" y="2135"/>
                </a:lnTo>
                <a:lnTo>
                  <a:pt x="1019" y="2135"/>
                </a:lnTo>
                <a:lnTo>
                  <a:pt x="1017" y="2134"/>
                </a:lnTo>
                <a:lnTo>
                  <a:pt x="1015" y="2132"/>
                </a:lnTo>
                <a:lnTo>
                  <a:pt x="1013" y="2130"/>
                </a:lnTo>
                <a:lnTo>
                  <a:pt x="1013" y="2128"/>
                </a:lnTo>
                <a:lnTo>
                  <a:pt x="1012" y="2128"/>
                </a:lnTo>
                <a:lnTo>
                  <a:pt x="1012" y="2130"/>
                </a:lnTo>
                <a:lnTo>
                  <a:pt x="1012" y="2132"/>
                </a:lnTo>
                <a:lnTo>
                  <a:pt x="1012" y="2130"/>
                </a:lnTo>
                <a:lnTo>
                  <a:pt x="1012" y="2128"/>
                </a:lnTo>
                <a:lnTo>
                  <a:pt x="1012" y="2125"/>
                </a:lnTo>
                <a:lnTo>
                  <a:pt x="1012" y="2123"/>
                </a:lnTo>
                <a:lnTo>
                  <a:pt x="1012" y="2122"/>
                </a:lnTo>
                <a:lnTo>
                  <a:pt x="1012" y="2118"/>
                </a:lnTo>
                <a:lnTo>
                  <a:pt x="1013" y="2115"/>
                </a:lnTo>
                <a:lnTo>
                  <a:pt x="1013" y="2113"/>
                </a:lnTo>
                <a:lnTo>
                  <a:pt x="1013" y="2111"/>
                </a:lnTo>
                <a:lnTo>
                  <a:pt x="1015" y="2110"/>
                </a:lnTo>
                <a:lnTo>
                  <a:pt x="1017" y="2108"/>
                </a:lnTo>
                <a:lnTo>
                  <a:pt x="1017" y="2110"/>
                </a:lnTo>
                <a:lnTo>
                  <a:pt x="1015" y="2111"/>
                </a:lnTo>
                <a:lnTo>
                  <a:pt x="1017" y="2111"/>
                </a:lnTo>
                <a:lnTo>
                  <a:pt x="1017" y="2113"/>
                </a:lnTo>
                <a:lnTo>
                  <a:pt x="1015" y="2111"/>
                </a:lnTo>
                <a:lnTo>
                  <a:pt x="1015" y="2113"/>
                </a:lnTo>
                <a:lnTo>
                  <a:pt x="1017" y="2115"/>
                </a:lnTo>
                <a:lnTo>
                  <a:pt x="1015" y="2115"/>
                </a:lnTo>
                <a:lnTo>
                  <a:pt x="1017" y="2115"/>
                </a:lnTo>
                <a:lnTo>
                  <a:pt x="1017" y="2117"/>
                </a:lnTo>
                <a:lnTo>
                  <a:pt x="1019" y="2117"/>
                </a:lnTo>
                <a:lnTo>
                  <a:pt x="1019" y="2118"/>
                </a:lnTo>
                <a:lnTo>
                  <a:pt x="1019" y="2120"/>
                </a:lnTo>
                <a:lnTo>
                  <a:pt x="1020" y="2118"/>
                </a:lnTo>
                <a:lnTo>
                  <a:pt x="1022" y="2118"/>
                </a:lnTo>
                <a:lnTo>
                  <a:pt x="1025" y="2120"/>
                </a:lnTo>
                <a:lnTo>
                  <a:pt x="1027" y="2120"/>
                </a:lnTo>
                <a:lnTo>
                  <a:pt x="1029" y="2120"/>
                </a:lnTo>
                <a:lnTo>
                  <a:pt x="1029" y="2118"/>
                </a:lnTo>
                <a:lnTo>
                  <a:pt x="1030" y="2120"/>
                </a:lnTo>
                <a:lnTo>
                  <a:pt x="1030" y="2122"/>
                </a:lnTo>
                <a:lnTo>
                  <a:pt x="1030" y="2123"/>
                </a:lnTo>
                <a:lnTo>
                  <a:pt x="1029" y="2123"/>
                </a:lnTo>
                <a:lnTo>
                  <a:pt x="1027" y="2125"/>
                </a:lnTo>
                <a:lnTo>
                  <a:pt x="1029" y="2123"/>
                </a:lnTo>
                <a:lnTo>
                  <a:pt x="1030" y="2123"/>
                </a:lnTo>
                <a:lnTo>
                  <a:pt x="1032" y="2125"/>
                </a:lnTo>
                <a:lnTo>
                  <a:pt x="1034" y="2125"/>
                </a:lnTo>
                <a:lnTo>
                  <a:pt x="1036" y="2125"/>
                </a:lnTo>
                <a:lnTo>
                  <a:pt x="1036" y="2123"/>
                </a:lnTo>
                <a:lnTo>
                  <a:pt x="1036" y="2122"/>
                </a:lnTo>
                <a:lnTo>
                  <a:pt x="1037" y="2120"/>
                </a:lnTo>
                <a:lnTo>
                  <a:pt x="1036" y="2118"/>
                </a:lnTo>
                <a:lnTo>
                  <a:pt x="1034" y="2117"/>
                </a:lnTo>
                <a:lnTo>
                  <a:pt x="1034" y="2115"/>
                </a:lnTo>
                <a:lnTo>
                  <a:pt x="1036" y="2115"/>
                </a:lnTo>
                <a:lnTo>
                  <a:pt x="1037" y="2113"/>
                </a:lnTo>
                <a:lnTo>
                  <a:pt x="1037" y="2111"/>
                </a:lnTo>
                <a:lnTo>
                  <a:pt x="1039" y="2110"/>
                </a:lnTo>
                <a:lnTo>
                  <a:pt x="1041" y="2111"/>
                </a:lnTo>
                <a:lnTo>
                  <a:pt x="1042" y="2110"/>
                </a:lnTo>
                <a:lnTo>
                  <a:pt x="1042" y="2108"/>
                </a:lnTo>
                <a:lnTo>
                  <a:pt x="1041" y="2110"/>
                </a:lnTo>
                <a:lnTo>
                  <a:pt x="1039" y="2110"/>
                </a:lnTo>
                <a:lnTo>
                  <a:pt x="1041" y="2106"/>
                </a:lnTo>
                <a:lnTo>
                  <a:pt x="1041" y="2105"/>
                </a:lnTo>
                <a:lnTo>
                  <a:pt x="1042" y="2105"/>
                </a:lnTo>
                <a:lnTo>
                  <a:pt x="1044" y="2103"/>
                </a:lnTo>
                <a:lnTo>
                  <a:pt x="1047" y="2105"/>
                </a:lnTo>
                <a:lnTo>
                  <a:pt x="1047" y="2103"/>
                </a:lnTo>
                <a:lnTo>
                  <a:pt x="1049" y="2103"/>
                </a:lnTo>
                <a:lnTo>
                  <a:pt x="1051" y="2103"/>
                </a:lnTo>
                <a:lnTo>
                  <a:pt x="1051" y="2105"/>
                </a:lnTo>
                <a:lnTo>
                  <a:pt x="1051" y="2106"/>
                </a:lnTo>
                <a:lnTo>
                  <a:pt x="1053" y="2110"/>
                </a:lnTo>
                <a:lnTo>
                  <a:pt x="1049" y="2111"/>
                </a:lnTo>
                <a:lnTo>
                  <a:pt x="1051" y="2113"/>
                </a:lnTo>
                <a:lnTo>
                  <a:pt x="1047" y="2115"/>
                </a:lnTo>
                <a:lnTo>
                  <a:pt x="1047" y="2117"/>
                </a:lnTo>
                <a:lnTo>
                  <a:pt x="1047" y="2118"/>
                </a:lnTo>
                <a:lnTo>
                  <a:pt x="1047" y="2120"/>
                </a:lnTo>
                <a:lnTo>
                  <a:pt x="1049" y="2120"/>
                </a:lnTo>
                <a:lnTo>
                  <a:pt x="1049" y="2118"/>
                </a:lnTo>
                <a:lnTo>
                  <a:pt x="1049" y="2117"/>
                </a:lnTo>
                <a:lnTo>
                  <a:pt x="1053" y="2117"/>
                </a:lnTo>
                <a:lnTo>
                  <a:pt x="1051" y="2115"/>
                </a:lnTo>
                <a:lnTo>
                  <a:pt x="1053" y="2113"/>
                </a:lnTo>
                <a:lnTo>
                  <a:pt x="1053" y="2115"/>
                </a:lnTo>
                <a:lnTo>
                  <a:pt x="1054" y="2115"/>
                </a:lnTo>
                <a:lnTo>
                  <a:pt x="1058" y="2115"/>
                </a:lnTo>
                <a:lnTo>
                  <a:pt x="1058" y="2117"/>
                </a:lnTo>
                <a:lnTo>
                  <a:pt x="1056" y="2118"/>
                </a:lnTo>
                <a:lnTo>
                  <a:pt x="1056" y="2122"/>
                </a:lnTo>
                <a:lnTo>
                  <a:pt x="1058" y="2122"/>
                </a:lnTo>
                <a:lnTo>
                  <a:pt x="1059" y="2122"/>
                </a:lnTo>
                <a:lnTo>
                  <a:pt x="1061" y="2122"/>
                </a:lnTo>
                <a:lnTo>
                  <a:pt x="1061" y="2120"/>
                </a:lnTo>
                <a:lnTo>
                  <a:pt x="1059" y="2120"/>
                </a:lnTo>
                <a:lnTo>
                  <a:pt x="1058" y="2120"/>
                </a:lnTo>
                <a:lnTo>
                  <a:pt x="1058" y="2117"/>
                </a:lnTo>
                <a:lnTo>
                  <a:pt x="1059" y="2113"/>
                </a:lnTo>
                <a:lnTo>
                  <a:pt x="1058" y="2110"/>
                </a:lnTo>
                <a:lnTo>
                  <a:pt x="1056" y="2110"/>
                </a:lnTo>
                <a:lnTo>
                  <a:pt x="1056" y="2111"/>
                </a:lnTo>
                <a:lnTo>
                  <a:pt x="1053" y="2111"/>
                </a:lnTo>
                <a:lnTo>
                  <a:pt x="1054" y="2108"/>
                </a:lnTo>
                <a:lnTo>
                  <a:pt x="1056" y="2106"/>
                </a:lnTo>
                <a:lnTo>
                  <a:pt x="1054" y="2105"/>
                </a:lnTo>
                <a:lnTo>
                  <a:pt x="1053" y="2103"/>
                </a:lnTo>
                <a:lnTo>
                  <a:pt x="1054" y="2101"/>
                </a:lnTo>
                <a:lnTo>
                  <a:pt x="1054" y="2100"/>
                </a:lnTo>
                <a:lnTo>
                  <a:pt x="1054" y="2098"/>
                </a:lnTo>
                <a:lnTo>
                  <a:pt x="1053" y="2096"/>
                </a:lnTo>
                <a:lnTo>
                  <a:pt x="1053" y="2094"/>
                </a:lnTo>
                <a:lnTo>
                  <a:pt x="1054" y="2093"/>
                </a:lnTo>
                <a:lnTo>
                  <a:pt x="1056" y="2093"/>
                </a:lnTo>
                <a:lnTo>
                  <a:pt x="1056" y="2091"/>
                </a:lnTo>
                <a:lnTo>
                  <a:pt x="1058" y="2091"/>
                </a:lnTo>
                <a:lnTo>
                  <a:pt x="1058" y="2089"/>
                </a:lnTo>
                <a:lnTo>
                  <a:pt x="1059" y="2088"/>
                </a:lnTo>
                <a:lnTo>
                  <a:pt x="1063" y="2088"/>
                </a:lnTo>
                <a:lnTo>
                  <a:pt x="1064" y="2088"/>
                </a:lnTo>
                <a:lnTo>
                  <a:pt x="1068" y="2089"/>
                </a:lnTo>
                <a:lnTo>
                  <a:pt x="1070" y="2089"/>
                </a:lnTo>
                <a:lnTo>
                  <a:pt x="1068" y="2091"/>
                </a:lnTo>
                <a:lnTo>
                  <a:pt x="1068" y="2093"/>
                </a:lnTo>
                <a:lnTo>
                  <a:pt x="1068" y="2094"/>
                </a:lnTo>
                <a:lnTo>
                  <a:pt x="1068" y="2091"/>
                </a:lnTo>
                <a:lnTo>
                  <a:pt x="1070" y="2091"/>
                </a:lnTo>
                <a:lnTo>
                  <a:pt x="1071" y="2089"/>
                </a:lnTo>
                <a:lnTo>
                  <a:pt x="1073" y="2088"/>
                </a:lnTo>
                <a:lnTo>
                  <a:pt x="1073" y="2086"/>
                </a:lnTo>
                <a:lnTo>
                  <a:pt x="1075" y="2086"/>
                </a:lnTo>
                <a:lnTo>
                  <a:pt x="1076" y="2086"/>
                </a:lnTo>
                <a:lnTo>
                  <a:pt x="1078" y="2086"/>
                </a:lnTo>
                <a:lnTo>
                  <a:pt x="1081" y="2084"/>
                </a:lnTo>
                <a:lnTo>
                  <a:pt x="1083" y="2086"/>
                </a:lnTo>
                <a:lnTo>
                  <a:pt x="1085" y="2084"/>
                </a:lnTo>
                <a:lnTo>
                  <a:pt x="1087" y="2086"/>
                </a:lnTo>
                <a:lnTo>
                  <a:pt x="1088" y="2088"/>
                </a:lnTo>
                <a:lnTo>
                  <a:pt x="1090" y="2088"/>
                </a:lnTo>
                <a:lnTo>
                  <a:pt x="1092" y="2089"/>
                </a:lnTo>
                <a:lnTo>
                  <a:pt x="1093" y="2091"/>
                </a:lnTo>
                <a:lnTo>
                  <a:pt x="1097" y="2089"/>
                </a:lnTo>
                <a:lnTo>
                  <a:pt x="1095" y="2091"/>
                </a:lnTo>
                <a:lnTo>
                  <a:pt x="1095" y="2093"/>
                </a:lnTo>
                <a:lnTo>
                  <a:pt x="1095" y="2096"/>
                </a:lnTo>
                <a:lnTo>
                  <a:pt x="1095" y="2098"/>
                </a:lnTo>
                <a:lnTo>
                  <a:pt x="1095" y="2100"/>
                </a:lnTo>
                <a:lnTo>
                  <a:pt x="1095" y="2103"/>
                </a:lnTo>
                <a:lnTo>
                  <a:pt x="1095" y="2105"/>
                </a:lnTo>
                <a:lnTo>
                  <a:pt x="1097" y="2106"/>
                </a:lnTo>
                <a:lnTo>
                  <a:pt x="1097" y="2108"/>
                </a:lnTo>
                <a:lnTo>
                  <a:pt x="1097" y="2110"/>
                </a:lnTo>
                <a:lnTo>
                  <a:pt x="1093" y="2108"/>
                </a:lnTo>
                <a:lnTo>
                  <a:pt x="1092" y="2110"/>
                </a:lnTo>
                <a:lnTo>
                  <a:pt x="1090" y="2108"/>
                </a:lnTo>
                <a:lnTo>
                  <a:pt x="1090" y="2110"/>
                </a:lnTo>
                <a:lnTo>
                  <a:pt x="1088" y="2110"/>
                </a:lnTo>
                <a:lnTo>
                  <a:pt x="1085" y="2110"/>
                </a:lnTo>
                <a:lnTo>
                  <a:pt x="1085" y="2111"/>
                </a:lnTo>
                <a:lnTo>
                  <a:pt x="1083" y="2113"/>
                </a:lnTo>
                <a:lnTo>
                  <a:pt x="1081" y="2113"/>
                </a:lnTo>
                <a:lnTo>
                  <a:pt x="1078" y="2113"/>
                </a:lnTo>
                <a:lnTo>
                  <a:pt x="1076" y="2115"/>
                </a:lnTo>
                <a:lnTo>
                  <a:pt x="1078" y="2115"/>
                </a:lnTo>
                <a:lnTo>
                  <a:pt x="1080" y="2113"/>
                </a:lnTo>
                <a:lnTo>
                  <a:pt x="1083" y="2113"/>
                </a:lnTo>
                <a:lnTo>
                  <a:pt x="1085" y="2113"/>
                </a:lnTo>
                <a:lnTo>
                  <a:pt x="1087" y="2111"/>
                </a:lnTo>
                <a:lnTo>
                  <a:pt x="1088" y="2111"/>
                </a:lnTo>
                <a:lnTo>
                  <a:pt x="1090" y="2110"/>
                </a:lnTo>
                <a:lnTo>
                  <a:pt x="1092" y="2110"/>
                </a:lnTo>
                <a:lnTo>
                  <a:pt x="1093" y="2111"/>
                </a:lnTo>
                <a:lnTo>
                  <a:pt x="1095" y="2110"/>
                </a:lnTo>
                <a:lnTo>
                  <a:pt x="1098" y="2110"/>
                </a:lnTo>
                <a:lnTo>
                  <a:pt x="1098" y="2113"/>
                </a:lnTo>
                <a:lnTo>
                  <a:pt x="1098" y="2115"/>
                </a:lnTo>
                <a:lnTo>
                  <a:pt x="1097" y="2117"/>
                </a:lnTo>
                <a:lnTo>
                  <a:pt x="1095" y="2117"/>
                </a:lnTo>
                <a:lnTo>
                  <a:pt x="1095" y="2118"/>
                </a:lnTo>
                <a:lnTo>
                  <a:pt x="1093" y="2118"/>
                </a:lnTo>
                <a:lnTo>
                  <a:pt x="1093" y="2120"/>
                </a:lnTo>
                <a:lnTo>
                  <a:pt x="1093" y="2122"/>
                </a:lnTo>
                <a:lnTo>
                  <a:pt x="1093" y="2123"/>
                </a:lnTo>
                <a:lnTo>
                  <a:pt x="1093" y="2125"/>
                </a:lnTo>
                <a:lnTo>
                  <a:pt x="1092" y="2127"/>
                </a:lnTo>
                <a:lnTo>
                  <a:pt x="1090" y="2127"/>
                </a:lnTo>
                <a:lnTo>
                  <a:pt x="1088" y="2127"/>
                </a:lnTo>
                <a:lnTo>
                  <a:pt x="1087" y="2127"/>
                </a:lnTo>
                <a:lnTo>
                  <a:pt x="1088" y="2127"/>
                </a:lnTo>
                <a:lnTo>
                  <a:pt x="1090" y="2127"/>
                </a:lnTo>
                <a:lnTo>
                  <a:pt x="1092" y="2127"/>
                </a:lnTo>
                <a:lnTo>
                  <a:pt x="1093" y="2125"/>
                </a:lnTo>
                <a:lnTo>
                  <a:pt x="1095" y="2127"/>
                </a:lnTo>
                <a:lnTo>
                  <a:pt x="1097" y="2127"/>
                </a:lnTo>
                <a:lnTo>
                  <a:pt x="1095" y="2127"/>
                </a:lnTo>
                <a:lnTo>
                  <a:pt x="1093" y="2125"/>
                </a:lnTo>
                <a:lnTo>
                  <a:pt x="1093" y="2123"/>
                </a:lnTo>
                <a:lnTo>
                  <a:pt x="1093" y="2122"/>
                </a:lnTo>
                <a:lnTo>
                  <a:pt x="1095" y="2120"/>
                </a:lnTo>
                <a:lnTo>
                  <a:pt x="1095" y="2118"/>
                </a:lnTo>
                <a:lnTo>
                  <a:pt x="1097" y="2118"/>
                </a:lnTo>
                <a:lnTo>
                  <a:pt x="1097" y="2117"/>
                </a:lnTo>
                <a:lnTo>
                  <a:pt x="1098" y="2117"/>
                </a:lnTo>
                <a:lnTo>
                  <a:pt x="1098" y="2118"/>
                </a:lnTo>
                <a:lnTo>
                  <a:pt x="1098" y="2120"/>
                </a:lnTo>
                <a:lnTo>
                  <a:pt x="1100" y="2122"/>
                </a:lnTo>
                <a:lnTo>
                  <a:pt x="1102" y="2122"/>
                </a:lnTo>
                <a:lnTo>
                  <a:pt x="1104" y="2123"/>
                </a:lnTo>
                <a:lnTo>
                  <a:pt x="1107" y="2123"/>
                </a:lnTo>
                <a:lnTo>
                  <a:pt x="1109" y="2122"/>
                </a:lnTo>
                <a:lnTo>
                  <a:pt x="1112" y="2122"/>
                </a:lnTo>
                <a:lnTo>
                  <a:pt x="1114" y="2122"/>
                </a:lnTo>
                <a:lnTo>
                  <a:pt x="1117" y="2122"/>
                </a:lnTo>
                <a:lnTo>
                  <a:pt x="1117" y="2123"/>
                </a:lnTo>
                <a:lnTo>
                  <a:pt x="1119" y="2125"/>
                </a:lnTo>
                <a:lnTo>
                  <a:pt x="1121" y="2127"/>
                </a:lnTo>
                <a:lnTo>
                  <a:pt x="1122" y="2127"/>
                </a:lnTo>
                <a:lnTo>
                  <a:pt x="1122" y="2128"/>
                </a:lnTo>
                <a:lnTo>
                  <a:pt x="1121" y="2130"/>
                </a:lnTo>
                <a:lnTo>
                  <a:pt x="1121" y="2132"/>
                </a:lnTo>
                <a:lnTo>
                  <a:pt x="1121" y="2135"/>
                </a:lnTo>
                <a:lnTo>
                  <a:pt x="1119" y="2137"/>
                </a:lnTo>
                <a:lnTo>
                  <a:pt x="1119" y="2139"/>
                </a:lnTo>
                <a:lnTo>
                  <a:pt x="1117" y="2139"/>
                </a:lnTo>
                <a:lnTo>
                  <a:pt x="1115" y="2140"/>
                </a:lnTo>
                <a:lnTo>
                  <a:pt x="1115" y="2142"/>
                </a:lnTo>
                <a:lnTo>
                  <a:pt x="1114" y="2144"/>
                </a:lnTo>
                <a:lnTo>
                  <a:pt x="1114" y="2145"/>
                </a:lnTo>
                <a:lnTo>
                  <a:pt x="1112" y="2149"/>
                </a:lnTo>
                <a:lnTo>
                  <a:pt x="1110" y="2149"/>
                </a:lnTo>
                <a:lnTo>
                  <a:pt x="1112" y="2149"/>
                </a:lnTo>
                <a:lnTo>
                  <a:pt x="1110" y="2149"/>
                </a:lnTo>
                <a:lnTo>
                  <a:pt x="1110" y="2147"/>
                </a:lnTo>
                <a:lnTo>
                  <a:pt x="1110" y="2145"/>
                </a:lnTo>
                <a:lnTo>
                  <a:pt x="1110" y="2144"/>
                </a:lnTo>
                <a:lnTo>
                  <a:pt x="1109" y="2144"/>
                </a:lnTo>
                <a:lnTo>
                  <a:pt x="1107" y="2144"/>
                </a:lnTo>
                <a:lnTo>
                  <a:pt x="1105" y="2145"/>
                </a:lnTo>
                <a:lnTo>
                  <a:pt x="1105" y="2147"/>
                </a:lnTo>
                <a:lnTo>
                  <a:pt x="1107" y="2149"/>
                </a:lnTo>
                <a:lnTo>
                  <a:pt x="1107" y="2151"/>
                </a:lnTo>
                <a:lnTo>
                  <a:pt x="1105" y="2152"/>
                </a:lnTo>
                <a:lnTo>
                  <a:pt x="1104" y="2151"/>
                </a:lnTo>
                <a:lnTo>
                  <a:pt x="1104" y="2149"/>
                </a:lnTo>
                <a:lnTo>
                  <a:pt x="1105" y="2149"/>
                </a:lnTo>
                <a:lnTo>
                  <a:pt x="1105" y="2147"/>
                </a:lnTo>
                <a:lnTo>
                  <a:pt x="1102" y="2145"/>
                </a:lnTo>
                <a:lnTo>
                  <a:pt x="1102" y="2147"/>
                </a:lnTo>
                <a:lnTo>
                  <a:pt x="1100" y="2147"/>
                </a:lnTo>
                <a:lnTo>
                  <a:pt x="1098" y="2145"/>
                </a:lnTo>
                <a:lnTo>
                  <a:pt x="1100" y="2145"/>
                </a:lnTo>
                <a:lnTo>
                  <a:pt x="1100" y="2144"/>
                </a:lnTo>
                <a:lnTo>
                  <a:pt x="1102" y="2144"/>
                </a:lnTo>
                <a:lnTo>
                  <a:pt x="1102" y="2145"/>
                </a:lnTo>
                <a:lnTo>
                  <a:pt x="1104" y="2144"/>
                </a:lnTo>
                <a:lnTo>
                  <a:pt x="1102" y="2144"/>
                </a:lnTo>
                <a:lnTo>
                  <a:pt x="1104" y="2142"/>
                </a:lnTo>
                <a:lnTo>
                  <a:pt x="1104" y="2140"/>
                </a:lnTo>
                <a:lnTo>
                  <a:pt x="1105" y="2140"/>
                </a:lnTo>
                <a:lnTo>
                  <a:pt x="1104" y="2139"/>
                </a:lnTo>
                <a:lnTo>
                  <a:pt x="1104" y="2140"/>
                </a:lnTo>
                <a:lnTo>
                  <a:pt x="1102" y="2139"/>
                </a:lnTo>
                <a:lnTo>
                  <a:pt x="1100" y="2139"/>
                </a:lnTo>
                <a:lnTo>
                  <a:pt x="1100" y="2140"/>
                </a:lnTo>
                <a:lnTo>
                  <a:pt x="1098" y="2140"/>
                </a:lnTo>
                <a:lnTo>
                  <a:pt x="1098" y="2142"/>
                </a:lnTo>
                <a:lnTo>
                  <a:pt x="1097" y="2144"/>
                </a:lnTo>
                <a:lnTo>
                  <a:pt x="1095" y="2145"/>
                </a:lnTo>
                <a:lnTo>
                  <a:pt x="1093" y="2145"/>
                </a:lnTo>
                <a:lnTo>
                  <a:pt x="1093" y="2149"/>
                </a:lnTo>
                <a:lnTo>
                  <a:pt x="1093" y="2147"/>
                </a:lnTo>
                <a:lnTo>
                  <a:pt x="1093" y="2149"/>
                </a:lnTo>
                <a:lnTo>
                  <a:pt x="1095" y="2147"/>
                </a:lnTo>
                <a:lnTo>
                  <a:pt x="1095" y="2149"/>
                </a:lnTo>
                <a:lnTo>
                  <a:pt x="1093" y="2149"/>
                </a:lnTo>
                <a:lnTo>
                  <a:pt x="1093" y="2151"/>
                </a:lnTo>
                <a:lnTo>
                  <a:pt x="1095" y="2152"/>
                </a:lnTo>
                <a:lnTo>
                  <a:pt x="1095" y="2156"/>
                </a:lnTo>
                <a:lnTo>
                  <a:pt x="1095" y="2157"/>
                </a:lnTo>
                <a:lnTo>
                  <a:pt x="1093" y="2159"/>
                </a:lnTo>
                <a:lnTo>
                  <a:pt x="1095" y="2157"/>
                </a:lnTo>
                <a:lnTo>
                  <a:pt x="1095" y="2159"/>
                </a:lnTo>
                <a:lnTo>
                  <a:pt x="1095" y="2163"/>
                </a:lnTo>
                <a:lnTo>
                  <a:pt x="1095" y="2164"/>
                </a:lnTo>
                <a:lnTo>
                  <a:pt x="1095" y="2166"/>
                </a:lnTo>
                <a:lnTo>
                  <a:pt x="1093" y="2168"/>
                </a:lnTo>
                <a:lnTo>
                  <a:pt x="1092" y="2168"/>
                </a:lnTo>
                <a:lnTo>
                  <a:pt x="1093" y="2169"/>
                </a:lnTo>
                <a:lnTo>
                  <a:pt x="1092" y="2169"/>
                </a:lnTo>
                <a:lnTo>
                  <a:pt x="1092" y="2171"/>
                </a:lnTo>
                <a:lnTo>
                  <a:pt x="1090" y="2169"/>
                </a:lnTo>
                <a:lnTo>
                  <a:pt x="1090" y="2168"/>
                </a:lnTo>
                <a:lnTo>
                  <a:pt x="1090" y="2169"/>
                </a:lnTo>
                <a:lnTo>
                  <a:pt x="1088" y="2169"/>
                </a:lnTo>
                <a:lnTo>
                  <a:pt x="1087" y="2169"/>
                </a:lnTo>
                <a:lnTo>
                  <a:pt x="1087" y="2168"/>
                </a:lnTo>
                <a:lnTo>
                  <a:pt x="1090" y="2169"/>
                </a:lnTo>
                <a:lnTo>
                  <a:pt x="1088" y="2168"/>
                </a:lnTo>
                <a:lnTo>
                  <a:pt x="1087" y="2168"/>
                </a:lnTo>
                <a:lnTo>
                  <a:pt x="1083" y="2168"/>
                </a:lnTo>
                <a:lnTo>
                  <a:pt x="1083" y="2169"/>
                </a:lnTo>
                <a:lnTo>
                  <a:pt x="1081" y="2168"/>
                </a:lnTo>
                <a:lnTo>
                  <a:pt x="1080" y="2169"/>
                </a:lnTo>
                <a:lnTo>
                  <a:pt x="1083" y="2171"/>
                </a:lnTo>
                <a:lnTo>
                  <a:pt x="1085" y="2171"/>
                </a:lnTo>
                <a:lnTo>
                  <a:pt x="1085" y="2169"/>
                </a:lnTo>
                <a:lnTo>
                  <a:pt x="1085" y="2173"/>
                </a:lnTo>
                <a:lnTo>
                  <a:pt x="1087" y="2171"/>
                </a:lnTo>
                <a:lnTo>
                  <a:pt x="1087" y="2173"/>
                </a:lnTo>
                <a:lnTo>
                  <a:pt x="1085" y="2174"/>
                </a:lnTo>
                <a:lnTo>
                  <a:pt x="1085" y="2176"/>
                </a:lnTo>
                <a:lnTo>
                  <a:pt x="1088" y="2176"/>
                </a:lnTo>
                <a:lnTo>
                  <a:pt x="1087" y="2176"/>
                </a:lnTo>
                <a:lnTo>
                  <a:pt x="1085" y="2178"/>
                </a:lnTo>
                <a:lnTo>
                  <a:pt x="1085" y="2180"/>
                </a:lnTo>
                <a:lnTo>
                  <a:pt x="1087" y="2180"/>
                </a:lnTo>
                <a:lnTo>
                  <a:pt x="1085" y="2180"/>
                </a:lnTo>
                <a:lnTo>
                  <a:pt x="1083" y="2181"/>
                </a:lnTo>
                <a:lnTo>
                  <a:pt x="1081" y="2181"/>
                </a:lnTo>
                <a:lnTo>
                  <a:pt x="1080" y="2181"/>
                </a:lnTo>
                <a:lnTo>
                  <a:pt x="1078" y="2183"/>
                </a:lnTo>
                <a:lnTo>
                  <a:pt x="1075" y="2181"/>
                </a:lnTo>
                <a:lnTo>
                  <a:pt x="1073" y="2180"/>
                </a:lnTo>
                <a:lnTo>
                  <a:pt x="1071" y="2180"/>
                </a:lnTo>
                <a:lnTo>
                  <a:pt x="1068" y="2180"/>
                </a:lnTo>
                <a:lnTo>
                  <a:pt x="1066" y="2180"/>
                </a:lnTo>
                <a:lnTo>
                  <a:pt x="1068" y="2181"/>
                </a:lnTo>
                <a:lnTo>
                  <a:pt x="1071" y="2181"/>
                </a:lnTo>
                <a:lnTo>
                  <a:pt x="1073" y="2183"/>
                </a:lnTo>
                <a:lnTo>
                  <a:pt x="1075" y="2183"/>
                </a:lnTo>
                <a:lnTo>
                  <a:pt x="1075" y="2185"/>
                </a:lnTo>
                <a:lnTo>
                  <a:pt x="1075" y="2186"/>
                </a:lnTo>
                <a:lnTo>
                  <a:pt x="1076" y="2185"/>
                </a:lnTo>
                <a:lnTo>
                  <a:pt x="1080" y="2185"/>
                </a:lnTo>
                <a:lnTo>
                  <a:pt x="1078" y="2186"/>
                </a:lnTo>
                <a:lnTo>
                  <a:pt x="1076" y="2188"/>
                </a:lnTo>
                <a:lnTo>
                  <a:pt x="1075" y="2190"/>
                </a:lnTo>
                <a:lnTo>
                  <a:pt x="1075" y="2193"/>
                </a:lnTo>
                <a:lnTo>
                  <a:pt x="1071" y="2191"/>
                </a:lnTo>
                <a:lnTo>
                  <a:pt x="1070" y="2193"/>
                </a:lnTo>
                <a:lnTo>
                  <a:pt x="1068" y="2191"/>
                </a:lnTo>
                <a:lnTo>
                  <a:pt x="1068" y="2193"/>
                </a:lnTo>
                <a:lnTo>
                  <a:pt x="1068" y="2195"/>
                </a:lnTo>
                <a:lnTo>
                  <a:pt x="1066" y="2193"/>
                </a:lnTo>
                <a:lnTo>
                  <a:pt x="1064" y="2195"/>
                </a:lnTo>
                <a:lnTo>
                  <a:pt x="1066" y="2195"/>
                </a:lnTo>
                <a:lnTo>
                  <a:pt x="1068" y="2195"/>
                </a:lnTo>
                <a:lnTo>
                  <a:pt x="1070" y="2195"/>
                </a:lnTo>
                <a:lnTo>
                  <a:pt x="1071" y="2195"/>
                </a:lnTo>
                <a:lnTo>
                  <a:pt x="1073" y="2197"/>
                </a:lnTo>
                <a:lnTo>
                  <a:pt x="1071" y="2198"/>
                </a:lnTo>
                <a:lnTo>
                  <a:pt x="1068" y="2200"/>
                </a:lnTo>
                <a:lnTo>
                  <a:pt x="1070" y="2202"/>
                </a:lnTo>
                <a:lnTo>
                  <a:pt x="1070" y="2203"/>
                </a:lnTo>
                <a:lnTo>
                  <a:pt x="1068" y="2203"/>
                </a:lnTo>
                <a:lnTo>
                  <a:pt x="1070" y="2203"/>
                </a:lnTo>
                <a:lnTo>
                  <a:pt x="1071" y="2205"/>
                </a:lnTo>
                <a:lnTo>
                  <a:pt x="1070" y="2207"/>
                </a:lnTo>
                <a:lnTo>
                  <a:pt x="1071" y="2207"/>
                </a:lnTo>
                <a:lnTo>
                  <a:pt x="1071" y="2208"/>
                </a:lnTo>
                <a:lnTo>
                  <a:pt x="1070" y="2208"/>
                </a:lnTo>
                <a:lnTo>
                  <a:pt x="1068" y="2210"/>
                </a:lnTo>
                <a:lnTo>
                  <a:pt x="1068" y="2212"/>
                </a:lnTo>
                <a:lnTo>
                  <a:pt x="1064" y="2212"/>
                </a:lnTo>
                <a:lnTo>
                  <a:pt x="1068" y="2212"/>
                </a:lnTo>
                <a:lnTo>
                  <a:pt x="1068" y="2210"/>
                </a:lnTo>
                <a:lnTo>
                  <a:pt x="1070" y="2208"/>
                </a:lnTo>
                <a:lnTo>
                  <a:pt x="1071" y="2208"/>
                </a:lnTo>
                <a:lnTo>
                  <a:pt x="1073" y="2210"/>
                </a:lnTo>
                <a:lnTo>
                  <a:pt x="1073" y="2212"/>
                </a:lnTo>
                <a:lnTo>
                  <a:pt x="1073" y="2214"/>
                </a:lnTo>
                <a:lnTo>
                  <a:pt x="1071" y="2214"/>
                </a:lnTo>
                <a:lnTo>
                  <a:pt x="1073" y="2214"/>
                </a:lnTo>
                <a:lnTo>
                  <a:pt x="1073" y="2215"/>
                </a:lnTo>
                <a:lnTo>
                  <a:pt x="1070" y="2217"/>
                </a:lnTo>
                <a:lnTo>
                  <a:pt x="1070" y="2215"/>
                </a:lnTo>
                <a:lnTo>
                  <a:pt x="1068" y="2215"/>
                </a:lnTo>
                <a:lnTo>
                  <a:pt x="1068" y="2217"/>
                </a:lnTo>
                <a:lnTo>
                  <a:pt x="1064" y="2219"/>
                </a:lnTo>
                <a:lnTo>
                  <a:pt x="1066" y="2220"/>
                </a:lnTo>
                <a:lnTo>
                  <a:pt x="1064" y="2220"/>
                </a:lnTo>
                <a:lnTo>
                  <a:pt x="1063" y="2220"/>
                </a:lnTo>
                <a:lnTo>
                  <a:pt x="1066" y="2222"/>
                </a:lnTo>
                <a:lnTo>
                  <a:pt x="1066" y="2224"/>
                </a:lnTo>
                <a:lnTo>
                  <a:pt x="1064" y="2225"/>
                </a:lnTo>
                <a:lnTo>
                  <a:pt x="1061" y="2225"/>
                </a:lnTo>
                <a:lnTo>
                  <a:pt x="1061" y="2227"/>
                </a:lnTo>
                <a:lnTo>
                  <a:pt x="1064" y="2227"/>
                </a:lnTo>
                <a:lnTo>
                  <a:pt x="1066" y="2227"/>
                </a:lnTo>
                <a:lnTo>
                  <a:pt x="1068" y="2227"/>
                </a:lnTo>
                <a:lnTo>
                  <a:pt x="1068" y="2225"/>
                </a:lnTo>
                <a:lnTo>
                  <a:pt x="1070" y="2229"/>
                </a:lnTo>
                <a:lnTo>
                  <a:pt x="1073" y="2231"/>
                </a:lnTo>
                <a:lnTo>
                  <a:pt x="1075" y="2231"/>
                </a:lnTo>
                <a:lnTo>
                  <a:pt x="1075" y="2232"/>
                </a:lnTo>
                <a:lnTo>
                  <a:pt x="1075" y="2234"/>
                </a:lnTo>
                <a:lnTo>
                  <a:pt x="1075" y="2236"/>
                </a:lnTo>
                <a:lnTo>
                  <a:pt x="1076" y="2236"/>
                </a:lnTo>
                <a:lnTo>
                  <a:pt x="1075" y="2236"/>
                </a:lnTo>
                <a:lnTo>
                  <a:pt x="1073" y="2236"/>
                </a:lnTo>
                <a:lnTo>
                  <a:pt x="1075" y="2237"/>
                </a:lnTo>
                <a:lnTo>
                  <a:pt x="1075" y="2239"/>
                </a:lnTo>
                <a:lnTo>
                  <a:pt x="1075" y="2241"/>
                </a:lnTo>
                <a:lnTo>
                  <a:pt x="1073" y="2239"/>
                </a:lnTo>
                <a:lnTo>
                  <a:pt x="1070" y="2239"/>
                </a:lnTo>
                <a:lnTo>
                  <a:pt x="1071" y="2237"/>
                </a:lnTo>
                <a:lnTo>
                  <a:pt x="1068" y="2236"/>
                </a:lnTo>
                <a:lnTo>
                  <a:pt x="1071" y="2236"/>
                </a:lnTo>
                <a:lnTo>
                  <a:pt x="1070" y="2234"/>
                </a:lnTo>
                <a:lnTo>
                  <a:pt x="1068" y="2236"/>
                </a:lnTo>
                <a:lnTo>
                  <a:pt x="1068" y="2237"/>
                </a:lnTo>
                <a:lnTo>
                  <a:pt x="1066" y="2237"/>
                </a:lnTo>
                <a:lnTo>
                  <a:pt x="1064" y="2239"/>
                </a:lnTo>
                <a:lnTo>
                  <a:pt x="1061" y="2241"/>
                </a:lnTo>
                <a:lnTo>
                  <a:pt x="1063" y="2244"/>
                </a:lnTo>
                <a:lnTo>
                  <a:pt x="1063" y="2241"/>
                </a:lnTo>
                <a:lnTo>
                  <a:pt x="1064" y="2241"/>
                </a:lnTo>
                <a:lnTo>
                  <a:pt x="1066" y="2241"/>
                </a:lnTo>
                <a:lnTo>
                  <a:pt x="1068" y="2239"/>
                </a:lnTo>
                <a:lnTo>
                  <a:pt x="1068" y="2237"/>
                </a:lnTo>
                <a:lnTo>
                  <a:pt x="1070" y="2237"/>
                </a:lnTo>
                <a:lnTo>
                  <a:pt x="1068" y="2239"/>
                </a:lnTo>
                <a:lnTo>
                  <a:pt x="1070" y="2241"/>
                </a:lnTo>
                <a:lnTo>
                  <a:pt x="1071" y="2241"/>
                </a:lnTo>
                <a:lnTo>
                  <a:pt x="1073" y="2242"/>
                </a:lnTo>
                <a:lnTo>
                  <a:pt x="1075" y="2242"/>
                </a:lnTo>
                <a:lnTo>
                  <a:pt x="1076" y="2244"/>
                </a:lnTo>
                <a:lnTo>
                  <a:pt x="1076" y="2242"/>
                </a:lnTo>
                <a:lnTo>
                  <a:pt x="1078" y="2246"/>
                </a:lnTo>
                <a:lnTo>
                  <a:pt x="1080" y="2246"/>
                </a:lnTo>
                <a:lnTo>
                  <a:pt x="1081" y="2246"/>
                </a:lnTo>
                <a:lnTo>
                  <a:pt x="1081" y="2242"/>
                </a:lnTo>
                <a:lnTo>
                  <a:pt x="1083" y="2244"/>
                </a:lnTo>
                <a:lnTo>
                  <a:pt x="1083" y="2246"/>
                </a:lnTo>
                <a:lnTo>
                  <a:pt x="1085" y="2249"/>
                </a:lnTo>
                <a:lnTo>
                  <a:pt x="1087" y="2251"/>
                </a:lnTo>
                <a:lnTo>
                  <a:pt x="1087" y="2253"/>
                </a:lnTo>
                <a:lnTo>
                  <a:pt x="1087" y="2251"/>
                </a:lnTo>
                <a:lnTo>
                  <a:pt x="1085" y="2251"/>
                </a:lnTo>
                <a:lnTo>
                  <a:pt x="1085" y="2249"/>
                </a:lnTo>
                <a:lnTo>
                  <a:pt x="1083" y="2251"/>
                </a:lnTo>
                <a:lnTo>
                  <a:pt x="1081" y="2253"/>
                </a:lnTo>
                <a:lnTo>
                  <a:pt x="1081" y="2254"/>
                </a:lnTo>
                <a:lnTo>
                  <a:pt x="1078" y="2258"/>
                </a:lnTo>
                <a:lnTo>
                  <a:pt x="1076" y="2258"/>
                </a:lnTo>
                <a:lnTo>
                  <a:pt x="1075" y="2258"/>
                </a:lnTo>
                <a:lnTo>
                  <a:pt x="1075" y="2259"/>
                </a:lnTo>
                <a:lnTo>
                  <a:pt x="1073" y="2261"/>
                </a:lnTo>
                <a:lnTo>
                  <a:pt x="1073" y="2263"/>
                </a:lnTo>
                <a:lnTo>
                  <a:pt x="1070" y="2263"/>
                </a:lnTo>
                <a:lnTo>
                  <a:pt x="1070" y="2261"/>
                </a:lnTo>
                <a:lnTo>
                  <a:pt x="1068" y="2263"/>
                </a:lnTo>
                <a:lnTo>
                  <a:pt x="1066" y="2263"/>
                </a:lnTo>
                <a:lnTo>
                  <a:pt x="1068" y="2265"/>
                </a:lnTo>
                <a:lnTo>
                  <a:pt x="1070" y="2263"/>
                </a:lnTo>
                <a:lnTo>
                  <a:pt x="1073" y="2265"/>
                </a:lnTo>
                <a:lnTo>
                  <a:pt x="1073" y="2263"/>
                </a:lnTo>
                <a:lnTo>
                  <a:pt x="1073" y="2261"/>
                </a:lnTo>
                <a:lnTo>
                  <a:pt x="1075" y="2263"/>
                </a:lnTo>
                <a:lnTo>
                  <a:pt x="1075" y="2259"/>
                </a:lnTo>
                <a:lnTo>
                  <a:pt x="1076" y="2259"/>
                </a:lnTo>
                <a:lnTo>
                  <a:pt x="1078" y="2258"/>
                </a:lnTo>
                <a:lnTo>
                  <a:pt x="1080" y="2258"/>
                </a:lnTo>
                <a:lnTo>
                  <a:pt x="1081" y="2256"/>
                </a:lnTo>
                <a:lnTo>
                  <a:pt x="1081" y="2254"/>
                </a:lnTo>
                <a:lnTo>
                  <a:pt x="1083" y="2253"/>
                </a:lnTo>
                <a:lnTo>
                  <a:pt x="1085" y="2253"/>
                </a:lnTo>
                <a:lnTo>
                  <a:pt x="1087" y="2253"/>
                </a:lnTo>
                <a:lnTo>
                  <a:pt x="1085" y="2253"/>
                </a:lnTo>
                <a:lnTo>
                  <a:pt x="1087" y="2253"/>
                </a:lnTo>
                <a:lnTo>
                  <a:pt x="1087" y="2256"/>
                </a:lnTo>
                <a:lnTo>
                  <a:pt x="1087" y="2258"/>
                </a:lnTo>
                <a:lnTo>
                  <a:pt x="1087" y="2261"/>
                </a:lnTo>
                <a:lnTo>
                  <a:pt x="1085" y="2263"/>
                </a:lnTo>
                <a:lnTo>
                  <a:pt x="1083" y="2265"/>
                </a:lnTo>
                <a:lnTo>
                  <a:pt x="1081" y="2265"/>
                </a:lnTo>
                <a:lnTo>
                  <a:pt x="1080" y="2266"/>
                </a:lnTo>
                <a:lnTo>
                  <a:pt x="1078" y="2266"/>
                </a:lnTo>
                <a:lnTo>
                  <a:pt x="1080" y="2268"/>
                </a:lnTo>
                <a:lnTo>
                  <a:pt x="1081" y="2266"/>
                </a:lnTo>
                <a:lnTo>
                  <a:pt x="1085" y="2266"/>
                </a:lnTo>
                <a:lnTo>
                  <a:pt x="1088" y="2265"/>
                </a:lnTo>
                <a:lnTo>
                  <a:pt x="1090" y="2265"/>
                </a:lnTo>
                <a:lnTo>
                  <a:pt x="1092" y="2266"/>
                </a:lnTo>
                <a:lnTo>
                  <a:pt x="1093" y="2266"/>
                </a:lnTo>
                <a:lnTo>
                  <a:pt x="1092" y="2268"/>
                </a:lnTo>
                <a:lnTo>
                  <a:pt x="1093" y="2271"/>
                </a:lnTo>
                <a:lnTo>
                  <a:pt x="1092" y="2271"/>
                </a:lnTo>
                <a:lnTo>
                  <a:pt x="1092" y="2273"/>
                </a:lnTo>
                <a:lnTo>
                  <a:pt x="1088" y="2273"/>
                </a:lnTo>
                <a:lnTo>
                  <a:pt x="1092" y="2273"/>
                </a:lnTo>
                <a:lnTo>
                  <a:pt x="1092" y="2275"/>
                </a:lnTo>
                <a:lnTo>
                  <a:pt x="1090" y="2276"/>
                </a:lnTo>
                <a:lnTo>
                  <a:pt x="1092" y="2276"/>
                </a:lnTo>
                <a:lnTo>
                  <a:pt x="1092" y="2273"/>
                </a:lnTo>
                <a:lnTo>
                  <a:pt x="1093" y="2273"/>
                </a:lnTo>
                <a:lnTo>
                  <a:pt x="1093" y="2270"/>
                </a:lnTo>
                <a:lnTo>
                  <a:pt x="1097" y="2270"/>
                </a:lnTo>
                <a:lnTo>
                  <a:pt x="1098" y="2268"/>
                </a:lnTo>
                <a:lnTo>
                  <a:pt x="1100" y="2270"/>
                </a:lnTo>
                <a:lnTo>
                  <a:pt x="1102" y="2270"/>
                </a:lnTo>
                <a:lnTo>
                  <a:pt x="1104" y="2271"/>
                </a:lnTo>
                <a:lnTo>
                  <a:pt x="1107" y="2273"/>
                </a:lnTo>
                <a:lnTo>
                  <a:pt x="1109" y="2273"/>
                </a:lnTo>
                <a:lnTo>
                  <a:pt x="1110" y="2275"/>
                </a:lnTo>
                <a:lnTo>
                  <a:pt x="1112" y="2276"/>
                </a:lnTo>
                <a:lnTo>
                  <a:pt x="1114" y="2278"/>
                </a:lnTo>
                <a:lnTo>
                  <a:pt x="1115" y="2278"/>
                </a:lnTo>
                <a:lnTo>
                  <a:pt x="1117" y="2276"/>
                </a:lnTo>
                <a:lnTo>
                  <a:pt x="1119" y="2275"/>
                </a:lnTo>
                <a:lnTo>
                  <a:pt x="1121" y="2273"/>
                </a:lnTo>
                <a:lnTo>
                  <a:pt x="1122" y="2271"/>
                </a:lnTo>
                <a:lnTo>
                  <a:pt x="1124" y="2271"/>
                </a:lnTo>
                <a:lnTo>
                  <a:pt x="1126" y="2271"/>
                </a:lnTo>
                <a:lnTo>
                  <a:pt x="1124" y="2273"/>
                </a:lnTo>
                <a:lnTo>
                  <a:pt x="1126" y="2273"/>
                </a:lnTo>
                <a:lnTo>
                  <a:pt x="1129" y="2273"/>
                </a:lnTo>
                <a:lnTo>
                  <a:pt x="1129" y="2271"/>
                </a:lnTo>
                <a:lnTo>
                  <a:pt x="1131" y="2271"/>
                </a:lnTo>
                <a:lnTo>
                  <a:pt x="1131" y="2273"/>
                </a:lnTo>
                <a:lnTo>
                  <a:pt x="1127" y="2275"/>
                </a:lnTo>
                <a:lnTo>
                  <a:pt x="1129" y="2275"/>
                </a:lnTo>
                <a:lnTo>
                  <a:pt x="1129" y="2276"/>
                </a:lnTo>
                <a:lnTo>
                  <a:pt x="1129" y="2278"/>
                </a:lnTo>
                <a:lnTo>
                  <a:pt x="1129" y="2282"/>
                </a:lnTo>
                <a:lnTo>
                  <a:pt x="1129" y="2283"/>
                </a:lnTo>
                <a:lnTo>
                  <a:pt x="1129" y="2285"/>
                </a:lnTo>
                <a:lnTo>
                  <a:pt x="1127" y="2287"/>
                </a:lnTo>
                <a:lnTo>
                  <a:pt x="1126" y="2288"/>
                </a:lnTo>
                <a:lnTo>
                  <a:pt x="1124" y="2288"/>
                </a:lnTo>
                <a:lnTo>
                  <a:pt x="1122" y="2290"/>
                </a:lnTo>
                <a:lnTo>
                  <a:pt x="1121" y="2292"/>
                </a:lnTo>
                <a:lnTo>
                  <a:pt x="1121" y="2293"/>
                </a:lnTo>
                <a:lnTo>
                  <a:pt x="1119" y="2292"/>
                </a:lnTo>
                <a:lnTo>
                  <a:pt x="1117" y="2292"/>
                </a:lnTo>
                <a:lnTo>
                  <a:pt x="1117" y="2293"/>
                </a:lnTo>
                <a:lnTo>
                  <a:pt x="1115" y="2295"/>
                </a:lnTo>
                <a:lnTo>
                  <a:pt x="1115" y="2297"/>
                </a:lnTo>
                <a:lnTo>
                  <a:pt x="1117" y="2299"/>
                </a:lnTo>
                <a:lnTo>
                  <a:pt x="1121" y="2299"/>
                </a:lnTo>
                <a:lnTo>
                  <a:pt x="1121" y="2302"/>
                </a:lnTo>
                <a:lnTo>
                  <a:pt x="1121" y="2304"/>
                </a:lnTo>
                <a:lnTo>
                  <a:pt x="1119" y="2305"/>
                </a:lnTo>
                <a:lnTo>
                  <a:pt x="1115" y="2305"/>
                </a:lnTo>
                <a:lnTo>
                  <a:pt x="1117" y="2307"/>
                </a:lnTo>
                <a:lnTo>
                  <a:pt x="1119" y="2305"/>
                </a:lnTo>
                <a:lnTo>
                  <a:pt x="1121" y="2304"/>
                </a:lnTo>
                <a:lnTo>
                  <a:pt x="1122" y="2305"/>
                </a:lnTo>
                <a:lnTo>
                  <a:pt x="1124" y="2305"/>
                </a:lnTo>
                <a:lnTo>
                  <a:pt x="1122" y="2304"/>
                </a:lnTo>
                <a:lnTo>
                  <a:pt x="1122" y="2302"/>
                </a:lnTo>
                <a:lnTo>
                  <a:pt x="1121" y="2304"/>
                </a:lnTo>
                <a:lnTo>
                  <a:pt x="1121" y="2302"/>
                </a:lnTo>
                <a:lnTo>
                  <a:pt x="1122" y="2302"/>
                </a:lnTo>
                <a:lnTo>
                  <a:pt x="1126" y="2300"/>
                </a:lnTo>
                <a:lnTo>
                  <a:pt x="1127" y="2299"/>
                </a:lnTo>
                <a:lnTo>
                  <a:pt x="1129" y="2297"/>
                </a:lnTo>
                <a:lnTo>
                  <a:pt x="1132" y="2299"/>
                </a:lnTo>
                <a:lnTo>
                  <a:pt x="1132" y="2297"/>
                </a:lnTo>
                <a:lnTo>
                  <a:pt x="1134" y="2300"/>
                </a:lnTo>
                <a:lnTo>
                  <a:pt x="1136" y="2300"/>
                </a:lnTo>
                <a:lnTo>
                  <a:pt x="1136" y="2302"/>
                </a:lnTo>
                <a:lnTo>
                  <a:pt x="1136" y="2304"/>
                </a:lnTo>
                <a:lnTo>
                  <a:pt x="1138" y="2304"/>
                </a:lnTo>
                <a:lnTo>
                  <a:pt x="1139" y="2302"/>
                </a:lnTo>
                <a:lnTo>
                  <a:pt x="1141" y="2304"/>
                </a:lnTo>
                <a:lnTo>
                  <a:pt x="1143" y="2304"/>
                </a:lnTo>
                <a:lnTo>
                  <a:pt x="1144" y="2305"/>
                </a:lnTo>
                <a:lnTo>
                  <a:pt x="1146" y="2304"/>
                </a:lnTo>
                <a:lnTo>
                  <a:pt x="1144" y="2300"/>
                </a:lnTo>
                <a:lnTo>
                  <a:pt x="1146" y="2300"/>
                </a:lnTo>
                <a:lnTo>
                  <a:pt x="1146" y="2299"/>
                </a:lnTo>
                <a:lnTo>
                  <a:pt x="1148" y="2297"/>
                </a:lnTo>
                <a:lnTo>
                  <a:pt x="1149" y="2297"/>
                </a:lnTo>
                <a:lnTo>
                  <a:pt x="1149" y="2293"/>
                </a:lnTo>
                <a:lnTo>
                  <a:pt x="1151" y="2293"/>
                </a:lnTo>
                <a:lnTo>
                  <a:pt x="1151" y="2292"/>
                </a:lnTo>
                <a:lnTo>
                  <a:pt x="1148" y="2293"/>
                </a:lnTo>
                <a:lnTo>
                  <a:pt x="1148" y="2295"/>
                </a:lnTo>
                <a:lnTo>
                  <a:pt x="1148" y="2293"/>
                </a:lnTo>
                <a:lnTo>
                  <a:pt x="1148" y="2292"/>
                </a:lnTo>
                <a:lnTo>
                  <a:pt x="1151" y="2290"/>
                </a:lnTo>
                <a:lnTo>
                  <a:pt x="1153" y="2288"/>
                </a:lnTo>
                <a:lnTo>
                  <a:pt x="1153" y="2287"/>
                </a:lnTo>
                <a:lnTo>
                  <a:pt x="1156" y="2287"/>
                </a:lnTo>
                <a:lnTo>
                  <a:pt x="1158" y="2288"/>
                </a:lnTo>
                <a:lnTo>
                  <a:pt x="1160" y="2288"/>
                </a:lnTo>
                <a:lnTo>
                  <a:pt x="1161" y="2287"/>
                </a:lnTo>
                <a:lnTo>
                  <a:pt x="1165" y="2287"/>
                </a:lnTo>
                <a:lnTo>
                  <a:pt x="1166" y="2285"/>
                </a:lnTo>
                <a:lnTo>
                  <a:pt x="1170" y="2285"/>
                </a:lnTo>
                <a:lnTo>
                  <a:pt x="1170" y="2287"/>
                </a:lnTo>
                <a:lnTo>
                  <a:pt x="1170" y="2288"/>
                </a:lnTo>
                <a:lnTo>
                  <a:pt x="1170" y="2290"/>
                </a:lnTo>
                <a:lnTo>
                  <a:pt x="1172" y="2292"/>
                </a:lnTo>
                <a:lnTo>
                  <a:pt x="1173" y="2292"/>
                </a:lnTo>
                <a:lnTo>
                  <a:pt x="1170" y="2290"/>
                </a:lnTo>
                <a:lnTo>
                  <a:pt x="1170" y="2287"/>
                </a:lnTo>
                <a:lnTo>
                  <a:pt x="1172" y="2287"/>
                </a:lnTo>
                <a:lnTo>
                  <a:pt x="1172" y="2285"/>
                </a:lnTo>
                <a:lnTo>
                  <a:pt x="1170" y="2287"/>
                </a:lnTo>
                <a:lnTo>
                  <a:pt x="1170" y="2285"/>
                </a:lnTo>
                <a:lnTo>
                  <a:pt x="1172" y="2285"/>
                </a:lnTo>
                <a:lnTo>
                  <a:pt x="1173" y="2283"/>
                </a:lnTo>
                <a:lnTo>
                  <a:pt x="1173" y="2282"/>
                </a:lnTo>
                <a:lnTo>
                  <a:pt x="1175" y="2282"/>
                </a:lnTo>
                <a:lnTo>
                  <a:pt x="1175" y="2280"/>
                </a:lnTo>
                <a:lnTo>
                  <a:pt x="1177" y="2280"/>
                </a:lnTo>
                <a:lnTo>
                  <a:pt x="1178" y="2278"/>
                </a:lnTo>
                <a:lnTo>
                  <a:pt x="1180" y="2276"/>
                </a:lnTo>
                <a:lnTo>
                  <a:pt x="1182" y="2275"/>
                </a:lnTo>
                <a:lnTo>
                  <a:pt x="1182" y="2273"/>
                </a:lnTo>
                <a:lnTo>
                  <a:pt x="1182" y="2271"/>
                </a:lnTo>
                <a:lnTo>
                  <a:pt x="1183" y="2270"/>
                </a:lnTo>
                <a:lnTo>
                  <a:pt x="1185" y="2268"/>
                </a:lnTo>
                <a:lnTo>
                  <a:pt x="1185" y="2266"/>
                </a:lnTo>
                <a:lnTo>
                  <a:pt x="1187" y="2265"/>
                </a:lnTo>
                <a:lnTo>
                  <a:pt x="1187" y="2263"/>
                </a:lnTo>
                <a:lnTo>
                  <a:pt x="1187" y="2265"/>
                </a:lnTo>
                <a:lnTo>
                  <a:pt x="1189" y="2265"/>
                </a:lnTo>
                <a:lnTo>
                  <a:pt x="1190" y="2266"/>
                </a:lnTo>
                <a:lnTo>
                  <a:pt x="1192" y="2266"/>
                </a:lnTo>
                <a:lnTo>
                  <a:pt x="1194" y="2266"/>
                </a:lnTo>
                <a:lnTo>
                  <a:pt x="1195" y="2266"/>
                </a:lnTo>
                <a:lnTo>
                  <a:pt x="1197" y="2266"/>
                </a:lnTo>
                <a:lnTo>
                  <a:pt x="1199" y="2266"/>
                </a:lnTo>
                <a:lnTo>
                  <a:pt x="1200" y="2266"/>
                </a:lnTo>
                <a:lnTo>
                  <a:pt x="1202" y="2266"/>
                </a:lnTo>
                <a:lnTo>
                  <a:pt x="1204" y="2266"/>
                </a:lnTo>
                <a:lnTo>
                  <a:pt x="1206" y="2266"/>
                </a:lnTo>
                <a:lnTo>
                  <a:pt x="1204" y="2266"/>
                </a:lnTo>
                <a:lnTo>
                  <a:pt x="1204" y="2268"/>
                </a:lnTo>
                <a:lnTo>
                  <a:pt x="1202" y="2268"/>
                </a:lnTo>
                <a:lnTo>
                  <a:pt x="1200" y="2268"/>
                </a:lnTo>
                <a:lnTo>
                  <a:pt x="1199" y="2268"/>
                </a:lnTo>
                <a:lnTo>
                  <a:pt x="1195" y="2268"/>
                </a:lnTo>
                <a:lnTo>
                  <a:pt x="1195" y="2266"/>
                </a:lnTo>
                <a:lnTo>
                  <a:pt x="1194" y="2266"/>
                </a:lnTo>
                <a:lnTo>
                  <a:pt x="1194" y="2268"/>
                </a:lnTo>
                <a:lnTo>
                  <a:pt x="1192" y="2268"/>
                </a:lnTo>
                <a:lnTo>
                  <a:pt x="1190" y="2270"/>
                </a:lnTo>
                <a:lnTo>
                  <a:pt x="1189" y="2270"/>
                </a:lnTo>
                <a:lnTo>
                  <a:pt x="1187" y="2271"/>
                </a:lnTo>
                <a:lnTo>
                  <a:pt x="1187" y="2270"/>
                </a:lnTo>
                <a:lnTo>
                  <a:pt x="1183" y="2271"/>
                </a:lnTo>
                <a:lnTo>
                  <a:pt x="1183" y="2273"/>
                </a:lnTo>
                <a:lnTo>
                  <a:pt x="1182" y="2273"/>
                </a:lnTo>
                <a:lnTo>
                  <a:pt x="1182" y="2275"/>
                </a:lnTo>
                <a:lnTo>
                  <a:pt x="1180" y="2276"/>
                </a:lnTo>
                <a:lnTo>
                  <a:pt x="1182" y="2278"/>
                </a:lnTo>
                <a:lnTo>
                  <a:pt x="1183" y="2280"/>
                </a:lnTo>
                <a:lnTo>
                  <a:pt x="1185" y="2280"/>
                </a:lnTo>
                <a:lnTo>
                  <a:pt x="1183" y="2280"/>
                </a:lnTo>
                <a:lnTo>
                  <a:pt x="1183" y="2278"/>
                </a:lnTo>
                <a:lnTo>
                  <a:pt x="1183" y="2276"/>
                </a:lnTo>
                <a:lnTo>
                  <a:pt x="1185" y="2276"/>
                </a:lnTo>
                <a:lnTo>
                  <a:pt x="1185" y="2275"/>
                </a:lnTo>
                <a:lnTo>
                  <a:pt x="1189" y="2273"/>
                </a:lnTo>
                <a:lnTo>
                  <a:pt x="1189" y="2271"/>
                </a:lnTo>
                <a:lnTo>
                  <a:pt x="1190" y="2271"/>
                </a:lnTo>
                <a:lnTo>
                  <a:pt x="1192" y="2271"/>
                </a:lnTo>
                <a:lnTo>
                  <a:pt x="1194" y="2270"/>
                </a:lnTo>
                <a:lnTo>
                  <a:pt x="1194" y="2268"/>
                </a:lnTo>
                <a:lnTo>
                  <a:pt x="1195" y="2268"/>
                </a:lnTo>
                <a:lnTo>
                  <a:pt x="1194" y="2271"/>
                </a:lnTo>
                <a:lnTo>
                  <a:pt x="1194" y="2270"/>
                </a:lnTo>
                <a:lnTo>
                  <a:pt x="1195" y="2271"/>
                </a:lnTo>
                <a:lnTo>
                  <a:pt x="1197" y="2270"/>
                </a:lnTo>
                <a:lnTo>
                  <a:pt x="1197" y="2271"/>
                </a:lnTo>
                <a:lnTo>
                  <a:pt x="1199" y="2270"/>
                </a:lnTo>
                <a:lnTo>
                  <a:pt x="1199" y="2273"/>
                </a:lnTo>
                <a:lnTo>
                  <a:pt x="1202" y="2271"/>
                </a:lnTo>
                <a:lnTo>
                  <a:pt x="1202" y="2268"/>
                </a:lnTo>
                <a:lnTo>
                  <a:pt x="1206" y="2266"/>
                </a:lnTo>
                <a:lnTo>
                  <a:pt x="1207" y="2266"/>
                </a:lnTo>
                <a:lnTo>
                  <a:pt x="1207" y="2268"/>
                </a:lnTo>
                <a:lnTo>
                  <a:pt x="1211" y="2270"/>
                </a:lnTo>
                <a:lnTo>
                  <a:pt x="1211" y="2271"/>
                </a:lnTo>
                <a:lnTo>
                  <a:pt x="1211" y="2275"/>
                </a:lnTo>
                <a:lnTo>
                  <a:pt x="1211" y="2276"/>
                </a:lnTo>
                <a:lnTo>
                  <a:pt x="1214" y="2276"/>
                </a:lnTo>
                <a:lnTo>
                  <a:pt x="1212" y="2278"/>
                </a:lnTo>
                <a:lnTo>
                  <a:pt x="1214" y="2278"/>
                </a:lnTo>
                <a:lnTo>
                  <a:pt x="1216" y="2280"/>
                </a:lnTo>
                <a:lnTo>
                  <a:pt x="1219" y="2280"/>
                </a:lnTo>
                <a:lnTo>
                  <a:pt x="1219" y="2282"/>
                </a:lnTo>
                <a:lnTo>
                  <a:pt x="1221" y="2283"/>
                </a:lnTo>
                <a:lnTo>
                  <a:pt x="1223" y="2283"/>
                </a:lnTo>
                <a:lnTo>
                  <a:pt x="1221" y="2285"/>
                </a:lnTo>
                <a:lnTo>
                  <a:pt x="1223" y="2283"/>
                </a:lnTo>
                <a:lnTo>
                  <a:pt x="1224" y="2283"/>
                </a:lnTo>
                <a:lnTo>
                  <a:pt x="1223" y="2285"/>
                </a:lnTo>
                <a:lnTo>
                  <a:pt x="1224" y="2285"/>
                </a:lnTo>
                <a:lnTo>
                  <a:pt x="1224" y="2287"/>
                </a:lnTo>
                <a:lnTo>
                  <a:pt x="1226" y="2288"/>
                </a:lnTo>
                <a:lnTo>
                  <a:pt x="1226" y="2290"/>
                </a:lnTo>
                <a:lnTo>
                  <a:pt x="1228" y="2290"/>
                </a:lnTo>
                <a:lnTo>
                  <a:pt x="1228" y="2287"/>
                </a:lnTo>
                <a:lnTo>
                  <a:pt x="1229" y="2287"/>
                </a:lnTo>
                <a:lnTo>
                  <a:pt x="1231" y="2287"/>
                </a:lnTo>
                <a:lnTo>
                  <a:pt x="1233" y="2285"/>
                </a:lnTo>
                <a:lnTo>
                  <a:pt x="1234" y="2285"/>
                </a:lnTo>
                <a:lnTo>
                  <a:pt x="1236" y="2283"/>
                </a:lnTo>
                <a:lnTo>
                  <a:pt x="1236" y="2285"/>
                </a:lnTo>
                <a:lnTo>
                  <a:pt x="1238" y="2285"/>
                </a:lnTo>
                <a:lnTo>
                  <a:pt x="1240" y="2287"/>
                </a:lnTo>
                <a:lnTo>
                  <a:pt x="1241" y="2288"/>
                </a:lnTo>
                <a:lnTo>
                  <a:pt x="1240" y="2290"/>
                </a:lnTo>
                <a:lnTo>
                  <a:pt x="1240" y="2292"/>
                </a:lnTo>
                <a:lnTo>
                  <a:pt x="1238" y="2293"/>
                </a:lnTo>
                <a:lnTo>
                  <a:pt x="1241" y="2295"/>
                </a:lnTo>
                <a:lnTo>
                  <a:pt x="1243" y="2295"/>
                </a:lnTo>
                <a:lnTo>
                  <a:pt x="1243" y="2299"/>
                </a:lnTo>
                <a:lnTo>
                  <a:pt x="1245" y="2299"/>
                </a:lnTo>
                <a:lnTo>
                  <a:pt x="1246" y="2300"/>
                </a:lnTo>
                <a:lnTo>
                  <a:pt x="1243" y="2302"/>
                </a:lnTo>
                <a:lnTo>
                  <a:pt x="1243" y="2304"/>
                </a:lnTo>
                <a:lnTo>
                  <a:pt x="1241" y="2305"/>
                </a:lnTo>
                <a:lnTo>
                  <a:pt x="1243" y="2305"/>
                </a:lnTo>
                <a:lnTo>
                  <a:pt x="1245" y="2307"/>
                </a:lnTo>
                <a:lnTo>
                  <a:pt x="1245" y="2309"/>
                </a:lnTo>
                <a:lnTo>
                  <a:pt x="1246" y="2309"/>
                </a:lnTo>
                <a:lnTo>
                  <a:pt x="1248" y="2310"/>
                </a:lnTo>
                <a:lnTo>
                  <a:pt x="1250" y="2310"/>
                </a:lnTo>
                <a:lnTo>
                  <a:pt x="1251" y="2312"/>
                </a:lnTo>
                <a:lnTo>
                  <a:pt x="1253" y="2312"/>
                </a:lnTo>
                <a:lnTo>
                  <a:pt x="1255" y="2312"/>
                </a:lnTo>
                <a:lnTo>
                  <a:pt x="1257" y="2312"/>
                </a:lnTo>
                <a:lnTo>
                  <a:pt x="1258" y="2312"/>
                </a:lnTo>
                <a:lnTo>
                  <a:pt x="1260" y="2310"/>
                </a:lnTo>
                <a:lnTo>
                  <a:pt x="1262" y="2312"/>
                </a:lnTo>
                <a:lnTo>
                  <a:pt x="1260" y="2314"/>
                </a:lnTo>
                <a:lnTo>
                  <a:pt x="1258" y="2314"/>
                </a:lnTo>
                <a:lnTo>
                  <a:pt x="1262" y="2316"/>
                </a:lnTo>
                <a:lnTo>
                  <a:pt x="1263" y="2314"/>
                </a:lnTo>
                <a:lnTo>
                  <a:pt x="1262" y="2312"/>
                </a:lnTo>
                <a:lnTo>
                  <a:pt x="1263" y="2312"/>
                </a:lnTo>
                <a:lnTo>
                  <a:pt x="1265" y="2314"/>
                </a:lnTo>
                <a:lnTo>
                  <a:pt x="1267" y="2316"/>
                </a:lnTo>
                <a:lnTo>
                  <a:pt x="1268" y="2316"/>
                </a:lnTo>
                <a:lnTo>
                  <a:pt x="1272" y="2317"/>
                </a:lnTo>
                <a:lnTo>
                  <a:pt x="1274" y="2321"/>
                </a:lnTo>
                <a:lnTo>
                  <a:pt x="1275" y="2322"/>
                </a:lnTo>
                <a:lnTo>
                  <a:pt x="1275" y="2319"/>
                </a:lnTo>
                <a:lnTo>
                  <a:pt x="1275" y="2317"/>
                </a:lnTo>
                <a:lnTo>
                  <a:pt x="1274" y="2317"/>
                </a:lnTo>
                <a:lnTo>
                  <a:pt x="1272" y="2316"/>
                </a:lnTo>
                <a:lnTo>
                  <a:pt x="1272" y="2314"/>
                </a:lnTo>
                <a:lnTo>
                  <a:pt x="1274" y="2312"/>
                </a:lnTo>
                <a:lnTo>
                  <a:pt x="1274" y="2310"/>
                </a:lnTo>
                <a:lnTo>
                  <a:pt x="1274" y="2309"/>
                </a:lnTo>
                <a:lnTo>
                  <a:pt x="1274" y="2310"/>
                </a:lnTo>
                <a:lnTo>
                  <a:pt x="1275" y="2309"/>
                </a:lnTo>
                <a:lnTo>
                  <a:pt x="1275" y="2307"/>
                </a:lnTo>
                <a:lnTo>
                  <a:pt x="1275" y="2305"/>
                </a:lnTo>
                <a:lnTo>
                  <a:pt x="1275" y="2304"/>
                </a:lnTo>
                <a:lnTo>
                  <a:pt x="1275" y="2302"/>
                </a:lnTo>
                <a:lnTo>
                  <a:pt x="1277" y="2300"/>
                </a:lnTo>
                <a:lnTo>
                  <a:pt x="1279" y="2299"/>
                </a:lnTo>
                <a:lnTo>
                  <a:pt x="1279" y="2297"/>
                </a:lnTo>
                <a:lnTo>
                  <a:pt x="1280" y="2297"/>
                </a:lnTo>
                <a:lnTo>
                  <a:pt x="1280" y="2295"/>
                </a:lnTo>
                <a:lnTo>
                  <a:pt x="1282" y="2293"/>
                </a:lnTo>
                <a:lnTo>
                  <a:pt x="1280" y="2293"/>
                </a:lnTo>
                <a:lnTo>
                  <a:pt x="1282" y="2292"/>
                </a:lnTo>
                <a:lnTo>
                  <a:pt x="1282" y="2290"/>
                </a:lnTo>
                <a:lnTo>
                  <a:pt x="1280" y="2290"/>
                </a:lnTo>
                <a:lnTo>
                  <a:pt x="1279" y="2292"/>
                </a:lnTo>
                <a:lnTo>
                  <a:pt x="1279" y="2290"/>
                </a:lnTo>
                <a:lnTo>
                  <a:pt x="1282" y="2290"/>
                </a:lnTo>
                <a:lnTo>
                  <a:pt x="1284" y="2288"/>
                </a:lnTo>
                <a:lnTo>
                  <a:pt x="1285" y="2288"/>
                </a:lnTo>
                <a:lnTo>
                  <a:pt x="1289" y="2287"/>
                </a:lnTo>
                <a:lnTo>
                  <a:pt x="1292" y="2285"/>
                </a:lnTo>
                <a:lnTo>
                  <a:pt x="1294" y="2285"/>
                </a:lnTo>
                <a:lnTo>
                  <a:pt x="1296" y="2283"/>
                </a:lnTo>
                <a:lnTo>
                  <a:pt x="1297" y="2283"/>
                </a:lnTo>
                <a:lnTo>
                  <a:pt x="1299" y="2282"/>
                </a:lnTo>
                <a:lnTo>
                  <a:pt x="1301" y="2280"/>
                </a:lnTo>
                <a:lnTo>
                  <a:pt x="1302" y="2280"/>
                </a:lnTo>
                <a:lnTo>
                  <a:pt x="1304" y="2280"/>
                </a:lnTo>
                <a:lnTo>
                  <a:pt x="1306" y="2280"/>
                </a:lnTo>
                <a:lnTo>
                  <a:pt x="1309" y="2278"/>
                </a:lnTo>
                <a:lnTo>
                  <a:pt x="1311" y="2276"/>
                </a:lnTo>
                <a:lnTo>
                  <a:pt x="1313" y="2276"/>
                </a:lnTo>
                <a:lnTo>
                  <a:pt x="1314" y="2276"/>
                </a:lnTo>
                <a:lnTo>
                  <a:pt x="1316" y="2276"/>
                </a:lnTo>
                <a:lnTo>
                  <a:pt x="1318" y="2275"/>
                </a:lnTo>
                <a:lnTo>
                  <a:pt x="1319" y="2275"/>
                </a:lnTo>
                <a:lnTo>
                  <a:pt x="1323" y="2273"/>
                </a:lnTo>
                <a:lnTo>
                  <a:pt x="1325" y="2271"/>
                </a:lnTo>
                <a:lnTo>
                  <a:pt x="1326" y="2271"/>
                </a:lnTo>
                <a:lnTo>
                  <a:pt x="1328" y="2271"/>
                </a:lnTo>
                <a:lnTo>
                  <a:pt x="1330" y="2271"/>
                </a:lnTo>
                <a:lnTo>
                  <a:pt x="1333" y="2270"/>
                </a:lnTo>
                <a:lnTo>
                  <a:pt x="1335" y="2268"/>
                </a:lnTo>
                <a:lnTo>
                  <a:pt x="1333" y="2270"/>
                </a:lnTo>
                <a:lnTo>
                  <a:pt x="1331" y="2271"/>
                </a:lnTo>
                <a:lnTo>
                  <a:pt x="1333" y="2270"/>
                </a:lnTo>
                <a:lnTo>
                  <a:pt x="1335" y="2271"/>
                </a:lnTo>
                <a:lnTo>
                  <a:pt x="1336" y="2270"/>
                </a:lnTo>
                <a:lnTo>
                  <a:pt x="1338" y="2268"/>
                </a:lnTo>
                <a:lnTo>
                  <a:pt x="1336" y="2266"/>
                </a:lnTo>
                <a:lnTo>
                  <a:pt x="1335" y="2268"/>
                </a:lnTo>
                <a:lnTo>
                  <a:pt x="1336" y="2266"/>
                </a:lnTo>
                <a:lnTo>
                  <a:pt x="1338" y="2266"/>
                </a:lnTo>
                <a:lnTo>
                  <a:pt x="1338" y="2265"/>
                </a:lnTo>
                <a:lnTo>
                  <a:pt x="1340" y="2263"/>
                </a:lnTo>
                <a:lnTo>
                  <a:pt x="1342" y="2261"/>
                </a:lnTo>
                <a:lnTo>
                  <a:pt x="1342" y="2259"/>
                </a:lnTo>
                <a:lnTo>
                  <a:pt x="1343" y="2256"/>
                </a:lnTo>
                <a:lnTo>
                  <a:pt x="1345" y="2256"/>
                </a:lnTo>
                <a:lnTo>
                  <a:pt x="1345" y="2254"/>
                </a:lnTo>
                <a:lnTo>
                  <a:pt x="1345" y="2253"/>
                </a:lnTo>
                <a:lnTo>
                  <a:pt x="1347" y="2251"/>
                </a:lnTo>
                <a:lnTo>
                  <a:pt x="1348" y="2249"/>
                </a:lnTo>
                <a:lnTo>
                  <a:pt x="1350" y="2249"/>
                </a:lnTo>
                <a:lnTo>
                  <a:pt x="1352" y="2248"/>
                </a:lnTo>
                <a:lnTo>
                  <a:pt x="1355" y="2248"/>
                </a:lnTo>
                <a:lnTo>
                  <a:pt x="1355" y="2246"/>
                </a:lnTo>
                <a:lnTo>
                  <a:pt x="1359" y="2246"/>
                </a:lnTo>
                <a:lnTo>
                  <a:pt x="1360" y="2246"/>
                </a:lnTo>
                <a:lnTo>
                  <a:pt x="1360" y="2244"/>
                </a:lnTo>
                <a:lnTo>
                  <a:pt x="1362" y="2244"/>
                </a:lnTo>
                <a:lnTo>
                  <a:pt x="1364" y="2244"/>
                </a:lnTo>
                <a:lnTo>
                  <a:pt x="1365" y="2242"/>
                </a:lnTo>
                <a:lnTo>
                  <a:pt x="1367" y="2241"/>
                </a:lnTo>
                <a:lnTo>
                  <a:pt x="1369" y="2239"/>
                </a:lnTo>
                <a:lnTo>
                  <a:pt x="1370" y="2237"/>
                </a:lnTo>
                <a:lnTo>
                  <a:pt x="1372" y="2237"/>
                </a:lnTo>
                <a:lnTo>
                  <a:pt x="1374" y="2236"/>
                </a:lnTo>
                <a:lnTo>
                  <a:pt x="1374" y="2234"/>
                </a:lnTo>
                <a:lnTo>
                  <a:pt x="1376" y="2234"/>
                </a:lnTo>
                <a:lnTo>
                  <a:pt x="1377" y="2232"/>
                </a:lnTo>
                <a:lnTo>
                  <a:pt x="1381" y="2232"/>
                </a:lnTo>
                <a:lnTo>
                  <a:pt x="1382" y="2231"/>
                </a:lnTo>
                <a:lnTo>
                  <a:pt x="1386" y="2231"/>
                </a:lnTo>
                <a:lnTo>
                  <a:pt x="1387" y="2229"/>
                </a:lnTo>
                <a:lnTo>
                  <a:pt x="1389" y="2229"/>
                </a:lnTo>
                <a:lnTo>
                  <a:pt x="1391" y="2229"/>
                </a:lnTo>
                <a:lnTo>
                  <a:pt x="1394" y="2227"/>
                </a:lnTo>
                <a:lnTo>
                  <a:pt x="1396" y="2225"/>
                </a:lnTo>
                <a:lnTo>
                  <a:pt x="1399" y="2225"/>
                </a:lnTo>
                <a:lnTo>
                  <a:pt x="1401" y="2224"/>
                </a:lnTo>
                <a:lnTo>
                  <a:pt x="1403" y="2224"/>
                </a:lnTo>
                <a:lnTo>
                  <a:pt x="1404" y="2224"/>
                </a:lnTo>
                <a:lnTo>
                  <a:pt x="1408" y="2222"/>
                </a:lnTo>
                <a:lnTo>
                  <a:pt x="1410" y="2222"/>
                </a:lnTo>
                <a:lnTo>
                  <a:pt x="1411" y="2222"/>
                </a:lnTo>
                <a:lnTo>
                  <a:pt x="1413" y="2222"/>
                </a:lnTo>
                <a:lnTo>
                  <a:pt x="1415" y="2222"/>
                </a:lnTo>
                <a:lnTo>
                  <a:pt x="1418" y="2222"/>
                </a:lnTo>
                <a:lnTo>
                  <a:pt x="1420" y="2222"/>
                </a:lnTo>
                <a:lnTo>
                  <a:pt x="1421" y="2222"/>
                </a:lnTo>
                <a:lnTo>
                  <a:pt x="1423" y="2224"/>
                </a:lnTo>
                <a:lnTo>
                  <a:pt x="1425" y="2224"/>
                </a:lnTo>
                <a:lnTo>
                  <a:pt x="1425" y="2225"/>
                </a:lnTo>
                <a:lnTo>
                  <a:pt x="1428" y="2225"/>
                </a:lnTo>
                <a:lnTo>
                  <a:pt x="1430" y="2227"/>
                </a:lnTo>
                <a:lnTo>
                  <a:pt x="1432" y="2227"/>
                </a:lnTo>
                <a:lnTo>
                  <a:pt x="1433" y="2229"/>
                </a:lnTo>
                <a:lnTo>
                  <a:pt x="1435" y="2229"/>
                </a:lnTo>
                <a:lnTo>
                  <a:pt x="1437" y="2231"/>
                </a:lnTo>
                <a:lnTo>
                  <a:pt x="1438" y="2232"/>
                </a:lnTo>
                <a:lnTo>
                  <a:pt x="1440" y="2234"/>
                </a:lnTo>
                <a:lnTo>
                  <a:pt x="1440" y="2236"/>
                </a:lnTo>
                <a:lnTo>
                  <a:pt x="1438" y="2234"/>
                </a:lnTo>
                <a:lnTo>
                  <a:pt x="1438" y="2232"/>
                </a:lnTo>
                <a:lnTo>
                  <a:pt x="1437" y="2232"/>
                </a:lnTo>
                <a:lnTo>
                  <a:pt x="1435" y="2231"/>
                </a:lnTo>
                <a:lnTo>
                  <a:pt x="1433" y="2229"/>
                </a:lnTo>
                <a:lnTo>
                  <a:pt x="1432" y="2227"/>
                </a:lnTo>
                <a:lnTo>
                  <a:pt x="1430" y="2227"/>
                </a:lnTo>
                <a:lnTo>
                  <a:pt x="1428" y="2227"/>
                </a:lnTo>
                <a:lnTo>
                  <a:pt x="1428" y="2225"/>
                </a:lnTo>
                <a:lnTo>
                  <a:pt x="1427" y="2225"/>
                </a:lnTo>
                <a:lnTo>
                  <a:pt x="1425" y="2225"/>
                </a:lnTo>
                <a:lnTo>
                  <a:pt x="1423" y="2224"/>
                </a:lnTo>
                <a:lnTo>
                  <a:pt x="1423" y="2225"/>
                </a:lnTo>
                <a:lnTo>
                  <a:pt x="1423" y="2227"/>
                </a:lnTo>
                <a:lnTo>
                  <a:pt x="1423" y="2229"/>
                </a:lnTo>
                <a:lnTo>
                  <a:pt x="1427" y="2231"/>
                </a:lnTo>
                <a:lnTo>
                  <a:pt x="1427" y="2232"/>
                </a:lnTo>
                <a:lnTo>
                  <a:pt x="1427" y="2234"/>
                </a:lnTo>
                <a:lnTo>
                  <a:pt x="1428" y="2234"/>
                </a:lnTo>
                <a:lnTo>
                  <a:pt x="1428" y="2236"/>
                </a:lnTo>
                <a:lnTo>
                  <a:pt x="1430" y="2237"/>
                </a:lnTo>
                <a:lnTo>
                  <a:pt x="1432" y="2241"/>
                </a:lnTo>
                <a:lnTo>
                  <a:pt x="1430" y="2242"/>
                </a:lnTo>
                <a:lnTo>
                  <a:pt x="1432" y="2242"/>
                </a:lnTo>
                <a:lnTo>
                  <a:pt x="1430" y="2242"/>
                </a:lnTo>
                <a:lnTo>
                  <a:pt x="1432" y="2244"/>
                </a:lnTo>
                <a:lnTo>
                  <a:pt x="1432" y="2248"/>
                </a:lnTo>
                <a:lnTo>
                  <a:pt x="1433" y="2248"/>
                </a:lnTo>
                <a:lnTo>
                  <a:pt x="1435" y="2249"/>
                </a:lnTo>
                <a:lnTo>
                  <a:pt x="1437" y="2249"/>
                </a:lnTo>
                <a:lnTo>
                  <a:pt x="1438" y="2249"/>
                </a:lnTo>
                <a:lnTo>
                  <a:pt x="1437" y="2249"/>
                </a:lnTo>
                <a:lnTo>
                  <a:pt x="1438" y="2251"/>
                </a:lnTo>
                <a:lnTo>
                  <a:pt x="1442" y="2251"/>
                </a:lnTo>
                <a:lnTo>
                  <a:pt x="1444" y="2253"/>
                </a:lnTo>
                <a:lnTo>
                  <a:pt x="1447" y="2253"/>
                </a:lnTo>
                <a:lnTo>
                  <a:pt x="1449" y="2251"/>
                </a:lnTo>
                <a:lnTo>
                  <a:pt x="1450" y="2253"/>
                </a:lnTo>
                <a:lnTo>
                  <a:pt x="1452" y="2253"/>
                </a:lnTo>
                <a:lnTo>
                  <a:pt x="1455" y="2251"/>
                </a:lnTo>
                <a:lnTo>
                  <a:pt x="1457" y="2251"/>
                </a:lnTo>
                <a:lnTo>
                  <a:pt x="1459" y="2251"/>
                </a:lnTo>
                <a:lnTo>
                  <a:pt x="1461" y="2249"/>
                </a:lnTo>
                <a:lnTo>
                  <a:pt x="1462" y="2249"/>
                </a:lnTo>
                <a:lnTo>
                  <a:pt x="1466" y="2248"/>
                </a:lnTo>
                <a:lnTo>
                  <a:pt x="1467" y="2248"/>
                </a:lnTo>
                <a:lnTo>
                  <a:pt x="1469" y="2246"/>
                </a:lnTo>
                <a:lnTo>
                  <a:pt x="1471" y="2244"/>
                </a:lnTo>
                <a:lnTo>
                  <a:pt x="1472" y="2242"/>
                </a:lnTo>
                <a:lnTo>
                  <a:pt x="1474" y="2242"/>
                </a:lnTo>
                <a:lnTo>
                  <a:pt x="1476" y="2241"/>
                </a:lnTo>
                <a:lnTo>
                  <a:pt x="1476" y="2239"/>
                </a:lnTo>
                <a:lnTo>
                  <a:pt x="1478" y="2237"/>
                </a:lnTo>
                <a:lnTo>
                  <a:pt x="1479" y="2234"/>
                </a:lnTo>
                <a:lnTo>
                  <a:pt x="1481" y="2232"/>
                </a:lnTo>
                <a:lnTo>
                  <a:pt x="1481" y="2231"/>
                </a:lnTo>
                <a:lnTo>
                  <a:pt x="1483" y="2229"/>
                </a:lnTo>
                <a:lnTo>
                  <a:pt x="1483" y="2227"/>
                </a:lnTo>
                <a:lnTo>
                  <a:pt x="1483" y="2229"/>
                </a:lnTo>
                <a:lnTo>
                  <a:pt x="1481" y="2231"/>
                </a:lnTo>
                <a:lnTo>
                  <a:pt x="1481" y="2234"/>
                </a:lnTo>
                <a:lnTo>
                  <a:pt x="1479" y="2234"/>
                </a:lnTo>
                <a:lnTo>
                  <a:pt x="1479" y="2236"/>
                </a:lnTo>
                <a:lnTo>
                  <a:pt x="1479" y="2237"/>
                </a:lnTo>
                <a:lnTo>
                  <a:pt x="1478" y="2237"/>
                </a:lnTo>
                <a:lnTo>
                  <a:pt x="1478" y="2239"/>
                </a:lnTo>
                <a:lnTo>
                  <a:pt x="1476" y="2241"/>
                </a:lnTo>
                <a:lnTo>
                  <a:pt x="1474" y="2242"/>
                </a:lnTo>
                <a:lnTo>
                  <a:pt x="1472" y="2244"/>
                </a:lnTo>
                <a:lnTo>
                  <a:pt x="1471" y="2246"/>
                </a:lnTo>
                <a:lnTo>
                  <a:pt x="1469" y="2246"/>
                </a:lnTo>
                <a:lnTo>
                  <a:pt x="1467" y="2248"/>
                </a:lnTo>
                <a:lnTo>
                  <a:pt x="1464" y="2249"/>
                </a:lnTo>
                <a:lnTo>
                  <a:pt x="1462" y="2249"/>
                </a:lnTo>
                <a:lnTo>
                  <a:pt x="1461" y="2251"/>
                </a:lnTo>
                <a:lnTo>
                  <a:pt x="1459" y="2251"/>
                </a:lnTo>
                <a:lnTo>
                  <a:pt x="1462" y="2253"/>
                </a:lnTo>
                <a:lnTo>
                  <a:pt x="1462" y="2256"/>
                </a:lnTo>
                <a:lnTo>
                  <a:pt x="1462" y="2254"/>
                </a:lnTo>
                <a:lnTo>
                  <a:pt x="1464" y="2254"/>
                </a:lnTo>
                <a:lnTo>
                  <a:pt x="1466" y="2256"/>
                </a:lnTo>
                <a:lnTo>
                  <a:pt x="1467" y="2254"/>
                </a:lnTo>
                <a:lnTo>
                  <a:pt x="1467" y="2256"/>
                </a:lnTo>
                <a:lnTo>
                  <a:pt x="1466" y="2258"/>
                </a:lnTo>
                <a:lnTo>
                  <a:pt x="1466" y="2259"/>
                </a:lnTo>
                <a:lnTo>
                  <a:pt x="1467" y="2258"/>
                </a:lnTo>
                <a:lnTo>
                  <a:pt x="1467" y="2256"/>
                </a:lnTo>
                <a:lnTo>
                  <a:pt x="1467" y="2254"/>
                </a:lnTo>
                <a:lnTo>
                  <a:pt x="1469" y="2253"/>
                </a:lnTo>
                <a:lnTo>
                  <a:pt x="1471" y="2251"/>
                </a:lnTo>
                <a:lnTo>
                  <a:pt x="1472" y="2249"/>
                </a:lnTo>
                <a:lnTo>
                  <a:pt x="1476" y="2249"/>
                </a:lnTo>
                <a:lnTo>
                  <a:pt x="1478" y="2248"/>
                </a:lnTo>
                <a:lnTo>
                  <a:pt x="1479" y="2244"/>
                </a:lnTo>
                <a:lnTo>
                  <a:pt x="1479" y="2242"/>
                </a:lnTo>
                <a:lnTo>
                  <a:pt x="1483" y="2241"/>
                </a:lnTo>
                <a:lnTo>
                  <a:pt x="1483" y="2239"/>
                </a:lnTo>
                <a:lnTo>
                  <a:pt x="1484" y="2237"/>
                </a:lnTo>
                <a:lnTo>
                  <a:pt x="1486" y="2237"/>
                </a:lnTo>
                <a:lnTo>
                  <a:pt x="1488" y="2236"/>
                </a:lnTo>
                <a:lnTo>
                  <a:pt x="1488" y="2234"/>
                </a:lnTo>
                <a:lnTo>
                  <a:pt x="1488" y="2232"/>
                </a:lnTo>
                <a:lnTo>
                  <a:pt x="1488" y="2231"/>
                </a:lnTo>
                <a:lnTo>
                  <a:pt x="1489" y="2231"/>
                </a:lnTo>
                <a:lnTo>
                  <a:pt x="1491" y="2232"/>
                </a:lnTo>
                <a:lnTo>
                  <a:pt x="1493" y="2232"/>
                </a:lnTo>
                <a:lnTo>
                  <a:pt x="1495" y="2229"/>
                </a:lnTo>
                <a:lnTo>
                  <a:pt x="1496" y="2227"/>
                </a:lnTo>
                <a:lnTo>
                  <a:pt x="1498" y="2227"/>
                </a:lnTo>
                <a:lnTo>
                  <a:pt x="1498" y="2225"/>
                </a:lnTo>
                <a:lnTo>
                  <a:pt x="1500" y="2224"/>
                </a:lnTo>
                <a:lnTo>
                  <a:pt x="1501" y="2222"/>
                </a:lnTo>
                <a:lnTo>
                  <a:pt x="1501" y="2224"/>
                </a:lnTo>
                <a:lnTo>
                  <a:pt x="1503" y="2222"/>
                </a:lnTo>
                <a:lnTo>
                  <a:pt x="1505" y="2220"/>
                </a:lnTo>
                <a:lnTo>
                  <a:pt x="1503" y="2220"/>
                </a:lnTo>
                <a:lnTo>
                  <a:pt x="1505" y="2220"/>
                </a:lnTo>
                <a:lnTo>
                  <a:pt x="1506" y="2219"/>
                </a:lnTo>
                <a:lnTo>
                  <a:pt x="1505" y="2220"/>
                </a:lnTo>
                <a:lnTo>
                  <a:pt x="1501" y="2220"/>
                </a:lnTo>
                <a:lnTo>
                  <a:pt x="1501" y="2222"/>
                </a:lnTo>
                <a:lnTo>
                  <a:pt x="1500" y="2220"/>
                </a:lnTo>
                <a:lnTo>
                  <a:pt x="1498" y="2222"/>
                </a:lnTo>
                <a:lnTo>
                  <a:pt x="1498" y="2220"/>
                </a:lnTo>
                <a:lnTo>
                  <a:pt x="1495" y="2222"/>
                </a:lnTo>
                <a:lnTo>
                  <a:pt x="1493" y="2224"/>
                </a:lnTo>
                <a:lnTo>
                  <a:pt x="1491" y="2225"/>
                </a:lnTo>
                <a:lnTo>
                  <a:pt x="1489" y="2224"/>
                </a:lnTo>
                <a:lnTo>
                  <a:pt x="1489" y="2222"/>
                </a:lnTo>
                <a:lnTo>
                  <a:pt x="1489" y="2220"/>
                </a:lnTo>
                <a:lnTo>
                  <a:pt x="1486" y="2220"/>
                </a:lnTo>
                <a:lnTo>
                  <a:pt x="1484" y="2222"/>
                </a:lnTo>
                <a:lnTo>
                  <a:pt x="1486" y="2224"/>
                </a:lnTo>
                <a:lnTo>
                  <a:pt x="1486" y="2225"/>
                </a:lnTo>
                <a:lnTo>
                  <a:pt x="1486" y="2227"/>
                </a:lnTo>
                <a:lnTo>
                  <a:pt x="1484" y="2227"/>
                </a:lnTo>
                <a:lnTo>
                  <a:pt x="1484" y="2225"/>
                </a:lnTo>
                <a:lnTo>
                  <a:pt x="1483" y="2227"/>
                </a:lnTo>
                <a:lnTo>
                  <a:pt x="1483" y="2225"/>
                </a:lnTo>
                <a:lnTo>
                  <a:pt x="1484" y="2225"/>
                </a:lnTo>
                <a:lnTo>
                  <a:pt x="1484" y="2224"/>
                </a:lnTo>
                <a:lnTo>
                  <a:pt x="1484" y="2220"/>
                </a:lnTo>
                <a:lnTo>
                  <a:pt x="1484" y="2217"/>
                </a:lnTo>
                <a:lnTo>
                  <a:pt x="1484" y="2215"/>
                </a:lnTo>
                <a:lnTo>
                  <a:pt x="1484" y="2214"/>
                </a:lnTo>
                <a:lnTo>
                  <a:pt x="1483" y="2210"/>
                </a:lnTo>
                <a:lnTo>
                  <a:pt x="1483" y="2208"/>
                </a:lnTo>
                <a:lnTo>
                  <a:pt x="1483" y="2207"/>
                </a:lnTo>
                <a:lnTo>
                  <a:pt x="1484" y="2203"/>
                </a:lnTo>
                <a:lnTo>
                  <a:pt x="1486" y="2205"/>
                </a:lnTo>
                <a:lnTo>
                  <a:pt x="1488" y="2205"/>
                </a:lnTo>
                <a:lnTo>
                  <a:pt x="1489" y="2205"/>
                </a:lnTo>
                <a:lnTo>
                  <a:pt x="1491" y="2203"/>
                </a:lnTo>
                <a:lnTo>
                  <a:pt x="1493" y="2203"/>
                </a:lnTo>
                <a:lnTo>
                  <a:pt x="1496" y="2202"/>
                </a:lnTo>
                <a:lnTo>
                  <a:pt x="1496" y="2203"/>
                </a:lnTo>
                <a:lnTo>
                  <a:pt x="1500" y="2203"/>
                </a:lnTo>
                <a:lnTo>
                  <a:pt x="1501" y="2203"/>
                </a:lnTo>
                <a:lnTo>
                  <a:pt x="1503" y="2202"/>
                </a:lnTo>
                <a:lnTo>
                  <a:pt x="1505" y="2200"/>
                </a:lnTo>
                <a:lnTo>
                  <a:pt x="1506" y="2198"/>
                </a:lnTo>
                <a:lnTo>
                  <a:pt x="1508" y="2197"/>
                </a:lnTo>
                <a:lnTo>
                  <a:pt x="1510" y="2195"/>
                </a:lnTo>
                <a:lnTo>
                  <a:pt x="1512" y="2193"/>
                </a:lnTo>
                <a:lnTo>
                  <a:pt x="1512" y="2191"/>
                </a:lnTo>
                <a:lnTo>
                  <a:pt x="1513" y="2190"/>
                </a:lnTo>
                <a:lnTo>
                  <a:pt x="1513" y="2188"/>
                </a:lnTo>
                <a:lnTo>
                  <a:pt x="1515" y="2186"/>
                </a:lnTo>
                <a:lnTo>
                  <a:pt x="1517" y="2185"/>
                </a:lnTo>
                <a:lnTo>
                  <a:pt x="1517" y="2181"/>
                </a:lnTo>
                <a:lnTo>
                  <a:pt x="1518" y="2178"/>
                </a:lnTo>
                <a:lnTo>
                  <a:pt x="1520" y="2176"/>
                </a:lnTo>
                <a:lnTo>
                  <a:pt x="1520" y="2173"/>
                </a:lnTo>
                <a:lnTo>
                  <a:pt x="1522" y="2171"/>
                </a:lnTo>
                <a:lnTo>
                  <a:pt x="1522" y="2168"/>
                </a:lnTo>
                <a:lnTo>
                  <a:pt x="1522" y="2166"/>
                </a:lnTo>
                <a:lnTo>
                  <a:pt x="1522" y="2164"/>
                </a:lnTo>
                <a:lnTo>
                  <a:pt x="1522" y="2161"/>
                </a:lnTo>
                <a:lnTo>
                  <a:pt x="1522" y="2159"/>
                </a:lnTo>
                <a:lnTo>
                  <a:pt x="1522" y="2157"/>
                </a:lnTo>
                <a:lnTo>
                  <a:pt x="1522" y="2154"/>
                </a:lnTo>
                <a:lnTo>
                  <a:pt x="1522" y="2151"/>
                </a:lnTo>
                <a:lnTo>
                  <a:pt x="1522" y="2149"/>
                </a:lnTo>
                <a:lnTo>
                  <a:pt x="1520" y="2147"/>
                </a:lnTo>
                <a:lnTo>
                  <a:pt x="1520" y="2145"/>
                </a:lnTo>
                <a:lnTo>
                  <a:pt x="1522" y="2147"/>
                </a:lnTo>
                <a:lnTo>
                  <a:pt x="1522" y="2149"/>
                </a:lnTo>
                <a:lnTo>
                  <a:pt x="1523" y="2152"/>
                </a:lnTo>
                <a:lnTo>
                  <a:pt x="1523" y="2154"/>
                </a:lnTo>
                <a:lnTo>
                  <a:pt x="1523" y="2156"/>
                </a:lnTo>
                <a:lnTo>
                  <a:pt x="1523" y="2157"/>
                </a:lnTo>
                <a:lnTo>
                  <a:pt x="1523" y="2161"/>
                </a:lnTo>
                <a:lnTo>
                  <a:pt x="1523" y="2163"/>
                </a:lnTo>
                <a:lnTo>
                  <a:pt x="1523" y="2164"/>
                </a:lnTo>
                <a:lnTo>
                  <a:pt x="1523" y="2166"/>
                </a:lnTo>
                <a:lnTo>
                  <a:pt x="1523" y="2168"/>
                </a:lnTo>
                <a:lnTo>
                  <a:pt x="1522" y="2169"/>
                </a:lnTo>
                <a:lnTo>
                  <a:pt x="1523" y="2173"/>
                </a:lnTo>
                <a:lnTo>
                  <a:pt x="1522" y="2174"/>
                </a:lnTo>
                <a:lnTo>
                  <a:pt x="1520" y="2176"/>
                </a:lnTo>
                <a:lnTo>
                  <a:pt x="1522" y="2178"/>
                </a:lnTo>
                <a:lnTo>
                  <a:pt x="1520" y="2178"/>
                </a:lnTo>
                <a:lnTo>
                  <a:pt x="1518" y="2181"/>
                </a:lnTo>
                <a:lnTo>
                  <a:pt x="1517" y="2183"/>
                </a:lnTo>
                <a:lnTo>
                  <a:pt x="1517" y="2185"/>
                </a:lnTo>
                <a:lnTo>
                  <a:pt x="1517" y="2186"/>
                </a:lnTo>
                <a:lnTo>
                  <a:pt x="1515" y="2186"/>
                </a:lnTo>
                <a:lnTo>
                  <a:pt x="1515" y="2188"/>
                </a:lnTo>
                <a:lnTo>
                  <a:pt x="1513" y="2190"/>
                </a:lnTo>
                <a:lnTo>
                  <a:pt x="1513" y="2191"/>
                </a:lnTo>
                <a:lnTo>
                  <a:pt x="1512" y="2193"/>
                </a:lnTo>
                <a:lnTo>
                  <a:pt x="1510" y="2195"/>
                </a:lnTo>
                <a:lnTo>
                  <a:pt x="1508" y="2197"/>
                </a:lnTo>
                <a:lnTo>
                  <a:pt x="1508" y="2198"/>
                </a:lnTo>
                <a:lnTo>
                  <a:pt x="1506" y="2200"/>
                </a:lnTo>
                <a:lnTo>
                  <a:pt x="1505" y="2202"/>
                </a:lnTo>
                <a:lnTo>
                  <a:pt x="1506" y="2202"/>
                </a:lnTo>
                <a:lnTo>
                  <a:pt x="1508" y="2203"/>
                </a:lnTo>
                <a:lnTo>
                  <a:pt x="1510" y="2202"/>
                </a:lnTo>
                <a:lnTo>
                  <a:pt x="1512" y="2202"/>
                </a:lnTo>
                <a:lnTo>
                  <a:pt x="1513" y="2202"/>
                </a:lnTo>
                <a:lnTo>
                  <a:pt x="1517" y="2200"/>
                </a:lnTo>
                <a:lnTo>
                  <a:pt x="1518" y="2202"/>
                </a:lnTo>
                <a:lnTo>
                  <a:pt x="1520" y="2203"/>
                </a:lnTo>
                <a:lnTo>
                  <a:pt x="1522" y="2203"/>
                </a:lnTo>
                <a:lnTo>
                  <a:pt x="1523" y="2203"/>
                </a:lnTo>
                <a:lnTo>
                  <a:pt x="1525" y="2203"/>
                </a:lnTo>
                <a:lnTo>
                  <a:pt x="1527" y="2202"/>
                </a:lnTo>
                <a:lnTo>
                  <a:pt x="1529" y="2202"/>
                </a:lnTo>
                <a:lnTo>
                  <a:pt x="1532" y="2200"/>
                </a:lnTo>
                <a:lnTo>
                  <a:pt x="1534" y="2200"/>
                </a:lnTo>
                <a:lnTo>
                  <a:pt x="1534" y="2198"/>
                </a:lnTo>
                <a:lnTo>
                  <a:pt x="1534" y="2197"/>
                </a:lnTo>
                <a:lnTo>
                  <a:pt x="1534" y="2195"/>
                </a:lnTo>
                <a:lnTo>
                  <a:pt x="1532" y="2193"/>
                </a:lnTo>
                <a:lnTo>
                  <a:pt x="1532" y="2191"/>
                </a:lnTo>
                <a:lnTo>
                  <a:pt x="1532" y="2190"/>
                </a:lnTo>
                <a:lnTo>
                  <a:pt x="1532" y="2188"/>
                </a:lnTo>
                <a:lnTo>
                  <a:pt x="1530" y="2186"/>
                </a:lnTo>
                <a:lnTo>
                  <a:pt x="1530" y="2185"/>
                </a:lnTo>
                <a:lnTo>
                  <a:pt x="1529" y="2183"/>
                </a:lnTo>
                <a:lnTo>
                  <a:pt x="1529" y="2181"/>
                </a:lnTo>
                <a:lnTo>
                  <a:pt x="1530" y="2180"/>
                </a:lnTo>
                <a:lnTo>
                  <a:pt x="1530" y="2181"/>
                </a:lnTo>
                <a:lnTo>
                  <a:pt x="1532" y="2181"/>
                </a:lnTo>
                <a:lnTo>
                  <a:pt x="1534" y="2178"/>
                </a:lnTo>
                <a:lnTo>
                  <a:pt x="1532" y="2176"/>
                </a:lnTo>
                <a:lnTo>
                  <a:pt x="1532" y="2174"/>
                </a:lnTo>
                <a:lnTo>
                  <a:pt x="1532" y="2173"/>
                </a:lnTo>
                <a:lnTo>
                  <a:pt x="1532" y="2171"/>
                </a:lnTo>
                <a:lnTo>
                  <a:pt x="1530" y="2171"/>
                </a:lnTo>
                <a:lnTo>
                  <a:pt x="1530" y="2169"/>
                </a:lnTo>
                <a:lnTo>
                  <a:pt x="1529" y="2171"/>
                </a:lnTo>
                <a:lnTo>
                  <a:pt x="1529" y="2168"/>
                </a:lnTo>
                <a:lnTo>
                  <a:pt x="1530" y="2166"/>
                </a:lnTo>
                <a:lnTo>
                  <a:pt x="1529" y="2163"/>
                </a:lnTo>
                <a:lnTo>
                  <a:pt x="1529" y="2161"/>
                </a:lnTo>
                <a:lnTo>
                  <a:pt x="1527" y="2157"/>
                </a:lnTo>
                <a:lnTo>
                  <a:pt x="1525" y="2156"/>
                </a:lnTo>
                <a:lnTo>
                  <a:pt x="1525" y="2154"/>
                </a:lnTo>
                <a:lnTo>
                  <a:pt x="1523" y="2151"/>
                </a:lnTo>
                <a:lnTo>
                  <a:pt x="1523" y="2149"/>
                </a:lnTo>
                <a:lnTo>
                  <a:pt x="1522" y="2145"/>
                </a:lnTo>
                <a:lnTo>
                  <a:pt x="1520" y="2145"/>
                </a:lnTo>
                <a:lnTo>
                  <a:pt x="1520" y="2144"/>
                </a:lnTo>
                <a:lnTo>
                  <a:pt x="1518" y="2140"/>
                </a:lnTo>
                <a:lnTo>
                  <a:pt x="1518" y="2139"/>
                </a:lnTo>
                <a:lnTo>
                  <a:pt x="1517" y="2137"/>
                </a:lnTo>
                <a:lnTo>
                  <a:pt x="1517" y="2135"/>
                </a:lnTo>
                <a:lnTo>
                  <a:pt x="1517" y="2134"/>
                </a:lnTo>
                <a:lnTo>
                  <a:pt x="1517" y="2132"/>
                </a:lnTo>
                <a:lnTo>
                  <a:pt x="1517" y="2128"/>
                </a:lnTo>
                <a:lnTo>
                  <a:pt x="1517" y="2125"/>
                </a:lnTo>
                <a:lnTo>
                  <a:pt x="1515" y="2123"/>
                </a:lnTo>
                <a:lnTo>
                  <a:pt x="1515" y="2122"/>
                </a:lnTo>
                <a:lnTo>
                  <a:pt x="1515" y="2120"/>
                </a:lnTo>
                <a:lnTo>
                  <a:pt x="1513" y="2117"/>
                </a:lnTo>
                <a:lnTo>
                  <a:pt x="1513" y="2115"/>
                </a:lnTo>
                <a:lnTo>
                  <a:pt x="1512" y="2113"/>
                </a:lnTo>
                <a:lnTo>
                  <a:pt x="1510" y="2111"/>
                </a:lnTo>
                <a:lnTo>
                  <a:pt x="1510" y="2110"/>
                </a:lnTo>
                <a:lnTo>
                  <a:pt x="1510" y="2108"/>
                </a:lnTo>
                <a:lnTo>
                  <a:pt x="1510" y="2106"/>
                </a:lnTo>
                <a:lnTo>
                  <a:pt x="1510" y="2105"/>
                </a:lnTo>
                <a:lnTo>
                  <a:pt x="1508" y="2103"/>
                </a:lnTo>
                <a:lnTo>
                  <a:pt x="1508" y="2101"/>
                </a:lnTo>
                <a:lnTo>
                  <a:pt x="1508" y="2100"/>
                </a:lnTo>
                <a:lnTo>
                  <a:pt x="1508" y="2096"/>
                </a:lnTo>
                <a:lnTo>
                  <a:pt x="1508" y="2094"/>
                </a:lnTo>
                <a:lnTo>
                  <a:pt x="1508" y="2093"/>
                </a:lnTo>
                <a:lnTo>
                  <a:pt x="1506" y="2091"/>
                </a:lnTo>
                <a:lnTo>
                  <a:pt x="1508" y="2089"/>
                </a:lnTo>
                <a:lnTo>
                  <a:pt x="1506" y="2089"/>
                </a:lnTo>
                <a:lnTo>
                  <a:pt x="1508" y="2089"/>
                </a:lnTo>
                <a:lnTo>
                  <a:pt x="1508" y="2088"/>
                </a:lnTo>
                <a:lnTo>
                  <a:pt x="1508" y="2086"/>
                </a:lnTo>
                <a:lnTo>
                  <a:pt x="1508" y="2084"/>
                </a:lnTo>
                <a:lnTo>
                  <a:pt x="1508" y="2083"/>
                </a:lnTo>
                <a:lnTo>
                  <a:pt x="1508" y="2081"/>
                </a:lnTo>
                <a:lnTo>
                  <a:pt x="1508" y="2079"/>
                </a:lnTo>
                <a:lnTo>
                  <a:pt x="1508" y="2077"/>
                </a:lnTo>
                <a:lnTo>
                  <a:pt x="1508" y="2076"/>
                </a:lnTo>
                <a:lnTo>
                  <a:pt x="1506" y="2072"/>
                </a:lnTo>
                <a:lnTo>
                  <a:pt x="1506" y="2069"/>
                </a:lnTo>
                <a:lnTo>
                  <a:pt x="1506" y="2067"/>
                </a:lnTo>
                <a:lnTo>
                  <a:pt x="1508" y="2066"/>
                </a:lnTo>
                <a:lnTo>
                  <a:pt x="1510" y="2064"/>
                </a:lnTo>
                <a:lnTo>
                  <a:pt x="1512" y="2064"/>
                </a:lnTo>
                <a:lnTo>
                  <a:pt x="1513" y="2060"/>
                </a:lnTo>
                <a:lnTo>
                  <a:pt x="1513" y="2059"/>
                </a:lnTo>
                <a:lnTo>
                  <a:pt x="1515" y="2059"/>
                </a:lnTo>
                <a:lnTo>
                  <a:pt x="1517" y="2055"/>
                </a:lnTo>
                <a:lnTo>
                  <a:pt x="1517" y="2052"/>
                </a:lnTo>
                <a:lnTo>
                  <a:pt x="1518" y="2052"/>
                </a:lnTo>
                <a:lnTo>
                  <a:pt x="1518" y="2049"/>
                </a:lnTo>
                <a:lnTo>
                  <a:pt x="1517" y="2047"/>
                </a:lnTo>
                <a:lnTo>
                  <a:pt x="1517" y="2045"/>
                </a:lnTo>
                <a:lnTo>
                  <a:pt x="1517" y="2043"/>
                </a:lnTo>
                <a:lnTo>
                  <a:pt x="1517" y="2040"/>
                </a:lnTo>
                <a:lnTo>
                  <a:pt x="1515" y="2037"/>
                </a:lnTo>
                <a:lnTo>
                  <a:pt x="1515" y="2035"/>
                </a:lnTo>
                <a:lnTo>
                  <a:pt x="1517" y="2032"/>
                </a:lnTo>
                <a:lnTo>
                  <a:pt x="1517" y="2030"/>
                </a:lnTo>
                <a:lnTo>
                  <a:pt x="1518" y="2030"/>
                </a:lnTo>
                <a:lnTo>
                  <a:pt x="1518" y="2026"/>
                </a:lnTo>
                <a:lnTo>
                  <a:pt x="1520" y="2023"/>
                </a:lnTo>
                <a:lnTo>
                  <a:pt x="1520" y="2021"/>
                </a:lnTo>
                <a:lnTo>
                  <a:pt x="1522" y="2020"/>
                </a:lnTo>
                <a:lnTo>
                  <a:pt x="1522" y="2018"/>
                </a:lnTo>
                <a:lnTo>
                  <a:pt x="1522" y="2016"/>
                </a:lnTo>
                <a:lnTo>
                  <a:pt x="1522" y="2015"/>
                </a:lnTo>
                <a:lnTo>
                  <a:pt x="1523" y="2015"/>
                </a:lnTo>
                <a:lnTo>
                  <a:pt x="1523" y="2013"/>
                </a:lnTo>
                <a:lnTo>
                  <a:pt x="1527" y="2011"/>
                </a:lnTo>
                <a:lnTo>
                  <a:pt x="1529" y="2011"/>
                </a:lnTo>
                <a:lnTo>
                  <a:pt x="1532" y="2009"/>
                </a:lnTo>
                <a:lnTo>
                  <a:pt x="1534" y="2008"/>
                </a:lnTo>
                <a:lnTo>
                  <a:pt x="1535" y="2008"/>
                </a:lnTo>
                <a:lnTo>
                  <a:pt x="1537" y="2006"/>
                </a:lnTo>
                <a:lnTo>
                  <a:pt x="1539" y="2006"/>
                </a:lnTo>
                <a:lnTo>
                  <a:pt x="1540" y="2004"/>
                </a:lnTo>
                <a:lnTo>
                  <a:pt x="1542" y="2003"/>
                </a:lnTo>
                <a:lnTo>
                  <a:pt x="1544" y="2001"/>
                </a:lnTo>
                <a:lnTo>
                  <a:pt x="1547" y="1999"/>
                </a:lnTo>
                <a:lnTo>
                  <a:pt x="1551" y="1996"/>
                </a:lnTo>
                <a:lnTo>
                  <a:pt x="1552" y="1996"/>
                </a:lnTo>
                <a:lnTo>
                  <a:pt x="1554" y="1994"/>
                </a:lnTo>
                <a:lnTo>
                  <a:pt x="1554" y="1997"/>
                </a:lnTo>
                <a:lnTo>
                  <a:pt x="1554" y="1999"/>
                </a:lnTo>
                <a:lnTo>
                  <a:pt x="1554" y="2003"/>
                </a:lnTo>
                <a:lnTo>
                  <a:pt x="1556" y="2004"/>
                </a:lnTo>
                <a:lnTo>
                  <a:pt x="1556" y="2006"/>
                </a:lnTo>
                <a:lnTo>
                  <a:pt x="1557" y="2006"/>
                </a:lnTo>
                <a:lnTo>
                  <a:pt x="1559" y="2008"/>
                </a:lnTo>
                <a:lnTo>
                  <a:pt x="1561" y="2009"/>
                </a:lnTo>
                <a:lnTo>
                  <a:pt x="1564" y="2011"/>
                </a:lnTo>
                <a:lnTo>
                  <a:pt x="1566" y="2011"/>
                </a:lnTo>
                <a:lnTo>
                  <a:pt x="1568" y="2013"/>
                </a:lnTo>
                <a:lnTo>
                  <a:pt x="1569" y="2015"/>
                </a:lnTo>
                <a:lnTo>
                  <a:pt x="1571" y="2016"/>
                </a:lnTo>
                <a:lnTo>
                  <a:pt x="1573" y="2016"/>
                </a:lnTo>
                <a:lnTo>
                  <a:pt x="1574" y="2018"/>
                </a:lnTo>
                <a:lnTo>
                  <a:pt x="1578" y="2018"/>
                </a:lnTo>
                <a:lnTo>
                  <a:pt x="1580" y="2021"/>
                </a:lnTo>
                <a:lnTo>
                  <a:pt x="1580" y="2023"/>
                </a:lnTo>
                <a:lnTo>
                  <a:pt x="1581" y="2025"/>
                </a:lnTo>
                <a:lnTo>
                  <a:pt x="1581" y="2026"/>
                </a:lnTo>
                <a:lnTo>
                  <a:pt x="1583" y="2028"/>
                </a:lnTo>
                <a:lnTo>
                  <a:pt x="1583" y="2030"/>
                </a:lnTo>
                <a:lnTo>
                  <a:pt x="1585" y="2032"/>
                </a:lnTo>
                <a:lnTo>
                  <a:pt x="1585" y="2033"/>
                </a:lnTo>
                <a:lnTo>
                  <a:pt x="1586" y="2035"/>
                </a:lnTo>
                <a:lnTo>
                  <a:pt x="1586" y="2037"/>
                </a:lnTo>
                <a:lnTo>
                  <a:pt x="1588" y="2038"/>
                </a:lnTo>
                <a:lnTo>
                  <a:pt x="1591" y="2038"/>
                </a:lnTo>
                <a:lnTo>
                  <a:pt x="1593" y="2038"/>
                </a:lnTo>
                <a:lnTo>
                  <a:pt x="1595" y="2038"/>
                </a:lnTo>
                <a:lnTo>
                  <a:pt x="1597" y="2038"/>
                </a:lnTo>
                <a:lnTo>
                  <a:pt x="1597" y="2040"/>
                </a:lnTo>
                <a:lnTo>
                  <a:pt x="1598" y="2042"/>
                </a:lnTo>
                <a:lnTo>
                  <a:pt x="1600" y="2042"/>
                </a:lnTo>
                <a:lnTo>
                  <a:pt x="1603" y="2042"/>
                </a:lnTo>
                <a:lnTo>
                  <a:pt x="1605" y="2042"/>
                </a:lnTo>
                <a:lnTo>
                  <a:pt x="1607" y="2042"/>
                </a:lnTo>
                <a:lnTo>
                  <a:pt x="1608" y="2040"/>
                </a:lnTo>
                <a:lnTo>
                  <a:pt x="1610" y="2038"/>
                </a:lnTo>
                <a:lnTo>
                  <a:pt x="1612" y="2038"/>
                </a:lnTo>
                <a:lnTo>
                  <a:pt x="1614" y="2037"/>
                </a:lnTo>
                <a:lnTo>
                  <a:pt x="1615" y="2035"/>
                </a:lnTo>
                <a:lnTo>
                  <a:pt x="1615" y="2033"/>
                </a:lnTo>
                <a:lnTo>
                  <a:pt x="1617" y="2032"/>
                </a:lnTo>
                <a:lnTo>
                  <a:pt x="1619" y="2030"/>
                </a:lnTo>
                <a:lnTo>
                  <a:pt x="1620" y="2028"/>
                </a:lnTo>
                <a:lnTo>
                  <a:pt x="1622" y="2026"/>
                </a:lnTo>
                <a:lnTo>
                  <a:pt x="1624" y="2025"/>
                </a:lnTo>
                <a:lnTo>
                  <a:pt x="1624" y="2023"/>
                </a:lnTo>
                <a:lnTo>
                  <a:pt x="1625" y="2021"/>
                </a:lnTo>
                <a:lnTo>
                  <a:pt x="1627" y="2018"/>
                </a:lnTo>
                <a:lnTo>
                  <a:pt x="1627" y="2015"/>
                </a:lnTo>
                <a:lnTo>
                  <a:pt x="1625" y="2013"/>
                </a:lnTo>
                <a:lnTo>
                  <a:pt x="1625" y="2011"/>
                </a:lnTo>
                <a:lnTo>
                  <a:pt x="1625" y="2009"/>
                </a:lnTo>
                <a:lnTo>
                  <a:pt x="1625" y="2008"/>
                </a:lnTo>
                <a:lnTo>
                  <a:pt x="1624" y="2006"/>
                </a:lnTo>
                <a:lnTo>
                  <a:pt x="1624" y="2003"/>
                </a:lnTo>
                <a:lnTo>
                  <a:pt x="1624" y="2001"/>
                </a:lnTo>
                <a:lnTo>
                  <a:pt x="1622" y="1999"/>
                </a:lnTo>
                <a:lnTo>
                  <a:pt x="1622" y="1997"/>
                </a:lnTo>
                <a:lnTo>
                  <a:pt x="1620" y="1994"/>
                </a:lnTo>
                <a:lnTo>
                  <a:pt x="1622" y="1992"/>
                </a:lnTo>
                <a:lnTo>
                  <a:pt x="1620" y="1991"/>
                </a:lnTo>
                <a:lnTo>
                  <a:pt x="1620" y="1987"/>
                </a:lnTo>
                <a:lnTo>
                  <a:pt x="1619" y="1987"/>
                </a:lnTo>
                <a:lnTo>
                  <a:pt x="1619" y="1984"/>
                </a:lnTo>
                <a:lnTo>
                  <a:pt x="1619" y="1982"/>
                </a:lnTo>
                <a:lnTo>
                  <a:pt x="1617" y="1980"/>
                </a:lnTo>
                <a:lnTo>
                  <a:pt x="1617" y="1979"/>
                </a:lnTo>
                <a:lnTo>
                  <a:pt x="1617" y="1975"/>
                </a:lnTo>
                <a:lnTo>
                  <a:pt x="1617" y="1974"/>
                </a:lnTo>
                <a:lnTo>
                  <a:pt x="1617" y="1972"/>
                </a:lnTo>
                <a:lnTo>
                  <a:pt x="1617" y="1970"/>
                </a:lnTo>
                <a:lnTo>
                  <a:pt x="1617" y="1969"/>
                </a:lnTo>
                <a:lnTo>
                  <a:pt x="1617" y="1967"/>
                </a:lnTo>
                <a:lnTo>
                  <a:pt x="1619" y="1965"/>
                </a:lnTo>
                <a:lnTo>
                  <a:pt x="1619" y="1962"/>
                </a:lnTo>
                <a:lnTo>
                  <a:pt x="1619" y="1960"/>
                </a:lnTo>
                <a:lnTo>
                  <a:pt x="1617" y="1958"/>
                </a:lnTo>
                <a:lnTo>
                  <a:pt x="1617" y="1955"/>
                </a:lnTo>
                <a:lnTo>
                  <a:pt x="1617" y="1953"/>
                </a:lnTo>
                <a:lnTo>
                  <a:pt x="1615" y="1953"/>
                </a:lnTo>
                <a:lnTo>
                  <a:pt x="1617" y="1952"/>
                </a:lnTo>
                <a:lnTo>
                  <a:pt x="1615" y="1952"/>
                </a:lnTo>
                <a:lnTo>
                  <a:pt x="1617" y="1948"/>
                </a:lnTo>
                <a:lnTo>
                  <a:pt x="1615" y="1948"/>
                </a:lnTo>
                <a:lnTo>
                  <a:pt x="1617" y="1946"/>
                </a:lnTo>
                <a:lnTo>
                  <a:pt x="1619" y="1946"/>
                </a:lnTo>
                <a:lnTo>
                  <a:pt x="1619" y="1945"/>
                </a:lnTo>
                <a:lnTo>
                  <a:pt x="1619" y="1941"/>
                </a:lnTo>
                <a:lnTo>
                  <a:pt x="1617" y="1941"/>
                </a:lnTo>
                <a:lnTo>
                  <a:pt x="1617" y="1940"/>
                </a:lnTo>
                <a:lnTo>
                  <a:pt x="1614" y="1940"/>
                </a:lnTo>
                <a:lnTo>
                  <a:pt x="1614" y="1938"/>
                </a:lnTo>
                <a:lnTo>
                  <a:pt x="1612" y="1938"/>
                </a:lnTo>
                <a:lnTo>
                  <a:pt x="1610" y="1940"/>
                </a:lnTo>
                <a:lnTo>
                  <a:pt x="1608" y="1940"/>
                </a:lnTo>
                <a:lnTo>
                  <a:pt x="1608" y="1941"/>
                </a:lnTo>
                <a:lnTo>
                  <a:pt x="1608" y="1943"/>
                </a:lnTo>
                <a:lnTo>
                  <a:pt x="1608" y="1946"/>
                </a:lnTo>
                <a:lnTo>
                  <a:pt x="1608" y="1948"/>
                </a:lnTo>
                <a:lnTo>
                  <a:pt x="1608" y="1946"/>
                </a:lnTo>
                <a:lnTo>
                  <a:pt x="1607" y="1948"/>
                </a:lnTo>
                <a:lnTo>
                  <a:pt x="1605" y="1948"/>
                </a:lnTo>
                <a:lnTo>
                  <a:pt x="1603" y="1952"/>
                </a:lnTo>
                <a:lnTo>
                  <a:pt x="1602" y="1950"/>
                </a:lnTo>
                <a:lnTo>
                  <a:pt x="1600" y="1948"/>
                </a:lnTo>
                <a:lnTo>
                  <a:pt x="1598" y="1946"/>
                </a:lnTo>
                <a:lnTo>
                  <a:pt x="1598" y="1948"/>
                </a:lnTo>
                <a:lnTo>
                  <a:pt x="1597" y="1946"/>
                </a:lnTo>
                <a:lnTo>
                  <a:pt x="1595" y="1946"/>
                </a:lnTo>
                <a:lnTo>
                  <a:pt x="1595" y="1948"/>
                </a:lnTo>
                <a:lnTo>
                  <a:pt x="1593" y="1946"/>
                </a:lnTo>
                <a:lnTo>
                  <a:pt x="1591" y="1945"/>
                </a:lnTo>
                <a:lnTo>
                  <a:pt x="1591" y="1946"/>
                </a:lnTo>
                <a:lnTo>
                  <a:pt x="1588" y="1945"/>
                </a:lnTo>
                <a:lnTo>
                  <a:pt x="1590" y="1946"/>
                </a:lnTo>
                <a:lnTo>
                  <a:pt x="1588" y="1946"/>
                </a:lnTo>
                <a:lnTo>
                  <a:pt x="1588" y="1945"/>
                </a:lnTo>
                <a:lnTo>
                  <a:pt x="1586" y="1941"/>
                </a:lnTo>
                <a:lnTo>
                  <a:pt x="1585" y="1941"/>
                </a:lnTo>
                <a:lnTo>
                  <a:pt x="1585" y="1938"/>
                </a:lnTo>
                <a:lnTo>
                  <a:pt x="1583" y="1935"/>
                </a:lnTo>
                <a:lnTo>
                  <a:pt x="1583" y="1936"/>
                </a:lnTo>
                <a:lnTo>
                  <a:pt x="1580" y="1935"/>
                </a:lnTo>
                <a:lnTo>
                  <a:pt x="1580" y="1933"/>
                </a:lnTo>
                <a:lnTo>
                  <a:pt x="1580" y="1935"/>
                </a:lnTo>
                <a:lnTo>
                  <a:pt x="1580" y="1931"/>
                </a:lnTo>
                <a:lnTo>
                  <a:pt x="1578" y="1933"/>
                </a:lnTo>
                <a:lnTo>
                  <a:pt x="1576" y="1933"/>
                </a:lnTo>
                <a:lnTo>
                  <a:pt x="1578" y="1931"/>
                </a:lnTo>
                <a:lnTo>
                  <a:pt x="1576" y="1931"/>
                </a:lnTo>
                <a:lnTo>
                  <a:pt x="1576" y="1929"/>
                </a:lnTo>
                <a:lnTo>
                  <a:pt x="1574" y="1926"/>
                </a:lnTo>
                <a:lnTo>
                  <a:pt x="1574" y="1924"/>
                </a:lnTo>
                <a:lnTo>
                  <a:pt x="1574" y="1923"/>
                </a:lnTo>
                <a:lnTo>
                  <a:pt x="1578" y="1923"/>
                </a:lnTo>
                <a:lnTo>
                  <a:pt x="1574" y="1921"/>
                </a:lnTo>
                <a:lnTo>
                  <a:pt x="1578" y="1921"/>
                </a:lnTo>
                <a:lnTo>
                  <a:pt x="1580" y="1919"/>
                </a:lnTo>
                <a:lnTo>
                  <a:pt x="1580" y="1921"/>
                </a:lnTo>
                <a:lnTo>
                  <a:pt x="1580" y="1919"/>
                </a:lnTo>
                <a:lnTo>
                  <a:pt x="1581" y="1919"/>
                </a:lnTo>
                <a:lnTo>
                  <a:pt x="1583" y="1918"/>
                </a:lnTo>
                <a:lnTo>
                  <a:pt x="1583" y="1916"/>
                </a:lnTo>
                <a:lnTo>
                  <a:pt x="1580" y="1918"/>
                </a:lnTo>
                <a:lnTo>
                  <a:pt x="1578" y="1918"/>
                </a:lnTo>
                <a:lnTo>
                  <a:pt x="1576" y="1919"/>
                </a:lnTo>
                <a:lnTo>
                  <a:pt x="1574" y="1918"/>
                </a:lnTo>
                <a:lnTo>
                  <a:pt x="1571" y="1919"/>
                </a:lnTo>
                <a:lnTo>
                  <a:pt x="1573" y="1918"/>
                </a:lnTo>
                <a:lnTo>
                  <a:pt x="1571" y="1918"/>
                </a:lnTo>
                <a:lnTo>
                  <a:pt x="1573" y="1918"/>
                </a:lnTo>
                <a:lnTo>
                  <a:pt x="1573" y="1916"/>
                </a:lnTo>
                <a:lnTo>
                  <a:pt x="1574" y="1916"/>
                </a:lnTo>
                <a:lnTo>
                  <a:pt x="1574" y="1914"/>
                </a:lnTo>
                <a:lnTo>
                  <a:pt x="1573" y="1914"/>
                </a:lnTo>
                <a:lnTo>
                  <a:pt x="1571" y="1912"/>
                </a:lnTo>
                <a:lnTo>
                  <a:pt x="1569" y="1911"/>
                </a:lnTo>
                <a:lnTo>
                  <a:pt x="1571" y="1911"/>
                </a:lnTo>
                <a:lnTo>
                  <a:pt x="1569" y="1911"/>
                </a:lnTo>
                <a:lnTo>
                  <a:pt x="1569" y="1907"/>
                </a:lnTo>
                <a:lnTo>
                  <a:pt x="1571" y="1907"/>
                </a:lnTo>
                <a:lnTo>
                  <a:pt x="1573" y="1907"/>
                </a:lnTo>
                <a:lnTo>
                  <a:pt x="1571" y="1906"/>
                </a:lnTo>
                <a:lnTo>
                  <a:pt x="1573" y="1906"/>
                </a:lnTo>
                <a:lnTo>
                  <a:pt x="1574" y="1906"/>
                </a:lnTo>
                <a:lnTo>
                  <a:pt x="1574" y="1904"/>
                </a:lnTo>
                <a:lnTo>
                  <a:pt x="1576" y="1904"/>
                </a:lnTo>
                <a:lnTo>
                  <a:pt x="1576" y="1902"/>
                </a:lnTo>
                <a:lnTo>
                  <a:pt x="1574" y="1902"/>
                </a:lnTo>
                <a:lnTo>
                  <a:pt x="1576" y="1904"/>
                </a:lnTo>
                <a:lnTo>
                  <a:pt x="1573" y="1902"/>
                </a:lnTo>
                <a:lnTo>
                  <a:pt x="1573" y="1904"/>
                </a:lnTo>
                <a:lnTo>
                  <a:pt x="1573" y="1906"/>
                </a:lnTo>
                <a:lnTo>
                  <a:pt x="1573" y="1904"/>
                </a:lnTo>
                <a:lnTo>
                  <a:pt x="1571" y="1904"/>
                </a:lnTo>
                <a:lnTo>
                  <a:pt x="1569" y="1904"/>
                </a:lnTo>
                <a:lnTo>
                  <a:pt x="1568" y="1904"/>
                </a:lnTo>
                <a:lnTo>
                  <a:pt x="1568" y="1902"/>
                </a:lnTo>
                <a:lnTo>
                  <a:pt x="1568" y="1901"/>
                </a:lnTo>
                <a:lnTo>
                  <a:pt x="1568" y="1897"/>
                </a:lnTo>
                <a:lnTo>
                  <a:pt x="1569" y="1897"/>
                </a:lnTo>
                <a:lnTo>
                  <a:pt x="1569" y="1895"/>
                </a:lnTo>
                <a:lnTo>
                  <a:pt x="1571" y="1897"/>
                </a:lnTo>
                <a:lnTo>
                  <a:pt x="1569" y="1894"/>
                </a:lnTo>
                <a:lnTo>
                  <a:pt x="1569" y="1892"/>
                </a:lnTo>
                <a:lnTo>
                  <a:pt x="1568" y="1890"/>
                </a:lnTo>
                <a:lnTo>
                  <a:pt x="1568" y="1887"/>
                </a:lnTo>
                <a:lnTo>
                  <a:pt x="1571" y="1887"/>
                </a:lnTo>
                <a:lnTo>
                  <a:pt x="1573" y="1885"/>
                </a:lnTo>
                <a:lnTo>
                  <a:pt x="1574" y="1885"/>
                </a:lnTo>
                <a:lnTo>
                  <a:pt x="1576" y="1884"/>
                </a:lnTo>
                <a:lnTo>
                  <a:pt x="1574" y="1882"/>
                </a:lnTo>
                <a:lnTo>
                  <a:pt x="1576" y="1882"/>
                </a:lnTo>
                <a:lnTo>
                  <a:pt x="1578" y="1880"/>
                </a:lnTo>
                <a:lnTo>
                  <a:pt x="1581" y="1882"/>
                </a:lnTo>
                <a:lnTo>
                  <a:pt x="1583" y="1880"/>
                </a:lnTo>
                <a:lnTo>
                  <a:pt x="1586" y="1878"/>
                </a:lnTo>
                <a:lnTo>
                  <a:pt x="1588" y="1880"/>
                </a:lnTo>
                <a:lnTo>
                  <a:pt x="1588" y="1878"/>
                </a:lnTo>
                <a:lnTo>
                  <a:pt x="1588" y="1877"/>
                </a:lnTo>
                <a:lnTo>
                  <a:pt x="1585" y="1875"/>
                </a:lnTo>
                <a:lnTo>
                  <a:pt x="1585" y="1872"/>
                </a:lnTo>
                <a:lnTo>
                  <a:pt x="1586" y="1872"/>
                </a:lnTo>
                <a:lnTo>
                  <a:pt x="1588" y="1873"/>
                </a:lnTo>
                <a:lnTo>
                  <a:pt x="1591" y="1875"/>
                </a:lnTo>
                <a:lnTo>
                  <a:pt x="1591" y="1873"/>
                </a:lnTo>
                <a:lnTo>
                  <a:pt x="1591" y="1872"/>
                </a:lnTo>
                <a:lnTo>
                  <a:pt x="1590" y="1870"/>
                </a:lnTo>
                <a:lnTo>
                  <a:pt x="1591" y="1870"/>
                </a:lnTo>
                <a:lnTo>
                  <a:pt x="1593" y="1870"/>
                </a:lnTo>
                <a:lnTo>
                  <a:pt x="1595" y="1868"/>
                </a:lnTo>
                <a:lnTo>
                  <a:pt x="1595" y="1865"/>
                </a:lnTo>
                <a:lnTo>
                  <a:pt x="1597" y="1863"/>
                </a:lnTo>
                <a:lnTo>
                  <a:pt x="1598" y="1863"/>
                </a:lnTo>
                <a:lnTo>
                  <a:pt x="1600" y="1865"/>
                </a:lnTo>
                <a:lnTo>
                  <a:pt x="1602" y="1865"/>
                </a:lnTo>
                <a:lnTo>
                  <a:pt x="1602" y="1863"/>
                </a:lnTo>
                <a:lnTo>
                  <a:pt x="1603" y="1865"/>
                </a:lnTo>
                <a:lnTo>
                  <a:pt x="1605" y="1865"/>
                </a:lnTo>
                <a:lnTo>
                  <a:pt x="1607" y="1863"/>
                </a:lnTo>
                <a:lnTo>
                  <a:pt x="1605" y="1863"/>
                </a:lnTo>
                <a:lnTo>
                  <a:pt x="1607" y="1863"/>
                </a:lnTo>
                <a:lnTo>
                  <a:pt x="1607" y="1861"/>
                </a:lnTo>
                <a:lnTo>
                  <a:pt x="1607" y="1863"/>
                </a:lnTo>
                <a:lnTo>
                  <a:pt x="1610" y="1863"/>
                </a:lnTo>
                <a:lnTo>
                  <a:pt x="1608" y="1863"/>
                </a:lnTo>
                <a:lnTo>
                  <a:pt x="1610" y="1863"/>
                </a:lnTo>
                <a:lnTo>
                  <a:pt x="1612" y="1861"/>
                </a:lnTo>
                <a:lnTo>
                  <a:pt x="1612" y="1860"/>
                </a:lnTo>
                <a:lnTo>
                  <a:pt x="1608" y="1858"/>
                </a:lnTo>
                <a:lnTo>
                  <a:pt x="1608" y="1856"/>
                </a:lnTo>
                <a:lnTo>
                  <a:pt x="1608" y="1855"/>
                </a:lnTo>
                <a:lnTo>
                  <a:pt x="1610" y="1855"/>
                </a:lnTo>
                <a:lnTo>
                  <a:pt x="1612" y="1855"/>
                </a:lnTo>
                <a:lnTo>
                  <a:pt x="1614" y="1856"/>
                </a:lnTo>
                <a:lnTo>
                  <a:pt x="1614" y="1858"/>
                </a:lnTo>
                <a:lnTo>
                  <a:pt x="1615" y="1858"/>
                </a:lnTo>
                <a:lnTo>
                  <a:pt x="1617" y="1858"/>
                </a:lnTo>
                <a:lnTo>
                  <a:pt x="1619" y="1858"/>
                </a:lnTo>
                <a:lnTo>
                  <a:pt x="1620" y="1856"/>
                </a:lnTo>
                <a:lnTo>
                  <a:pt x="1622" y="1858"/>
                </a:lnTo>
                <a:lnTo>
                  <a:pt x="1622" y="1856"/>
                </a:lnTo>
                <a:lnTo>
                  <a:pt x="1620" y="1855"/>
                </a:lnTo>
                <a:lnTo>
                  <a:pt x="1622" y="1855"/>
                </a:lnTo>
                <a:lnTo>
                  <a:pt x="1624" y="1856"/>
                </a:lnTo>
                <a:lnTo>
                  <a:pt x="1625" y="1855"/>
                </a:lnTo>
                <a:lnTo>
                  <a:pt x="1627" y="1856"/>
                </a:lnTo>
                <a:lnTo>
                  <a:pt x="1631" y="1856"/>
                </a:lnTo>
                <a:lnTo>
                  <a:pt x="1632" y="1855"/>
                </a:lnTo>
                <a:lnTo>
                  <a:pt x="1632" y="1853"/>
                </a:lnTo>
                <a:lnTo>
                  <a:pt x="1636" y="1853"/>
                </a:lnTo>
                <a:lnTo>
                  <a:pt x="1636" y="1851"/>
                </a:lnTo>
                <a:lnTo>
                  <a:pt x="1634" y="1850"/>
                </a:lnTo>
                <a:lnTo>
                  <a:pt x="1634" y="1848"/>
                </a:lnTo>
                <a:lnTo>
                  <a:pt x="1632" y="1846"/>
                </a:lnTo>
                <a:lnTo>
                  <a:pt x="1632" y="1844"/>
                </a:lnTo>
                <a:lnTo>
                  <a:pt x="1634" y="1846"/>
                </a:lnTo>
                <a:lnTo>
                  <a:pt x="1637" y="1848"/>
                </a:lnTo>
                <a:lnTo>
                  <a:pt x="1639" y="1848"/>
                </a:lnTo>
                <a:lnTo>
                  <a:pt x="1641" y="1846"/>
                </a:lnTo>
                <a:lnTo>
                  <a:pt x="1639" y="1844"/>
                </a:lnTo>
                <a:lnTo>
                  <a:pt x="1639" y="1843"/>
                </a:lnTo>
                <a:lnTo>
                  <a:pt x="1637" y="1843"/>
                </a:lnTo>
                <a:lnTo>
                  <a:pt x="1639" y="1841"/>
                </a:lnTo>
                <a:lnTo>
                  <a:pt x="1639" y="1843"/>
                </a:lnTo>
                <a:lnTo>
                  <a:pt x="1639" y="1841"/>
                </a:lnTo>
                <a:lnTo>
                  <a:pt x="1641" y="1843"/>
                </a:lnTo>
                <a:lnTo>
                  <a:pt x="1642" y="1844"/>
                </a:lnTo>
                <a:lnTo>
                  <a:pt x="1642" y="1846"/>
                </a:lnTo>
                <a:lnTo>
                  <a:pt x="1644" y="1848"/>
                </a:lnTo>
                <a:lnTo>
                  <a:pt x="1646" y="1846"/>
                </a:lnTo>
                <a:lnTo>
                  <a:pt x="1644" y="1843"/>
                </a:lnTo>
                <a:lnTo>
                  <a:pt x="1646" y="1843"/>
                </a:lnTo>
                <a:lnTo>
                  <a:pt x="1648" y="1844"/>
                </a:lnTo>
                <a:lnTo>
                  <a:pt x="1649" y="1844"/>
                </a:lnTo>
                <a:lnTo>
                  <a:pt x="1649" y="1843"/>
                </a:lnTo>
                <a:lnTo>
                  <a:pt x="1648" y="1841"/>
                </a:lnTo>
                <a:lnTo>
                  <a:pt x="1649" y="1843"/>
                </a:lnTo>
                <a:lnTo>
                  <a:pt x="1651" y="1841"/>
                </a:lnTo>
                <a:lnTo>
                  <a:pt x="1653" y="1843"/>
                </a:lnTo>
                <a:lnTo>
                  <a:pt x="1654" y="1843"/>
                </a:lnTo>
                <a:lnTo>
                  <a:pt x="1656" y="1843"/>
                </a:lnTo>
                <a:lnTo>
                  <a:pt x="1658" y="1843"/>
                </a:lnTo>
                <a:lnTo>
                  <a:pt x="1659" y="1843"/>
                </a:lnTo>
                <a:lnTo>
                  <a:pt x="1661" y="1844"/>
                </a:lnTo>
                <a:lnTo>
                  <a:pt x="1663" y="1843"/>
                </a:lnTo>
                <a:lnTo>
                  <a:pt x="1666" y="1844"/>
                </a:lnTo>
                <a:lnTo>
                  <a:pt x="1668" y="1844"/>
                </a:lnTo>
                <a:lnTo>
                  <a:pt x="1668" y="1846"/>
                </a:lnTo>
                <a:lnTo>
                  <a:pt x="1671" y="1844"/>
                </a:lnTo>
                <a:lnTo>
                  <a:pt x="1671" y="1841"/>
                </a:lnTo>
                <a:lnTo>
                  <a:pt x="1673" y="1841"/>
                </a:lnTo>
                <a:lnTo>
                  <a:pt x="1676" y="1843"/>
                </a:lnTo>
                <a:lnTo>
                  <a:pt x="1678" y="1844"/>
                </a:lnTo>
                <a:lnTo>
                  <a:pt x="1680" y="1844"/>
                </a:lnTo>
                <a:lnTo>
                  <a:pt x="1682" y="1844"/>
                </a:lnTo>
                <a:lnTo>
                  <a:pt x="1683" y="1846"/>
                </a:lnTo>
                <a:lnTo>
                  <a:pt x="1685" y="1846"/>
                </a:lnTo>
                <a:lnTo>
                  <a:pt x="1687" y="1846"/>
                </a:lnTo>
                <a:lnTo>
                  <a:pt x="1688" y="1846"/>
                </a:lnTo>
                <a:lnTo>
                  <a:pt x="1692" y="1846"/>
                </a:lnTo>
                <a:lnTo>
                  <a:pt x="1692" y="1844"/>
                </a:lnTo>
                <a:lnTo>
                  <a:pt x="1695" y="1844"/>
                </a:lnTo>
                <a:lnTo>
                  <a:pt x="1699" y="1843"/>
                </a:lnTo>
                <a:lnTo>
                  <a:pt x="1700" y="1843"/>
                </a:lnTo>
                <a:lnTo>
                  <a:pt x="1702" y="1843"/>
                </a:lnTo>
                <a:lnTo>
                  <a:pt x="1705" y="1843"/>
                </a:lnTo>
                <a:lnTo>
                  <a:pt x="1709" y="1843"/>
                </a:lnTo>
                <a:lnTo>
                  <a:pt x="1712" y="1843"/>
                </a:lnTo>
                <a:lnTo>
                  <a:pt x="1712" y="1841"/>
                </a:lnTo>
                <a:lnTo>
                  <a:pt x="1714" y="1841"/>
                </a:lnTo>
                <a:lnTo>
                  <a:pt x="1716" y="1843"/>
                </a:lnTo>
                <a:lnTo>
                  <a:pt x="1717" y="1841"/>
                </a:lnTo>
                <a:lnTo>
                  <a:pt x="1719" y="1841"/>
                </a:lnTo>
                <a:lnTo>
                  <a:pt x="1721" y="1841"/>
                </a:lnTo>
                <a:lnTo>
                  <a:pt x="1721" y="1839"/>
                </a:lnTo>
                <a:lnTo>
                  <a:pt x="1722" y="1838"/>
                </a:lnTo>
                <a:lnTo>
                  <a:pt x="1722" y="1836"/>
                </a:lnTo>
                <a:lnTo>
                  <a:pt x="1724" y="1832"/>
                </a:lnTo>
                <a:lnTo>
                  <a:pt x="1724" y="1831"/>
                </a:lnTo>
                <a:lnTo>
                  <a:pt x="1722" y="1827"/>
                </a:lnTo>
                <a:lnTo>
                  <a:pt x="1722" y="1826"/>
                </a:lnTo>
                <a:lnTo>
                  <a:pt x="1721" y="1822"/>
                </a:lnTo>
                <a:lnTo>
                  <a:pt x="1719" y="1822"/>
                </a:lnTo>
                <a:lnTo>
                  <a:pt x="1717" y="1821"/>
                </a:lnTo>
                <a:lnTo>
                  <a:pt x="1719" y="1817"/>
                </a:lnTo>
                <a:lnTo>
                  <a:pt x="1717" y="1815"/>
                </a:lnTo>
                <a:lnTo>
                  <a:pt x="1719" y="1814"/>
                </a:lnTo>
                <a:lnTo>
                  <a:pt x="1719" y="1812"/>
                </a:lnTo>
                <a:lnTo>
                  <a:pt x="1722" y="1812"/>
                </a:lnTo>
                <a:lnTo>
                  <a:pt x="1724" y="1815"/>
                </a:lnTo>
                <a:lnTo>
                  <a:pt x="1726" y="1817"/>
                </a:lnTo>
                <a:lnTo>
                  <a:pt x="1726" y="1819"/>
                </a:lnTo>
                <a:lnTo>
                  <a:pt x="1729" y="1819"/>
                </a:lnTo>
                <a:lnTo>
                  <a:pt x="1731" y="1819"/>
                </a:lnTo>
                <a:lnTo>
                  <a:pt x="1733" y="1817"/>
                </a:lnTo>
                <a:lnTo>
                  <a:pt x="1733" y="1814"/>
                </a:lnTo>
                <a:lnTo>
                  <a:pt x="1731" y="1810"/>
                </a:lnTo>
                <a:lnTo>
                  <a:pt x="1731" y="1809"/>
                </a:lnTo>
                <a:lnTo>
                  <a:pt x="1731" y="1807"/>
                </a:lnTo>
                <a:lnTo>
                  <a:pt x="1734" y="1805"/>
                </a:lnTo>
                <a:lnTo>
                  <a:pt x="1738" y="1805"/>
                </a:lnTo>
                <a:lnTo>
                  <a:pt x="1739" y="1807"/>
                </a:lnTo>
                <a:lnTo>
                  <a:pt x="1741" y="1809"/>
                </a:lnTo>
                <a:lnTo>
                  <a:pt x="1743" y="1807"/>
                </a:lnTo>
                <a:lnTo>
                  <a:pt x="1743" y="1805"/>
                </a:lnTo>
                <a:lnTo>
                  <a:pt x="1744" y="1807"/>
                </a:lnTo>
                <a:lnTo>
                  <a:pt x="1746" y="1805"/>
                </a:lnTo>
                <a:lnTo>
                  <a:pt x="1748" y="1804"/>
                </a:lnTo>
                <a:lnTo>
                  <a:pt x="1750" y="1800"/>
                </a:lnTo>
                <a:lnTo>
                  <a:pt x="1751" y="1798"/>
                </a:lnTo>
                <a:lnTo>
                  <a:pt x="1750" y="1797"/>
                </a:lnTo>
                <a:lnTo>
                  <a:pt x="1748" y="1797"/>
                </a:lnTo>
                <a:lnTo>
                  <a:pt x="1750" y="1795"/>
                </a:lnTo>
                <a:lnTo>
                  <a:pt x="1750" y="1793"/>
                </a:lnTo>
                <a:lnTo>
                  <a:pt x="1751" y="1792"/>
                </a:lnTo>
                <a:lnTo>
                  <a:pt x="1751" y="1790"/>
                </a:lnTo>
                <a:lnTo>
                  <a:pt x="1753" y="1790"/>
                </a:lnTo>
                <a:lnTo>
                  <a:pt x="1755" y="1788"/>
                </a:lnTo>
                <a:lnTo>
                  <a:pt x="1756" y="1790"/>
                </a:lnTo>
                <a:lnTo>
                  <a:pt x="1758" y="1788"/>
                </a:lnTo>
                <a:lnTo>
                  <a:pt x="1760" y="1788"/>
                </a:lnTo>
                <a:lnTo>
                  <a:pt x="1761" y="1788"/>
                </a:lnTo>
                <a:lnTo>
                  <a:pt x="1763" y="1788"/>
                </a:lnTo>
                <a:lnTo>
                  <a:pt x="1767" y="1788"/>
                </a:lnTo>
                <a:lnTo>
                  <a:pt x="1768" y="1788"/>
                </a:lnTo>
                <a:lnTo>
                  <a:pt x="1770" y="1790"/>
                </a:lnTo>
                <a:lnTo>
                  <a:pt x="1770" y="1788"/>
                </a:lnTo>
                <a:lnTo>
                  <a:pt x="1770" y="1785"/>
                </a:lnTo>
                <a:lnTo>
                  <a:pt x="1770" y="1788"/>
                </a:lnTo>
                <a:lnTo>
                  <a:pt x="1772" y="1788"/>
                </a:lnTo>
                <a:lnTo>
                  <a:pt x="1773" y="1788"/>
                </a:lnTo>
                <a:lnTo>
                  <a:pt x="1775" y="1788"/>
                </a:lnTo>
                <a:lnTo>
                  <a:pt x="1777" y="1790"/>
                </a:lnTo>
                <a:lnTo>
                  <a:pt x="1778" y="1788"/>
                </a:lnTo>
                <a:lnTo>
                  <a:pt x="1778" y="1790"/>
                </a:lnTo>
                <a:lnTo>
                  <a:pt x="1780" y="1788"/>
                </a:lnTo>
                <a:lnTo>
                  <a:pt x="1784" y="1790"/>
                </a:lnTo>
                <a:lnTo>
                  <a:pt x="1785" y="1790"/>
                </a:lnTo>
                <a:lnTo>
                  <a:pt x="1787" y="1788"/>
                </a:lnTo>
                <a:lnTo>
                  <a:pt x="1789" y="1790"/>
                </a:lnTo>
                <a:lnTo>
                  <a:pt x="1789" y="1787"/>
                </a:lnTo>
                <a:lnTo>
                  <a:pt x="1790" y="1788"/>
                </a:lnTo>
                <a:lnTo>
                  <a:pt x="1789" y="1787"/>
                </a:lnTo>
                <a:lnTo>
                  <a:pt x="1790" y="1787"/>
                </a:lnTo>
                <a:lnTo>
                  <a:pt x="1789" y="1787"/>
                </a:lnTo>
                <a:lnTo>
                  <a:pt x="1790" y="1783"/>
                </a:lnTo>
                <a:lnTo>
                  <a:pt x="1789" y="1783"/>
                </a:lnTo>
                <a:lnTo>
                  <a:pt x="1787" y="1781"/>
                </a:lnTo>
                <a:lnTo>
                  <a:pt x="1789" y="1783"/>
                </a:lnTo>
                <a:lnTo>
                  <a:pt x="1789" y="1781"/>
                </a:lnTo>
                <a:lnTo>
                  <a:pt x="1790" y="1781"/>
                </a:lnTo>
                <a:lnTo>
                  <a:pt x="1789" y="1781"/>
                </a:lnTo>
                <a:lnTo>
                  <a:pt x="1790" y="1781"/>
                </a:lnTo>
                <a:lnTo>
                  <a:pt x="1789" y="1781"/>
                </a:lnTo>
                <a:lnTo>
                  <a:pt x="1789" y="1780"/>
                </a:lnTo>
                <a:lnTo>
                  <a:pt x="1787" y="1780"/>
                </a:lnTo>
                <a:lnTo>
                  <a:pt x="1785" y="1780"/>
                </a:lnTo>
                <a:lnTo>
                  <a:pt x="1784" y="1780"/>
                </a:lnTo>
                <a:lnTo>
                  <a:pt x="1782" y="1780"/>
                </a:lnTo>
                <a:lnTo>
                  <a:pt x="1780" y="1781"/>
                </a:lnTo>
                <a:lnTo>
                  <a:pt x="1778" y="1780"/>
                </a:lnTo>
                <a:lnTo>
                  <a:pt x="1778" y="1778"/>
                </a:lnTo>
                <a:lnTo>
                  <a:pt x="1777" y="1780"/>
                </a:lnTo>
                <a:lnTo>
                  <a:pt x="1778" y="1778"/>
                </a:lnTo>
                <a:lnTo>
                  <a:pt x="1775" y="1776"/>
                </a:lnTo>
                <a:lnTo>
                  <a:pt x="1777" y="1775"/>
                </a:lnTo>
                <a:lnTo>
                  <a:pt x="1775" y="1771"/>
                </a:lnTo>
                <a:lnTo>
                  <a:pt x="1773" y="1771"/>
                </a:lnTo>
                <a:lnTo>
                  <a:pt x="1772" y="1771"/>
                </a:lnTo>
                <a:lnTo>
                  <a:pt x="1768" y="1771"/>
                </a:lnTo>
                <a:lnTo>
                  <a:pt x="1767" y="1771"/>
                </a:lnTo>
                <a:lnTo>
                  <a:pt x="1765" y="1771"/>
                </a:lnTo>
                <a:lnTo>
                  <a:pt x="1763" y="1771"/>
                </a:lnTo>
                <a:lnTo>
                  <a:pt x="1761" y="1771"/>
                </a:lnTo>
                <a:lnTo>
                  <a:pt x="1761" y="1773"/>
                </a:lnTo>
                <a:lnTo>
                  <a:pt x="1760" y="1775"/>
                </a:lnTo>
                <a:lnTo>
                  <a:pt x="1758" y="1776"/>
                </a:lnTo>
                <a:lnTo>
                  <a:pt x="1756" y="1776"/>
                </a:lnTo>
                <a:lnTo>
                  <a:pt x="1755" y="1776"/>
                </a:lnTo>
                <a:lnTo>
                  <a:pt x="1753" y="1776"/>
                </a:lnTo>
                <a:lnTo>
                  <a:pt x="1751" y="1776"/>
                </a:lnTo>
                <a:lnTo>
                  <a:pt x="1750" y="1778"/>
                </a:lnTo>
                <a:lnTo>
                  <a:pt x="1748" y="1778"/>
                </a:lnTo>
                <a:lnTo>
                  <a:pt x="1746" y="1778"/>
                </a:lnTo>
                <a:lnTo>
                  <a:pt x="1744" y="1778"/>
                </a:lnTo>
                <a:lnTo>
                  <a:pt x="1743" y="1776"/>
                </a:lnTo>
                <a:lnTo>
                  <a:pt x="1741" y="1775"/>
                </a:lnTo>
                <a:lnTo>
                  <a:pt x="1739" y="1775"/>
                </a:lnTo>
                <a:lnTo>
                  <a:pt x="1739" y="1773"/>
                </a:lnTo>
                <a:lnTo>
                  <a:pt x="1736" y="1773"/>
                </a:lnTo>
                <a:lnTo>
                  <a:pt x="1734" y="1771"/>
                </a:lnTo>
                <a:lnTo>
                  <a:pt x="1733" y="1768"/>
                </a:lnTo>
                <a:lnTo>
                  <a:pt x="1734" y="1770"/>
                </a:lnTo>
                <a:lnTo>
                  <a:pt x="1733" y="1771"/>
                </a:lnTo>
                <a:lnTo>
                  <a:pt x="1731" y="1770"/>
                </a:lnTo>
                <a:lnTo>
                  <a:pt x="1727" y="1770"/>
                </a:lnTo>
                <a:lnTo>
                  <a:pt x="1726" y="1768"/>
                </a:lnTo>
                <a:lnTo>
                  <a:pt x="1724" y="1764"/>
                </a:lnTo>
                <a:lnTo>
                  <a:pt x="1721" y="1763"/>
                </a:lnTo>
                <a:lnTo>
                  <a:pt x="1721" y="1761"/>
                </a:lnTo>
                <a:lnTo>
                  <a:pt x="1719" y="1761"/>
                </a:lnTo>
                <a:lnTo>
                  <a:pt x="1717" y="1758"/>
                </a:lnTo>
                <a:lnTo>
                  <a:pt x="1719" y="1758"/>
                </a:lnTo>
                <a:lnTo>
                  <a:pt x="1721" y="1759"/>
                </a:lnTo>
                <a:lnTo>
                  <a:pt x="1722" y="1761"/>
                </a:lnTo>
                <a:lnTo>
                  <a:pt x="1724" y="1761"/>
                </a:lnTo>
                <a:lnTo>
                  <a:pt x="1726" y="1763"/>
                </a:lnTo>
                <a:lnTo>
                  <a:pt x="1727" y="1764"/>
                </a:lnTo>
                <a:lnTo>
                  <a:pt x="1729" y="1763"/>
                </a:lnTo>
                <a:lnTo>
                  <a:pt x="1727" y="1759"/>
                </a:lnTo>
                <a:lnTo>
                  <a:pt x="1726" y="1759"/>
                </a:lnTo>
                <a:lnTo>
                  <a:pt x="1724" y="1758"/>
                </a:lnTo>
                <a:lnTo>
                  <a:pt x="1726" y="1758"/>
                </a:lnTo>
                <a:lnTo>
                  <a:pt x="1724" y="1756"/>
                </a:lnTo>
                <a:lnTo>
                  <a:pt x="1726" y="1756"/>
                </a:lnTo>
                <a:lnTo>
                  <a:pt x="1724" y="1753"/>
                </a:lnTo>
                <a:lnTo>
                  <a:pt x="1726" y="1753"/>
                </a:lnTo>
                <a:lnTo>
                  <a:pt x="1724" y="1751"/>
                </a:lnTo>
                <a:lnTo>
                  <a:pt x="1722" y="1747"/>
                </a:lnTo>
                <a:lnTo>
                  <a:pt x="1724" y="1747"/>
                </a:lnTo>
                <a:lnTo>
                  <a:pt x="1726" y="1751"/>
                </a:lnTo>
                <a:lnTo>
                  <a:pt x="1724" y="1747"/>
                </a:lnTo>
                <a:lnTo>
                  <a:pt x="1726" y="1747"/>
                </a:lnTo>
                <a:lnTo>
                  <a:pt x="1724" y="1746"/>
                </a:lnTo>
                <a:lnTo>
                  <a:pt x="1724" y="1744"/>
                </a:lnTo>
                <a:lnTo>
                  <a:pt x="1726" y="1744"/>
                </a:lnTo>
                <a:lnTo>
                  <a:pt x="1724" y="1742"/>
                </a:lnTo>
                <a:lnTo>
                  <a:pt x="1722" y="1741"/>
                </a:lnTo>
                <a:lnTo>
                  <a:pt x="1721" y="1741"/>
                </a:lnTo>
                <a:lnTo>
                  <a:pt x="1722" y="1742"/>
                </a:lnTo>
                <a:lnTo>
                  <a:pt x="1722" y="1744"/>
                </a:lnTo>
                <a:lnTo>
                  <a:pt x="1722" y="1746"/>
                </a:lnTo>
                <a:lnTo>
                  <a:pt x="1721" y="1746"/>
                </a:lnTo>
                <a:lnTo>
                  <a:pt x="1722" y="1747"/>
                </a:lnTo>
                <a:lnTo>
                  <a:pt x="1721" y="1749"/>
                </a:lnTo>
                <a:lnTo>
                  <a:pt x="1721" y="1747"/>
                </a:lnTo>
                <a:lnTo>
                  <a:pt x="1721" y="1749"/>
                </a:lnTo>
                <a:lnTo>
                  <a:pt x="1717" y="1749"/>
                </a:lnTo>
                <a:lnTo>
                  <a:pt x="1716" y="1751"/>
                </a:lnTo>
                <a:lnTo>
                  <a:pt x="1717" y="1751"/>
                </a:lnTo>
                <a:lnTo>
                  <a:pt x="1716" y="1751"/>
                </a:lnTo>
                <a:lnTo>
                  <a:pt x="1714" y="1753"/>
                </a:lnTo>
                <a:lnTo>
                  <a:pt x="1714" y="1754"/>
                </a:lnTo>
                <a:lnTo>
                  <a:pt x="1712" y="1754"/>
                </a:lnTo>
                <a:lnTo>
                  <a:pt x="1714" y="1756"/>
                </a:lnTo>
                <a:lnTo>
                  <a:pt x="1710" y="1756"/>
                </a:lnTo>
                <a:lnTo>
                  <a:pt x="1712" y="1758"/>
                </a:lnTo>
                <a:lnTo>
                  <a:pt x="1710" y="1758"/>
                </a:lnTo>
                <a:lnTo>
                  <a:pt x="1710" y="1759"/>
                </a:lnTo>
                <a:lnTo>
                  <a:pt x="1710" y="1763"/>
                </a:lnTo>
                <a:lnTo>
                  <a:pt x="1709" y="1761"/>
                </a:lnTo>
                <a:lnTo>
                  <a:pt x="1709" y="1763"/>
                </a:lnTo>
                <a:lnTo>
                  <a:pt x="1705" y="1763"/>
                </a:lnTo>
                <a:lnTo>
                  <a:pt x="1705" y="1764"/>
                </a:lnTo>
                <a:lnTo>
                  <a:pt x="1704" y="1763"/>
                </a:lnTo>
                <a:lnTo>
                  <a:pt x="1704" y="1766"/>
                </a:lnTo>
                <a:lnTo>
                  <a:pt x="1702" y="1764"/>
                </a:lnTo>
                <a:lnTo>
                  <a:pt x="1700" y="1764"/>
                </a:lnTo>
                <a:lnTo>
                  <a:pt x="1700" y="1766"/>
                </a:lnTo>
                <a:lnTo>
                  <a:pt x="1699" y="1764"/>
                </a:lnTo>
                <a:lnTo>
                  <a:pt x="1697" y="1763"/>
                </a:lnTo>
                <a:lnTo>
                  <a:pt x="1697" y="1764"/>
                </a:lnTo>
                <a:lnTo>
                  <a:pt x="1699" y="1768"/>
                </a:lnTo>
                <a:lnTo>
                  <a:pt x="1697" y="1770"/>
                </a:lnTo>
                <a:lnTo>
                  <a:pt x="1697" y="1768"/>
                </a:lnTo>
                <a:lnTo>
                  <a:pt x="1697" y="1766"/>
                </a:lnTo>
                <a:lnTo>
                  <a:pt x="1695" y="1764"/>
                </a:lnTo>
                <a:lnTo>
                  <a:pt x="1695" y="1761"/>
                </a:lnTo>
                <a:lnTo>
                  <a:pt x="1693" y="1761"/>
                </a:lnTo>
                <a:lnTo>
                  <a:pt x="1693" y="1764"/>
                </a:lnTo>
                <a:lnTo>
                  <a:pt x="1695" y="1766"/>
                </a:lnTo>
                <a:lnTo>
                  <a:pt x="1693" y="1766"/>
                </a:lnTo>
                <a:lnTo>
                  <a:pt x="1695" y="1766"/>
                </a:lnTo>
                <a:lnTo>
                  <a:pt x="1695" y="1768"/>
                </a:lnTo>
                <a:lnTo>
                  <a:pt x="1693" y="1768"/>
                </a:lnTo>
                <a:lnTo>
                  <a:pt x="1693" y="1770"/>
                </a:lnTo>
                <a:lnTo>
                  <a:pt x="1692" y="1770"/>
                </a:lnTo>
                <a:lnTo>
                  <a:pt x="1690" y="1770"/>
                </a:lnTo>
                <a:lnTo>
                  <a:pt x="1690" y="1768"/>
                </a:lnTo>
                <a:lnTo>
                  <a:pt x="1690" y="1766"/>
                </a:lnTo>
                <a:lnTo>
                  <a:pt x="1692" y="1766"/>
                </a:lnTo>
                <a:lnTo>
                  <a:pt x="1690" y="1766"/>
                </a:lnTo>
                <a:lnTo>
                  <a:pt x="1688" y="1768"/>
                </a:lnTo>
                <a:lnTo>
                  <a:pt x="1692" y="1770"/>
                </a:lnTo>
                <a:lnTo>
                  <a:pt x="1692" y="1771"/>
                </a:lnTo>
                <a:lnTo>
                  <a:pt x="1688" y="1770"/>
                </a:lnTo>
                <a:lnTo>
                  <a:pt x="1687" y="1768"/>
                </a:lnTo>
                <a:lnTo>
                  <a:pt x="1685" y="1770"/>
                </a:lnTo>
                <a:lnTo>
                  <a:pt x="1685" y="1771"/>
                </a:lnTo>
                <a:lnTo>
                  <a:pt x="1687" y="1773"/>
                </a:lnTo>
                <a:lnTo>
                  <a:pt x="1685" y="1771"/>
                </a:lnTo>
                <a:lnTo>
                  <a:pt x="1685" y="1773"/>
                </a:lnTo>
                <a:lnTo>
                  <a:pt x="1683" y="1771"/>
                </a:lnTo>
                <a:lnTo>
                  <a:pt x="1683" y="1770"/>
                </a:lnTo>
                <a:lnTo>
                  <a:pt x="1682" y="1770"/>
                </a:lnTo>
                <a:lnTo>
                  <a:pt x="1682" y="1771"/>
                </a:lnTo>
                <a:lnTo>
                  <a:pt x="1680" y="1770"/>
                </a:lnTo>
                <a:lnTo>
                  <a:pt x="1678" y="1771"/>
                </a:lnTo>
                <a:lnTo>
                  <a:pt x="1676" y="1770"/>
                </a:lnTo>
                <a:lnTo>
                  <a:pt x="1676" y="1771"/>
                </a:lnTo>
                <a:lnTo>
                  <a:pt x="1678" y="1771"/>
                </a:lnTo>
                <a:lnTo>
                  <a:pt x="1676" y="1771"/>
                </a:lnTo>
                <a:lnTo>
                  <a:pt x="1676" y="1770"/>
                </a:lnTo>
                <a:lnTo>
                  <a:pt x="1675" y="1770"/>
                </a:lnTo>
                <a:lnTo>
                  <a:pt x="1675" y="1768"/>
                </a:lnTo>
                <a:lnTo>
                  <a:pt x="1675" y="1770"/>
                </a:lnTo>
                <a:lnTo>
                  <a:pt x="1675" y="1771"/>
                </a:lnTo>
                <a:lnTo>
                  <a:pt x="1673" y="1771"/>
                </a:lnTo>
                <a:lnTo>
                  <a:pt x="1675" y="1770"/>
                </a:lnTo>
                <a:lnTo>
                  <a:pt x="1673" y="1771"/>
                </a:lnTo>
                <a:lnTo>
                  <a:pt x="1673" y="1770"/>
                </a:lnTo>
                <a:lnTo>
                  <a:pt x="1673" y="1771"/>
                </a:lnTo>
                <a:lnTo>
                  <a:pt x="1670" y="1770"/>
                </a:lnTo>
                <a:lnTo>
                  <a:pt x="1671" y="1771"/>
                </a:lnTo>
                <a:lnTo>
                  <a:pt x="1670" y="1771"/>
                </a:lnTo>
                <a:lnTo>
                  <a:pt x="1670" y="1770"/>
                </a:lnTo>
                <a:lnTo>
                  <a:pt x="1670" y="1771"/>
                </a:lnTo>
                <a:lnTo>
                  <a:pt x="1668" y="1773"/>
                </a:lnTo>
                <a:lnTo>
                  <a:pt x="1670" y="1775"/>
                </a:lnTo>
                <a:lnTo>
                  <a:pt x="1666" y="1775"/>
                </a:lnTo>
                <a:lnTo>
                  <a:pt x="1668" y="1775"/>
                </a:lnTo>
                <a:lnTo>
                  <a:pt x="1668" y="1776"/>
                </a:lnTo>
                <a:lnTo>
                  <a:pt x="1666" y="1775"/>
                </a:lnTo>
                <a:lnTo>
                  <a:pt x="1666" y="1776"/>
                </a:lnTo>
                <a:lnTo>
                  <a:pt x="1665" y="1776"/>
                </a:lnTo>
                <a:lnTo>
                  <a:pt x="1666" y="1778"/>
                </a:lnTo>
                <a:lnTo>
                  <a:pt x="1665" y="1778"/>
                </a:lnTo>
                <a:lnTo>
                  <a:pt x="1663" y="1778"/>
                </a:lnTo>
                <a:lnTo>
                  <a:pt x="1663" y="1776"/>
                </a:lnTo>
                <a:lnTo>
                  <a:pt x="1661" y="1776"/>
                </a:lnTo>
                <a:lnTo>
                  <a:pt x="1663" y="1780"/>
                </a:lnTo>
                <a:lnTo>
                  <a:pt x="1659" y="1781"/>
                </a:lnTo>
                <a:lnTo>
                  <a:pt x="1658" y="1780"/>
                </a:lnTo>
                <a:lnTo>
                  <a:pt x="1656" y="1780"/>
                </a:lnTo>
                <a:lnTo>
                  <a:pt x="1656" y="1781"/>
                </a:lnTo>
                <a:lnTo>
                  <a:pt x="1654" y="1780"/>
                </a:lnTo>
                <a:lnTo>
                  <a:pt x="1654" y="1781"/>
                </a:lnTo>
                <a:lnTo>
                  <a:pt x="1653" y="1778"/>
                </a:lnTo>
                <a:lnTo>
                  <a:pt x="1651" y="1778"/>
                </a:lnTo>
                <a:lnTo>
                  <a:pt x="1651" y="1780"/>
                </a:lnTo>
                <a:lnTo>
                  <a:pt x="1653" y="1781"/>
                </a:lnTo>
                <a:lnTo>
                  <a:pt x="1653" y="1783"/>
                </a:lnTo>
                <a:lnTo>
                  <a:pt x="1651" y="1783"/>
                </a:lnTo>
                <a:lnTo>
                  <a:pt x="1651" y="1785"/>
                </a:lnTo>
                <a:lnTo>
                  <a:pt x="1653" y="1785"/>
                </a:lnTo>
                <a:lnTo>
                  <a:pt x="1654" y="1787"/>
                </a:lnTo>
                <a:lnTo>
                  <a:pt x="1656" y="1787"/>
                </a:lnTo>
                <a:lnTo>
                  <a:pt x="1656" y="1788"/>
                </a:lnTo>
                <a:lnTo>
                  <a:pt x="1654" y="1787"/>
                </a:lnTo>
                <a:lnTo>
                  <a:pt x="1654" y="1788"/>
                </a:lnTo>
                <a:lnTo>
                  <a:pt x="1653" y="1787"/>
                </a:lnTo>
                <a:lnTo>
                  <a:pt x="1651" y="1788"/>
                </a:lnTo>
                <a:lnTo>
                  <a:pt x="1651" y="1787"/>
                </a:lnTo>
                <a:lnTo>
                  <a:pt x="1653" y="1787"/>
                </a:lnTo>
                <a:lnTo>
                  <a:pt x="1653" y="1785"/>
                </a:lnTo>
                <a:lnTo>
                  <a:pt x="1651" y="1785"/>
                </a:lnTo>
                <a:lnTo>
                  <a:pt x="1649" y="1785"/>
                </a:lnTo>
                <a:lnTo>
                  <a:pt x="1651" y="1785"/>
                </a:lnTo>
                <a:lnTo>
                  <a:pt x="1649" y="1785"/>
                </a:lnTo>
                <a:lnTo>
                  <a:pt x="1649" y="1787"/>
                </a:lnTo>
                <a:lnTo>
                  <a:pt x="1649" y="1788"/>
                </a:lnTo>
                <a:lnTo>
                  <a:pt x="1648" y="1785"/>
                </a:lnTo>
                <a:lnTo>
                  <a:pt x="1646" y="1785"/>
                </a:lnTo>
                <a:lnTo>
                  <a:pt x="1648" y="1783"/>
                </a:lnTo>
                <a:lnTo>
                  <a:pt x="1646" y="1783"/>
                </a:lnTo>
                <a:lnTo>
                  <a:pt x="1644" y="1783"/>
                </a:lnTo>
                <a:lnTo>
                  <a:pt x="1646" y="1787"/>
                </a:lnTo>
                <a:lnTo>
                  <a:pt x="1648" y="1787"/>
                </a:lnTo>
                <a:lnTo>
                  <a:pt x="1646" y="1787"/>
                </a:lnTo>
                <a:lnTo>
                  <a:pt x="1642" y="1785"/>
                </a:lnTo>
                <a:lnTo>
                  <a:pt x="1644" y="1787"/>
                </a:lnTo>
                <a:lnTo>
                  <a:pt x="1646" y="1787"/>
                </a:lnTo>
                <a:lnTo>
                  <a:pt x="1644" y="1788"/>
                </a:lnTo>
                <a:lnTo>
                  <a:pt x="1646" y="1790"/>
                </a:lnTo>
                <a:lnTo>
                  <a:pt x="1644" y="1790"/>
                </a:lnTo>
                <a:lnTo>
                  <a:pt x="1642" y="1788"/>
                </a:lnTo>
                <a:lnTo>
                  <a:pt x="1644" y="1788"/>
                </a:lnTo>
                <a:lnTo>
                  <a:pt x="1642" y="1788"/>
                </a:lnTo>
                <a:lnTo>
                  <a:pt x="1644" y="1787"/>
                </a:lnTo>
                <a:lnTo>
                  <a:pt x="1642" y="1788"/>
                </a:lnTo>
                <a:lnTo>
                  <a:pt x="1642" y="1787"/>
                </a:lnTo>
                <a:lnTo>
                  <a:pt x="1639" y="1785"/>
                </a:lnTo>
                <a:lnTo>
                  <a:pt x="1639" y="1787"/>
                </a:lnTo>
                <a:lnTo>
                  <a:pt x="1637" y="1785"/>
                </a:lnTo>
                <a:lnTo>
                  <a:pt x="1637" y="1783"/>
                </a:lnTo>
                <a:lnTo>
                  <a:pt x="1636" y="1783"/>
                </a:lnTo>
                <a:lnTo>
                  <a:pt x="1634" y="1783"/>
                </a:lnTo>
                <a:lnTo>
                  <a:pt x="1636" y="1785"/>
                </a:lnTo>
                <a:lnTo>
                  <a:pt x="1637" y="1785"/>
                </a:lnTo>
                <a:lnTo>
                  <a:pt x="1637" y="1787"/>
                </a:lnTo>
                <a:lnTo>
                  <a:pt x="1639" y="1787"/>
                </a:lnTo>
                <a:lnTo>
                  <a:pt x="1639" y="1788"/>
                </a:lnTo>
                <a:lnTo>
                  <a:pt x="1637" y="1788"/>
                </a:lnTo>
                <a:lnTo>
                  <a:pt x="1639" y="1788"/>
                </a:lnTo>
                <a:lnTo>
                  <a:pt x="1639" y="1790"/>
                </a:lnTo>
                <a:lnTo>
                  <a:pt x="1641" y="1790"/>
                </a:lnTo>
                <a:lnTo>
                  <a:pt x="1641" y="1792"/>
                </a:lnTo>
                <a:lnTo>
                  <a:pt x="1642" y="1792"/>
                </a:lnTo>
                <a:lnTo>
                  <a:pt x="1642" y="1793"/>
                </a:lnTo>
                <a:lnTo>
                  <a:pt x="1639" y="1795"/>
                </a:lnTo>
                <a:lnTo>
                  <a:pt x="1639" y="1793"/>
                </a:lnTo>
                <a:lnTo>
                  <a:pt x="1637" y="1792"/>
                </a:lnTo>
                <a:lnTo>
                  <a:pt x="1637" y="1790"/>
                </a:lnTo>
                <a:lnTo>
                  <a:pt x="1637" y="1792"/>
                </a:lnTo>
                <a:lnTo>
                  <a:pt x="1634" y="1790"/>
                </a:lnTo>
                <a:lnTo>
                  <a:pt x="1632" y="1788"/>
                </a:lnTo>
                <a:lnTo>
                  <a:pt x="1634" y="1792"/>
                </a:lnTo>
                <a:lnTo>
                  <a:pt x="1636" y="1792"/>
                </a:lnTo>
                <a:lnTo>
                  <a:pt x="1636" y="1793"/>
                </a:lnTo>
                <a:lnTo>
                  <a:pt x="1634" y="1793"/>
                </a:lnTo>
                <a:lnTo>
                  <a:pt x="1634" y="1795"/>
                </a:lnTo>
                <a:lnTo>
                  <a:pt x="1636" y="1795"/>
                </a:lnTo>
                <a:lnTo>
                  <a:pt x="1636" y="1797"/>
                </a:lnTo>
                <a:lnTo>
                  <a:pt x="1637" y="1798"/>
                </a:lnTo>
                <a:lnTo>
                  <a:pt x="1636" y="1800"/>
                </a:lnTo>
                <a:lnTo>
                  <a:pt x="1636" y="1798"/>
                </a:lnTo>
                <a:lnTo>
                  <a:pt x="1634" y="1797"/>
                </a:lnTo>
                <a:lnTo>
                  <a:pt x="1632" y="1798"/>
                </a:lnTo>
                <a:lnTo>
                  <a:pt x="1632" y="1797"/>
                </a:lnTo>
                <a:lnTo>
                  <a:pt x="1631" y="1795"/>
                </a:lnTo>
                <a:lnTo>
                  <a:pt x="1631" y="1797"/>
                </a:lnTo>
                <a:lnTo>
                  <a:pt x="1632" y="1798"/>
                </a:lnTo>
                <a:lnTo>
                  <a:pt x="1634" y="1797"/>
                </a:lnTo>
                <a:lnTo>
                  <a:pt x="1634" y="1798"/>
                </a:lnTo>
                <a:lnTo>
                  <a:pt x="1632" y="1798"/>
                </a:lnTo>
                <a:lnTo>
                  <a:pt x="1632" y="1802"/>
                </a:lnTo>
                <a:lnTo>
                  <a:pt x="1632" y="1800"/>
                </a:lnTo>
                <a:lnTo>
                  <a:pt x="1631" y="1800"/>
                </a:lnTo>
                <a:lnTo>
                  <a:pt x="1629" y="1798"/>
                </a:lnTo>
                <a:lnTo>
                  <a:pt x="1627" y="1798"/>
                </a:lnTo>
                <a:lnTo>
                  <a:pt x="1625" y="1797"/>
                </a:lnTo>
                <a:lnTo>
                  <a:pt x="1629" y="1795"/>
                </a:lnTo>
                <a:lnTo>
                  <a:pt x="1627" y="1795"/>
                </a:lnTo>
                <a:lnTo>
                  <a:pt x="1625" y="1795"/>
                </a:lnTo>
                <a:lnTo>
                  <a:pt x="1627" y="1793"/>
                </a:lnTo>
                <a:lnTo>
                  <a:pt x="1629" y="1795"/>
                </a:lnTo>
                <a:lnTo>
                  <a:pt x="1627" y="1792"/>
                </a:lnTo>
                <a:lnTo>
                  <a:pt x="1627" y="1793"/>
                </a:lnTo>
                <a:lnTo>
                  <a:pt x="1627" y="1792"/>
                </a:lnTo>
                <a:lnTo>
                  <a:pt x="1625" y="1793"/>
                </a:lnTo>
                <a:lnTo>
                  <a:pt x="1625" y="1797"/>
                </a:lnTo>
                <a:lnTo>
                  <a:pt x="1625" y="1795"/>
                </a:lnTo>
                <a:lnTo>
                  <a:pt x="1625" y="1797"/>
                </a:lnTo>
                <a:lnTo>
                  <a:pt x="1624" y="1795"/>
                </a:lnTo>
                <a:lnTo>
                  <a:pt x="1622" y="1797"/>
                </a:lnTo>
                <a:lnTo>
                  <a:pt x="1624" y="1798"/>
                </a:lnTo>
                <a:lnTo>
                  <a:pt x="1624" y="1800"/>
                </a:lnTo>
                <a:lnTo>
                  <a:pt x="1622" y="1800"/>
                </a:lnTo>
                <a:lnTo>
                  <a:pt x="1624" y="1800"/>
                </a:lnTo>
                <a:lnTo>
                  <a:pt x="1622" y="1802"/>
                </a:lnTo>
                <a:lnTo>
                  <a:pt x="1622" y="1804"/>
                </a:lnTo>
                <a:lnTo>
                  <a:pt x="1622" y="1805"/>
                </a:lnTo>
                <a:lnTo>
                  <a:pt x="1620" y="1804"/>
                </a:lnTo>
                <a:lnTo>
                  <a:pt x="1620" y="1805"/>
                </a:lnTo>
                <a:lnTo>
                  <a:pt x="1620" y="1804"/>
                </a:lnTo>
                <a:lnTo>
                  <a:pt x="1619" y="1804"/>
                </a:lnTo>
                <a:lnTo>
                  <a:pt x="1620" y="1804"/>
                </a:lnTo>
                <a:lnTo>
                  <a:pt x="1622" y="1802"/>
                </a:lnTo>
                <a:lnTo>
                  <a:pt x="1620" y="1802"/>
                </a:lnTo>
                <a:lnTo>
                  <a:pt x="1619" y="1804"/>
                </a:lnTo>
                <a:lnTo>
                  <a:pt x="1619" y="1802"/>
                </a:lnTo>
                <a:lnTo>
                  <a:pt x="1617" y="1802"/>
                </a:lnTo>
                <a:lnTo>
                  <a:pt x="1617" y="1804"/>
                </a:lnTo>
                <a:lnTo>
                  <a:pt x="1614" y="1804"/>
                </a:lnTo>
                <a:lnTo>
                  <a:pt x="1612" y="1805"/>
                </a:lnTo>
                <a:lnTo>
                  <a:pt x="1614" y="1807"/>
                </a:lnTo>
                <a:lnTo>
                  <a:pt x="1612" y="1809"/>
                </a:lnTo>
                <a:lnTo>
                  <a:pt x="1610" y="1809"/>
                </a:lnTo>
                <a:lnTo>
                  <a:pt x="1612" y="1809"/>
                </a:lnTo>
                <a:lnTo>
                  <a:pt x="1610" y="1809"/>
                </a:lnTo>
                <a:lnTo>
                  <a:pt x="1610" y="1810"/>
                </a:lnTo>
                <a:lnTo>
                  <a:pt x="1610" y="1807"/>
                </a:lnTo>
                <a:lnTo>
                  <a:pt x="1608" y="1809"/>
                </a:lnTo>
                <a:lnTo>
                  <a:pt x="1608" y="1812"/>
                </a:lnTo>
                <a:lnTo>
                  <a:pt x="1610" y="1810"/>
                </a:lnTo>
                <a:lnTo>
                  <a:pt x="1610" y="1812"/>
                </a:lnTo>
                <a:lnTo>
                  <a:pt x="1608" y="1812"/>
                </a:lnTo>
                <a:lnTo>
                  <a:pt x="1607" y="1812"/>
                </a:lnTo>
                <a:lnTo>
                  <a:pt x="1608" y="1810"/>
                </a:lnTo>
                <a:lnTo>
                  <a:pt x="1607" y="1810"/>
                </a:lnTo>
                <a:lnTo>
                  <a:pt x="1607" y="1809"/>
                </a:lnTo>
                <a:lnTo>
                  <a:pt x="1605" y="1809"/>
                </a:lnTo>
                <a:lnTo>
                  <a:pt x="1607" y="1812"/>
                </a:lnTo>
                <a:lnTo>
                  <a:pt x="1605" y="1812"/>
                </a:lnTo>
                <a:lnTo>
                  <a:pt x="1605" y="1814"/>
                </a:lnTo>
                <a:lnTo>
                  <a:pt x="1605" y="1812"/>
                </a:lnTo>
                <a:lnTo>
                  <a:pt x="1603" y="1814"/>
                </a:lnTo>
                <a:lnTo>
                  <a:pt x="1603" y="1812"/>
                </a:lnTo>
                <a:lnTo>
                  <a:pt x="1603" y="1810"/>
                </a:lnTo>
                <a:lnTo>
                  <a:pt x="1602" y="1812"/>
                </a:lnTo>
                <a:lnTo>
                  <a:pt x="1600" y="1810"/>
                </a:lnTo>
                <a:lnTo>
                  <a:pt x="1602" y="1812"/>
                </a:lnTo>
                <a:lnTo>
                  <a:pt x="1602" y="1814"/>
                </a:lnTo>
                <a:lnTo>
                  <a:pt x="1602" y="1812"/>
                </a:lnTo>
                <a:lnTo>
                  <a:pt x="1603" y="1812"/>
                </a:lnTo>
                <a:lnTo>
                  <a:pt x="1603" y="1814"/>
                </a:lnTo>
                <a:lnTo>
                  <a:pt x="1600" y="1812"/>
                </a:lnTo>
                <a:lnTo>
                  <a:pt x="1600" y="1814"/>
                </a:lnTo>
                <a:lnTo>
                  <a:pt x="1598" y="1815"/>
                </a:lnTo>
                <a:lnTo>
                  <a:pt x="1597" y="1815"/>
                </a:lnTo>
                <a:lnTo>
                  <a:pt x="1598" y="1815"/>
                </a:lnTo>
                <a:lnTo>
                  <a:pt x="1598" y="1817"/>
                </a:lnTo>
                <a:lnTo>
                  <a:pt x="1598" y="1819"/>
                </a:lnTo>
                <a:lnTo>
                  <a:pt x="1597" y="1819"/>
                </a:lnTo>
                <a:lnTo>
                  <a:pt x="1597" y="1817"/>
                </a:lnTo>
                <a:lnTo>
                  <a:pt x="1598" y="1817"/>
                </a:lnTo>
                <a:lnTo>
                  <a:pt x="1597" y="1817"/>
                </a:lnTo>
                <a:lnTo>
                  <a:pt x="1595" y="1817"/>
                </a:lnTo>
                <a:lnTo>
                  <a:pt x="1595" y="1815"/>
                </a:lnTo>
                <a:lnTo>
                  <a:pt x="1591" y="1814"/>
                </a:lnTo>
                <a:lnTo>
                  <a:pt x="1591" y="1815"/>
                </a:lnTo>
                <a:lnTo>
                  <a:pt x="1593" y="1815"/>
                </a:lnTo>
                <a:lnTo>
                  <a:pt x="1595" y="1817"/>
                </a:lnTo>
                <a:lnTo>
                  <a:pt x="1593" y="1819"/>
                </a:lnTo>
                <a:lnTo>
                  <a:pt x="1595" y="1817"/>
                </a:lnTo>
                <a:lnTo>
                  <a:pt x="1597" y="1819"/>
                </a:lnTo>
                <a:lnTo>
                  <a:pt x="1595" y="1821"/>
                </a:lnTo>
                <a:lnTo>
                  <a:pt x="1593" y="1822"/>
                </a:lnTo>
                <a:lnTo>
                  <a:pt x="1593" y="1824"/>
                </a:lnTo>
                <a:lnTo>
                  <a:pt x="1593" y="1826"/>
                </a:lnTo>
                <a:lnTo>
                  <a:pt x="1591" y="1826"/>
                </a:lnTo>
                <a:lnTo>
                  <a:pt x="1593" y="1827"/>
                </a:lnTo>
                <a:lnTo>
                  <a:pt x="1591" y="1826"/>
                </a:lnTo>
                <a:lnTo>
                  <a:pt x="1591" y="1827"/>
                </a:lnTo>
                <a:lnTo>
                  <a:pt x="1590" y="1827"/>
                </a:lnTo>
                <a:lnTo>
                  <a:pt x="1590" y="1829"/>
                </a:lnTo>
                <a:lnTo>
                  <a:pt x="1590" y="1831"/>
                </a:lnTo>
                <a:lnTo>
                  <a:pt x="1588" y="1829"/>
                </a:lnTo>
                <a:lnTo>
                  <a:pt x="1590" y="1827"/>
                </a:lnTo>
                <a:lnTo>
                  <a:pt x="1590" y="1824"/>
                </a:lnTo>
                <a:lnTo>
                  <a:pt x="1590" y="1826"/>
                </a:lnTo>
                <a:lnTo>
                  <a:pt x="1590" y="1822"/>
                </a:lnTo>
                <a:lnTo>
                  <a:pt x="1590" y="1824"/>
                </a:lnTo>
                <a:lnTo>
                  <a:pt x="1590" y="1826"/>
                </a:lnTo>
                <a:lnTo>
                  <a:pt x="1588" y="1826"/>
                </a:lnTo>
                <a:lnTo>
                  <a:pt x="1588" y="1827"/>
                </a:lnTo>
                <a:lnTo>
                  <a:pt x="1586" y="1826"/>
                </a:lnTo>
                <a:lnTo>
                  <a:pt x="1586" y="1827"/>
                </a:lnTo>
                <a:lnTo>
                  <a:pt x="1586" y="1826"/>
                </a:lnTo>
                <a:lnTo>
                  <a:pt x="1586" y="1824"/>
                </a:lnTo>
                <a:lnTo>
                  <a:pt x="1586" y="1822"/>
                </a:lnTo>
                <a:lnTo>
                  <a:pt x="1585" y="1822"/>
                </a:lnTo>
                <a:lnTo>
                  <a:pt x="1585" y="1824"/>
                </a:lnTo>
                <a:lnTo>
                  <a:pt x="1583" y="1826"/>
                </a:lnTo>
                <a:lnTo>
                  <a:pt x="1581" y="1826"/>
                </a:lnTo>
                <a:lnTo>
                  <a:pt x="1580" y="1826"/>
                </a:lnTo>
                <a:lnTo>
                  <a:pt x="1581" y="1826"/>
                </a:lnTo>
                <a:lnTo>
                  <a:pt x="1581" y="1827"/>
                </a:lnTo>
                <a:lnTo>
                  <a:pt x="1580" y="1827"/>
                </a:lnTo>
                <a:lnTo>
                  <a:pt x="1580" y="1826"/>
                </a:lnTo>
                <a:lnTo>
                  <a:pt x="1578" y="1827"/>
                </a:lnTo>
                <a:lnTo>
                  <a:pt x="1576" y="1827"/>
                </a:lnTo>
                <a:lnTo>
                  <a:pt x="1578" y="1827"/>
                </a:lnTo>
                <a:lnTo>
                  <a:pt x="1576" y="1829"/>
                </a:lnTo>
                <a:lnTo>
                  <a:pt x="1574" y="1827"/>
                </a:lnTo>
                <a:lnTo>
                  <a:pt x="1573" y="1829"/>
                </a:lnTo>
                <a:lnTo>
                  <a:pt x="1571" y="1829"/>
                </a:lnTo>
                <a:lnTo>
                  <a:pt x="1569" y="1831"/>
                </a:lnTo>
                <a:lnTo>
                  <a:pt x="1571" y="1831"/>
                </a:lnTo>
                <a:lnTo>
                  <a:pt x="1569" y="1831"/>
                </a:lnTo>
                <a:lnTo>
                  <a:pt x="1569" y="1834"/>
                </a:lnTo>
                <a:lnTo>
                  <a:pt x="1566" y="1834"/>
                </a:lnTo>
                <a:lnTo>
                  <a:pt x="1568" y="1836"/>
                </a:lnTo>
                <a:lnTo>
                  <a:pt x="1566" y="1834"/>
                </a:lnTo>
                <a:lnTo>
                  <a:pt x="1564" y="1834"/>
                </a:lnTo>
                <a:lnTo>
                  <a:pt x="1563" y="1834"/>
                </a:lnTo>
                <a:lnTo>
                  <a:pt x="1563" y="1836"/>
                </a:lnTo>
                <a:lnTo>
                  <a:pt x="1564" y="1836"/>
                </a:lnTo>
                <a:lnTo>
                  <a:pt x="1564" y="1834"/>
                </a:lnTo>
                <a:lnTo>
                  <a:pt x="1564" y="1836"/>
                </a:lnTo>
                <a:lnTo>
                  <a:pt x="1568" y="1836"/>
                </a:lnTo>
                <a:lnTo>
                  <a:pt x="1566" y="1836"/>
                </a:lnTo>
                <a:lnTo>
                  <a:pt x="1564" y="1836"/>
                </a:lnTo>
                <a:lnTo>
                  <a:pt x="1566" y="1838"/>
                </a:lnTo>
                <a:lnTo>
                  <a:pt x="1564" y="1838"/>
                </a:lnTo>
                <a:lnTo>
                  <a:pt x="1563" y="1838"/>
                </a:lnTo>
                <a:lnTo>
                  <a:pt x="1564" y="1838"/>
                </a:lnTo>
                <a:lnTo>
                  <a:pt x="1563" y="1838"/>
                </a:lnTo>
                <a:lnTo>
                  <a:pt x="1561" y="1838"/>
                </a:lnTo>
                <a:lnTo>
                  <a:pt x="1559" y="1838"/>
                </a:lnTo>
                <a:lnTo>
                  <a:pt x="1557" y="1839"/>
                </a:lnTo>
                <a:lnTo>
                  <a:pt x="1554" y="1841"/>
                </a:lnTo>
                <a:lnTo>
                  <a:pt x="1554" y="1839"/>
                </a:lnTo>
                <a:lnTo>
                  <a:pt x="1556" y="1838"/>
                </a:lnTo>
                <a:lnTo>
                  <a:pt x="1557" y="1838"/>
                </a:lnTo>
                <a:lnTo>
                  <a:pt x="1556" y="1836"/>
                </a:lnTo>
                <a:lnTo>
                  <a:pt x="1557" y="1834"/>
                </a:lnTo>
                <a:lnTo>
                  <a:pt x="1559" y="1834"/>
                </a:lnTo>
                <a:lnTo>
                  <a:pt x="1557" y="1834"/>
                </a:lnTo>
                <a:lnTo>
                  <a:pt x="1557" y="1836"/>
                </a:lnTo>
                <a:lnTo>
                  <a:pt x="1556" y="1836"/>
                </a:lnTo>
                <a:lnTo>
                  <a:pt x="1556" y="1838"/>
                </a:lnTo>
                <a:lnTo>
                  <a:pt x="1556" y="1836"/>
                </a:lnTo>
                <a:lnTo>
                  <a:pt x="1556" y="1834"/>
                </a:lnTo>
                <a:lnTo>
                  <a:pt x="1557" y="1834"/>
                </a:lnTo>
                <a:lnTo>
                  <a:pt x="1557" y="1831"/>
                </a:lnTo>
                <a:lnTo>
                  <a:pt x="1559" y="1831"/>
                </a:lnTo>
                <a:lnTo>
                  <a:pt x="1557" y="1829"/>
                </a:lnTo>
                <a:lnTo>
                  <a:pt x="1557" y="1827"/>
                </a:lnTo>
                <a:lnTo>
                  <a:pt x="1556" y="1831"/>
                </a:lnTo>
                <a:lnTo>
                  <a:pt x="1556" y="1832"/>
                </a:lnTo>
                <a:lnTo>
                  <a:pt x="1556" y="1834"/>
                </a:lnTo>
                <a:lnTo>
                  <a:pt x="1554" y="1836"/>
                </a:lnTo>
                <a:lnTo>
                  <a:pt x="1554" y="1839"/>
                </a:lnTo>
                <a:lnTo>
                  <a:pt x="1552" y="1841"/>
                </a:lnTo>
                <a:lnTo>
                  <a:pt x="1549" y="1843"/>
                </a:lnTo>
                <a:lnTo>
                  <a:pt x="1551" y="1846"/>
                </a:lnTo>
                <a:lnTo>
                  <a:pt x="1549" y="1846"/>
                </a:lnTo>
                <a:lnTo>
                  <a:pt x="1551" y="1846"/>
                </a:lnTo>
                <a:lnTo>
                  <a:pt x="1549" y="1846"/>
                </a:lnTo>
                <a:lnTo>
                  <a:pt x="1549" y="1848"/>
                </a:lnTo>
                <a:lnTo>
                  <a:pt x="1547" y="1848"/>
                </a:lnTo>
                <a:lnTo>
                  <a:pt x="1546" y="1848"/>
                </a:lnTo>
                <a:lnTo>
                  <a:pt x="1544" y="1850"/>
                </a:lnTo>
                <a:lnTo>
                  <a:pt x="1542" y="1850"/>
                </a:lnTo>
                <a:lnTo>
                  <a:pt x="1540" y="1850"/>
                </a:lnTo>
                <a:lnTo>
                  <a:pt x="1539" y="1851"/>
                </a:lnTo>
                <a:lnTo>
                  <a:pt x="1539" y="1850"/>
                </a:lnTo>
                <a:lnTo>
                  <a:pt x="1540" y="1850"/>
                </a:lnTo>
                <a:lnTo>
                  <a:pt x="1540" y="1848"/>
                </a:lnTo>
                <a:lnTo>
                  <a:pt x="1542" y="1848"/>
                </a:lnTo>
                <a:lnTo>
                  <a:pt x="1542" y="1846"/>
                </a:lnTo>
                <a:lnTo>
                  <a:pt x="1544" y="1846"/>
                </a:lnTo>
                <a:lnTo>
                  <a:pt x="1544" y="1844"/>
                </a:lnTo>
                <a:lnTo>
                  <a:pt x="1546" y="1844"/>
                </a:lnTo>
                <a:lnTo>
                  <a:pt x="1547" y="1844"/>
                </a:lnTo>
                <a:lnTo>
                  <a:pt x="1547" y="1843"/>
                </a:lnTo>
                <a:lnTo>
                  <a:pt x="1549" y="1841"/>
                </a:lnTo>
                <a:lnTo>
                  <a:pt x="1547" y="1841"/>
                </a:lnTo>
                <a:lnTo>
                  <a:pt x="1549" y="1841"/>
                </a:lnTo>
                <a:lnTo>
                  <a:pt x="1551" y="1839"/>
                </a:lnTo>
                <a:lnTo>
                  <a:pt x="1551" y="1838"/>
                </a:lnTo>
                <a:lnTo>
                  <a:pt x="1551" y="1836"/>
                </a:lnTo>
                <a:lnTo>
                  <a:pt x="1551" y="1834"/>
                </a:lnTo>
                <a:lnTo>
                  <a:pt x="1551" y="1832"/>
                </a:lnTo>
                <a:lnTo>
                  <a:pt x="1551" y="1836"/>
                </a:lnTo>
                <a:lnTo>
                  <a:pt x="1551" y="1838"/>
                </a:lnTo>
                <a:lnTo>
                  <a:pt x="1549" y="1839"/>
                </a:lnTo>
                <a:lnTo>
                  <a:pt x="1547" y="1839"/>
                </a:lnTo>
                <a:lnTo>
                  <a:pt x="1549" y="1839"/>
                </a:lnTo>
                <a:lnTo>
                  <a:pt x="1547" y="1841"/>
                </a:lnTo>
                <a:lnTo>
                  <a:pt x="1549" y="1841"/>
                </a:lnTo>
                <a:lnTo>
                  <a:pt x="1547" y="1843"/>
                </a:lnTo>
                <a:lnTo>
                  <a:pt x="1547" y="1841"/>
                </a:lnTo>
                <a:lnTo>
                  <a:pt x="1546" y="1841"/>
                </a:lnTo>
                <a:lnTo>
                  <a:pt x="1547" y="1839"/>
                </a:lnTo>
                <a:lnTo>
                  <a:pt x="1549" y="1838"/>
                </a:lnTo>
                <a:lnTo>
                  <a:pt x="1547" y="1838"/>
                </a:lnTo>
                <a:lnTo>
                  <a:pt x="1547" y="1839"/>
                </a:lnTo>
                <a:lnTo>
                  <a:pt x="1546" y="1839"/>
                </a:lnTo>
                <a:lnTo>
                  <a:pt x="1546" y="1838"/>
                </a:lnTo>
                <a:lnTo>
                  <a:pt x="1546" y="1841"/>
                </a:lnTo>
                <a:lnTo>
                  <a:pt x="1544" y="1841"/>
                </a:lnTo>
                <a:lnTo>
                  <a:pt x="1546" y="1839"/>
                </a:lnTo>
                <a:lnTo>
                  <a:pt x="1544" y="1839"/>
                </a:lnTo>
                <a:lnTo>
                  <a:pt x="1544" y="1838"/>
                </a:lnTo>
                <a:lnTo>
                  <a:pt x="1544" y="1836"/>
                </a:lnTo>
                <a:lnTo>
                  <a:pt x="1546" y="1836"/>
                </a:lnTo>
                <a:lnTo>
                  <a:pt x="1547" y="1834"/>
                </a:lnTo>
                <a:lnTo>
                  <a:pt x="1547" y="1832"/>
                </a:lnTo>
                <a:lnTo>
                  <a:pt x="1547" y="1834"/>
                </a:lnTo>
                <a:lnTo>
                  <a:pt x="1546" y="1836"/>
                </a:lnTo>
                <a:lnTo>
                  <a:pt x="1544" y="1836"/>
                </a:lnTo>
                <a:lnTo>
                  <a:pt x="1542" y="1838"/>
                </a:lnTo>
                <a:lnTo>
                  <a:pt x="1544" y="1838"/>
                </a:lnTo>
                <a:lnTo>
                  <a:pt x="1544" y="1839"/>
                </a:lnTo>
                <a:lnTo>
                  <a:pt x="1544" y="1841"/>
                </a:lnTo>
                <a:lnTo>
                  <a:pt x="1544" y="1843"/>
                </a:lnTo>
                <a:lnTo>
                  <a:pt x="1542" y="1843"/>
                </a:lnTo>
                <a:lnTo>
                  <a:pt x="1542" y="1844"/>
                </a:lnTo>
                <a:lnTo>
                  <a:pt x="1542" y="1841"/>
                </a:lnTo>
                <a:lnTo>
                  <a:pt x="1540" y="1841"/>
                </a:lnTo>
                <a:lnTo>
                  <a:pt x="1542" y="1843"/>
                </a:lnTo>
                <a:lnTo>
                  <a:pt x="1540" y="1843"/>
                </a:lnTo>
                <a:lnTo>
                  <a:pt x="1539" y="1843"/>
                </a:lnTo>
                <a:lnTo>
                  <a:pt x="1542" y="1843"/>
                </a:lnTo>
                <a:lnTo>
                  <a:pt x="1539" y="1844"/>
                </a:lnTo>
                <a:lnTo>
                  <a:pt x="1537" y="1843"/>
                </a:lnTo>
                <a:lnTo>
                  <a:pt x="1535" y="1841"/>
                </a:lnTo>
                <a:lnTo>
                  <a:pt x="1537" y="1841"/>
                </a:lnTo>
                <a:lnTo>
                  <a:pt x="1534" y="1839"/>
                </a:lnTo>
                <a:lnTo>
                  <a:pt x="1534" y="1838"/>
                </a:lnTo>
                <a:lnTo>
                  <a:pt x="1534" y="1836"/>
                </a:lnTo>
                <a:lnTo>
                  <a:pt x="1534" y="1838"/>
                </a:lnTo>
                <a:lnTo>
                  <a:pt x="1535" y="1839"/>
                </a:lnTo>
                <a:lnTo>
                  <a:pt x="1537" y="1839"/>
                </a:lnTo>
                <a:lnTo>
                  <a:pt x="1537" y="1838"/>
                </a:lnTo>
                <a:lnTo>
                  <a:pt x="1539" y="1838"/>
                </a:lnTo>
                <a:lnTo>
                  <a:pt x="1539" y="1839"/>
                </a:lnTo>
                <a:lnTo>
                  <a:pt x="1540" y="1839"/>
                </a:lnTo>
                <a:lnTo>
                  <a:pt x="1542" y="1838"/>
                </a:lnTo>
                <a:lnTo>
                  <a:pt x="1540" y="1836"/>
                </a:lnTo>
                <a:lnTo>
                  <a:pt x="1539" y="1834"/>
                </a:lnTo>
                <a:lnTo>
                  <a:pt x="1540" y="1832"/>
                </a:lnTo>
                <a:lnTo>
                  <a:pt x="1540" y="1834"/>
                </a:lnTo>
                <a:lnTo>
                  <a:pt x="1544" y="1834"/>
                </a:lnTo>
                <a:lnTo>
                  <a:pt x="1544" y="1836"/>
                </a:lnTo>
                <a:lnTo>
                  <a:pt x="1544" y="1834"/>
                </a:lnTo>
                <a:lnTo>
                  <a:pt x="1544" y="1836"/>
                </a:lnTo>
                <a:lnTo>
                  <a:pt x="1544" y="1832"/>
                </a:lnTo>
                <a:lnTo>
                  <a:pt x="1546" y="1831"/>
                </a:lnTo>
                <a:lnTo>
                  <a:pt x="1547" y="1831"/>
                </a:lnTo>
                <a:lnTo>
                  <a:pt x="1547" y="1832"/>
                </a:lnTo>
                <a:lnTo>
                  <a:pt x="1549" y="1831"/>
                </a:lnTo>
                <a:lnTo>
                  <a:pt x="1547" y="1831"/>
                </a:lnTo>
                <a:lnTo>
                  <a:pt x="1546" y="1831"/>
                </a:lnTo>
                <a:lnTo>
                  <a:pt x="1544" y="1832"/>
                </a:lnTo>
                <a:lnTo>
                  <a:pt x="1544" y="1831"/>
                </a:lnTo>
                <a:lnTo>
                  <a:pt x="1544" y="1832"/>
                </a:lnTo>
                <a:lnTo>
                  <a:pt x="1544" y="1834"/>
                </a:lnTo>
                <a:lnTo>
                  <a:pt x="1542" y="1834"/>
                </a:lnTo>
                <a:lnTo>
                  <a:pt x="1542" y="1832"/>
                </a:lnTo>
                <a:lnTo>
                  <a:pt x="1542" y="1834"/>
                </a:lnTo>
                <a:lnTo>
                  <a:pt x="1542" y="1832"/>
                </a:lnTo>
                <a:lnTo>
                  <a:pt x="1540" y="1832"/>
                </a:lnTo>
                <a:lnTo>
                  <a:pt x="1539" y="1832"/>
                </a:lnTo>
                <a:lnTo>
                  <a:pt x="1539" y="1831"/>
                </a:lnTo>
                <a:lnTo>
                  <a:pt x="1540" y="1831"/>
                </a:lnTo>
                <a:lnTo>
                  <a:pt x="1539" y="1831"/>
                </a:lnTo>
                <a:lnTo>
                  <a:pt x="1540" y="1829"/>
                </a:lnTo>
                <a:lnTo>
                  <a:pt x="1540" y="1827"/>
                </a:lnTo>
                <a:lnTo>
                  <a:pt x="1539" y="1829"/>
                </a:lnTo>
                <a:lnTo>
                  <a:pt x="1539" y="1827"/>
                </a:lnTo>
                <a:lnTo>
                  <a:pt x="1537" y="1829"/>
                </a:lnTo>
                <a:lnTo>
                  <a:pt x="1537" y="1827"/>
                </a:lnTo>
                <a:lnTo>
                  <a:pt x="1535" y="1827"/>
                </a:lnTo>
                <a:lnTo>
                  <a:pt x="1534" y="1826"/>
                </a:lnTo>
                <a:lnTo>
                  <a:pt x="1534" y="1824"/>
                </a:lnTo>
                <a:lnTo>
                  <a:pt x="1534" y="1821"/>
                </a:lnTo>
                <a:lnTo>
                  <a:pt x="1535" y="1821"/>
                </a:lnTo>
                <a:lnTo>
                  <a:pt x="1535" y="1817"/>
                </a:lnTo>
                <a:lnTo>
                  <a:pt x="1537" y="1817"/>
                </a:lnTo>
                <a:lnTo>
                  <a:pt x="1537" y="1814"/>
                </a:lnTo>
                <a:lnTo>
                  <a:pt x="1537" y="1812"/>
                </a:lnTo>
                <a:lnTo>
                  <a:pt x="1539" y="1810"/>
                </a:lnTo>
                <a:lnTo>
                  <a:pt x="1537" y="1810"/>
                </a:lnTo>
                <a:lnTo>
                  <a:pt x="1537" y="1814"/>
                </a:lnTo>
                <a:lnTo>
                  <a:pt x="1535" y="1814"/>
                </a:lnTo>
                <a:lnTo>
                  <a:pt x="1535" y="1815"/>
                </a:lnTo>
                <a:lnTo>
                  <a:pt x="1532" y="1815"/>
                </a:lnTo>
                <a:lnTo>
                  <a:pt x="1532" y="1817"/>
                </a:lnTo>
                <a:lnTo>
                  <a:pt x="1530" y="1821"/>
                </a:lnTo>
                <a:lnTo>
                  <a:pt x="1529" y="1821"/>
                </a:lnTo>
                <a:lnTo>
                  <a:pt x="1527" y="1822"/>
                </a:lnTo>
                <a:lnTo>
                  <a:pt x="1523" y="1822"/>
                </a:lnTo>
                <a:lnTo>
                  <a:pt x="1523" y="1824"/>
                </a:lnTo>
                <a:lnTo>
                  <a:pt x="1522" y="1826"/>
                </a:lnTo>
                <a:lnTo>
                  <a:pt x="1522" y="1824"/>
                </a:lnTo>
                <a:lnTo>
                  <a:pt x="1523" y="1822"/>
                </a:lnTo>
                <a:lnTo>
                  <a:pt x="1522" y="1822"/>
                </a:lnTo>
                <a:lnTo>
                  <a:pt x="1522" y="1821"/>
                </a:lnTo>
                <a:lnTo>
                  <a:pt x="1520" y="1822"/>
                </a:lnTo>
                <a:lnTo>
                  <a:pt x="1518" y="1822"/>
                </a:lnTo>
                <a:lnTo>
                  <a:pt x="1518" y="1821"/>
                </a:lnTo>
                <a:lnTo>
                  <a:pt x="1520" y="1819"/>
                </a:lnTo>
                <a:lnTo>
                  <a:pt x="1522" y="1815"/>
                </a:lnTo>
                <a:lnTo>
                  <a:pt x="1520" y="1815"/>
                </a:lnTo>
                <a:lnTo>
                  <a:pt x="1522" y="1815"/>
                </a:lnTo>
                <a:lnTo>
                  <a:pt x="1522" y="1814"/>
                </a:lnTo>
                <a:lnTo>
                  <a:pt x="1523" y="1810"/>
                </a:lnTo>
                <a:lnTo>
                  <a:pt x="1522" y="1814"/>
                </a:lnTo>
                <a:lnTo>
                  <a:pt x="1520" y="1814"/>
                </a:lnTo>
                <a:lnTo>
                  <a:pt x="1518" y="1814"/>
                </a:lnTo>
                <a:lnTo>
                  <a:pt x="1517" y="1814"/>
                </a:lnTo>
                <a:lnTo>
                  <a:pt x="1518" y="1810"/>
                </a:lnTo>
                <a:lnTo>
                  <a:pt x="1517" y="1812"/>
                </a:lnTo>
                <a:lnTo>
                  <a:pt x="1515" y="1812"/>
                </a:lnTo>
                <a:lnTo>
                  <a:pt x="1515" y="1814"/>
                </a:lnTo>
                <a:lnTo>
                  <a:pt x="1517" y="1812"/>
                </a:lnTo>
                <a:lnTo>
                  <a:pt x="1517" y="1814"/>
                </a:lnTo>
                <a:lnTo>
                  <a:pt x="1515" y="1815"/>
                </a:lnTo>
                <a:lnTo>
                  <a:pt x="1513" y="1815"/>
                </a:lnTo>
                <a:lnTo>
                  <a:pt x="1512" y="1815"/>
                </a:lnTo>
                <a:lnTo>
                  <a:pt x="1512" y="1814"/>
                </a:lnTo>
                <a:lnTo>
                  <a:pt x="1515" y="1814"/>
                </a:lnTo>
                <a:lnTo>
                  <a:pt x="1513" y="1814"/>
                </a:lnTo>
                <a:lnTo>
                  <a:pt x="1512" y="1814"/>
                </a:lnTo>
                <a:lnTo>
                  <a:pt x="1510" y="1814"/>
                </a:lnTo>
                <a:lnTo>
                  <a:pt x="1508" y="1812"/>
                </a:lnTo>
                <a:lnTo>
                  <a:pt x="1508" y="1810"/>
                </a:lnTo>
                <a:lnTo>
                  <a:pt x="1508" y="1812"/>
                </a:lnTo>
                <a:lnTo>
                  <a:pt x="1506" y="1810"/>
                </a:lnTo>
                <a:lnTo>
                  <a:pt x="1505" y="1812"/>
                </a:lnTo>
                <a:lnTo>
                  <a:pt x="1505" y="1810"/>
                </a:lnTo>
                <a:lnTo>
                  <a:pt x="1503" y="1812"/>
                </a:lnTo>
                <a:lnTo>
                  <a:pt x="1501" y="1810"/>
                </a:lnTo>
                <a:lnTo>
                  <a:pt x="1501" y="1809"/>
                </a:lnTo>
                <a:lnTo>
                  <a:pt x="1500" y="1809"/>
                </a:lnTo>
                <a:lnTo>
                  <a:pt x="1500" y="1807"/>
                </a:lnTo>
                <a:lnTo>
                  <a:pt x="1498" y="1809"/>
                </a:lnTo>
                <a:lnTo>
                  <a:pt x="1498" y="1807"/>
                </a:lnTo>
                <a:lnTo>
                  <a:pt x="1498" y="1805"/>
                </a:lnTo>
                <a:lnTo>
                  <a:pt x="1496" y="1807"/>
                </a:lnTo>
                <a:lnTo>
                  <a:pt x="1496" y="1805"/>
                </a:lnTo>
                <a:lnTo>
                  <a:pt x="1495" y="1807"/>
                </a:lnTo>
                <a:lnTo>
                  <a:pt x="1495" y="1805"/>
                </a:lnTo>
                <a:lnTo>
                  <a:pt x="1495" y="1809"/>
                </a:lnTo>
                <a:lnTo>
                  <a:pt x="1496" y="1810"/>
                </a:lnTo>
                <a:lnTo>
                  <a:pt x="1493" y="1809"/>
                </a:lnTo>
                <a:lnTo>
                  <a:pt x="1493" y="1810"/>
                </a:lnTo>
                <a:lnTo>
                  <a:pt x="1491" y="1812"/>
                </a:lnTo>
                <a:lnTo>
                  <a:pt x="1491" y="1810"/>
                </a:lnTo>
                <a:lnTo>
                  <a:pt x="1493" y="1809"/>
                </a:lnTo>
                <a:lnTo>
                  <a:pt x="1493" y="1805"/>
                </a:lnTo>
                <a:lnTo>
                  <a:pt x="1493" y="1804"/>
                </a:lnTo>
                <a:lnTo>
                  <a:pt x="1493" y="1802"/>
                </a:lnTo>
                <a:lnTo>
                  <a:pt x="1493" y="1800"/>
                </a:lnTo>
                <a:lnTo>
                  <a:pt x="1491" y="1800"/>
                </a:lnTo>
                <a:lnTo>
                  <a:pt x="1491" y="1804"/>
                </a:lnTo>
                <a:lnTo>
                  <a:pt x="1488" y="1804"/>
                </a:lnTo>
                <a:lnTo>
                  <a:pt x="1488" y="1807"/>
                </a:lnTo>
                <a:lnTo>
                  <a:pt x="1488" y="1809"/>
                </a:lnTo>
                <a:lnTo>
                  <a:pt x="1486" y="1810"/>
                </a:lnTo>
                <a:lnTo>
                  <a:pt x="1484" y="1810"/>
                </a:lnTo>
                <a:lnTo>
                  <a:pt x="1486" y="1809"/>
                </a:lnTo>
                <a:lnTo>
                  <a:pt x="1484" y="1807"/>
                </a:lnTo>
                <a:lnTo>
                  <a:pt x="1484" y="1805"/>
                </a:lnTo>
                <a:lnTo>
                  <a:pt x="1483" y="1805"/>
                </a:lnTo>
                <a:lnTo>
                  <a:pt x="1483" y="1804"/>
                </a:lnTo>
                <a:lnTo>
                  <a:pt x="1481" y="1805"/>
                </a:lnTo>
                <a:lnTo>
                  <a:pt x="1483" y="1805"/>
                </a:lnTo>
                <a:lnTo>
                  <a:pt x="1481" y="1805"/>
                </a:lnTo>
                <a:lnTo>
                  <a:pt x="1479" y="1804"/>
                </a:lnTo>
                <a:lnTo>
                  <a:pt x="1479" y="1802"/>
                </a:lnTo>
                <a:lnTo>
                  <a:pt x="1478" y="1800"/>
                </a:lnTo>
                <a:lnTo>
                  <a:pt x="1476" y="1802"/>
                </a:lnTo>
                <a:lnTo>
                  <a:pt x="1478" y="1800"/>
                </a:lnTo>
                <a:lnTo>
                  <a:pt x="1476" y="1800"/>
                </a:lnTo>
                <a:lnTo>
                  <a:pt x="1474" y="1798"/>
                </a:lnTo>
                <a:lnTo>
                  <a:pt x="1476" y="1798"/>
                </a:lnTo>
                <a:lnTo>
                  <a:pt x="1474" y="1798"/>
                </a:lnTo>
                <a:lnTo>
                  <a:pt x="1476" y="1798"/>
                </a:lnTo>
                <a:lnTo>
                  <a:pt x="1474" y="1798"/>
                </a:lnTo>
                <a:lnTo>
                  <a:pt x="1476" y="1797"/>
                </a:lnTo>
                <a:lnTo>
                  <a:pt x="1478" y="1797"/>
                </a:lnTo>
                <a:lnTo>
                  <a:pt x="1479" y="1797"/>
                </a:lnTo>
                <a:lnTo>
                  <a:pt x="1479" y="1795"/>
                </a:lnTo>
                <a:lnTo>
                  <a:pt x="1478" y="1795"/>
                </a:lnTo>
                <a:lnTo>
                  <a:pt x="1478" y="1793"/>
                </a:lnTo>
                <a:lnTo>
                  <a:pt x="1476" y="1793"/>
                </a:lnTo>
                <a:lnTo>
                  <a:pt x="1476" y="1792"/>
                </a:lnTo>
                <a:lnTo>
                  <a:pt x="1476" y="1790"/>
                </a:lnTo>
                <a:lnTo>
                  <a:pt x="1474" y="1792"/>
                </a:lnTo>
                <a:lnTo>
                  <a:pt x="1476" y="1790"/>
                </a:lnTo>
                <a:lnTo>
                  <a:pt x="1474" y="1788"/>
                </a:lnTo>
                <a:lnTo>
                  <a:pt x="1474" y="1790"/>
                </a:lnTo>
                <a:lnTo>
                  <a:pt x="1474" y="1788"/>
                </a:lnTo>
                <a:lnTo>
                  <a:pt x="1472" y="1788"/>
                </a:lnTo>
                <a:lnTo>
                  <a:pt x="1474" y="1787"/>
                </a:lnTo>
                <a:lnTo>
                  <a:pt x="1471" y="1787"/>
                </a:lnTo>
                <a:lnTo>
                  <a:pt x="1472" y="1787"/>
                </a:lnTo>
                <a:lnTo>
                  <a:pt x="1472" y="1785"/>
                </a:lnTo>
                <a:lnTo>
                  <a:pt x="1476" y="1785"/>
                </a:lnTo>
                <a:lnTo>
                  <a:pt x="1474" y="1783"/>
                </a:lnTo>
                <a:lnTo>
                  <a:pt x="1472" y="1785"/>
                </a:lnTo>
                <a:lnTo>
                  <a:pt x="1471" y="1785"/>
                </a:lnTo>
                <a:lnTo>
                  <a:pt x="1472" y="1785"/>
                </a:lnTo>
                <a:lnTo>
                  <a:pt x="1471" y="1785"/>
                </a:lnTo>
                <a:lnTo>
                  <a:pt x="1469" y="1785"/>
                </a:lnTo>
                <a:lnTo>
                  <a:pt x="1467" y="1785"/>
                </a:lnTo>
                <a:lnTo>
                  <a:pt x="1469" y="1783"/>
                </a:lnTo>
                <a:lnTo>
                  <a:pt x="1472" y="1783"/>
                </a:lnTo>
                <a:lnTo>
                  <a:pt x="1471" y="1783"/>
                </a:lnTo>
                <a:lnTo>
                  <a:pt x="1472" y="1781"/>
                </a:lnTo>
                <a:lnTo>
                  <a:pt x="1471" y="1781"/>
                </a:lnTo>
                <a:lnTo>
                  <a:pt x="1472" y="1781"/>
                </a:lnTo>
                <a:lnTo>
                  <a:pt x="1471" y="1780"/>
                </a:lnTo>
                <a:lnTo>
                  <a:pt x="1469" y="1780"/>
                </a:lnTo>
                <a:lnTo>
                  <a:pt x="1469" y="1778"/>
                </a:lnTo>
                <a:lnTo>
                  <a:pt x="1469" y="1776"/>
                </a:lnTo>
                <a:lnTo>
                  <a:pt x="1471" y="1776"/>
                </a:lnTo>
                <a:lnTo>
                  <a:pt x="1471" y="1778"/>
                </a:lnTo>
                <a:lnTo>
                  <a:pt x="1472" y="1778"/>
                </a:lnTo>
                <a:lnTo>
                  <a:pt x="1472" y="1780"/>
                </a:lnTo>
                <a:lnTo>
                  <a:pt x="1474" y="1781"/>
                </a:lnTo>
                <a:lnTo>
                  <a:pt x="1472" y="1781"/>
                </a:lnTo>
                <a:lnTo>
                  <a:pt x="1474" y="1781"/>
                </a:lnTo>
                <a:lnTo>
                  <a:pt x="1476" y="1783"/>
                </a:lnTo>
                <a:lnTo>
                  <a:pt x="1476" y="1780"/>
                </a:lnTo>
                <a:lnTo>
                  <a:pt x="1474" y="1780"/>
                </a:lnTo>
                <a:lnTo>
                  <a:pt x="1474" y="1778"/>
                </a:lnTo>
                <a:lnTo>
                  <a:pt x="1472" y="1778"/>
                </a:lnTo>
                <a:lnTo>
                  <a:pt x="1472" y="1776"/>
                </a:lnTo>
                <a:lnTo>
                  <a:pt x="1471" y="1776"/>
                </a:lnTo>
                <a:lnTo>
                  <a:pt x="1472" y="1775"/>
                </a:lnTo>
                <a:lnTo>
                  <a:pt x="1471" y="1775"/>
                </a:lnTo>
                <a:lnTo>
                  <a:pt x="1471" y="1773"/>
                </a:lnTo>
                <a:lnTo>
                  <a:pt x="1469" y="1773"/>
                </a:lnTo>
                <a:lnTo>
                  <a:pt x="1469" y="1771"/>
                </a:lnTo>
                <a:lnTo>
                  <a:pt x="1471" y="1771"/>
                </a:lnTo>
                <a:lnTo>
                  <a:pt x="1472" y="1773"/>
                </a:lnTo>
                <a:lnTo>
                  <a:pt x="1474" y="1773"/>
                </a:lnTo>
                <a:lnTo>
                  <a:pt x="1474" y="1771"/>
                </a:lnTo>
                <a:lnTo>
                  <a:pt x="1472" y="1771"/>
                </a:lnTo>
                <a:lnTo>
                  <a:pt x="1471" y="1771"/>
                </a:lnTo>
                <a:lnTo>
                  <a:pt x="1472" y="1771"/>
                </a:lnTo>
                <a:lnTo>
                  <a:pt x="1474" y="1770"/>
                </a:lnTo>
                <a:lnTo>
                  <a:pt x="1474" y="1771"/>
                </a:lnTo>
                <a:lnTo>
                  <a:pt x="1476" y="1771"/>
                </a:lnTo>
                <a:lnTo>
                  <a:pt x="1474" y="1771"/>
                </a:lnTo>
                <a:lnTo>
                  <a:pt x="1476" y="1770"/>
                </a:lnTo>
                <a:lnTo>
                  <a:pt x="1474" y="1770"/>
                </a:lnTo>
                <a:lnTo>
                  <a:pt x="1474" y="1768"/>
                </a:lnTo>
                <a:lnTo>
                  <a:pt x="1472" y="1768"/>
                </a:lnTo>
                <a:lnTo>
                  <a:pt x="1474" y="1766"/>
                </a:lnTo>
                <a:lnTo>
                  <a:pt x="1472" y="1764"/>
                </a:lnTo>
                <a:lnTo>
                  <a:pt x="1474" y="1764"/>
                </a:lnTo>
                <a:lnTo>
                  <a:pt x="1472" y="1763"/>
                </a:lnTo>
                <a:lnTo>
                  <a:pt x="1474" y="1763"/>
                </a:lnTo>
                <a:lnTo>
                  <a:pt x="1476" y="1763"/>
                </a:lnTo>
                <a:lnTo>
                  <a:pt x="1474" y="1761"/>
                </a:lnTo>
                <a:lnTo>
                  <a:pt x="1471" y="1759"/>
                </a:lnTo>
                <a:lnTo>
                  <a:pt x="1472" y="1759"/>
                </a:lnTo>
                <a:lnTo>
                  <a:pt x="1474" y="1759"/>
                </a:lnTo>
                <a:lnTo>
                  <a:pt x="1476" y="1759"/>
                </a:lnTo>
                <a:lnTo>
                  <a:pt x="1478" y="1761"/>
                </a:lnTo>
                <a:lnTo>
                  <a:pt x="1478" y="1759"/>
                </a:lnTo>
                <a:lnTo>
                  <a:pt x="1474" y="1759"/>
                </a:lnTo>
                <a:lnTo>
                  <a:pt x="1474" y="1758"/>
                </a:lnTo>
                <a:lnTo>
                  <a:pt x="1472" y="1758"/>
                </a:lnTo>
                <a:lnTo>
                  <a:pt x="1474" y="1756"/>
                </a:lnTo>
                <a:lnTo>
                  <a:pt x="1472" y="1754"/>
                </a:lnTo>
                <a:lnTo>
                  <a:pt x="1474" y="1754"/>
                </a:lnTo>
                <a:lnTo>
                  <a:pt x="1474" y="1753"/>
                </a:lnTo>
                <a:lnTo>
                  <a:pt x="1476" y="1753"/>
                </a:lnTo>
                <a:lnTo>
                  <a:pt x="1476" y="1751"/>
                </a:lnTo>
                <a:lnTo>
                  <a:pt x="1474" y="1751"/>
                </a:lnTo>
                <a:lnTo>
                  <a:pt x="1472" y="1751"/>
                </a:lnTo>
                <a:lnTo>
                  <a:pt x="1474" y="1751"/>
                </a:lnTo>
                <a:lnTo>
                  <a:pt x="1472" y="1751"/>
                </a:lnTo>
                <a:lnTo>
                  <a:pt x="1474" y="1751"/>
                </a:lnTo>
                <a:lnTo>
                  <a:pt x="1474" y="1749"/>
                </a:lnTo>
                <a:lnTo>
                  <a:pt x="1472" y="1749"/>
                </a:lnTo>
                <a:lnTo>
                  <a:pt x="1474" y="1749"/>
                </a:lnTo>
                <a:lnTo>
                  <a:pt x="1472" y="1747"/>
                </a:lnTo>
                <a:lnTo>
                  <a:pt x="1471" y="1746"/>
                </a:lnTo>
                <a:lnTo>
                  <a:pt x="1474" y="1746"/>
                </a:lnTo>
                <a:lnTo>
                  <a:pt x="1476" y="1744"/>
                </a:lnTo>
                <a:lnTo>
                  <a:pt x="1474" y="1744"/>
                </a:lnTo>
                <a:lnTo>
                  <a:pt x="1472" y="1742"/>
                </a:lnTo>
                <a:lnTo>
                  <a:pt x="1471" y="1742"/>
                </a:lnTo>
                <a:lnTo>
                  <a:pt x="1471" y="1741"/>
                </a:lnTo>
                <a:lnTo>
                  <a:pt x="1469" y="1741"/>
                </a:lnTo>
                <a:lnTo>
                  <a:pt x="1471" y="1741"/>
                </a:lnTo>
                <a:lnTo>
                  <a:pt x="1474" y="1741"/>
                </a:lnTo>
                <a:lnTo>
                  <a:pt x="1476" y="1741"/>
                </a:lnTo>
                <a:lnTo>
                  <a:pt x="1476" y="1739"/>
                </a:lnTo>
                <a:lnTo>
                  <a:pt x="1474" y="1739"/>
                </a:lnTo>
                <a:lnTo>
                  <a:pt x="1472" y="1739"/>
                </a:lnTo>
                <a:lnTo>
                  <a:pt x="1471" y="1736"/>
                </a:lnTo>
                <a:lnTo>
                  <a:pt x="1469" y="1737"/>
                </a:lnTo>
                <a:lnTo>
                  <a:pt x="1471" y="1736"/>
                </a:lnTo>
                <a:lnTo>
                  <a:pt x="1469" y="1734"/>
                </a:lnTo>
                <a:lnTo>
                  <a:pt x="1471" y="1734"/>
                </a:lnTo>
                <a:lnTo>
                  <a:pt x="1472" y="1736"/>
                </a:lnTo>
                <a:lnTo>
                  <a:pt x="1474" y="1736"/>
                </a:lnTo>
                <a:lnTo>
                  <a:pt x="1476" y="1736"/>
                </a:lnTo>
                <a:lnTo>
                  <a:pt x="1478" y="1737"/>
                </a:lnTo>
                <a:lnTo>
                  <a:pt x="1479" y="1737"/>
                </a:lnTo>
                <a:lnTo>
                  <a:pt x="1478" y="1736"/>
                </a:lnTo>
                <a:lnTo>
                  <a:pt x="1476" y="1736"/>
                </a:lnTo>
                <a:lnTo>
                  <a:pt x="1476" y="1734"/>
                </a:lnTo>
                <a:lnTo>
                  <a:pt x="1474" y="1734"/>
                </a:lnTo>
                <a:lnTo>
                  <a:pt x="1474" y="1732"/>
                </a:lnTo>
                <a:lnTo>
                  <a:pt x="1472" y="1732"/>
                </a:lnTo>
                <a:lnTo>
                  <a:pt x="1474" y="1732"/>
                </a:lnTo>
                <a:lnTo>
                  <a:pt x="1472" y="1732"/>
                </a:lnTo>
                <a:lnTo>
                  <a:pt x="1472" y="1730"/>
                </a:lnTo>
                <a:lnTo>
                  <a:pt x="1471" y="1730"/>
                </a:lnTo>
                <a:lnTo>
                  <a:pt x="1471" y="1729"/>
                </a:lnTo>
                <a:lnTo>
                  <a:pt x="1471" y="1727"/>
                </a:lnTo>
                <a:lnTo>
                  <a:pt x="1469" y="1725"/>
                </a:lnTo>
                <a:lnTo>
                  <a:pt x="1471" y="1727"/>
                </a:lnTo>
                <a:lnTo>
                  <a:pt x="1471" y="1725"/>
                </a:lnTo>
                <a:lnTo>
                  <a:pt x="1471" y="1724"/>
                </a:lnTo>
                <a:lnTo>
                  <a:pt x="1471" y="1725"/>
                </a:lnTo>
                <a:lnTo>
                  <a:pt x="1472" y="1725"/>
                </a:lnTo>
                <a:lnTo>
                  <a:pt x="1471" y="1725"/>
                </a:lnTo>
                <a:lnTo>
                  <a:pt x="1471" y="1724"/>
                </a:lnTo>
                <a:lnTo>
                  <a:pt x="1469" y="1722"/>
                </a:lnTo>
                <a:lnTo>
                  <a:pt x="1467" y="1722"/>
                </a:lnTo>
                <a:lnTo>
                  <a:pt x="1469" y="1722"/>
                </a:lnTo>
                <a:lnTo>
                  <a:pt x="1469" y="1724"/>
                </a:lnTo>
                <a:lnTo>
                  <a:pt x="1467" y="1722"/>
                </a:lnTo>
                <a:lnTo>
                  <a:pt x="1466" y="1722"/>
                </a:lnTo>
                <a:lnTo>
                  <a:pt x="1467" y="1722"/>
                </a:lnTo>
                <a:lnTo>
                  <a:pt x="1466" y="1720"/>
                </a:lnTo>
                <a:lnTo>
                  <a:pt x="1467" y="1720"/>
                </a:lnTo>
                <a:lnTo>
                  <a:pt x="1467" y="1722"/>
                </a:lnTo>
                <a:lnTo>
                  <a:pt x="1469" y="1720"/>
                </a:lnTo>
                <a:lnTo>
                  <a:pt x="1467" y="1720"/>
                </a:lnTo>
                <a:lnTo>
                  <a:pt x="1469" y="1720"/>
                </a:lnTo>
                <a:lnTo>
                  <a:pt x="1469" y="1719"/>
                </a:lnTo>
                <a:lnTo>
                  <a:pt x="1466" y="1717"/>
                </a:lnTo>
                <a:lnTo>
                  <a:pt x="1467" y="1719"/>
                </a:lnTo>
                <a:lnTo>
                  <a:pt x="1467" y="1717"/>
                </a:lnTo>
                <a:lnTo>
                  <a:pt x="1466" y="1717"/>
                </a:lnTo>
                <a:lnTo>
                  <a:pt x="1466" y="1715"/>
                </a:lnTo>
                <a:lnTo>
                  <a:pt x="1466" y="1713"/>
                </a:lnTo>
                <a:lnTo>
                  <a:pt x="1464" y="1713"/>
                </a:lnTo>
                <a:lnTo>
                  <a:pt x="1464" y="1712"/>
                </a:lnTo>
                <a:lnTo>
                  <a:pt x="1462" y="1712"/>
                </a:lnTo>
                <a:lnTo>
                  <a:pt x="1464" y="1710"/>
                </a:lnTo>
                <a:lnTo>
                  <a:pt x="1462" y="1710"/>
                </a:lnTo>
                <a:lnTo>
                  <a:pt x="1462" y="1712"/>
                </a:lnTo>
                <a:lnTo>
                  <a:pt x="1462" y="1713"/>
                </a:lnTo>
                <a:lnTo>
                  <a:pt x="1462" y="1712"/>
                </a:lnTo>
                <a:lnTo>
                  <a:pt x="1462" y="1713"/>
                </a:lnTo>
                <a:lnTo>
                  <a:pt x="1462" y="1712"/>
                </a:lnTo>
                <a:lnTo>
                  <a:pt x="1461" y="1712"/>
                </a:lnTo>
                <a:lnTo>
                  <a:pt x="1461" y="1710"/>
                </a:lnTo>
                <a:lnTo>
                  <a:pt x="1459" y="1708"/>
                </a:lnTo>
                <a:lnTo>
                  <a:pt x="1461" y="1708"/>
                </a:lnTo>
                <a:lnTo>
                  <a:pt x="1461" y="1707"/>
                </a:lnTo>
                <a:lnTo>
                  <a:pt x="1459" y="1708"/>
                </a:lnTo>
                <a:lnTo>
                  <a:pt x="1459" y="1707"/>
                </a:lnTo>
                <a:lnTo>
                  <a:pt x="1459" y="1705"/>
                </a:lnTo>
                <a:lnTo>
                  <a:pt x="1459" y="1702"/>
                </a:lnTo>
                <a:lnTo>
                  <a:pt x="1459" y="1703"/>
                </a:lnTo>
                <a:lnTo>
                  <a:pt x="1459" y="1700"/>
                </a:lnTo>
                <a:lnTo>
                  <a:pt x="1459" y="1698"/>
                </a:lnTo>
                <a:lnTo>
                  <a:pt x="1457" y="1696"/>
                </a:lnTo>
                <a:lnTo>
                  <a:pt x="1459" y="1696"/>
                </a:lnTo>
                <a:lnTo>
                  <a:pt x="1459" y="1698"/>
                </a:lnTo>
                <a:lnTo>
                  <a:pt x="1461" y="1698"/>
                </a:lnTo>
                <a:lnTo>
                  <a:pt x="1459" y="1695"/>
                </a:lnTo>
                <a:lnTo>
                  <a:pt x="1459" y="1693"/>
                </a:lnTo>
                <a:lnTo>
                  <a:pt x="1459" y="1695"/>
                </a:lnTo>
                <a:lnTo>
                  <a:pt x="1459" y="1693"/>
                </a:lnTo>
                <a:lnTo>
                  <a:pt x="1461" y="1693"/>
                </a:lnTo>
                <a:lnTo>
                  <a:pt x="1461" y="1691"/>
                </a:lnTo>
                <a:lnTo>
                  <a:pt x="1461" y="1693"/>
                </a:lnTo>
                <a:lnTo>
                  <a:pt x="1461" y="1691"/>
                </a:lnTo>
                <a:lnTo>
                  <a:pt x="1459" y="1691"/>
                </a:lnTo>
                <a:lnTo>
                  <a:pt x="1459" y="1690"/>
                </a:lnTo>
                <a:lnTo>
                  <a:pt x="1459" y="1688"/>
                </a:lnTo>
                <a:lnTo>
                  <a:pt x="1459" y="1690"/>
                </a:lnTo>
                <a:lnTo>
                  <a:pt x="1457" y="1690"/>
                </a:lnTo>
                <a:lnTo>
                  <a:pt x="1457" y="1688"/>
                </a:lnTo>
                <a:lnTo>
                  <a:pt x="1457" y="1684"/>
                </a:lnTo>
                <a:lnTo>
                  <a:pt x="1457" y="1686"/>
                </a:lnTo>
                <a:lnTo>
                  <a:pt x="1455" y="1684"/>
                </a:lnTo>
                <a:lnTo>
                  <a:pt x="1455" y="1686"/>
                </a:lnTo>
                <a:lnTo>
                  <a:pt x="1455" y="1684"/>
                </a:lnTo>
                <a:lnTo>
                  <a:pt x="1457" y="1684"/>
                </a:lnTo>
                <a:lnTo>
                  <a:pt x="1457" y="1681"/>
                </a:lnTo>
                <a:lnTo>
                  <a:pt x="1455" y="1681"/>
                </a:lnTo>
                <a:lnTo>
                  <a:pt x="1455" y="1683"/>
                </a:lnTo>
                <a:lnTo>
                  <a:pt x="1455" y="1681"/>
                </a:lnTo>
                <a:lnTo>
                  <a:pt x="1454" y="1681"/>
                </a:lnTo>
                <a:lnTo>
                  <a:pt x="1455" y="1681"/>
                </a:lnTo>
                <a:lnTo>
                  <a:pt x="1454" y="1679"/>
                </a:lnTo>
                <a:lnTo>
                  <a:pt x="1454" y="1681"/>
                </a:lnTo>
                <a:lnTo>
                  <a:pt x="1452" y="1679"/>
                </a:lnTo>
                <a:lnTo>
                  <a:pt x="1452" y="1676"/>
                </a:lnTo>
                <a:lnTo>
                  <a:pt x="1450" y="1678"/>
                </a:lnTo>
                <a:lnTo>
                  <a:pt x="1450" y="1676"/>
                </a:lnTo>
                <a:lnTo>
                  <a:pt x="1450" y="1674"/>
                </a:lnTo>
                <a:lnTo>
                  <a:pt x="1450" y="1673"/>
                </a:lnTo>
                <a:lnTo>
                  <a:pt x="1450" y="1676"/>
                </a:lnTo>
                <a:lnTo>
                  <a:pt x="1450" y="1674"/>
                </a:lnTo>
                <a:lnTo>
                  <a:pt x="1449" y="1674"/>
                </a:lnTo>
                <a:lnTo>
                  <a:pt x="1447" y="1674"/>
                </a:lnTo>
                <a:lnTo>
                  <a:pt x="1449" y="1674"/>
                </a:lnTo>
                <a:lnTo>
                  <a:pt x="1449" y="1671"/>
                </a:lnTo>
                <a:lnTo>
                  <a:pt x="1447" y="1671"/>
                </a:lnTo>
                <a:lnTo>
                  <a:pt x="1447" y="1669"/>
                </a:lnTo>
                <a:lnTo>
                  <a:pt x="1449" y="1671"/>
                </a:lnTo>
                <a:lnTo>
                  <a:pt x="1449" y="1667"/>
                </a:lnTo>
                <a:lnTo>
                  <a:pt x="1449" y="1666"/>
                </a:lnTo>
                <a:lnTo>
                  <a:pt x="1450" y="1666"/>
                </a:lnTo>
                <a:lnTo>
                  <a:pt x="1449" y="1664"/>
                </a:lnTo>
                <a:lnTo>
                  <a:pt x="1449" y="1666"/>
                </a:lnTo>
                <a:lnTo>
                  <a:pt x="1449" y="1664"/>
                </a:lnTo>
                <a:lnTo>
                  <a:pt x="1447" y="1664"/>
                </a:lnTo>
                <a:lnTo>
                  <a:pt x="1447" y="1662"/>
                </a:lnTo>
                <a:lnTo>
                  <a:pt x="1445" y="1666"/>
                </a:lnTo>
                <a:lnTo>
                  <a:pt x="1444" y="1664"/>
                </a:lnTo>
                <a:lnTo>
                  <a:pt x="1445" y="1664"/>
                </a:lnTo>
                <a:lnTo>
                  <a:pt x="1445" y="1662"/>
                </a:lnTo>
                <a:lnTo>
                  <a:pt x="1445" y="1661"/>
                </a:lnTo>
                <a:lnTo>
                  <a:pt x="1444" y="1661"/>
                </a:lnTo>
                <a:lnTo>
                  <a:pt x="1445" y="1661"/>
                </a:lnTo>
                <a:lnTo>
                  <a:pt x="1445" y="1659"/>
                </a:lnTo>
                <a:lnTo>
                  <a:pt x="1447" y="1659"/>
                </a:lnTo>
                <a:lnTo>
                  <a:pt x="1447" y="1656"/>
                </a:lnTo>
                <a:lnTo>
                  <a:pt x="1445" y="1656"/>
                </a:lnTo>
                <a:lnTo>
                  <a:pt x="1445" y="1654"/>
                </a:lnTo>
                <a:lnTo>
                  <a:pt x="1445" y="1652"/>
                </a:lnTo>
                <a:lnTo>
                  <a:pt x="1444" y="1652"/>
                </a:lnTo>
                <a:lnTo>
                  <a:pt x="1445" y="1650"/>
                </a:lnTo>
                <a:lnTo>
                  <a:pt x="1447" y="1652"/>
                </a:lnTo>
                <a:lnTo>
                  <a:pt x="1449" y="1649"/>
                </a:lnTo>
                <a:lnTo>
                  <a:pt x="1447" y="1647"/>
                </a:lnTo>
                <a:lnTo>
                  <a:pt x="1449" y="1647"/>
                </a:lnTo>
                <a:lnTo>
                  <a:pt x="1447" y="1645"/>
                </a:lnTo>
                <a:lnTo>
                  <a:pt x="1449" y="1645"/>
                </a:lnTo>
                <a:lnTo>
                  <a:pt x="1450" y="1645"/>
                </a:lnTo>
                <a:lnTo>
                  <a:pt x="1452" y="1645"/>
                </a:lnTo>
                <a:lnTo>
                  <a:pt x="1452" y="1644"/>
                </a:lnTo>
                <a:lnTo>
                  <a:pt x="1452" y="1645"/>
                </a:lnTo>
                <a:lnTo>
                  <a:pt x="1452" y="1644"/>
                </a:lnTo>
                <a:lnTo>
                  <a:pt x="1454" y="1642"/>
                </a:lnTo>
                <a:lnTo>
                  <a:pt x="1452" y="1640"/>
                </a:lnTo>
                <a:lnTo>
                  <a:pt x="1454" y="1639"/>
                </a:lnTo>
                <a:lnTo>
                  <a:pt x="1454" y="1635"/>
                </a:lnTo>
                <a:lnTo>
                  <a:pt x="1452" y="1635"/>
                </a:lnTo>
                <a:lnTo>
                  <a:pt x="1452" y="1637"/>
                </a:lnTo>
                <a:lnTo>
                  <a:pt x="1452" y="1635"/>
                </a:lnTo>
                <a:lnTo>
                  <a:pt x="1449" y="1635"/>
                </a:lnTo>
                <a:lnTo>
                  <a:pt x="1450" y="1633"/>
                </a:lnTo>
                <a:lnTo>
                  <a:pt x="1450" y="1632"/>
                </a:lnTo>
                <a:lnTo>
                  <a:pt x="1450" y="1630"/>
                </a:lnTo>
                <a:lnTo>
                  <a:pt x="1452" y="1632"/>
                </a:lnTo>
                <a:lnTo>
                  <a:pt x="1452" y="1633"/>
                </a:lnTo>
                <a:lnTo>
                  <a:pt x="1452" y="1635"/>
                </a:lnTo>
                <a:lnTo>
                  <a:pt x="1452" y="1633"/>
                </a:lnTo>
                <a:lnTo>
                  <a:pt x="1452" y="1635"/>
                </a:lnTo>
                <a:lnTo>
                  <a:pt x="1454" y="1635"/>
                </a:lnTo>
                <a:lnTo>
                  <a:pt x="1454" y="1633"/>
                </a:lnTo>
                <a:lnTo>
                  <a:pt x="1452" y="1633"/>
                </a:lnTo>
                <a:lnTo>
                  <a:pt x="1454" y="1633"/>
                </a:lnTo>
                <a:lnTo>
                  <a:pt x="1452" y="1632"/>
                </a:lnTo>
                <a:lnTo>
                  <a:pt x="1454" y="1632"/>
                </a:lnTo>
                <a:lnTo>
                  <a:pt x="1452" y="1630"/>
                </a:lnTo>
                <a:lnTo>
                  <a:pt x="1454" y="1632"/>
                </a:lnTo>
                <a:lnTo>
                  <a:pt x="1454" y="1630"/>
                </a:lnTo>
                <a:lnTo>
                  <a:pt x="1455" y="1630"/>
                </a:lnTo>
                <a:lnTo>
                  <a:pt x="1457" y="1632"/>
                </a:lnTo>
                <a:lnTo>
                  <a:pt x="1459" y="1632"/>
                </a:lnTo>
                <a:lnTo>
                  <a:pt x="1459" y="1630"/>
                </a:lnTo>
                <a:lnTo>
                  <a:pt x="1459" y="1632"/>
                </a:lnTo>
                <a:lnTo>
                  <a:pt x="1457" y="1630"/>
                </a:lnTo>
                <a:lnTo>
                  <a:pt x="1457" y="1628"/>
                </a:lnTo>
                <a:lnTo>
                  <a:pt x="1455" y="1628"/>
                </a:lnTo>
                <a:lnTo>
                  <a:pt x="1455" y="1627"/>
                </a:lnTo>
                <a:lnTo>
                  <a:pt x="1454" y="1625"/>
                </a:lnTo>
                <a:lnTo>
                  <a:pt x="1454" y="1623"/>
                </a:lnTo>
                <a:lnTo>
                  <a:pt x="1454" y="1625"/>
                </a:lnTo>
                <a:lnTo>
                  <a:pt x="1452" y="1623"/>
                </a:lnTo>
                <a:lnTo>
                  <a:pt x="1454" y="1623"/>
                </a:lnTo>
                <a:lnTo>
                  <a:pt x="1452" y="1623"/>
                </a:lnTo>
                <a:lnTo>
                  <a:pt x="1454" y="1622"/>
                </a:lnTo>
                <a:lnTo>
                  <a:pt x="1452" y="1620"/>
                </a:lnTo>
                <a:lnTo>
                  <a:pt x="1454" y="1618"/>
                </a:lnTo>
                <a:lnTo>
                  <a:pt x="1452" y="1618"/>
                </a:lnTo>
                <a:lnTo>
                  <a:pt x="1454" y="1618"/>
                </a:lnTo>
                <a:lnTo>
                  <a:pt x="1452" y="1616"/>
                </a:lnTo>
                <a:lnTo>
                  <a:pt x="1454" y="1616"/>
                </a:lnTo>
                <a:lnTo>
                  <a:pt x="1454" y="1615"/>
                </a:lnTo>
                <a:lnTo>
                  <a:pt x="1454" y="1616"/>
                </a:lnTo>
                <a:lnTo>
                  <a:pt x="1454" y="1618"/>
                </a:lnTo>
                <a:lnTo>
                  <a:pt x="1455" y="1620"/>
                </a:lnTo>
                <a:lnTo>
                  <a:pt x="1457" y="1620"/>
                </a:lnTo>
                <a:lnTo>
                  <a:pt x="1457" y="1618"/>
                </a:lnTo>
                <a:lnTo>
                  <a:pt x="1461" y="1620"/>
                </a:lnTo>
                <a:lnTo>
                  <a:pt x="1459" y="1618"/>
                </a:lnTo>
                <a:lnTo>
                  <a:pt x="1459" y="1616"/>
                </a:lnTo>
                <a:lnTo>
                  <a:pt x="1461" y="1618"/>
                </a:lnTo>
                <a:lnTo>
                  <a:pt x="1461" y="1616"/>
                </a:lnTo>
                <a:lnTo>
                  <a:pt x="1461" y="1615"/>
                </a:lnTo>
                <a:lnTo>
                  <a:pt x="1461" y="1616"/>
                </a:lnTo>
                <a:lnTo>
                  <a:pt x="1462" y="1616"/>
                </a:lnTo>
                <a:lnTo>
                  <a:pt x="1462" y="1615"/>
                </a:lnTo>
                <a:lnTo>
                  <a:pt x="1462" y="1616"/>
                </a:lnTo>
                <a:lnTo>
                  <a:pt x="1464" y="1616"/>
                </a:lnTo>
                <a:lnTo>
                  <a:pt x="1464" y="1615"/>
                </a:lnTo>
                <a:lnTo>
                  <a:pt x="1464" y="1616"/>
                </a:lnTo>
                <a:lnTo>
                  <a:pt x="1464" y="1615"/>
                </a:lnTo>
                <a:lnTo>
                  <a:pt x="1466" y="1615"/>
                </a:lnTo>
                <a:lnTo>
                  <a:pt x="1466" y="1616"/>
                </a:lnTo>
                <a:lnTo>
                  <a:pt x="1466" y="1615"/>
                </a:lnTo>
                <a:lnTo>
                  <a:pt x="1466" y="1616"/>
                </a:lnTo>
                <a:lnTo>
                  <a:pt x="1467" y="1615"/>
                </a:lnTo>
                <a:lnTo>
                  <a:pt x="1467" y="1616"/>
                </a:lnTo>
                <a:lnTo>
                  <a:pt x="1467" y="1618"/>
                </a:lnTo>
                <a:lnTo>
                  <a:pt x="1469" y="1618"/>
                </a:lnTo>
                <a:lnTo>
                  <a:pt x="1466" y="1618"/>
                </a:lnTo>
                <a:lnTo>
                  <a:pt x="1467" y="1620"/>
                </a:lnTo>
                <a:lnTo>
                  <a:pt x="1466" y="1620"/>
                </a:lnTo>
                <a:lnTo>
                  <a:pt x="1464" y="1622"/>
                </a:lnTo>
                <a:lnTo>
                  <a:pt x="1466" y="1620"/>
                </a:lnTo>
                <a:lnTo>
                  <a:pt x="1467" y="1620"/>
                </a:lnTo>
                <a:lnTo>
                  <a:pt x="1467" y="1622"/>
                </a:lnTo>
                <a:lnTo>
                  <a:pt x="1469" y="1622"/>
                </a:lnTo>
                <a:lnTo>
                  <a:pt x="1467" y="1620"/>
                </a:lnTo>
                <a:lnTo>
                  <a:pt x="1469" y="1620"/>
                </a:lnTo>
                <a:lnTo>
                  <a:pt x="1469" y="1618"/>
                </a:lnTo>
                <a:lnTo>
                  <a:pt x="1467" y="1616"/>
                </a:lnTo>
                <a:lnTo>
                  <a:pt x="1469" y="1616"/>
                </a:lnTo>
                <a:lnTo>
                  <a:pt x="1467" y="1615"/>
                </a:lnTo>
                <a:lnTo>
                  <a:pt x="1469" y="1616"/>
                </a:lnTo>
                <a:lnTo>
                  <a:pt x="1471" y="1615"/>
                </a:lnTo>
                <a:lnTo>
                  <a:pt x="1471" y="1618"/>
                </a:lnTo>
                <a:lnTo>
                  <a:pt x="1471" y="1616"/>
                </a:lnTo>
                <a:lnTo>
                  <a:pt x="1472" y="1615"/>
                </a:lnTo>
                <a:lnTo>
                  <a:pt x="1474" y="1616"/>
                </a:lnTo>
                <a:lnTo>
                  <a:pt x="1474" y="1615"/>
                </a:lnTo>
                <a:lnTo>
                  <a:pt x="1474" y="1613"/>
                </a:lnTo>
                <a:lnTo>
                  <a:pt x="1474" y="1615"/>
                </a:lnTo>
                <a:lnTo>
                  <a:pt x="1474" y="1613"/>
                </a:lnTo>
                <a:lnTo>
                  <a:pt x="1476" y="1611"/>
                </a:lnTo>
                <a:lnTo>
                  <a:pt x="1476" y="1610"/>
                </a:lnTo>
                <a:lnTo>
                  <a:pt x="1479" y="1611"/>
                </a:lnTo>
                <a:lnTo>
                  <a:pt x="1478" y="1610"/>
                </a:lnTo>
                <a:lnTo>
                  <a:pt x="1479" y="1608"/>
                </a:lnTo>
                <a:lnTo>
                  <a:pt x="1478" y="1606"/>
                </a:lnTo>
                <a:lnTo>
                  <a:pt x="1476" y="1605"/>
                </a:lnTo>
                <a:lnTo>
                  <a:pt x="1474" y="1605"/>
                </a:lnTo>
                <a:lnTo>
                  <a:pt x="1474" y="1603"/>
                </a:lnTo>
                <a:lnTo>
                  <a:pt x="1472" y="1601"/>
                </a:lnTo>
                <a:lnTo>
                  <a:pt x="1471" y="1601"/>
                </a:lnTo>
                <a:lnTo>
                  <a:pt x="1471" y="1599"/>
                </a:lnTo>
                <a:lnTo>
                  <a:pt x="1474" y="1598"/>
                </a:lnTo>
                <a:lnTo>
                  <a:pt x="1476" y="1599"/>
                </a:lnTo>
                <a:lnTo>
                  <a:pt x="1478" y="1601"/>
                </a:lnTo>
                <a:lnTo>
                  <a:pt x="1478" y="1599"/>
                </a:lnTo>
                <a:lnTo>
                  <a:pt x="1474" y="1598"/>
                </a:lnTo>
                <a:lnTo>
                  <a:pt x="1474" y="1596"/>
                </a:lnTo>
                <a:lnTo>
                  <a:pt x="1472" y="1596"/>
                </a:lnTo>
                <a:lnTo>
                  <a:pt x="1474" y="1593"/>
                </a:lnTo>
                <a:lnTo>
                  <a:pt x="1474" y="1591"/>
                </a:lnTo>
                <a:lnTo>
                  <a:pt x="1476" y="1591"/>
                </a:lnTo>
                <a:lnTo>
                  <a:pt x="1476" y="1593"/>
                </a:lnTo>
                <a:lnTo>
                  <a:pt x="1474" y="1593"/>
                </a:lnTo>
                <a:lnTo>
                  <a:pt x="1476" y="1594"/>
                </a:lnTo>
                <a:lnTo>
                  <a:pt x="1476" y="1596"/>
                </a:lnTo>
                <a:lnTo>
                  <a:pt x="1478" y="1598"/>
                </a:lnTo>
                <a:lnTo>
                  <a:pt x="1478" y="1596"/>
                </a:lnTo>
                <a:lnTo>
                  <a:pt x="1479" y="1598"/>
                </a:lnTo>
                <a:lnTo>
                  <a:pt x="1478" y="1594"/>
                </a:lnTo>
                <a:lnTo>
                  <a:pt x="1479" y="1593"/>
                </a:lnTo>
                <a:lnTo>
                  <a:pt x="1478" y="1591"/>
                </a:lnTo>
                <a:lnTo>
                  <a:pt x="1479" y="1591"/>
                </a:lnTo>
                <a:lnTo>
                  <a:pt x="1479" y="1589"/>
                </a:lnTo>
                <a:lnTo>
                  <a:pt x="1478" y="1591"/>
                </a:lnTo>
                <a:lnTo>
                  <a:pt x="1476" y="1589"/>
                </a:lnTo>
                <a:lnTo>
                  <a:pt x="1478" y="1588"/>
                </a:lnTo>
                <a:lnTo>
                  <a:pt x="1479" y="1588"/>
                </a:lnTo>
                <a:lnTo>
                  <a:pt x="1479" y="1586"/>
                </a:lnTo>
                <a:lnTo>
                  <a:pt x="1479" y="1584"/>
                </a:lnTo>
                <a:lnTo>
                  <a:pt x="1479" y="1582"/>
                </a:lnTo>
                <a:lnTo>
                  <a:pt x="1481" y="1584"/>
                </a:lnTo>
                <a:lnTo>
                  <a:pt x="1481" y="1582"/>
                </a:lnTo>
                <a:lnTo>
                  <a:pt x="1481" y="1579"/>
                </a:lnTo>
                <a:lnTo>
                  <a:pt x="1483" y="1579"/>
                </a:lnTo>
                <a:lnTo>
                  <a:pt x="1483" y="1581"/>
                </a:lnTo>
                <a:lnTo>
                  <a:pt x="1484" y="1582"/>
                </a:lnTo>
                <a:lnTo>
                  <a:pt x="1484" y="1581"/>
                </a:lnTo>
                <a:lnTo>
                  <a:pt x="1483" y="1579"/>
                </a:lnTo>
                <a:lnTo>
                  <a:pt x="1484" y="1579"/>
                </a:lnTo>
                <a:lnTo>
                  <a:pt x="1486" y="1581"/>
                </a:lnTo>
                <a:lnTo>
                  <a:pt x="1486" y="1582"/>
                </a:lnTo>
                <a:lnTo>
                  <a:pt x="1486" y="1581"/>
                </a:lnTo>
                <a:lnTo>
                  <a:pt x="1488" y="1582"/>
                </a:lnTo>
                <a:lnTo>
                  <a:pt x="1489" y="1582"/>
                </a:lnTo>
                <a:lnTo>
                  <a:pt x="1489" y="1584"/>
                </a:lnTo>
                <a:lnTo>
                  <a:pt x="1489" y="1582"/>
                </a:lnTo>
                <a:lnTo>
                  <a:pt x="1488" y="1579"/>
                </a:lnTo>
                <a:lnTo>
                  <a:pt x="1489" y="1579"/>
                </a:lnTo>
                <a:lnTo>
                  <a:pt x="1488" y="1581"/>
                </a:lnTo>
                <a:lnTo>
                  <a:pt x="1489" y="1581"/>
                </a:lnTo>
                <a:lnTo>
                  <a:pt x="1489" y="1579"/>
                </a:lnTo>
                <a:lnTo>
                  <a:pt x="1489" y="1577"/>
                </a:lnTo>
                <a:lnTo>
                  <a:pt x="1491" y="1577"/>
                </a:lnTo>
                <a:lnTo>
                  <a:pt x="1488" y="1577"/>
                </a:lnTo>
                <a:lnTo>
                  <a:pt x="1489" y="1576"/>
                </a:lnTo>
                <a:lnTo>
                  <a:pt x="1491" y="1576"/>
                </a:lnTo>
                <a:lnTo>
                  <a:pt x="1489" y="1574"/>
                </a:lnTo>
                <a:lnTo>
                  <a:pt x="1488" y="1572"/>
                </a:lnTo>
                <a:lnTo>
                  <a:pt x="1486" y="1572"/>
                </a:lnTo>
                <a:lnTo>
                  <a:pt x="1488" y="1574"/>
                </a:lnTo>
                <a:lnTo>
                  <a:pt x="1486" y="1572"/>
                </a:lnTo>
                <a:lnTo>
                  <a:pt x="1483" y="1574"/>
                </a:lnTo>
                <a:lnTo>
                  <a:pt x="1481" y="1572"/>
                </a:lnTo>
                <a:lnTo>
                  <a:pt x="1483" y="1571"/>
                </a:lnTo>
                <a:lnTo>
                  <a:pt x="1483" y="1572"/>
                </a:lnTo>
                <a:lnTo>
                  <a:pt x="1483" y="1571"/>
                </a:lnTo>
                <a:lnTo>
                  <a:pt x="1481" y="1571"/>
                </a:lnTo>
                <a:lnTo>
                  <a:pt x="1483" y="1571"/>
                </a:lnTo>
                <a:lnTo>
                  <a:pt x="1484" y="1571"/>
                </a:lnTo>
                <a:lnTo>
                  <a:pt x="1486" y="1571"/>
                </a:lnTo>
                <a:lnTo>
                  <a:pt x="1486" y="1569"/>
                </a:lnTo>
                <a:lnTo>
                  <a:pt x="1484" y="1569"/>
                </a:lnTo>
                <a:lnTo>
                  <a:pt x="1486" y="1569"/>
                </a:lnTo>
                <a:lnTo>
                  <a:pt x="1488" y="1571"/>
                </a:lnTo>
                <a:lnTo>
                  <a:pt x="1488" y="1569"/>
                </a:lnTo>
                <a:lnTo>
                  <a:pt x="1486" y="1567"/>
                </a:lnTo>
                <a:lnTo>
                  <a:pt x="1484" y="1567"/>
                </a:lnTo>
                <a:lnTo>
                  <a:pt x="1486" y="1565"/>
                </a:lnTo>
                <a:lnTo>
                  <a:pt x="1488" y="1565"/>
                </a:lnTo>
                <a:lnTo>
                  <a:pt x="1489" y="1565"/>
                </a:lnTo>
                <a:lnTo>
                  <a:pt x="1489" y="1567"/>
                </a:lnTo>
                <a:lnTo>
                  <a:pt x="1491" y="1569"/>
                </a:lnTo>
                <a:lnTo>
                  <a:pt x="1489" y="1569"/>
                </a:lnTo>
                <a:lnTo>
                  <a:pt x="1491" y="1571"/>
                </a:lnTo>
                <a:lnTo>
                  <a:pt x="1489" y="1571"/>
                </a:lnTo>
                <a:lnTo>
                  <a:pt x="1491" y="1571"/>
                </a:lnTo>
                <a:lnTo>
                  <a:pt x="1491" y="1572"/>
                </a:lnTo>
                <a:lnTo>
                  <a:pt x="1493" y="1574"/>
                </a:lnTo>
                <a:lnTo>
                  <a:pt x="1493" y="1572"/>
                </a:lnTo>
                <a:lnTo>
                  <a:pt x="1493" y="1571"/>
                </a:lnTo>
                <a:lnTo>
                  <a:pt x="1491" y="1571"/>
                </a:lnTo>
                <a:lnTo>
                  <a:pt x="1493" y="1571"/>
                </a:lnTo>
                <a:lnTo>
                  <a:pt x="1493" y="1569"/>
                </a:lnTo>
                <a:lnTo>
                  <a:pt x="1491" y="1569"/>
                </a:lnTo>
                <a:lnTo>
                  <a:pt x="1493" y="1567"/>
                </a:lnTo>
                <a:lnTo>
                  <a:pt x="1491" y="1567"/>
                </a:lnTo>
                <a:lnTo>
                  <a:pt x="1493" y="1565"/>
                </a:lnTo>
                <a:lnTo>
                  <a:pt x="1495" y="1567"/>
                </a:lnTo>
                <a:lnTo>
                  <a:pt x="1495" y="1565"/>
                </a:lnTo>
                <a:lnTo>
                  <a:pt x="1493" y="1564"/>
                </a:lnTo>
                <a:lnTo>
                  <a:pt x="1495" y="1565"/>
                </a:lnTo>
                <a:lnTo>
                  <a:pt x="1495" y="1562"/>
                </a:lnTo>
                <a:lnTo>
                  <a:pt x="1496" y="1564"/>
                </a:lnTo>
                <a:lnTo>
                  <a:pt x="1498" y="1564"/>
                </a:lnTo>
                <a:lnTo>
                  <a:pt x="1496" y="1562"/>
                </a:lnTo>
                <a:lnTo>
                  <a:pt x="1498" y="1562"/>
                </a:lnTo>
                <a:lnTo>
                  <a:pt x="1498" y="1564"/>
                </a:lnTo>
                <a:lnTo>
                  <a:pt x="1498" y="1562"/>
                </a:lnTo>
                <a:lnTo>
                  <a:pt x="1500" y="1562"/>
                </a:lnTo>
                <a:lnTo>
                  <a:pt x="1500" y="1560"/>
                </a:lnTo>
                <a:lnTo>
                  <a:pt x="1501" y="1562"/>
                </a:lnTo>
                <a:lnTo>
                  <a:pt x="1501" y="1560"/>
                </a:lnTo>
                <a:lnTo>
                  <a:pt x="1503" y="1560"/>
                </a:lnTo>
                <a:lnTo>
                  <a:pt x="1501" y="1559"/>
                </a:lnTo>
                <a:lnTo>
                  <a:pt x="1501" y="1557"/>
                </a:lnTo>
                <a:lnTo>
                  <a:pt x="1501" y="1555"/>
                </a:lnTo>
                <a:lnTo>
                  <a:pt x="1500" y="1552"/>
                </a:lnTo>
                <a:lnTo>
                  <a:pt x="1500" y="1550"/>
                </a:lnTo>
                <a:lnTo>
                  <a:pt x="1501" y="1550"/>
                </a:lnTo>
                <a:lnTo>
                  <a:pt x="1503" y="1552"/>
                </a:lnTo>
                <a:lnTo>
                  <a:pt x="1506" y="1552"/>
                </a:lnTo>
                <a:lnTo>
                  <a:pt x="1506" y="1550"/>
                </a:lnTo>
                <a:lnTo>
                  <a:pt x="1508" y="1552"/>
                </a:lnTo>
                <a:lnTo>
                  <a:pt x="1508" y="1548"/>
                </a:lnTo>
                <a:lnTo>
                  <a:pt x="1506" y="1548"/>
                </a:lnTo>
                <a:lnTo>
                  <a:pt x="1506" y="1547"/>
                </a:lnTo>
                <a:lnTo>
                  <a:pt x="1506" y="1545"/>
                </a:lnTo>
                <a:lnTo>
                  <a:pt x="1508" y="1547"/>
                </a:lnTo>
                <a:lnTo>
                  <a:pt x="1506" y="1545"/>
                </a:lnTo>
                <a:lnTo>
                  <a:pt x="1508" y="1545"/>
                </a:lnTo>
                <a:lnTo>
                  <a:pt x="1508" y="1543"/>
                </a:lnTo>
                <a:lnTo>
                  <a:pt x="1506" y="1543"/>
                </a:lnTo>
                <a:lnTo>
                  <a:pt x="1508" y="1543"/>
                </a:lnTo>
                <a:lnTo>
                  <a:pt x="1508" y="1542"/>
                </a:lnTo>
                <a:lnTo>
                  <a:pt x="1508" y="1540"/>
                </a:lnTo>
                <a:lnTo>
                  <a:pt x="1508" y="1538"/>
                </a:lnTo>
                <a:lnTo>
                  <a:pt x="1512" y="1537"/>
                </a:lnTo>
                <a:lnTo>
                  <a:pt x="1512" y="1535"/>
                </a:lnTo>
                <a:lnTo>
                  <a:pt x="1512" y="1533"/>
                </a:lnTo>
                <a:lnTo>
                  <a:pt x="1512" y="1535"/>
                </a:lnTo>
                <a:lnTo>
                  <a:pt x="1512" y="1533"/>
                </a:lnTo>
                <a:lnTo>
                  <a:pt x="1513" y="1531"/>
                </a:lnTo>
                <a:lnTo>
                  <a:pt x="1513" y="1530"/>
                </a:lnTo>
                <a:lnTo>
                  <a:pt x="1515" y="1528"/>
                </a:lnTo>
                <a:lnTo>
                  <a:pt x="1515" y="1526"/>
                </a:lnTo>
                <a:lnTo>
                  <a:pt x="1515" y="1523"/>
                </a:lnTo>
                <a:lnTo>
                  <a:pt x="1517" y="1523"/>
                </a:lnTo>
                <a:lnTo>
                  <a:pt x="1517" y="1521"/>
                </a:lnTo>
                <a:lnTo>
                  <a:pt x="1518" y="1519"/>
                </a:lnTo>
                <a:lnTo>
                  <a:pt x="1520" y="1516"/>
                </a:lnTo>
                <a:lnTo>
                  <a:pt x="1520" y="1518"/>
                </a:lnTo>
                <a:lnTo>
                  <a:pt x="1520" y="1516"/>
                </a:lnTo>
                <a:lnTo>
                  <a:pt x="1520" y="1514"/>
                </a:lnTo>
                <a:lnTo>
                  <a:pt x="1522" y="1514"/>
                </a:lnTo>
                <a:lnTo>
                  <a:pt x="1520" y="1513"/>
                </a:lnTo>
                <a:lnTo>
                  <a:pt x="1522" y="1513"/>
                </a:lnTo>
                <a:lnTo>
                  <a:pt x="1523" y="1511"/>
                </a:lnTo>
                <a:lnTo>
                  <a:pt x="1523" y="1509"/>
                </a:lnTo>
                <a:lnTo>
                  <a:pt x="1523" y="1508"/>
                </a:lnTo>
                <a:lnTo>
                  <a:pt x="1522" y="1508"/>
                </a:lnTo>
                <a:lnTo>
                  <a:pt x="1523" y="1508"/>
                </a:lnTo>
                <a:lnTo>
                  <a:pt x="1523" y="1504"/>
                </a:lnTo>
                <a:lnTo>
                  <a:pt x="1523" y="1506"/>
                </a:lnTo>
                <a:lnTo>
                  <a:pt x="1523" y="1504"/>
                </a:lnTo>
                <a:lnTo>
                  <a:pt x="1523" y="1502"/>
                </a:lnTo>
                <a:lnTo>
                  <a:pt x="1525" y="1501"/>
                </a:lnTo>
                <a:lnTo>
                  <a:pt x="1523" y="1501"/>
                </a:lnTo>
                <a:lnTo>
                  <a:pt x="1525" y="1499"/>
                </a:lnTo>
                <a:lnTo>
                  <a:pt x="1527" y="1499"/>
                </a:lnTo>
                <a:lnTo>
                  <a:pt x="1527" y="1497"/>
                </a:lnTo>
                <a:lnTo>
                  <a:pt x="1525" y="1494"/>
                </a:lnTo>
                <a:lnTo>
                  <a:pt x="1527" y="1494"/>
                </a:lnTo>
                <a:lnTo>
                  <a:pt x="1525" y="1491"/>
                </a:lnTo>
                <a:lnTo>
                  <a:pt x="1527" y="1491"/>
                </a:lnTo>
                <a:lnTo>
                  <a:pt x="1529" y="1489"/>
                </a:lnTo>
                <a:lnTo>
                  <a:pt x="1529" y="1491"/>
                </a:lnTo>
                <a:lnTo>
                  <a:pt x="1529" y="1492"/>
                </a:lnTo>
                <a:lnTo>
                  <a:pt x="1529" y="1489"/>
                </a:lnTo>
                <a:lnTo>
                  <a:pt x="1529" y="1487"/>
                </a:lnTo>
                <a:lnTo>
                  <a:pt x="1530" y="1487"/>
                </a:lnTo>
                <a:lnTo>
                  <a:pt x="1532" y="1485"/>
                </a:lnTo>
                <a:lnTo>
                  <a:pt x="1532" y="1484"/>
                </a:lnTo>
                <a:lnTo>
                  <a:pt x="1534" y="1485"/>
                </a:lnTo>
                <a:lnTo>
                  <a:pt x="1535" y="1484"/>
                </a:lnTo>
                <a:lnTo>
                  <a:pt x="1535" y="1482"/>
                </a:lnTo>
                <a:lnTo>
                  <a:pt x="1539" y="1482"/>
                </a:lnTo>
                <a:lnTo>
                  <a:pt x="1540" y="1480"/>
                </a:lnTo>
                <a:lnTo>
                  <a:pt x="1542" y="1482"/>
                </a:lnTo>
                <a:lnTo>
                  <a:pt x="1542" y="1480"/>
                </a:lnTo>
                <a:lnTo>
                  <a:pt x="1544" y="1484"/>
                </a:lnTo>
                <a:lnTo>
                  <a:pt x="1547" y="1484"/>
                </a:lnTo>
                <a:lnTo>
                  <a:pt x="1547" y="1485"/>
                </a:lnTo>
                <a:lnTo>
                  <a:pt x="1549" y="1484"/>
                </a:lnTo>
                <a:lnTo>
                  <a:pt x="1549" y="1482"/>
                </a:lnTo>
                <a:lnTo>
                  <a:pt x="1549" y="1480"/>
                </a:lnTo>
                <a:lnTo>
                  <a:pt x="1547" y="1480"/>
                </a:lnTo>
                <a:lnTo>
                  <a:pt x="1546" y="1479"/>
                </a:lnTo>
                <a:lnTo>
                  <a:pt x="1544" y="1479"/>
                </a:lnTo>
                <a:lnTo>
                  <a:pt x="1542" y="1475"/>
                </a:lnTo>
                <a:lnTo>
                  <a:pt x="1542" y="1474"/>
                </a:lnTo>
                <a:lnTo>
                  <a:pt x="1544" y="1474"/>
                </a:lnTo>
                <a:lnTo>
                  <a:pt x="1546" y="1475"/>
                </a:lnTo>
                <a:lnTo>
                  <a:pt x="1546" y="1474"/>
                </a:lnTo>
                <a:lnTo>
                  <a:pt x="1547" y="1475"/>
                </a:lnTo>
                <a:lnTo>
                  <a:pt x="1549" y="1477"/>
                </a:lnTo>
                <a:lnTo>
                  <a:pt x="1551" y="1475"/>
                </a:lnTo>
                <a:lnTo>
                  <a:pt x="1551" y="1474"/>
                </a:lnTo>
                <a:lnTo>
                  <a:pt x="1547" y="1474"/>
                </a:lnTo>
                <a:lnTo>
                  <a:pt x="1549" y="1474"/>
                </a:lnTo>
                <a:lnTo>
                  <a:pt x="1551" y="1472"/>
                </a:lnTo>
                <a:lnTo>
                  <a:pt x="1549" y="1470"/>
                </a:lnTo>
                <a:lnTo>
                  <a:pt x="1547" y="1468"/>
                </a:lnTo>
                <a:lnTo>
                  <a:pt x="1546" y="1467"/>
                </a:lnTo>
                <a:lnTo>
                  <a:pt x="1544" y="1467"/>
                </a:lnTo>
                <a:lnTo>
                  <a:pt x="1542" y="1465"/>
                </a:lnTo>
                <a:lnTo>
                  <a:pt x="1540" y="1465"/>
                </a:lnTo>
                <a:lnTo>
                  <a:pt x="1540" y="1462"/>
                </a:lnTo>
                <a:lnTo>
                  <a:pt x="1542" y="1462"/>
                </a:lnTo>
                <a:lnTo>
                  <a:pt x="1540" y="1460"/>
                </a:lnTo>
                <a:lnTo>
                  <a:pt x="1542" y="1460"/>
                </a:lnTo>
                <a:lnTo>
                  <a:pt x="1544" y="1462"/>
                </a:lnTo>
                <a:lnTo>
                  <a:pt x="1544" y="1460"/>
                </a:lnTo>
                <a:lnTo>
                  <a:pt x="1540" y="1460"/>
                </a:lnTo>
                <a:lnTo>
                  <a:pt x="1540" y="1458"/>
                </a:lnTo>
                <a:lnTo>
                  <a:pt x="1542" y="1457"/>
                </a:lnTo>
                <a:lnTo>
                  <a:pt x="1540" y="1457"/>
                </a:lnTo>
                <a:lnTo>
                  <a:pt x="1542" y="1455"/>
                </a:lnTo>
                <a:lnTo>
                  <a:pt x="1540" y="1455"/>
                </a:lnTo>
                <a:lnTo>
                  <a:pt x="1540" y="1453"/>
                </a:lnTo>
                <a:lnTo>
                  <a:pt x="1539" y="1451"/>
                </a:lnTo>
                <a:lnTo>
                  <a:pt x="1537" y="1451"/>
                </a:lnTo>
                <a:lnTo>
                  <a:pt x="1539" y="1450"/>
                </a:lnTo>
                <a:lnTo>
                  <a:pt x="1540" y="1451"/>
                </a:lnTo>
                <a:lnTo>
                  <a:pt x="1544" y="1450"/>
                </a:lnTo>
                <a:lnTo>
                  <a:pt x="1542" y="1450"/>
                </a:lnTo>
                <a:lnTo>
                  <a:pt x="1540" y="1451"/>
                </a:lnTo>
                <a:lnTo>
                  <a:pt x="1540" y="1450"/>
                </a:lnTo>
                <a:lnTo>
                  <a:pt x="1539" y="1450"/>
                </a:lnTo>
                <a:lnTo>
                  <a:pt x="1539" y="1448"/>
                </a:lnTo>
                <a:lnTo>
                  <a:pt x="1540" y="1448"/>
                </a:lnTo>
                <a:lnTo>
                  <a:pt x="1539" y="1448"/>
                </a:lnTo>
                <a:lnTo>
                  <a:pt x="1539" y="1446"/>
                </a:lnTo>
                <a:lnTo>
                  <a:pt x="1537" y="1446"/>
                </a:lnTo>
                <a:lnTo>
                  <a:pt x="1537" y="1445"/>
                </a:lnTo>
                <a:lnTo>
                  <a:pt x="1539" y="1446"/>
                </a:lnTo>
                <a:lnTo>
                  <a:pt x="1539" y="1445"/>
                </a:lnTo>
                <a:lnTo>
                  <a:pt x="1540" y="1445"/>
                </a:lnTo>
                <a:lnTo>
                  <a:pt x="1539" y="1443"/>
                </a:lnTo>
                <a:lnTo>
                  <a:pt x="1540" y="1441"/>
                </a:lnTo>
                <a:lnTo>
                  <a:pt x="1539" y="1440"/>
                </a:lnTo>
                <a:lnTo>
                  <a:pt x="1537" y="1440"/>
                </a:lnTo>
                <a:lnTo>
                  <a:pt x="1537" y="1438"/>
                </a:lnTo>
                <a:lnTo>
                  <a:pt x="1535" y="1436"/>
                </a:lnTo>
                <a:lnTo>
                  <a:pt x="1534" y="1434"/>
                </a:lnTo>
                <a:lnTo>
                  <a:pt x="1532" y="1434"/>
                </a:lnTo>
                <a:lnTo>
                  <a:pt x="1532" y="1433"/>
                </a:lnTo>
                <a:lnTo>
                  <a:pt x="1532" y="1434"/>
                </a:lnTo>
                <a:lnTo>
                  <a:pt x="1530" y="1436"/>
                </a:lnTo>
                <a:lnTo>
                  <a:pt x="1530" y="1434"/>
                </a:lnTo>
                <a:lnTo>
                  <a:pt x="1529" y="1434"/>
                </a:lnTo>
                <a:lnTo>
                  <a:pt x="1530" y="1433"/>
                </a:lnTo>
                <a:lnTo>
                  <a:pt x="1529" y="1431"/>
                </a:lnTo>
                <a:lnTo>
                  <a:pt x="1527" y="1431"/>
                </a:lnTo>
                <a:lnTo>
                  <a:pt x="1525" y="1431"/>
                </a:lnTo>
                <a:lnTo>
                  <a:pt x="1522" y="1429"/>
                </a:lnTo>
                <a:lnTo>
                  <a:pt x="1522" y="1431"/>
                </a:lnTo>
                <a:lnTo>
                  <a:pt x="1520" y="1429"/>
                </a:lnTo>
                <a:lnTo>
                  <a:pt x="1520" y="1431"/>
                </a:lnTo>
                <a:lnTo>
                  <a:pt x="1518" y="1431"/>
                </a:lnTo>
                <a:lnTo>
                  <a:pt x="1518" y="1433"/>
                </a:lnTo>
                <a:lnTo>
                  <a:pt x="1517" y="1433"/>
                </a:lnTo>
                <a:lnTo>
                  <a:pt x="1517" y="1431"/>
                </a:lnTo>
                <a:lnTo>
                  <a:pt x="1515" y="1429"/>
                </a:lnTo>
                <a:lnTo>
                  <a:pt x="1515" y="1428"/>
                </a:lnTo>
                <a:lnTo>
                  <a:pt x="1513" y="1428"/>
                </a:lnTo>
                <a:lnTo>
                  <a:pt x="1512" y="1428"/>
                </a:lnTo>
                <a:lnTo>
                  <a:pt x="1512" y="1426"/>
                </a:lnTo>
                <a:lnTo>
                  <a:pt x="1510" y="1424"/>
                </a:lnTo>
                <a:lnTo>
                  <a:pt x="1510" y="1426"/>
                </a:lnTo>
                <a:lnTo>
                  <a:pt x="1508" y="1426"/>
                </a:lnTo>
                <a:lnTo>
                  <a:pt x="1510" y="1424"/>
                </a:lnTo>
                <a:lnTo>
                  <a:pt x="1512" y="1423"/>
                </a:lnTo>
                <a:lnTo>
                  <a:pt x="1512" y="1421"/>
                </a:lnTo>
                <a:lnTo>
                  <a:pt x="1512" y="1419"/>
                </a:lnTo>
                <a:lnTo>
                  <a:pt x="1512" y="1417"/>
                </a:lnTo>
                <a:lnTo>
                  <a:pt x="1512" y="1419"/>
                </a:lnTo>
                <a:lnTo>
                  <a:pt x="1512" y="1423"/>
                </a:lnTo>
                <a:lnTo>
                  <a:pt x="1508" y="1424"/>
                </a:lnTo>
                <a:lnTo>
                  <a:pt x="1506" y="1424"/>
                </a:lnTo>
                <a:lnTo>
                  <a:pt x="1505" y="1424"/>
                </a:lnTo>
                <a:lnTo>
                  <a:pt x="1503" y="1424"/>
                </a:lnTo>
                <a:lnTo>
                  <a:pt x="1503" y="1423"/>
                </a:lnTo>
                <a:lnTo>
                  <a:pt x="1501" y="1423"/>
                </a:lnTo>
                <a:lnTo>
                  <a:pt x="1503" y="1423"/>
                </a:lnTo>
                <a:lnTo>
                  <a:pt x="1501" y="1423"/>
                </a:lnTo>
                <a:lnTo>
                  <a:pt x="1498" y="1423"/>
                </a:lnTo>
                <a:lnTo>
                  <a:pt x="1500" y="1424"/>
                </a:lnTo>
                <a:lnTo>
                  <a:pt x="1496" y="1424"/>
                </a:lnTo>
                <a:lnTo>
                  <a:pt x="1496" y="1426"/>
                </a:lnTo>
                <a:lnTo>
                  <a:pt x="1495" y="1424"/>
                </a:lnTo>
                <a:lnTo>
                  <a:pt x="1495" y="1426"/>
                </a:lnTo>
                <a:lnTo>
                  <a:pt x="1495" y="1424"/>
                </a:lnTo>
                <a:lnTo>
                  <a:pt x="1495" y="1426"/>
                </a:lnTo>
                <a:lnTo>
                  <a:pt x="1493" y="1426"/>
                </a:lnTo>
                <a:lnTo>
                  <a:pt x="1493" y="1428"/>
                </a:lnTo>
                <a:lnTo>
                  <a:pt x="1491" y="1426"/>
                </a:lnTo>
                <a:lnTo>
                  <a:pt x="1491" y="1429"/>
                </a:lnTo>
                <a:lnTo>
                  <a:pt x="1489" y="1431"/>
                </a:lnTo>
                <a:lnTo>
                  <a:pt x="1489" y="1433"/>
                </a:lnTo>
                <a:lnTo>
                  <a:pt x="1489" y="1434"/>
                </a:lnTo>
                <a:lnTo>
                  <a:pt x="1488" y="1434"/>
                </a:lnTo>
                <a:lnTo>
                  <a:pt x="1486" y="1431"/>
                </a:lnTo>
                <a:lnTo>
                  <a:pt x="1488" y="1431"/>
                </a:lnTo>
                <a:lnTo>
                  <a:pt x="1488" y="1429"/>
                </a:lnTo>
                <a:lnTo>
                  <a:pt x="1489" y="1431"/>
                </a:lnTo>
                <a:lnTo>
                  <a:pt x="1489" y="1429"/>
                </a:lnTo>
                <a:lnTo>
                  <a:pt x="1489" y="1431"/>
                </a:lnTo>
                <a:lnTo>
                  <a:pt x="1489" y="1429"/>
                </a:lnTo>
                <a:lnTo>
                  <a:pt x="1491" y="1429"/>
                </a:lnTo>
                <a:lnTo>
                  <a:pt x="1491" y="1428"/>
                </a:lnTo>
                <a:lnTo>
                  <a:pt x="1488" y="1428"/>
                </a:lnTo>
                <a:lnTo>
                  <a:pt x="1489" y="1428"/>
                </a:lnTo>
                <a:lnTo>
                  <a:pt x="1488" y="1424"/>
                </a:lnTo>
                <a:lnTo>
                  <a:pt x="1486" y="1424"/>
                </a:lnTo>
                <a:lnTo>
                  <a:pt x="1486" y="1428"/>
                </a:lnTo>
                <a:lnTo>
                  <a:pt x="1484" y="1428"/>
                </a:lnTo>
                <a:lnTo>
                  <a:pt x="1483" y="1428"/>
                </a:lnTo>
                <a:lnTo>
                  <a:pt x="1484" y="1429"/>
                </a:lnTo>
                <a:lnTo>
                  <a:pt x="1483" y="1428"/>
                </a:lnTo>
                <a:lnTo>
                  <a:pt x="1483" y="1429"/>
                </a:lnTo>
                <a:lnTo>
                  <a:pt x="1483" y="1426"/>
                </a:lnTo>
                <a:lnTo>
                  <a:pt x="1481" y="1428"/>
                </a:lnTo>
                <a:lnTo>
                  <a:pt x="1479" y="1428"/>
                </a:lnTo>
                <a:lnTo>
                  <a:pt x="1479" y="1429"/>
                </a:lnTo>
                <a:lnTo>
                  <a:pt x="1479" y="1426"/>
                </a:lnTo>
                <a:lnTo>
                  <a:pt x="1479" y="1428"/>
                </a:lnTo>
                <a:lnTo>
                  <a:pt x="1478" y="1428"/>
                </a:lnTo>
                <a:lnTo>
                  <a:pt x="1479" y="1429"/>
                </a:lnTo>
                <a:lnTo>
                  <a:pt x="1478" y="1431"/>
                </a:lnTo>
                <a:lnTo>
                  <a:pt x="1479" y="1431"/>
                </a:lnTo>
                <a:lnTo>
                  <a:pt x="1478" y="1433"/>
                </a:lnTo>
                <a:lnTo>
                  <a:pt x="1478" y="1431"/>
                </a:lnTo>
                <a:lnTo>
                  <a:pt x="1479" y="1431"/>
                </a:lnTo>
                <a:lnTo>
                  <a:pt x="1478" y="1431"/>
                </a:lnTo>
                <a:lnTo>
                  <a:pt x="1478" y="1429"/>
                </a:lnTo>
                <a:lnTo>
                  <a:pt x="1476" y="1431"/>
                </a:lnTo>
                <a:lnTo>
                  <a:pt x="1476" y="1428"/>
                </a:lnTo>
                <a:lnTo>
                  <a:pt x="1476" y="1429"/>
                </a:lnTo>
                <a:lnTo>
                  <a:pt x="1474" y="1429"/>
                </a:lnTo>
                <a:lnTo>
                  <a:pt x="1471" y="1428"/>
                </a:lnTo>
                <a:lnTo>
                  <a:pt x="1469" y="1426"/>
                </a:lnTo>
                <a:lnTo>
                  <a:pt x="1467" y="1424"/>
                </a:lnTo>
                <a:lnTo>
                  <a:pt x="1466" y="1424"/>
                </a:lnTo>
                <a:lnTo>
                  <a:pt x="1467" y="1426"/>
                </a:lnTo>
                <a:lnTo>
                  <a:pt x="1469" y="1426"/>
                </a:lnTo>
                <a:lnTo>
                  <a:pt x="1471" y="1428"/>
                </a:lnTo>
                <a:lnTo>
                  <a:pt x="1472" y="1431"/>
                </a:lnTo>
                <a:lnTo>
                  <a:pt x="1474" y="1431"/>
                </a:lnTo>
                <a:lnTo>
                  <a:pt x="1471" y="1433"/>
                </a:lnTo>
                <a:lnTo>
                  <a:pt x="1472" y="1434"/>
                </a:lnTo>
                <a:lnTo>
                  <a:pt x="1471" y="1434"/>
                </a:lnTo>
                <a:lnTo>
                  <a:pt x="1472" y="1436"/>
                </a:lnTo>
                <a:lnTo>
                  <a:pt x="1471" y="1436"/>
                </a:lnTo>
                <a:lnTo>
                  <a:pt x="1471" y="1438"/>
                </a:lnTo>
                <a:lnTo>
                  <a:pt x="1469" y="1436"/>
                </a:lnTo>
                <a:lnTo>
                  <a:pt x="1469" y="1434"/>
                </a:lnTo>
                <a:lnTo>
                  <a:pt x="1467" y="1433"/>
                </a:lnTo>
                <a:lnTo>
                  <a:pt x="1467" y="1434"/>
                </a:lnTo>
                <a:lnTo>
                  <a:pt x="1466" y="1433"/>
                </a:lnTo>
                <a:lnTo>
                  <a:pt x="1464" y="1433"/>
                </a:lnTo>
                <a:lnTo>
                  <a:pt x="1464" y="1431"/>
                </a:lnTo>
                <a:lnTo>
                  <a:pt x="1462" y="1431"/>
                </a:lnTo>
                <a:lnTo>
                  <a:pt x="1464" y="1433"/>
                </a:lnTo>
                <a:lnTo>
                  <a:pt x="1462" y="1433"/>
                </a:lnTo>
                <a:lnTo>
                  <a:pt x="1461" y="1429"/>
                </a:lnTo>
                <a:lnTo>
                  <a:pt x="1459" y="1429"/>
                </a:lnTo>
                <a:lnTo>
                  <a:pt x="1459" y="1428"/>
                </a:lnTo>
                <a:lnTo>
                  <a:pt x="1457" y="1426"/>
                </a:lnTo>
                <a:lnTo>
                  <a:pt x="1455" y="1426"/>
                </a:lnTo>
                <a:lnTo>
                  <a:pt x="1454" y="1426"/>
                </a:lnTo>
                <a:lnTo>
                  <a:pt x="1455" y="1426"/>
                </a:lnTo>
                <a:lnTo>
                  <a:pt x="1457" y="1429"/>
                </a:lnTo>
                <a:lnTo>
                  <a:pt x="1457" y="1431"/>
                </a:lnTo>
                <a:lnTo>
                  <a:pt x="1459" y="1433"/>
                </a:lnTo>
                <a:lnTo>
                  <a:pt x="1457" y="1434"/>
                </a:lnTo>
                <a:lnTo>
                  <a:pt x="1457" y="1436"/>
                </a:lnTo>
                <a:lnTo>
                  <a:pt x="1457" y="1434"/>
                </a:lnTo>
                <a:lnTo>
                  <a:pt x="1455" y="1433"/>
                </a:lnTo>
                <a:lnTo>
                  <a:pt x="1454" y="1433"/>
                </a:lnTo>
                <a:lnTo>
                  <a:pt x="1455" y="1433"/>
                </a:lnTo>
                <a:lnTo>
                  <a:pt x="1454" y="1433"/>
                </a:lnTo>
                <a:lnTo>
                  <a:pt x="1454" y="1434"/>
                </a:lnTo>
                <a:lnTo>
                  <a:pt x="1452" y="1434"/>
                </a:lnTo>
                <a:lnTo>
                  <a:pt x="1452" y="1433"/>
                </a:lnTo>
                <a:lnTo>
                  <a:pt x="1449" y="1429"/>
                </a:lnTo>
                <a:lnTo>
                  <a:pt x="1450" y="1429"/>
                </a:lnTo>
                <a:lnTo>
                  <a:pt x="1449" y="1429"/>
                </a:lnTo>
                <a:lnTo>
                  <a:pt x="1447" y="1429"/>
                </a:lnTo>
                <a:lnTo>
                  <a:pt x="1447" y="1433"/>
                </a:lnTo>
                <a:lnTo>
                  <a:pt x="1445" y="1431"/>
                </a:lnTo>
                <a:lnTo>
                  <a:pt x="1447" y="1433"/>
                </a:lnTo>
                <a:lnTo>
                  <a:pt x="1449" y="1434"/>
                </a:lnTo>
                <a:lnTo>
                  <a:pt x="1447" y="1434"/>
                </a:lnTo>
                <a:lnTo>
                  <a:pt x="1447" y="1436"/>
                </a:lnTo>
                <a:lnTo>
                  <a:pt x="1445" y="1436"/>
                </a:lnTo>
                <a:lnTo>
                  <a:pt x="1449" y="1438"/>
                </a:lnTo>
                <a:lnTo>
                  <a:pt x="1447" y="1440"/>
                </a:lnTo>
                <a:lnTo>
                  <a:pt x="1449" y="1441"/>
                </a:lnTo>
                <a:lnTo>
                  <a:pt x="1450" y="1443"/>
                </a:lnTo>
                <a:lnTo>
                  <a:pt x="1449" y="1445"/>
                </a:lnTo>
                <a:lnTo>
                  <a:pt x="1449" y="1443"/>
                </a:lnTo>
                <a:lnTo>
                  <a:pt x="1445" y="1441"/>
                </a:lnTo>
                <a:lnTo>
                  <a:pt x="1447" y="1443"/>
                </a:lnTo>
                <a:lnTo>
                  <a:pt x="1445" y="1443"/>
                </a:lnTo>
                <a:lnTo>
                  <a:pt x="1445" y="1445"/>
                </a:lnTo>
                <a:lnTo>
                  <a:pt x="1447" y="1446"/>
                </a:lnTo>
                <a:lnTo>
                  <a:pt x="1447" y="1443"/>
                </a:lnTo>
                <a:lnTo>
                  <a:pt x="1449" y="1445"/>
                </a:lnTo>
                <a:lnTo>
                  <a:pt x="1449" y="1446"/>
                </a:lnTo>
                <a:lnTo>
                  <a:pt x="1449" y="1445"/>
                </a:lnTo>
                <a:lnTo>
                  <a:pt x="1450" y="1446"/>
                </a:lnTo>
                <a:lnTo>
                  <a:pt x="1449" y="1446"/>
                </a:lnTo>
                <a:lnTo>
                  <a:pt x="1449" y="1448"/>
                </a:lnTo>
                <a:lnTo>
                  <a:pt x="1450" y="1450"/>
                </a:lnTo>
                <a:lnTo>
                  <a:pt x="1452" y="1451"/>
                </a:lnTo>
                <a:lnTo>
                  <a:pt x="1452" y="1453"/>
                </a:lnTo>
                <a:lnTo>
                  <a:pt x="1450" y="1453"/>
                </a:lnTo>
                <a:lnTo>
                  <a:pt x="1449" y="1451"/>
                </a:lnTo>
                <a:lnTo>
                  <a:pt x="1447" y="1451"/>
                </a:lnTo>
                <a:lnTo>
                  <a:pt x="1447" y="1450"/>
                </a:lnTo>
                <a:lnTo>
                  <a:pt x="1447" y="1451"/>
                </a:lnTo>
                <a:lnTo>
                  <a:pt x="1449" y="1453"/>
                </a:lnTo>
                <a:lnTo>
                  <a:pt x="1445" y="1453"/>
                </a:lnTo>
                <a:lnTo>
                  <a:pt x="1445" y="1451"/>
                </a:lnTo>
                <a:lnTo>
                  <a:pt x="1444" y="1451"/>
                </a:lnTo>
                <a:lnTo>
                  <a:pt x="1444" y="1450"/>
                </a:lnTo>
                <a:lnTo>
                  <a:pt x="1442" y="1448"/>
                </a:lnTo>
                <a:lnTo>
                  <a:pt x="1442" y="1450"/>
                </a:lnTo>
                <a:lnTo>
                  <a:pt x="1440" y="1450"/>
                </a:lnTo>
                <a:lnTo>
                  <a:pt x="1440" y="1448"/>
                </a:lnTo>
                <a:lnTo>
                  <a:pt x="1437" y="1448"/>
                </a:lnTo>
                <a:lnTo>
                  <a:pt x="1435" y="1446"/>
                </a:lnTo>
                <a:lnTo>
                  <a:pt x="1433" y="1446"/>
                </a:lnTo>
                <a:lnTo>
                  <a:pt x="1433" y="1445"/>
                </a:lnTo>
                <a:lnTo>
                  <a:pt x="1432" y="1443"/>
                </a:lnTo>
                <a:lnTo>
                  <a:pt x="1432" y="1441"/>
                </a:lnTo>
                <a:lnTo>
                  <a:pt x="1428" y="1440"/>
                </a:lnTo>
                <a:lnTo>
                  <a:pt x="1428" y="1438"/>
                </a:lnTo>
                <a:lnTo>
                  <a:pt x="1428" y="1440"/>
                </a:lnTo>
                <a:lnTo>
                  <a:pt x="1430" y="1441"/>
                </a:lnTo>
                <a:lnTo>
                  <a:pt x="1432" y="1443"/>
                </a:lnTo>
                <a:lnTo>
                  <a:pt x="1432" y="1445"/>
                </a:lnTo>
                <a:lnTo>
                  <a:pt x="1433" y="1445"/>
                </a:lnTo>
                <a:lnTo>
                  <a:pt x="1433" y="1446"/>
                </a:lnTo>
                <a:lnTo>
                  <a:pt x="1435" y="1446"/>
                </a:lnTo>
                <a:lnTo>
                  <a:pt x="1437" y="1448"/>
                </a:lnTo>
                <a:lnTo>
                  <a:pt x="1438" y="1450"/>
                </a:lnTo>
                <a:lnTo>
                  <a:pt x="1440" y="1451"/>
                </a:lnTo>
                <a:lnTo>
                  <a:pt x="1444" y="1451"/>
                </a:lnTo>
                <a:lnTo>
                  <a:pt x="1444" y="1453"/>
                </a:lnTo>
                <a:lnTo>
                  <a:pt x="1445" y="1453"/>
                </a:lnTo>
                <a:lnTo>
                  <a:pt x="1445" y="1455"/>
                </a:lnTo>
                <a:lnTo>
                  <a:pt x="1442" y="1455"/>
                </a:lnTo>
                <a:lnTo>
                  <a:pt x="1442" y="1457"/>
                </a:lnTo>
                <a:lnTo>
                  <a:pt x="1442" y="1455"/>
                </a:lnTo>
                <a:lnTo>
                  <a:pt x="1440" y="1457"/>
                </a:lnTo>
                <a:lnTo>
                  <a:pt x="1437" y="1457"/>
                </a:lnTo>
                <a:lnTo>
                  <a:pt x="1437" y="1455"/>
                </a:lnTo>
                <a:lnTo>
                  <a:pt x="1437" y="1457"/>
                </a:lnTo>
                <a:lnTo>
                  <a:pt x="1435" y="1457"/>
                </a:lnTo>
                <a:lnTo>
                  <a:pt x="1438" y="1458"/>
                </a:lnTo>
                <a:lnTo>
                  <a:pt x="1437" y="1457"/>
                </a:lnTo>
                <a:lnTo>
                  <a:pt x="1440" y="1458"/>
                </a:lnTo>
                <a:lnTo>
                  <a:pt x="1440" y="1460"/>
                </a:lnTo>
                <a:lnTo>
                  <a:pt x="1442" y="1458"/>
                </a:lnTo>
                <a:lnTo>
                  <a:pt x="1442" y="1462"/>
                </a:lnTo>
                <a:lnTo>
                  <a:pt x="1442" y="1463"/>
                </a:lnTo>
                <a:lnTo>
                  <a:pt x="1440" y="1463"/>
                </a:lnTo>
                <a:lnTo>
                  <a:pt x="1442" y="1463"/>
                </a:lnTo>
                <a:lnTo>
                  <a:pt x="1438" y="1462"/>
                </a:lnTo>
                <a:lnTo>
                  <a:pt x="1440" y="1465"/>
                </a:lnTo>
                <a:lnTo>
                  <a:pt x="1438" y="1465"/>
                </a:lnTo>
                <a:lnTo>
                  <a:pt x="1437" y="1463"/>
                </a:lnTo>
                <a:lnTo>
                  <a:pt x="1437" y="1465"/>
                </a:lnTo>
                <a:lnTo>
                  <a:pt x="1435" y="1465"/>
                </a:lnTo>
                <a:lnTo>
                  <a:pt x="1432" y="1465"/>
                </a:lnTo>
                <a:lnTo>
                  <a:pt x="1433" y="1465"/>
                </a:lnTo>
                <a:lnTo>
                  <a:pt x="1430" y="1465"/>
                </a:lnTo>
                <a:lnTo>
                  <a:pt x="1430" y="1467"/>
                </a:lnTo>
                <a:lnTo>
                  <a:pt x="1428" y="1465"/>
                </a:lnTo>
                <a:lnTo>
                  <a:pt x="1430" y="1467"/>
                </a:lnTo>
                <a:lnTo>
                  <a:pt x="1432" y="1468"/>
                </a:lnTo>
                <a:lnTo>
                  <a:pt x="1433" y="1470"/>
                </a:lnTo>
                <a:lnTo>
                  <a:pt x="1432" y="1470"/>
                </a:lnTo>
                <a:lnTo>
                  <a:pt x="1430" y="1470"/>
                </a:lnTo>
                <a:lnTo>
                  <a:pt x="1430" y="1468"/>
                </a:lnTo>
                <a:lnTo>
                  <a:pt x="1428" y="1467"/>
                </a:lnTo>
                <a:lnTo>
                  <a:pt x="1427" y="1467"/>
                </a:lnTo>
                <a:lnTo>
                  <a:pt x="1428" y="1468"/>
                </a:lnTo>
                <a:lnTo>
                  <a:pt x="1427" y="1468"/>
                </a:lnTo>
                <a:lnTo>
                  <a:pt x="1428" y="1470"/>
                </a:lnTo>
                <a:lnTo>
                  <a:pt x="1427" y="1470"/>
                </a:lnTo>
                <a:lnTo>
                  <a:pt x="1428" y="1472"/>
                </a:lnTo>
                <a:lnTo>
                  <a:pt x="1430" y="1470"/>
                </a:lnTo>
                <a:lnTo>
                  <a:pt x="1430" y="1472"/>
                </a:lnTo>
                <a:lnTo>
                  <a:pt x="1432" y="1470"/>
                </a:lnTo>
                <a:lnTo>
                  <a:pt x="1432" y="1472"/>
                </a:lnTo>
                <a:lnTo>
                  <a:pt x="1430" y="1472"/>
                </a:lnTo>
                <a:lnTo>
                  <a:pt x="1432" y="1472"/>
                </a:lnTo>
                <a:lnTo>
                  <a:pt x="1433" y="1474"/>
                </a:lnTo>
                <a:lnTo>
                  <a:pt x="1433" y="1472"/>
                </a:lnTo>
                <a:lnTo>
                  <a:pt x="1435" y="1472"/>
                </a:lnTo>
                <a:lnTo>
                  <a:pt x="1435" y="1474"/>
                </a:lnTo>
                <a:lnTo>
                  <a:pt x="1433" y="1474"/>
                </a:lnTo>
                <a:lnTo>
                  <a:pt x="1433" y="1475"/>
                </a:lnTo>
                <a:lnTo>
                  <a:pt x="1433" y="1477"/>
                </a:lnTo>
                <a:lnTo>
                  <a:pt x="1433" y="1479"/>
                </a:lnTo>
                <a:lnTo>
                  <a:pt x="1435" y="1477"/>
                </a:lnTo>
                <a:lnTo>
                  <a:pt x="1437" y="1479"/>
                </a:lnTo>
                <a:lnTo>
                  <a:pt x="1437" y="1480"/>
                </a:lnTo>
                <a:lnTo>
                  <a:pt x="1435" y="1479"/>
                </a:lnTo>
                <a:lnTo>
                  <a:pt x="1432" y="1477"/>
                </a:lnTo>
                <a:lnTo>
                  <a:pt x="1430" y="1479"/>
                </a:lnTo>
                <a:lnTo>
                  <a:pt x="1430" y="1477"/>
                </a:lnTo>
                <a:lnTo>
                  <a:pt x="1428" y="1475"/>
                </a:lnTo>
                <a:lnTo>
                  <a:pt x="1428" y="1474"/>
                </a:lnTo>
                <a:lnTo>
                  <a:pt x="1425" y="1474"/>
                </a:lnTo>
                <a:lnTo>
                  <a:pt x="1425" y="1472"/>
                </a:lnTo>
                <a:lnTo>
                  <a:pt x="1423" y="1470"/>
                </a:lnTo>
                <a:lnTo>
                  <a:pt x="1421" y="1470"/>
                </a:lnTo>
                <a:lnTo>
                  <a:pt x="1421" y="1472"/>
                </a:lnTo>
                <a:lnTo>
                  <a:pt x="1420" y="1472"/>
                </a:lnTo>
                <a:lnTo>
                  <a:pt x="1421" y="1474"/>
                </a:lnTo>
                <a:lnTo>
                  <a:pt x="1423" y="1474"/>
                </a:lnTo>
                <a:lnTo>
                  <a:pt x="1425" y="1474"/>
                </a:lnTo>
                <a:lnTo>
                  <a:pt x="1423" y="1472"/>
                </a:lnTo>
                <a:lnTo>
                  <a:pt x="1425" y="1474"/>
                </a:lnTo>
                <a:lnTo>
                  <a:pt x="1427" y="1474"/>
                </a:lnTo>
                <a:lnTo>
                  <a:pt x="1427" y="1475"/>
                </a:lnTo>
                <a:lnTo>
                  <a:pt x="1428" y="1475"/>
                </a:lnTo>
                <a:lnTo>
                  <a:pt x="1428" y="1477"/>
                </a:lnTo>
                <a:lnTo>
                  <a:pt x="1430" y="1477"/>
                </a:lnTo>
                <a:lnTo>
                  <a:pt x="1430" y="1479"/>
                </a:lnTo>
                <a:lnTo>
                  <a:pt x="1430" y="1480"/>
                </a:lnTo>
                <a:lnTo>
                  <a:pt x="1432" y="1480"/>
                </a:lnTo>
                <a:lnTo>
                  <a:pt x="1432" y="1482"/>
                </a:lnTo>
                <a:lnTo>
                  <a:pt x="1433" y="1485"/>
                </a:lnTo>
                <a:lnTo>
                  <a:pt x="1430" y="1485"/>
                </a:lnTo>
                <a:lnTo>
                  <a:pt x="1432" y="1485"/>
                </a:lnTo>
                <a:lnTo>
                  <a:pt x="1432" y="1489"/>
                </a:lnTo>
                <a:lnTo>
                  <a:pt x="1432" y="1491"/>
                </a:lnTo>
                <a:lnTo>
                  <a:pt x="1430" y="1491"/>
                </a:lnTo>
                <a:lnTo>
                  <a:pt x="1430" y="1492"/>
                </a:lnTo>
                <a:lnTo>
                  <a:pt x="1430" y="1494"/>
                </a:lnTo>
                <a:lnTo>
                  <a:pt x="1428" y="1494"/>
                </a:lnTo>
                <a:lnTo>
                  <a:pt x="1427" y="1494"/>
                </a:lnTo>
                <a:lnTo>
                  <a:pt x="1428" y="1496"/>
                </a:lnTo>
                <a:lnTo>
                  <a:pt x="1428" y="1497"/>
                </a:lnTo>
                <a:lnTo>
                  <a:pt x="1428" y="1496"/>
                </a:lnTo>
                <a:lnTo>
                  <a:pt x="1427" y="1497"/>
                </a:lnTo>
                <a:lnTo>
                  <a:pt x="1428" y="1499"/>
                </a:lnTo>
                <a:lnTo>
                  <a:pt x="1427" y="1499"/>
                </a:lnTo>
                <a:lnTo>
                  <a:pt x="1423" y="1501"/>
                </a:lnTo>
                <a:lnTo>
                  <a:pt x="1425" y="1502"/>
                </a:lnTo>
                <a:lnTo>
                  <a:pt x="1425" y="1504"/>
                </a:lnTo>
                <a:lnTo>
                  <a:pt x="1423" y="1504"/>
                </a:lnTo>
                <a:lnTo>
                  <a:pt x="1425" y="1506"/>
                </a:lnTo>
                <a:lnTo>
                  <a:pt x="1423" y="1506"/>
                </a:lnTo>
                <a:lnTo>
                  <a:pt x="1425" y="1508"/>
                </a:lnTo>
                <a:lnTo>
                  <a:pt x="1423" y="1509"/>
                </a:lnTo>
                <a:lnTo>
                  <a:pt x="1421" y="1509"/>
                </a:lnTo>
                <a:lnTo>
                  <a:pt x="1420" y="1506"/>
                </a:lnTo>
                <a:lnTo>
                  <a:pt x="1418" y="1509"/>
                </a:lnTo>
                <a:lnTo>
                  <a:pt x="1420" y="1509"/>
                </a:lnTo>
                <a:lnTo>
                  <a:pt x="1423" y="1511"/>
                </a:lnTo>
                <a:lnTo>
                  <a:pt x="1421" y="1511"/>
                </a:lnTo>
                <a:lnTo>
                  <a:pt x="1421" y="1513"/>
                </a:lnTo>
                <a:lnTo>
                  <a:pt x="1423" y="1513"/>
                </a:lnTo>
                <a:lnTo>
                  <a:pt x="1425" y="1513"/>
                </a:lnTo>
                <a:lnTo>
                  <a:pt x="1427" y="1513"/>
                </a:lnTo>
                <a:lnTo>
                  <a:pt x="1428" y="1513"/>
                </a:lnTo>
                <a:lnTo>
                  <a:pt x="1428" y="1514"/>
                </a:lnTo>
                <a:lnTo>
                  <a:pt x="1427" y="1514"/>
                </a:lnTo>
                <a:lnTo>
                  <a:pt x="1427" y="1516"/>
                </a:lnTo>
                <a:lnTo>
                  <a:pt x="1428" y="1518"/>
                </a:lnTo>
                <a:lnTo>
                  <a:pt x="1428" y="1519"/>
                </a:lnTo>
                <a:lnTo>
                  <a:pt x="1427" y="1519"/>
                </a:lnTo>
                <a:lnTo>
                  <a:pt x="1428" y="1519"/>
                </a:lnTo>
                <a:lnTo>
                  <a:pt x="1427" y="1519"/>
                </a:lnTo>
                <a:lnTo>
                  <a:pt x="1425" y="1518"/>
                </a:lnTo>
                <a:lnTo>
                  <a:pt x="1425" y="1519"/>
                </a:lnTo>
                <a:lnTo>
                  <a:pt x="1425" y="1518"/>
                </a:lnTo>
                <a:lnTo>
                  <a:pt x="1427" y="1518"/>
                </a:lnTo>
                <a:lnTo>
                  <a:pt x="1427" y="1519"/>
                </a:lnTo>
                <a:lnTo>
                  <a:pt x="1425" y="1519"/>
                </a:lnTo>
                <a:lnTo>
                  <a:pt x="1428" y="1521"/>
                </a:lnTo>
                <a:lnTo>
                  <a:pt x="1428" y="1523"/>
                </a:lnTo>
                <a:lnTo>
                  <a:pt x="1428" y="1525"/>
                </a:lnTo>
                <a:lnTo>
                  <a:pt x="1430" y="1525"/>
                </a:lnTo>
                <a:lnTo>
                  <a:pt x="1432" y="1526"/>
                </a:lnTo>
                <a:lnTo>
                  <a:pt x="1432" y="1525"/>
                </a:lnTo>
                <a:lnTo>
                  <a:pt x="1432" y="1523"/>
                </a:lnTo>
                <a:lnTo>
                  <a:pt x="1433" y="1525"/>
                </a:lnTo>
                <a:lnTo>
                  <a:pt x="1432" y="1525"/>
                </a:lnTo>
                <a:lnTo>
                  <a:pt x="1433" y="1525"/>
                </a:lnTo>
                <a:lnTo>
                  <a:pt x="1435" y="1526"/>
                </a:lnTo>
                <a:lnTo>
                  <a:pt x="1435" y="1525"/>
                </a:lnTo>
                <a:lnTo>
                  <a:pt x="1437" y="1526"/>
                </a:lnTo>
                <a:lnTo>
                  <a:pt x="1435" y="1526"/>
                </a:lnTo>
                <a:lnTo>
                  <a:pt x="1437" y="1528"/>
                </a:lnTo>
                <a:lnTo>
                  <a:pt x="1438" y="1528"/>
                </a:lnTo>
                <a:lnTo>
                  <a:pt x="1438" y="1530"/>
                </a:lnTo>
                <a:lnTo>
                  <a:pt x="1438" y="1528"/>
                </a:lnTo>
                <a:lnTo>
                  <a:pt x="1438" y="1530"/>
                </a:lnTo>
                <a:lnTo>
                  <a:pt x="1437" y="1530"/>
                </a:lnTo>
                <a:lnTo>
                  <a:pt x="1435" y="1528"/>
                </a:lnTo>
                <a:lnTo>
                  <a:pt x="1435" y="1530"/>
                </a:lnTo>
                <a:lnTo>
                  <a:pt x="1437" y="1530"/>
                </a:lnTo>
                <a:lnTo>
                  <a:pt x="1437" y="1533"/>
                </a:lnTo>
                <a:lnTo>
                  <a:pt x="1438" y="1535"/>
                </a:lnTo>
                <a:lnTo>
                  <a:pt x="1438" y="1531"/>
                </a:lnTo>
                <a:lnTo>
                  <a:pt x="1440" y="1533"/>
                </a:lnTo>
                <a:lnTo>
                  <a:pt x="1440" y="1531"/>
                </a:lnTo>
                <a:lnTo>
                  <a:pt x="1442" y="1533"/>
                </a:lnTo>
                <a:lnTo>
                  <a:pt x="1442" y="1535"/>
                </a:lnTo>
                <a:lnTo>
                  <a:pt x="1440" y="1535"/>
                </a:lnTo>
                <a:lnTo>
                  <a:pt x="1440" y="1537"/>
                </a:lnTo>
                <a:lnTo>
                  <a:pt x="1438" y="1537"/>
                </a:lnTo>
                <a:lnTo>
                  <a:pt x="1438" y="1540"/>
                </a:lnTo>
                <a:lnTo>
                  <a:pt x="1438" y="1538"/>
                </a:lnTo>
                <a:lnTo>
                  <a:pt x="1438" y="1542"/>
                </a:lnTo>
                <a:lnTo>
                  <a:pt x="1437" y="1542"/>
                </a:lnTo>
                <a:lnTo>
                  <a:pt x="1437" y="1543"/>
                </a:lnTo>
                <a:lnTo>
                  <a:pt x="1435" y="1543"/>
                </a:lnTo>
                <a:lnTo>
                  <a:pt x="1435" y="1545"/>
                </a:lnTo>
                <a:lnTo>
                  <a:pt x="1433" y="1545"/>
                </a:lnTo>
                <a:lnTo>
                  <a:pt x="1433" y="1547"/>
                </a:lnTo>
                <a:lnTo>
                  <a:pt x="1432" y="1545"/>
                </a:lnTo>
                <a:lnTo>
                  <a:pt x="1432" y="1547"/>
                </a:lnTo>
                <a:lnTo>
                  <a:pt x="1430" y="1548"/>
                </a:lnTo>
                <a:lnTo>
                  <a:pt x="1432" y="1548"/>
                </a:lnTo>
                <a:lnTo>
                  <a:pt x="1430" y="1550"/>
                </a:lnTo>
                <a:lnTo>
                  <a:pt x="1430" y="1552"/>
                </a:lnTo>
                <a:lnTo>
                  <a:pt x="1430" y="1554"/>
                </a:lnTo>
                <a:lnTo>
                  <a:pt x="1427" y="1552"/>
                </a:lnTo>
                <a:lnTo>
                  <a:pt x="1428" y="1554"/>
                </a:lnTo>
                <a:lnTo>
                  <a:pt x="1427" y="1554"/>
                </a:lnTo>
                <a:lnTo>
                  <a:pt x="1427" y="1555"/>
                </a:lnTo>
                <a:lnTo>
                  <a:pt x="1427" y="1557"/>
                </a:lnTo>
                <a:lnTo>
                  <a:pt x="1425" y="1557"/>
                </a:lnTo>
                <a:lnTo>
                  <a:pt x="1425" y="1560"/>
                </a:lnTo>
                <a:lnTo>
                  <a:pt x="1425" y="1562"/>
                </a:lnTo>
                <a:lnTo>
                  <a:pt x="1425" y="1565"/>
                </a:lnTo>
                <a:lnTo>
                  <a:pt x="1423" y="1565"/>
                </a:lnTo>
                <a:lnTo>
                  <a:pt x="1425" y="1567"/>
                </a:lnTo>
                <a:lnTo>
                  <a:pt x="1425" y="1569"/>
                </a:lnTo>
                <a:lnTo>
                  <a:pt x="1425" y="1571"/>
                </a:lnTo>
                <a:lnTo>
                  <a:pt x="1423" y="1571"/>
                </a:lnTo>
                <a:lnTo>
                  <a:pt x="1423" y="1572"/>
                </a:lnTo>
                <a:lnTo>
                  <a:pt x="1421" y="1574"/>
                </a:lnTo>
                <a:lnTo>
                  <a:pt x="1423" y="1576"/>
                </a:lnTo>
                <a:lnTo>
                  <a:pt x="1421" y="1576"/>
                </a:lnTo>
                <a:lnTo>
                  <a:pt x="1421" y="1579"/>
                </a:lnTo>
                <a:lnTo>
                  <a:pt x="1421" y="1581"/>
                </a:lnTo>
                <a:lnTo>
                  <a:pt x="1420" y="1579"/>
                </a:lnTo>
                <a:lnTo>
                  <a:pt x="1421" y="1581"/>
                </a:lnTo>
                <a:lnTo>
                  <a:pt x="1420" y="1581"/>
                </a:lnTo>
                <a:lnTo>
                  <a:pt x="1420" y="1579"/>
                </a:lnTo>
                <a:lnTo>
                  <a:pt x="1418" y="1581"/>
                </a:lnTo>
                <a:lnTo>
                  <a:pt x="1420" y="1582"/>
                </a:lnTo>
                <a:lnTo>
                  <a:pt x="1420" y="1581"/>
                </a:lnTo>
                <a:lnTo>
                  <a:pt x="1420" y="1582"/>
                </a:lnTo>
                <a:lnTo>
                  <a:pt x="1420" y="1584"/>
                </a:lnTo>
                <a:lnTo>
                  <a:pt x="1420" y="1582"/>
                </a:lnTo>
                <a:lnTo>
                  <a:pt x="1420" y="1584"/>
                </a:lnTo>
                <a:lnTo>
                  <a:pt x="1418" y="1582"/>
                </a:lnTo>
                <a:lnTo>
                  <a:pt x="1416" y="1584"/>
                </a:lnTo>
                <a:lnTo>
                  <a:pt x="1416" y="1586"/>
                </a:lnTo>
                <a:lnTo>
                  <a:pt x="1416" y="1584"/>
                </a:lnTo>
                <a:lnTo>
                  <a:pt x="1415" y="1584"/>
                </a:lnTo>
                <a:lnTo>
                  <a:pt x="1416" y="1584"/>
                </a:lnTo>
                <a:lnTo>
                  <a:pt x="1416" y="1588"/>
                </a:lnTo>
                <a:lnTo>
                  <a:pt x="1418" y="1589"/>
                </a:lnTo>
                <a:lnTo>
                  <a:pt x="1416" y="1589"/>
                </a:lnTo>
                <a:lnTo>
                  <a:pt x="1416" y="1588"/>
                </a:lnTo>
                <a:lnTo>
                  <a:pt x="1415" y="1586"/>
                </a:lnTo>
                <a:lnTo>
                  <a:pt x="1415" y="1584"/>
                </a:lnTo>
                <a:lnTo>
                  <a:pt x="1413" y="1582"/>
                </a:lnTo>
                <a:lnTo>
                  <a:pt x="1415" y="1582"/>
                </a:lnTo>
                <a:lnTo>
                  <a:pt x="1415" y="1586"/>
                </a:lnTo>
                <a:lnTo>
                  <a:pt x="1413" y="1589"/>
                </a:lnTo>
                <a:lnTo>
                  <a:pt x="1413" y="1591"/>
                </a:lnTo>
                <a:lnTo>
                  <a:pt x="1413" y="1593"/>
                </a:lnTo>
                <a:lnTo>
                  <a:pt x="1413" y="1591"/>
                </a:lnTo>
                <a:lnTo>
                  <a:pt x="1411" y="1594"/>
                </a:lnTo>
                <a:lnTo>
                  <a:pt x="1411" y="1593"/>
                </a:lnTo>
                <a:lnTo>
                  <a:pt x="1410" y="1594"/>
                </a:lnTo>
                <a:lnTo>
                  <a:pt x="1411" y="1591"/>
                </a:lnTo>
                <a:lnTo>
                  <a:pt x="1410" y="1589"/>
                </a:lnTo>
                <a:lnTo>
                  <a:pt x="1410" y="1588"/>
                </a:lnTo>
                <a:lnTo>
                  <a:pt x="1408" y="1584"/>
                </a:lnTo>
                <a:lnTo>
                  <a:pt x="1406" y="1584"/>
                </a:lnTo>
                <a:lnTo>
                  <a:pt x="1408" y="1586"/>
                </a:lnTo>
                <a:lnTo>
                  <a:pt x="1410" y="1589"/>
                </a:lnTo>
                <a:lnTo>
                  <a:pt x="1408" y="1591"/>
                </a:lnTo>
                <a:lnTo>
                  <a:pt x="1410" y="1593"/>
                </a:lnTo>
                <a:lnTo>
                  <a:pt x="1410" y="1596"/>
                </a:lnTo>
                <a:lnTo>
                  <a:pt x="1408" y="1594"/>
                </a:lnTo>
                <a:lnTo>
                  <a:pt x="1408" y="1596"/>
                </a:lnTo>
                <a:lnTo>
                  <a:pt x="1408" y="1594"/>
                </a:lnTo>
                <a:lnTo>
                  <a:pt x="1408" y="1593"/>
                </a:lnTo>
                <a:lnTo>
                  <a:pt x="1408" y="1591"/>
                </a:lnTo>
                <a:lnTo>
                  <a:pt x="1408" y="1589"/>
                </a:lnTo>
                <a:lnTo>
                  <a:pt x="1408" y="1591"/>
                </a:lnTo>
                <a:lnTo>
                  <a:pt x="1408" y="1593"/>
                </a:lnTo>
                <a:lnTo>
                  <a:pt x="1408" y="1591"/>
                </a:lnTo>
                <a:lnTo>
                  <a:pt x="1408" y="1593"/>
                </a:lnTo>
                <a:lnTo>
                  <a:pt x="1406" y="1594"/>
                </a:lnTo>
                <a:lnTo>
                  <a:pt x="1408" y="1594"/>
                </a:lnTo>
                <a:lnTo>
                  <a:pt x="1408" y="1596"/>
                </a:lnTo>
                <a:lnTo>
                  <a:pt x="1404" y="1596"/>
                </a:lnTo>
                <a:lnTo>
                  <a:pt x="1403" y="1598"/>
                </a:lnTo>
                <a:lnTo>
                  <a:pt x="1401" y="1596"/>
                </a:lnTo>
                <a:lnTo>
                  <a:pt x="1399" y="1596"/>
                </a:lnTo>
                <a:lnTo>
                  <a:pt x="1399" y="1599"/>
                </a:lnTo>
                <a:lnTo>
                  <a:pt x="1401" y="1601"/>
                </a:lnTo>
                <a:lnTo>
                  <a:pt x="1398" y="1599"/>
                </a:lnTo>
                <a:lnTo>
                  <a:pt x="1398" y="1601"/>
                </a:lnTo>
                <a:lnTo>
                  <a:pt x="1398" y="1599"/>
                </a:lnTo>
                <a:lnTo>
                  <a:pt x="1398" y="1603"/>
                </a:lnTo>
                <a:lnTo>
                  <a:pt x="1396" y="1601"/>
                </a:lnTo>
                <a:lnTo>
                  <a:pt x="1396" y="1603"/>
                </a:lnTo>
                <a:lnTo>
                  <a:pt x="1396" y="1605"/>
                </a:lnTo>
                <a:lnTo>
                  <a:pt x="1394" y="1605"/>
                </a:lnTo>
                <a:lnTo>
                  <a:pt x="1393" y="1608"/>
                </a:lnTo>
                <a:lnTo>
                  <a:pt x="1393" y="1606"/>
                </a:lnTo>
                <a:lnTo>
                  <a:pt x="1393" y="1608"/>
                </a:lnTo>
                <a:lnTo>
                  <a:pt x="1394" y="1611"/>
                </a:lnTo>
                <a:lnTo>
                  <a:pt x="1394" y="1613"/>
                </a:lnTo>
                <a:lnTo>
                  <a:pt x="1393" y="1611"/>
                </a:lnTo>
                <a:lnTo>
                  <a:pt x="1394" y="1613"/>
                </a:lnTo>
                <a:lnTo>
                  <a:pt x="1393" y="1613"/>
                </a:lnTo>
                <a:lnTo>
                  <a:pt x="1391" y="1615"/>
                </a:lnTo>
                <a:lnTo>
                  <a:pt x="1391" y="1613"/>
                </a:lnTo>
                <a:lnTo>
                  <a:pt x="1389" y="1611"/>
                </a:lnTo>
                <a:lnTo>
                  <a:pt x="1389" y="1610"/>
                </a:lnTo>
                <a:lnTo>
                  <a:pt x="1387" y="1608"/>
                </a:lnTo>
                <a:lnTo>
                  <a:pt x="1386" y="1608"/>
                </a:lnTo>
                <a:lnTo>
                  <a:pt x="1386" y="1606"/>
                </a:lnTo>
                <a:lnTo>
                  <a:pt x="1384" y="1605"/>
                </a:lnTo>
                <a:lnTo>
                  <a:pt x="1384" y="1606"/>
                </a:lnTo>
                <a:lnTo>
                  <a:pt x="1382" y="1606"/>
                </a:lnTo>
                <a:lnTo>
                  <a:pt x="1384" y="1608"/>
                </a:lnTo>
                <a:lnTo>
                  <a:pt x="1384" y="1610"/>
                </a:lnTo>
                <a:lnTo>
                  <a:pt x="1386" y="1611"/>
                </a:lnTo>
                <a:lnTo>
                  <a:pt x="1386" y="1613"/>
                </a:lnTo>
                <a:lnTo>
                  <a:pt x="1386" y="1615"/>
                </a:lnTo>
                <a:lnTo>
                  <a:pt x="1387" y="1615"/>
                </a:lnTo>
                <a:lnTo>
                  <a:pt x="1386" y="1615"/>
                </a:lnTo>
                <a:lnTo>
                  <a:pt x="1387" y="1616"/>
                </a:lnTo>
                <a:lnTo>
                  <a:pt x="1386" y="1616"/>
                </a:lnTo>
                <a:lnTo>
                  <a:pt x="1386" y="1615"/>
                </a:lnTo>
                <a:lnTo>
                  <a:pt x="1384" y="1615"/>
                </a:lnTo>
                <a:lnTo>
                  <a:pt x="1384" y="1613"/>
                </a:lnTo>
                <a:lnTo>
                  <a:pt x="1382" y="1613"/>
                </a:lnTo>
                <a:lnTo>
                  <a:pt x="1381" y="1611"/>
                </a:lnTo>
                <a:lnTo>
                  <a:pt x="1381" y="1613"/>
                </a:lnTo>
                <a:lnTo>
                  <a:pt x="1381" y="1611"/>
                </a:lnTo>
                <a:lnTo>
                  <a:pt x="1382" y="1615"/>
                </a:lnTo>
                <a:lnTo>
                  <a:pt x="1381" y="1613"/>
                </a:lnTo>
                <a:lnTo>
                  <a:pt x="1379" y="1613"/>
                </a:lnTo>
                <a:lnTo>
                  <a:pt x="1379" y="1615"/>
                </a:lnTo>
                <a:lnTo>
                  <a:pt x="1379" y="1616"/>
                </a:lnTo>
                <a:lnTo>
                  <a:pt x="1379" y="1618"/>
                </a:lnTo>
                <a:lnTo>
                  <a:pt x="1379" y="1620"/>
                </a:lnTo>
                <a:lnTo>
                  <a:pt x="1379" y="1623"/>
                </a:lnTo>
                <a:lnTo>
                  <a:pt x="1379" y="1622"/>
                </a:lnTo>
                <a:lnTo>
                  <a:pt x="1377" y="1623"/>
                </a:lnTo>
                <a:lnTo>
                  <a:pt x="1377" y="1625"/>
                </a:lnTo>
                <a:lnTo>
                  <a:pt x="1376" y="1623"/>
                </a:lnTo>
                <a:lnTo>
                  <a:pt x="1376" y="1627"/>
                </a:lnTo>
                <a:lnTo>
                  <a:pt x="1376" y="1628"/>
                </a:lnTo>
                <a:lnTo>
                  <a:pt x="1376" y="1630"/>
                </a:lnTo>
                <a:lnTo>
                  <a:pt x="1374" y="1628"/>
                </a:lnTo>
                <a:lnTo>
                  <a:pt x="1372" y="1630"/>
                </a:lnTo>
                <a:lnTo>
                  <a:pt x="1374" y="1632"/>
                </a:lnTo>
                <a:lnTo>
                  <a:pt x="1374" y="1630"/>
                </a:lnTo>
                <a:lnTo>
                  <a:pt x="1374" y="1632"/>
                </a:lnTo>
                <a:lnTo>
                  <a:pt x="1376" y="1630"/>
                </a:lnTo>
                <a:lnTo>
                  <a:pt x="1376" y="1632"/>
                </a:lnTo>
                <a:lnTo>
                  <a:pt x="1374" y="1633"/>
                </a:lnTo>
                <a:lnTo>
                  <a:pt x="1372" y="1632"/>
                </a:lnTo>
                <a:lnTo>
                  <a:pt x="1370" y="1632"/>
                </a:lnTo>
                <a:lnTo>
                  <a:pt x="1370" y="1630"/>
                </a:lnTo>
                <a:lnTo>
                  <a:pt x="1370" y="1632"/>
                </a:lnTo>
                <a:lnTo>
                  <a:pt x="1369" y="1630"/>
                </a:lnTo>
                <a:lnTo>
                  <a:pt x="1369" y="1628"/>
                </a:lnTo>
                <a:lnTo>
                  <a:pt x="1367" y="1627"/>
                </a:lnTo>
                <a:lnTo>
                  <a:pt x="1367" y="1630"/>
                </a:lnTo>
                <a:lnTo>
                  <a:pt x="1367" y="1628"/>
                </a:lnTo>
                <a:lnTo>
                  <a:pt x="1365" y="1630"/>
                </a:lnTo>
                <a:lnTo>
                  <a:pt x="1362" y="1628"/>
                </a:lnTo>
                <a:lnTo>
                  <a:pt x="1362" y="1630"/>
                </a:lnTo>
                <a:lnTo>
                  <a:pt x="1364" y="1630"/>
                </a:lnTo>
                <a:lnTo>
                  <a:pt x="1365" y="1632"/>
                </a:lnTo>
                <a:lnTo>
                  <a:pt x="1369" y="1632"/>
                </a:lnTo>
                <a:lnTo>
                  <a:pt x="1369" y="1633"/>
                </a:lnTo>
                <a:lnTo>
                  <a:pt x="1367" y="1633"/>
                </a:lnTo>
                <a:lnTo>
                  <a:pt x="1365" y="1635"/>
                </a:lnTo>
                <a:lnTo>
                  <a:pt x="1365" y="1633"/>
                </a:lnTo>
                <a:lnTo>
                  <a:pt x="1365" y="1635"/>
                </a:lnTo>
                <a:lnTo>
                  <a:pt x="1365" y="1637"/>
                </a:lnTo>
                <a:lnTo>
                  <a:pt x="1364" y="1635"/>
                </a:lnTo>
                <a:lnTo>
                  <a:pt x="1364" y="1633"/>
                </a:lnTo>
                <a:lnTo>
                  <a:pt x="1365" y="1633"/>
                </a:lnTo>
                <a:lnTo>
                  <a:pt x="1364" y="1632"/>
                </a:lnTo>
                <a:lnTo>
                  <a:pt x="1362" y="1632"/>
                </a:lnTo>
                <a:lnTo>
                  <a:pt x="1364" y="1633"/>
                </a:lnTo>
                <a:lnTo>
                  <a:pt x="1364" y="1635"/>
                </a:lnTo>
                <a:lnTo>
                  <a:pt x="1364" y="1637"/>
                </a:lnTo>
                <a:lnTo>
                  <a:pt x="1362" y="1637"/>
                </a:lnTo>
                <a:lnTo>
                  <a:pt x="1362" y="1635"/>
                </a:lnTo>
                <a:lnTo>
                  <a:pt x="1360" y="1637"/>
                </a:lnTo>
                <a:lnTo>
                  <a:pt x="1360" y="1639"/>
                </a:lnTo>
                <a:lnTo>
                  <a:pt x="1360" y="1640"/>
                </a:lnTo>
                <a:lnTo>
                  <a:pt x="1359" y="1640"/>
                </a:lnTo>
                <a:lnTo>
                  <a:pt x="1359" y="1639"/>
                </a:lnTo>
                <a:lnTo>
                  <a:pt x="1359" y="1642"/>
                </a:lnTo>
                <a:lnTo>
                  <a:pt x="1357" y="1644"/>
                </a:lnTo>
                <a:lnTo>
                  <a:pt x="1359" y="1644"/>
                </a:lnTo>
                <a:lnTo>
                  <a:pt x="1357" y="1645"/>
                </a:lnTo>
                <a:lnTo>
                  <a:pt x="1357" y="1649"/>
                </a:lnTo>
                <a:lnTo>
                  <a:pt x="1357" y="1647"/>
                </a:lnTo>
                <a:lnTo>
                  <a:pt x="1355" y="1645"/>
                </a:lnTo>
                <a:lnTo>
                  <a:pt x="1353" y="1645"/>
                </a:lnTo>
                <a:lnTo>
                  <a:pt x="1353" y="1647"/>
                </a:lnTo>
                <a:lnTo>
                  <a:pt x="1355" y="1647"/>
                </a:lnTo>
                <a:lnTo>
                  <a:pt x="1357" y="1649"/>
                </a:lnTo>
                <a:lnTo>
                  <a:pt x="1353" y="1649"/>
                </a:lnTo>
                <a:lnTo>
                  <a:pt x="1352" y="1647"/>
                </a:lnTo>
                <a:lnTo>
                  <a:pt x="1353" y="1649"/>
                </a:lnTo>
                <a:lnTo>
                  <a:pt x="1350" y="1650"/>
                </a:lnTo>
                <a:lnTo>
                  <a:pt x="1348" y="1650"/>
                </a:lnTo>
                <a:lnTo>
                  <a:pt x="1352" y="1650"/>
                </a:lnTo>
                <a:lnTo>
                  <a:pt x="1353" y="1652"/>
                </a:lnTo>
                <a:lnTo>
                  <a:pt x="1353" y="1650"/>
                </a:lnTo>
                <a:lnTo>
                  <a:pt x="1355" y="1649"/>
                </a:lnTo>
                <a:lnTo>
                  <a:pt x="1359" y="1650"/>
                </a:lnTo>
                <a:lnTo>
                  <a:pt x="1360" y="1652"/>
                </a:lnTo>
                <a:lnTo>
                  <a:pt x="1359" y="1650"/>
                </a:lnTo>
                <a:lnTo>
                  <a:pt x="1359" y="1652"/>
                </a:lnTo>
                <a:lnTo>
                  <a:pt x="1357" y="1652"/>
                </a:lnTo>
                <a:lnTo>
                  <a:pt x="1355" y="1650"/>
                </a:lnTo>
                <a:lnTo>
                  <a:pt x="1355" y="1654"/>
                </a:lnTo>
                <a:lnTo>
                  <a:pt x="1355" y="1652"/>
                </a:lnTo>
                <a:lnTo>
                  <a:pt x="1357" y="1654"/>
                </a:lnTo>
                <a:lnTo>
                  <a:pt x="1357" y="1656"/>
                </a:lnTo>
                <a:lnTo>
                  <a:pt x="1359" y="1654"/>
                </a:lnTo>
                <a:lnTo>
                  <a:pt x="1360" y="1656"/>
                </a:lnTo>
                <a:lnTo>
                  <a:pt x="1359" y="1657"/>
                </a:lnTo>
                <a:lnTo>
                  <a:pt x="1359" y="1656"/>
                </a:lnTo>
                <a:lnTo>
                  <a:pt x="1359" y="1657"/>
                </a:lnTo>
                <a:lnTo>
                  <a:pt x="1355" y="1656"/>
                </a:lnTo>
                <a:lnTo>
                  <a:pt x="1359" y="1657"/>
                </a:lnTo>
                <a:lnTo>
                  <a:pt x="1359" y="1659"/>
                </a:lnTo>
                <a:lnTo>
                  <a:pt x="1357" y="1659"/>
                </a:lnTo>
                <a:lnTo>
                  <a:pt x="1357" y="1661"/>
                </a:lnTo>
                <a:lnTo>
                  <a:pt x="1355" y="1662"/>
                </a:lnTo>
                <a:lnTo>
                  <a:pt x="1353" y="1661"/>
                </a:lnTo>
                <a:lnTo>
                  <a:pt x="1353" y="1659"/>
                </a:lnTo>
                <a:lnTo>
                  <a:pt x="1353" y="1661"/>
                </a:lnTo>
                <a:lnTo>
                  <a:pt x="1352" y="1657"/>
                </a:lnTo>
                <a:lnTo>
                  <a:pt x="1350" y="1657"/>
                </a:lnTo>
                <a:lnTo>
                  <a:pt x="1352" y="1659"/>
                </a:lnTo>
                <a:lnTo>
                  <a:pt x="1350" y="1659"/>
                </a:lnTo>
                <a:lnTo>
                  <a:pt x="1350" y="1662"/>
                </a:lnTo>
                <a:lnTo>
                  <a:pt x="1352" y="1661"/>
                </a:lnTo>
                <a:lnTo>
                  <a:pt x="1353" y="1661"/>
                </a:lnTo>
                <a:lnTo>
                  <a:pt x="1353" y="1662"/>
                </a:lnTo>
                <a:lnTo>
                  <a:pt x="1352" y="1664"/>
                </a:lnTo>
                <a:lnTo>
                  <a:pt x="1350" y="1666"/>
                </a:lnTo>
                <a:lnTo>
                  <a:pt x="1350" y="1662"/>
                </a:lnTo>
                <a:lnTo>
                  <a:pt x="1348" y="1666"/>
                </a:lnTo>
                <a:lnTo>
                  <a:pt x="1348" y="1667"/>
                </a:lnTo>
                <a:lnTo>
                  <a:pt x="1347" y="1666"/>
                </a:lnTo>
                <a:lnTo>
                  <a:pt x="1343" y="1666"/>
                </a:lnTo>
                <a:lnTo>
                  <a:pt x="1343" y="1664"/>
                </a:lnTo>
                <a:lnTo>
                  <a:pt x="1345" y="1664"/>
                </a:lnTo>
                <a:lnTo>
                  <a:pt x="1347" y="1664"/>
                </a:lnTo>
                <a:lnTo>
                  <a:pt x="1348" y="1664"/>
                </a:lnTo>
                <a:lnTo>
                  <a:pt x="1348" y="1662"/>
                </a:lnTo>
                <a:lnTo>
                  <a:pt x="1348" y="1664"/>
                </a:lnTo>
                <a:lnTo>
                  <a:pt x="1347" y="1662"/>
                </a:lnTo>
                <a:lnTo>
                  <a:pt x="1345" y="1662"/>
                </a:lnTo>
                <a:lnTo>
                  <a:pt x="1345" y="1661"/>
                </a:lnTo>
                <a:lnTo>
                  <a:pt x="1343" y="1664"/>
                </a:lnTo>
                <a:lnTo>
                  <a:pt x="1342" y="1666"/>
                </a:lnTo>
                <a:lnTo>
                  <a:pt x="1342" y="1664"/>
                </a:lnTo>
                <a:lnTo>
                  <a:pt x="1342" y="1662"/>
                </a:lnTo>
                <a:lnTo>
                  <a:pt x="1340" y="1661"/>
                </a:lnTo>
                <a:lnTo>
                  <a:pt x="1340" y="1657"/>
                </a:lnTo>
                <a:lnTo>
                  <a:pt x="1338" y="1656"/>
                </a:lnTo>
                <a:lnTo>
                  <a:pt x="1336" y="1654"/>
                </a:lnTo>
                <a:lnTo>
                  <a:pt x="1340" y="1654"/>
                </a:lnTo>
                <a:lnTo>
                  <a:pt x="1338" y="1654"/>
                </a:lnTo>
                <a:lnTo>
                  <a:pt x="1336" y="1654"/>
                </a:lnTo>
                <a:lnTo>
                  <a:pt x="1336" y="1652"/>
                </a:lnTo>
                <a:lnTo>
                  <a:pt x="1335" y="1650"/>
                </a:lnTo>
                <a:lnTo>
                  <a:pt x="1335" y="1652"/>
                </a:lnTo>
                <a:lnTo>
                  <a:pt x="1335" y="1654"/>
                </a:lnTo>
                <a:lnTo>
                  <a:pt x="1331" y="1652"/>
                </a:lnTo>
                <a:lnTo>
                  <a:pt x="1333" y="1654"/>
                </a:lnTo>
                <a:lnTo>
                  <a:pt x="1335" y="1654"/>
                </a:lnTo>
                <a:lnTo>
                  <a:pt x="1336" y="1657"/>
                </a:lnTo>
                <a:lnTo>
                  <a:pt x="1338" y="1657"/>
                </a:lnTo>
                <a:lnTo>
                  <a:pt x="1336" y="1657"/>
                </a:lnTo>
                <a:lnTo>
                  <a:pt x="1338" y="1659"/>
                </a:lnTo>
                <a:lnTo>
                  <a:pt x="1338" y="1661"/>
                </a:lnTo>
                <a:lnTo>
                  <a:pt x="1340" y="1661"/>
                </a:lnTo>
                <a:lnTo>
                  <a:pt x="1340" y="1662"/>
                </a:lnTo>
                <a:lnTo>
                  <a:pt x="1340" y="1661"/>
                </a:lnTo>
                <a:lnTo>
                  <a:pt x="1340" y="1664"/>
                </a:lnTo>
                <a:lnTo>
                  <a:pt x="1342" y="1666"/>
                </a:lnTo>
                <a:lnTo>
                  <a:pt x="1342" y="1667"/>
                </a:lnTo>
                <a:lnTo>
                  <a:pt x="1343" y="1669"/>
                </a:lnTo>
                <a:lnTo>
                  <a:pt x="1343" y="1671"/>
                </a:lnTo>
                <a:lnTo>
                  <a:pt x="1345" y="1673"/>
                </a:lnTo>
                <a:lnTo>
                  <a:pt x="1343" y="1674"/>
                </a:lnTo>
                <a:lnTo>
                  <a:pt x="1345" y="1676"/>
                </a:lnTo>
                <a:lnTo>
                  <a:pt x="1343" y="1674"/>
                </a:lnTo>
                <a:lnTo>
                  <a:pt x="1340" y="1676"/>
                </a:lnTo>
                <a:lnTo>
                  <a:pt x="1343" y="1676"/>
                </a:lnTo>
                <a:lnTo>
                  <a:pt x="1343" y="1678"/>
                </a:lnTo>
                <a:lnTo>
                  <a:pt x="1343" y="1676"/>
                </a:lnTo>
                <a:lnTo>
                  <a:pt x="1345" y="1678"/>
                </a:lnTo>
                <a:lnTo>
                  <a:pt x="1348" y="1679"/>
                </a:lnTo>
                <a:lnTo>
                  <a:pt x="1347" y="1679"/>
                </a:lnTo>
                <a:lnTo>
                  <a:pt x="1347" y="1681"/>
                </a:lnTo>
                <a:lnTo>
                  <a:pt x="1343" y="1683"/>
                </a:lnTo>
                <a:lnTo>
                  <a:pt x="1345" y="1683"/>
                </a:lnTo>
                <a:lnTo>
                  <a:pt x="1343" y="1683"/>
                </a:lnTo>
                <a:lnTo>
                  <a:pt x="1343" y="1681"/>
                </a:lnTo>
                <a:lnTo>
                  <a:pt x="1343" y="1679"/>
                </a:lnTo>
                <a:lnTo>
                  <a:pt x="1343" y="1678"/>
                </a:lnTo>
                <a:lnTo>
                  <a:pt x="1342" y="1679"/>
                </a:lnTo>
                <a:lnTo>
                  <a:pt x="1343" y="1679"/>
                </a:lnTo>
                <a:lnTo>
                  <a:pt x="1343" y="1681"/>
                </a:lnTo>
                <a:lnTo>
                  <a:pt x="1343" y="1683"/>
                </a:lnTo>
                <a:lnTo>
                  <a:pt x="1343" y="1684"/>
                </a:lnTo>
                <a:lnTo>
                  <a:pt x="1342" y="1683"/>
                </a:lnTo>
                <a:lnTo>
                  <a:pt x="1343" y="1686"/>
                </a:lnTo>
                <a:lnTo>
                  <a:pt x="1342" y="1688"/>
                </a:lnTo>
                <a:lnTo>
                  <a:pt x="1340" y="1688"/>
                </a:lnTo>
                <a:lnTo>
                  <a:pt x="1340" y="1690"/>
                </a:lnTo>
                <a:lnTo>
                  <a:pt x="1340" y="1688"/>
                </a:lnTo>
                <a:lnTo>
                  <a:pt x="1336" y="1686"/>
                </a:lnTo>
                <a:lnTo>
                  <a:pt x="1336" y="1688"/>
                </a:lnTo>
                <a:lnTo>
                  <a:pt x="1335" y="1690"/>
                </a:lnTo>
                <a:lnTo>
                  <a:pt x="1336" y="1691"/>
                </a:lnTo>
                <a:lnTo>
                  <a:pt x="1338" y="1691"/>
                </a:lnTo>
                <a:lnTo>
                  <a:pt x="1336" y="1693"/>
                </a:lnTo>
                <a:lnTo>
                  <a:pt x="1338" y="1693"/>
                </a:lnTo>
                <a:lnTo>
                  <a:pt x="1338" y="1696"/>
                </a:lnTo>
                <a:lnTo>
                  <a:pt x="1338" y="1695"/>
                </a:lnTo>
                <a:lnTo>
                  <a:pt x="1336" y="1695"/>
                </a:lnTo>
                <a:lnTo>
                  <a:pt x="1335" y="1695"/>
                </a:lnTo>
                <a:lnTo>
                  <a:pt x="1335" y="1693"/>
                </a:lnTo>
                <a:lnTo>
                  <a:pt x="1331" y="1691"/>
                </a:lnTo>
                <a:lnTo>
                  <a:pt x="1331" y="1690"/>
                </a:lnTo>
                <a:lnTo>
                  <a:pt x="1330" y="1688"/>
                </a:lnTo>
                <a:lnTo>
                  <a:pt x="1328" y="1686"/>
                </a:lnTo>
                <a:lnTo>
                  <a:pt x="1328" y="1684"/>
                </a:lnTo>
                <a:lnTo>
                  <a:pt x="1326" y="1688"/>
                </a:lnTo>
                <a:lnTo>
                  <a:pt x="1326" y="1686"/>
                </a:lnTo>
                <a:lnTo>
                  <a:pt x="1328" y="1684"/>
                </a:lnTo>
                <a:lnTo>
                  <a:pt x="1328" y="1686"/>
                </a:lnTo>
                <a:lnTo>
                  <a:pt x="1328" y="1688"/>
                </a:lnTo>
                <a:lnTo>
                  <a:pt x="1325" y="1690"/>
                </a:lnTo>
                <a:lnTo>
                  <a:pt x="1325" y="1691"/>
                </a:lnTo>
                <a:lnTo>
                  <a:pt x="1326" y="1691"/>
                </a:lnTo>
                <a:lnTo>
                  <a:pt x="1328" y="1693"/>
                </a:lnTo>
                <a:lnTo>
                  <a:pt x="1328" y="1696"/>
                </a:lnTo>
                <a:lnTo>
                  <a:pt x="1325" y="1696"/>
                </a:lnTo>
                <a:lnTo>
                  <a:pt x="1326" y="1698"/>
                </a:lnTo>
                <a:lnTo>
                  <a:pt x="1326" y="1702"/>
                </a:lnTo>
                <a:lnTo>
                  <a:pt x="1328" y="1703"/>
                </a:lnTo>
                <a:lnTo>
                  <a:pt x="1328" y="1705"/>
                </a:lnTo>
                <a:lnTo>
                  <a:pt x="1328" y="1703"/>
                </a:lnTo>
                <a:lnTo>
                  <a:pt x="1328" y="1700"/>
                </a:lnTo>
                <a:lnTo>
                  <a:pt x="1330" y="1703"/>
                </a:lnTo>
                <a:lnTo>
                  <a:pt x="1331" y="1705"/>
                </a:lnTo>
                <a:lnTo>
                  <a:pt x="1330" y="1705"/>
                </a:lnTo>
                <a:lnTo>
                  <a:pt x="1333" y="1707"/>
                </a:lnTo>
                <a:lnTo>
                  <a:pt x="1333" y="1705"/>
                </a:lnTo>
                <a:lnTo>
                  <a:pt x="1336" y="1707"/>
                </a:lnTo>
                <a:lnTo>
                  <a:pt x="1338" y="1707"/>
                </a:lnTo>
                <a:lnTo>
                  <a:pt x="1336" y="1708"/>
                </a:lnTo>
                <a:lnTo>
                  <a:pt x="1335" y="1710"/>
                </a:lnTo>
                <a:lnTo>
                  <a:pt x="1333" y="1710"/>
                </a:lnTo>
                <a:lnTo>
                  <a:pt x="1335" y="1708"/>
                </a:lnTo>
                <a:lnTo>
                  <a:pt x="1331" y="1708"/>
                </a:lnTo>
                <a:lnTo>
                  <a:pt x="1333" y="1710"/>
                </a:lnTo>
                <a:lnTo>
                  <a:pt x="1335" y="1712"/>
                </a:lnTo>
                <a:lnTo>
                  <a:pt x="1333" y="1712"/>
                </a:lnTo>
                <a:lnTo>
                  <a:pt x="1333" y="1713"/>
                </a:lnTo>
                <a:lnTo>
                  <a:pt x="1331" y="1715"/>
                </a:lnTo>
                <a:lnTo>
                  <a:pt x="1331" y="1719"/>
                </a:lnTo>
                <a:lnTo>
                  <a:pt x="1331" y="1720"/>
                </a:lnTo>
                <a:lnTo>
                  <a:pt x="1333" y="1722"/>
                </a:lnTo>
                <a:lnTo>
                  <a:pt x="1331" y="1724"/>
                </a:lnTo>
                <a:lnTo>
                  <a:pt x="1333" y="1724"/>
                </a:lnTo>
                <a:lnTo>
                  <a:pt x="1331" y="1725"/>
                </a:lnTo>
                <a:lnTo>
                  <a:pt x="1330" y="1725"/>
                </a:lnTo>
                <a:lnTo>
                  <a:pt x="1330" y="1727"/>
                </a:lnTo>
                <a:lnTo>
                  <a:pt x="1328" y="1727"/>
                </a:lnTo>
                <a:lnTo>
                  <a:pt x="1330" y="1729"/>
                </a:lnTo>
                <a:lnTo>
                  <a:pt x="1328" y="1729"/>
                </a:lnTo>
                <a:lnTo>
                  <a:pt x="1330" y="1732"/>
                </a:lnTo>
                <a:lnTo>
                  <a:pt x="1330" y="1734"/>
                </a:lnTo>
                <a:lnTo>
                  <a:pt x="1328" y="1736"/>
                </a:lnTo>
                <a:lnTo>
                  <a:pt x="1330" y="1736"/>
                </a:lnTo>
                <a:lnTo>
                  <a:pt x="1330" y="1737"/>
                </a:lnTo>
                <a:lnTo>
                  <a:pt x="1333" y="1737"/>
                </a:lnTo>
                <a:lnTo>
                  <a:pt x="1331" y="1737"/>
                </a:lnTo>
                <a:lnTo>
                  <a:pt x="1331" y="1739"/>
                </a:lnTo>
                <a:lnTo>
                  <a:pt x="1330" y="1739"/>
                </a:lnTo>
                <a:lnTo>
                  <a:pt x="1331" y="1741"/>
                </a:lnTo>
                <a:lnTo>
                  <a:pt x="1331" y="1742"/>
                </a:lnTo>
                <a:lnTo>
                  <a:pt x="1333" y="1744"/>
                </a:lnTo>
                <a:lnTo>
                  <a:pt x="1331" y="1746"/>
                </a:lnTo>
                <a:lnTo>
                  <a:pt x="1335" y="1742"/>
                </a:lnTo>
                <a:lnTo>
                  <a:pt x="1336" y="1744"/>
                </a:lnTo>
                <a:lnTo>
                  <a:pt x="1336" y="1746"/>
                </a:lnTo>
                <a:lnTo>
                  <a:pt x="1336" y="1747"/>
                </a:lnTo>
                <a:lnTo>
                  <a:pt x="1336" y="1749"/>
                </a:lnTo>
                <a:lnTo>
                  <a:pt x="1336" y="1751"/>
                </a:lnTo>
                <a:lnTo>
                  <a:pt x="1335" y="1751"/>
                </a:lnTo>
                <a:lnTo>
                  <a:pt x="1333" y="1749"/>
                </a:lnTo>
                <a:lnTo>
                  <a:pt x="1331" y="1746"/>
                </a:lnTo>
                <a:lnTo>
                  <a:pt x="1330" y="1744"/>
                </a:lnTo>
                <a:lnTo>
                  <a:pt x="1330" y="1746"/>
                </a:lnTo>
                <a:lnTo>
                  <a:pt x="1331" y="1747"/>
                </a:lnTo>
                <a:lnTo>
                  <a:pt x="1330" y="1747"/>
                </a:lnTo>
                <a:lnTo>
                  <a:pt x="1328" y="1747"/>
                </a:lnTo>
                <a:lnTo>
                  <a:pt x="1330" y="1746"/>
                </a:lnTo>
                <a:lnTo>
                  <a:pt x="1328" y="1746"/>
                </a:lnTo>
                <a:lnTo>
                  <a:pt x="1328" y="1744"/>
                </a:lnTo>
                <a:lnTo>
                  <a:pt x="1325" y="1746"/>
                </a:lnTo>
                <a:lnTo>
                  <a:pt x="1323" y="1744"/>
                </a:lnTo>
                <a:lnTo>
                  <a:pt x="1323" y="1746"/>
                </a:lnTo>
                <a:lnTo>
                  <a:pt x="1325" y="1746"/>
                </a:lnTo>
                <a:lnTo>
                  <a:pt x="1326" y="1746"/>
                </a:lnTo>
                <a:lnTo>
                  <a:pt x="1328" y="1747"/>
                </a:lnTo>
                <a:lnTo>
                  <a:pt x="1328" y="1749"/>
                </a:lnTo>
                <a:lnTo>
                  <a:pt x="1326" y="1749"/>
                </a:lnTo>
                <a:lnTo>
                  <a:pt x="1328" y="1749"/>
                </a:lnTo>
                <a:lnTo>
                  <a:pt x="1326" y="1751"/>
                </a:lnTo>
                <a:lnTo>
                  <a:pt x="1326" y="1749"/>
                </a:lnTo>
                <a:lnTo>
                  <a:pt x="1328" y="1749"/>
                </a:lnTo>
                <a:lnTo>
                  <a:pt x="1325" y="1749"/>
                </a:lnTo>
                <a:lnTo>
                  <a:pt x="1326" y="1751"/>
                </a:lnTo>
                <a:lnTo>
                  <a:pt x="1325" y="1751"/>
                </a:lnTo>
                <a:lnTo>
                  <a:pt x="1323" y="1751"/>
                </a:lnTo>
                <a:lnTo>
                  <a:pt x="1323" y="1749"/>
                </a:lnTo>
                <a:lnTo>
                  <a:pt x="1323" y="1751"/>
                </a:lnTo>
                <a:lnTo>
                  <a:pt x="1325" y="1751"/>
                </a:lnTo>
                <a:lnTo>
                  <a:pt x="1323" y="1753"/>
                </a:lnTo>
                <a:lnTo>
                  <a:pt x="1326" y="1751"/>
                </a:lnTo>
                <a:lnTo>
                  <a:pt x="1328" y="1753"/>
                </a:lnTo>
                <a:lnTo>
                  <a:pt x="1328" y="1754"/>
                </a:lnTo>
                <a:lnTo>
                  <a:pt x="1326" y="1753"/>
                </a:lnTo>
                <a:lnTo>
                  <a:pt x="1325" y="1753"/>
                </a:lnTo>
                <a:lnTo>
                  <a:pt x="1321" y="1753"/>
                </a:lnTo>
                <a:lnTo>
                  <a:pt x="1325" y="1753"/>
                </a:lnTo>
                <a:lnTo>
                  <a:pt x="1325" y="1754"/>
                </a:lnTo>
                <a:lnTo>
                  <a:pt x="1323" y="1754"/>
                </a:lnTo>
                <a:lnTo>
                  <a:pt x="1321" y="1756"/>
                </a:lnTo>
                <a:lnTo>
                  <a:pt x="1325" y="1756"/>
                </a:lnTo>
                <a:lnTo>
                  <a:pt x="1323" y="1756"/>
                </a:lnTo>
                <a:lnTo>
                  <a:pt x="1325" y="1756"/>
                </a:lnTo>
                <a:lnTo>
                  <a:pt x="1326" y="1756"/>
                </a:lnTo>
                <a:lnTo>
                  <a:pt x="1328" y="1756"/>
                </a:lnTo>
                <a:lnTo>
                  <a:pt x="1326" y="1756"/>
                </a:lnTo>
                <a:lnTo>
                  <a:pt x="1325" y="1758"/>
                </a:lnTo>
                <a:lnTo>
                  <a:pt x="1323" y="1756"/>
                </a:lnTo>
                <a:lnTo>
                  <a:pt x="1321" y="1758"/>
                </a:lnTo>
                <a:lnTo>
                  <a:pt x="1325" y="1758"/>
                </a:lnTo>
                <a:lnTo>
                  <a:pt x="1326" y="1759"/>
                </a:lnTo>
                <a:lnTo>
                  <a:pt x="1325" y="1759"/>
                </a:lnTo>
                <a:lnTo>
                  <a:pt x="1326" y="1761"/>
                </a:lnTo>
                <a:lnTo>
                  <a:pt x="1325" y="1763"/>
                </a:lnTo>
                <a:lnTo>
                  <a:pt x="1326" y="1764"/>
                </a:lnTo>
                <a:lnTo>
                  <a:pt x="1328" y="1764"/>
                </a:lnTo>
                <a:lnTo>
                  <a:pt x="1326" y="1764"/>
                </a:lnTo>
                <a:lnTo>
                  <a:pt x="1328" y="1764"/>
                </a:lnTo>
                <a:lnTo>
                  <a:pt x="1328" y="1766"/>
                </a:lnTo>
                <a:lnTo>
                  <a:pt x="1326" y="1766"/>
                </a:lnTo>
                <a:lnTo>
                  <a:pt x="1325" y="1766"/>
                </a:lnTo>
                <a:lnTo>
                  <a:pt x="1326" y="1766"/>
                </a:lnTo>
                <a:lnTo>
                  <a:pt x="1325" y="1766"/>
                </a:lnTo>
                <a:lnTo>
                  <a:pt x="1325" y="1768"/>
                </a:lnTo>
                <a:lnTo>
                  <a:pt x="1325" y="1770"/>
                </a:lnTo>
                <a:lnTo>
                  <a:pt x="1326" y="1770"/>
                </a:lnTo>
                <a:lnTo>
                  <a:pt x="1326" y="1771"/>
                </a:lnTo>
                <a:lnTo>
                  <a:pt x="1328" y="1771"/>
                </a:lnTo>
                <a:lnTo>
                  <a:pt x="1328" y="1773"/>
                </a:lnTo>
                <a:lnTo>
                  <a:pt x="1331" y="1773"/>
                </a:lnTo>
                <a:lnTo>
                  <a:pt x="1330" y="1775"/>
                </a:lnTo>
                <a:lnTo>
                  <a:pt x="1330" y="1773"/>
                </a:lnTo>
                <a:lnTo>
                  <a:pt x="1328" y="1775"/>
                </a:lnTo>
                <a:lnTo>
                  <a:pt x="1328" y="1773"/>
                </a:lnTo>
                <a:lnTo>
                  <a:pt x="1326" y="1773"/>
                </a:lnTo>
                <a:lnTo>
                  <a:pt x="1328" y="1775"/>
                </a:lnTo>
                <a:lnTo>
                  <a:pt x="1328" y="1773"/>
                </a:lnTo>
                <a:lnTo>
                  <a:pt x="1328" y="1775"/>
                </a:lnTo>
                <a:lnTo>
                  <a:pt x="1330" y="1775"/>
                </a:lnTo>
                <a:lnTo>
                  <a:pt x="1331" y="1776"/>
                </a:lnTo>
                <a:lnTo>
                  <a:pt x="1330" y="1775"/>
                </a:lnTo>
                <a:lnTo>
                  <a:pt x="1328" y="1776"/>
                </a:lnTo>
                <a:lnTo>
                  <a:pt x="1326" y="1775"/>
                </a:lnTo>
                <a:lnTo>
                  <a:pt x="1325" y="1775"/>
                </a:lnTo>
                <a:lnTo>
                  <a:pt x="1326" y="1775"/>
                </a:lnTo>
                <a:lnTo>
                  <a:pt x="1328" y="1776"/>
                </a:lnTo>
                <a:lnTo>
                  <a:pt x="1330" y="1778"/>
                </a:lnTo>
                <a:lnTo>
                  <a:pt x="1328" y="1778"/>
                </a:lnTo>
                <a:lnTo>
                  <a:pt x="1330" y="1780"/>
                </a:lnTo>
                <a:lnTo>
                  <a:pt x="1328" y="1780"/>
                </a:lnTo>
                <a:lnTo>
                  <a:pt x="1326" y="1781"/>
                </a:lnTo>
                <a:lnTo>
                  <a:pt x="1330" y="1781"/>
                </a:lnTo>
                <a:lnTo>
                  <a:pt x="1328" y="1783"/>
                </a:lnTo>
                <a:lnTo>
                  <a:pt x="1330" y="1785"/>
                </a:lnTo>
                <a:lnTo>
                  <a:pt x="1328" y="1785"/>
                </a:lnTo>
                <a:lnTo>
                  <a:pt x="1330" y="1787"/>
                </a:lnTo>
                <a:lnTo>
                  <a:pt x="1328" y="1788"/>
                </a:lnTo>
                <a:lnTo>
                  <a:pt x="1330" y="1790"/>
                </a:lnTo>
                <a:lnTo>
                  <a:pt x="1330" y="1792"/>
                </a:lnTo>
                <a:lnTo>
                  <a:pt x="1330" y="1793"/>
                </a:lnTo>
                <a:lnTo>
                  <a:pt x="1328" y="1795"/>
                </a:lnTo>
                <a:lnTo>
                  <a:pt x="1330" y="1795"/>
                </a:lnTo>
                <a:lnTo>
                  <a:pt x="1333" y="1795"/>
                </a:lnTo>
                <a:lnTo>
                  <a:pt x="1331" y="1795"/>
                </a:lnTo>
                <a:lnTo>
                  <a:pt x="1330" y="1797"/>
                </a:lnTo>
                <a:lnTo>
                  <a:pt x="1331" y="1797"/>
                </a:lnTo>
                <a:lnTo>
                  <a:pt x="1330" y="1798"/>
                </a:lnTo>
                <a:lnTo>
                  <a:pt x="1330" y="1800"/>
                </a:lnTo>
                <a:lnTo>
                  <a:pt x="1330" y="1798"/>
                </a:lnTo>
                <a:lnTo>
                  <a:pt x="1330" y="1800"/>
                </a:lnTo>
                <a:lnTo>
                  <a:pt x="1331" y="1800"/>
                </a:lnTo>
                <a:lnTo>
                  <a:pt x="1330" y="1800"/>
                </a:lnTo>
                <a:lnTo>
                  <a:pt x="1331" y="1800"/>
                </a:lnTo>
                <a:lnTo>
                  <a:pt x="1331" y="1802"/>
                </a:lnTo>
                <a:lnTo>
                  <a:pt x="1333" y="1804"/>
                </a:lnTo>
                <a:lnTo>
                  <a:pt x="1335" y="1804"/>
                </a:lnTo>
                <a:lnTo>
                  <a:pt x="1336" y="1804"/>
                </a:lnTo>
                <a:lnTo>
                  <a:pt x="1335" y="1804"/>
                </a:lnTo>
                <a:lnTo>
                  <a:pt x="1335" y="1807"/>
                </a:lnTo>
                <a:lnTo>
                  <a:pt x="1333" y="1809"/>
                </a:lnTo>
                <a:lnTo>
                  <a:pt x="1335" y="1809"/>
                </a:lnTo>
                <a:lnTo>
                  <a:pt x="1336" y="1809"/>
                </a:lnTo>
                <a:lnTo>
                  <a:pt x="1338" y="1809"/>
                </a:lnTo>
                <a:lnTo>
                  <a:pt x="1335" y="1810"/>
                </a:lnTo>
                <a:lnTo>
                  <a:pt x="1336" y="1810"/>
                </a:lnTo>
                <a:lnTo>
                  <a:pt x="1336" y="1812"/>
                </a:lnTo>
                <a:lnTo>
                  <a:pt x="1338" y="1810"/>
                </a:lnTo>
                <a:lnTo>
                  <a:pt x="1338" y="1812"/>
                </a:lnTo>
                <a:lnTo>
                  <a:pt x="1336" y="1814"/>
                </a:lnTo>
                <a:lnTo>
                  <a:pt x="1335" y="1815"/>
                </a:lnTo>
                <a:lnTo>
                  <a:pt x="1333" y="1817"/>
                </a:lnTo>
                <a:lnTo>
                  <a:pt x="1335" y="1817"/>
                </a:lnTo>
                <a:lnTo>
                  <a:pt x="1331" y="1817"/>
                </a:lnTo>
                <a:lnTo>
                  <a:pt x="1335" y="1817"/>
                </a:lnTo>
                <a:lnTo>
                  <a:pt x="1336" y="1817"/>
                </a:lnTo>
                <a:lnTo>
                  <a:pt x="1336" y="1815"/>
                </a:lnTo>
                <a:lnTo>
                  <a:pt x="1338" y="1817"/>
                </a:lnTo>
                <a:lnTo>
                  <a:pt x="1336" y="1819"/>
                </a:lnTo>
                <a:lnTo>
                  <a:pt x="1338" y="1819"/>
                </a:lnTo>
                <a:lnTo>
                  <a:pt x="1340" y="1819"/>
                </a:lnTo>
                <a:lnTo>
                  <a:pt x="1342" y="1819"/>
                </a:lnTo>
                <a:lnTo>
                  <a:pt x="1342" y="1821"/>
                </a:lnTo>
                <a:lnTo>
                  <a:pt x="1342" y="1819"/>
                </a:lnTo>
                <a:lnTo>
                  <a:pt x="1342" y="1821"/>
                </a:lnTo>
                <a:lnTo>
                  <a:pt x="1343" y="1824"/>
                </a:lnTo>
                <a:lnTo>
                  <a:pt x="1342" y="1826"/>
                </a:lnTo>
                <a:lnTo>
                  <a:pt x="1343" y="1824"/>
                </a:lnTo>
                <a:lnTo>
                  <a:pt x="1342" y="1821"/>
                </a:lnTo>
                <a:lnTo>
                  <a:pt x="1342" y="1819"/>
                </a:lnTo>
                <a:lnTo>
                  <a:pt x="1343" y="1817"/>
                </a:lnTo>
                <a:lnTo>
                  <a:pt x="1343" y="1819"/>
                </a:lnTo>
                <a:lnTo>
                  <a:pt x="1345" y="1817"/>
                </a:lnTo>
                <a:lnTo>
                  <a:pt x="1345" y="1819"/>
                </a:lnTo>
                <a:lnTo>
                  <a:pt x="1348" y="1819"/>
                </a:lnTo>
                <a:lnTo>
                  <a:pt x="1350" y="1821"/>
                </a:lnTo>
                <a:lnTo>
                  <a:pt x="1348" y="1821"/>
                </a:lnTo>
                <a:lnTo>
                  <a:pt x="1347" y="1822"/>
                </a:lnTo>
                <a:lnTo>
                  <a:pt x="1348" y="1824"/>
                </a:lnTo>
                <a:lnTo>
                  <a:pt x="1350" y="1826"/>
                </a:lnTo>
                <a:lnTo>
                  <a:pt x="1348" y="1826"/>
                </a:lnTo>
                <a:lnTo>
                  <a:pt x="1350" y="1826"/>
                </a:lnTo>
                <a:lnTo>
                  <a:pt x="1350" y="1827"/>
                </a:lnTo>
                <a:lnTo>
                  <a:pt x="1352" y="1827"/>
                </a:lnTo>
                <a:lnTo>
                  <a:pt x="1350" y="1827"/>
                </a:lnTo>
                <a:lnTo>
                  <a:pt x="1350" y="1826"/>
                </a:lnTo>
                <a:lnTo>
                  <a:pt x="1352" y="1826"/>
                </a:lnTo>
                <a:lnTo>
                  <a:pt x="1350" y="1826"/>
                </a:lnTo>
                <a:lnTo>
                  <a:pt x="1352" y="1826"/>
                </a:lnTo>
                <a:lnTo>
                  <a:pt x="1352" y="1827"/>
                </a:lnTo>
                <a:lnTo>
                  <a:pt x="1353" y="1829"/>
                </a:lnTo>
                <a:lnTo>
                  <a:pt x="1352" y="1826"/>
                </a:lnTo>
                <a:lnTo>
                  <a:pt x="1352" y="1824"/>
                </a:lnTo>
                <a:lnTo>
                  <a:pt x="1353" y="1826"/>
                </a:lnTo>
                <a:lnTo>
                  <a:pt x="1353" y="1824"/>
                </a:lnTo>
                <a:lnTo>
                  <a:pt x="1355" y="1824"/>
                </a:lnTo>
                <a:lnTo>
                  <a:pt x="1355" y="1822"/>
                </a:lnTo>
                <a:lnTo>
                  <a:pt x="1357" y="1821"/>
                </a:lnTo>
                <a:lnTo>
                  <a:pt x="1359" y="1821"/>
                </a:lnTo>
                <a:lnTo>
                  <a:pt x="1360" y="1821"/>
                </a:lnTo>
                <a:lnTo>
                  <a:pt x="1362" y="1822"/>
                </a:lnTo>
                <a:lnTo>
                  <a:pt x="1362" y="1824"/>
                </a:lnTo>
                <a:lnTo>
                  <a:pt x="1364" y="1826"/>
                </a:lnTo>
                <a:lnTo>
                  <a:pt x="1362" y="1827"/>
                </a:lnTo>
                <a:lnTo>
                  <a:pt x="1362" y="1826"/>
                </a:lnTo>
                <a:lnTo>
                  <a:pt x="1364" y="1827"/>
                </a:lnTo>
                <a:lnTo>
                  <a:pt x="1364" y="1829"/>
                </a:lnTo>
                <a:lnTo>
                  <a:pt x="1365" y="1827"/>
                </a:lnTo>
                <a:lnTo>
                  <a:pt x="1365" y="1829"/>
                </a:lnTo>
                <a:lnTo>
                  <a:pt x="1365" y="1831"/>
                </a:lnTo>
                <a:lnTo>
                  <a:pt x="1367" y="1832"/>
                </a:lnTo>
                <a:lnTo>
                  <a:pt x="1369" y="1834"/>
                </a:lnTo>
                <a:lnTo>
                  <a:pt x="1370" y="1832"/>
                </a:lnTo>
                <a:lnTo>
                  <a:pt x="1369" y="1832"/>
                </a:lnTo>
                <a:lnTo>
                  <a:pt x="1369" y="1831"/>
                </a:lnTo>
                <a:lnTo>
                  <a:pt x="1369" y="1832"/>
                </a:lnTo>
                <a:lnTo>
                  <a:pt x="1369" y="1831"/>
                </a:lnTo>
                <a:lnTo>
                  <a:pt x="1369" y="1832"/>
                </a:lnTo>
                <a:lnTo>
                  <a:pt x="1370" y="1832"/>
                </a:lnTo>
                <a:lnTo>
                  <a:pt x="1369" y="1834"/>
                </a:lnTo>
                <a:lnTo>
                  <a:pt x="1372" y="1834"/>
                </a:lnTo>
                <a:lnTo>
                  <a:pt x="1372" y="1836"/>
                </a:lnTo>
                <a:lnTo>
                  <a:pt x="1372" y="1838"/>
                </a:lnTo>
                <a:lnTo>
                  <a:pt x="1372" y="1839"/>
                </a:lnTo>
                <a:lnTo>
                  <a:pt x="1372" y="1836"/>
                </a:lnTo>
                <a:lnTo>
                  <a:pt x="1374" y="1836"/>
                </a:lnTo>
                <a:lnTo>
                  <a:pt x="1376" y="1838"/>
                </a:lnTo>
                <a:lnTo>
                  <a:pt x="1376" y="1836"/>
                </a:lnTo>
                <a:lnTo>
                  <a:pt x="1377" y="1838"/>
                </a:lnTo>
                <a:lnTo>
                  <a:pt x="1379" y="1838"/>
                </a:lnTo>
                <a:lnTo>
                  <a:pt x="1381" y="1839"/>
                </a:lnTo>
                <a:lnTo>
                  <a:pt x="1379" y="1838"/>
                </a:lnTo>
                <a:lnTo>
                  <a:pt x="1381" y="1839"/>
                </a:lnTo>
                <a:lnTo>
                  <a:pt x="1381" y="1841"/>
                </a:lnTo>
                <a:lnTo>
                  <a:pt x="1382" y="1841"/>
                </a:lnTo>
                <a:lnTo>
                  <a:pt x="1384" y="1841"/>
                </a:lnTo>
                <a:lnTo>
                  <a:pt x="1382" y="1841"/>
                </a:lnTo>
                <a:lnTo>
                  <a:pt x="1384" y="1843"/>
                </a:lnTo>
                <a:lnTo>
                  <a:pt x="1386" y="1843"/>
                </a:lnTo>
                <a:lnTo>
                  <a:pt x="1386" y="1844"/>
                </a:lnTo>
                <a:lnTo>
                  <a:pt x="1382" y="1844"/>
                </a:lnTo>
                <a:lnTo>
                  <a:pt x="1381" y="1844"/>
                </a:lnTo>
                <a:lnTo>
                  <a:pt x="1384" y="1846"/>
                </a:lnTo>
                <a:lnTo>
                  <a:pt x="1384" y="1848"/>
                </a:lnTo>
                <a:lnTo>
                  <a:pt x="1382" y="1848"/>
                </a:lnTo>
                <a:lnTo>
                  <a:pt x="1382" y="1846"/>
                </a:lnTo>
                <a:lnTo>
                  <a:pt x="1381" y="1844"/>
                </a:lnTo>
                <a:lnTo>
                  <a:pt x="1379" y="1844"/>
                </a:lnTo>
                <a:lnTo>
                  <a:pt x="1377" y="1841"/>
                </a:lnTo>
                <a:lnTo>
                  <a:pt x="1376" y="1841"/>
                </a:lnTo>
                <a:lnTo>
                  <a:pt x="1376" y="1839"/>
                </a:lnTo>
                <a:lnTo>
                  <a:pt x="1374" y="1839"/>
                </a:lnTo>
                <a:lnTo>
                  <a:pt x="1376" y="1841"/>
                </a:lnTo>
                <a:lnTo>
                  <a:pt x="1377" y="1843"/>
                </a:lnTo>
                <a:lnTo>
                  <a:pt x="1379" y="1844"/>
                </a:lnTo>
                <a:lnTo>
                  <a:pt x="1381" y="1846"/>
                </a:lnTo>
                <a:lnTo>
                  <a:pt x="1379" y="1846"/>
                </a:lnTo>
                <a:lnTo>
                  <a:pt x="1381" y="1848"/>
                </a:lnTo>
                <a:lnTo>
                  <a:pt x="1379" y="1848"/>
                </a:lnTo>
                <a:lnTo>
                  <a:pt x="1382" y="1850"/>
                </a:lnTo>
                <a:lnTo>
                  <a:pt x="1384" y="1851"/>
                </a:lnTo>
                <a:lnTo>
                  <a:pt x="1386" y="1853"/>
                </a:lnTo>
                <a:lnTo>
                  <a:pt x="1386" y="1856"/>
                </a:lnTo>
                <a:lnTo>
                  <a:pt x="1386" y="1853"/>
                </a:lnTo>
                <a:lnTo>
                  <a:pt x="1386" y="1851"/>
                </a:lnTo>
                <a:lnTo>
                  <a:pt x="1386" y="1850"/>
                </a:lnTo>
                <a:lnTo>
                  <a:pt x="1389" y="1850"/>
                </a:lnTo>
                <a:lnTo>
                  <a:pt x="1389" y="1851"/>
                </a:lnTo>
                <a:lnTo>
                  <a:pt x="1391" y="1851"/>
                </a:lnTo>
                <a:lnTo>
                  <a:pt x="1393" y="1853"/>
                </a:lnTo>
                <a:lnTo>
                  <a:pt x="1393" y="1855"/>
                </a:lnTo>
                <a:lnTo>
                  <a:pt x="1393" y="1858"/>
                </a:lnTo>
                <a:lnTo>
                  <a:pt x="1394" y="1860"/>
                </a:lnTo>
                <a:lnTo>
                  <a:pt x="1394" y="1858"/>
                </a:lnTo>
                <a:lnTo>
                  <a:pt x="1393" y="1856"/>
                </a:lnTo>
                <a:lnTo>
                  <a:pt x="1393" y="1855"/>
                </a:lnTo>
                <a:lnTo>
                  <a:pt x="1393" y="1853"/>
                </a:lnTo>
                <a:lnTo>
                  <a:pt x="1393" y="1851"/>
                </a:lnTo>
                <a:lnTo>
                  <a:pt x="1394" y="1851"/>
                </a:lnTo>
                <a:lnTo>
                  <a:pt x="1394" y="1853"/>
                </a:lnTo>
                <a:lnTo>
                  <a:pt x="1394" y="1855"/>
                </a:lnTo>
                <a:lnTo>
                  <a:pt x="1394" y="1856"/>
                </a:lnTo>
                <a:lnTo>
                  <a:pt x="1396" y="1858"/>
                </a:lnTo>
                <a:lnTo>
                  <a:pt x="1398" y="1860"/>
                </a:lnTo>
                <a:lnTo>
                  <a:pt x="1399" y="1863"/>
                </a:lnTo>
                <a:lnTo>
                  <a:pt x="1398" y="1863"/>
                </a:lnTo>
                <a:lnTo>
                  <a:pt x="1399" y="1863"/>
                </a:lnTo>
                <a:lnTo>
                  <a:pt x="1399" y="1865"/>
                </a:lnTo>
                <a:lnTo>
                  <a:pt x="1401" y="1865"/>
                </a:lnTo>
                <a:lnTo>
                  <a:pt x="1403" y="1865"/>
                </a:lnTo>
                <a:lnTo>
                  <a:pt x="1403" y="1868"/>
                </a:lnTo>
                <a:lnTo>
                  <a:pt x="1403" y="1865"/>
                </a:lnTo>
                <a:lnTo>
                  <a:pt x="1404" y="1867"/>
                </a:lnTo>
                <a:lnTo>
                  <a:pt x="1404" y="1868"/>
                </a:lnTo>
                <a:lnTo>
                  <a:pt x="1404" y="1870"/>
                </a:lnTo>
                <a:lnTo>
                  <a:pt x="1404" y="1872"/>
                </a:lnTo>
                <a:lnTo>
                  <a:pt x="1403" y="1868"/>
                </a:lnTo>
                <a:lnTo>
                  <a:pt x="1403" y="1870"/>
                </a:lnTo>
                <a:lnTo>
                  <a:pt x="1401" y="1868"/>
                </a:lnTo>
                <a:lnTo>
                  <a:pt x="1401" y="1867"/>
                </a:lnTo>
                <a:lnTo>
                  <a:pt x="1399" y="1867"/>
                </a:lnTo>
                <a:lnTo>
                  <a:pt x="1399" y="1865"/>
                </a:lnTo>
                <a:lnTo>
                  <a:pt x="1398" y="1863"/>
                </a:lnTo>
                <a:lnTo>
                  <a:pt x="1399" y="1867"/>
                </a:lnTo>
                <a:lnTo>
                  <a:pt x="1398" y="1867"/>
                </a:lnTo>
                <a:lnTo>
                  <a:pt x="1399" y="1867"/>
                </a:lnTo>
                <a:lnTo>
                  <a:pt x="1399" y="1870"/>
                </a:lnTo>
                <a:lnTo>
                  <a:pt x="1399" y="1872"/>
                </a:lnTo>
                <a:lnTo>
                  <a:pt x="1398" y="1873"/>
                </a:lnTo>
                <a:lnTo>
                  <a:pt x="1398" y="1875"/>
                </a:lnTo>
                <a:lnTo>
                  <a:pt x="1396" y="1875"/>
                </a:lnTo>
                <a:lnTo>
                  <a:pt x="1394" y="1877"/>
                </a:lnTo>
                <a:lnTo>
                  <a:pt x="1393" y="1877"/>
                </a:lnTo>
                <a:lnTo>
                  <a:pt x="1394" y="1877"/>
                </a:lnTo>
                <a:lnTo>
                  <a:pt x="1398" y="1875"/>
                </a:lnTo>
                <a:lnTo>
                  <a:pt x="1399" y="1875"/>
                </a:lnTo>
                <a:lnTo>
                  <a:pt x="1399" y="1877"/>
                </a:lnTo>
                <a:lnTo>
                  <a:pt x="1398" y="1877"/>
                </a:lnTo>
                <a:lnTo>
                  <a:pt x="1399" y="1877"/>
                </a:lnTo>
                <a:lnTo>
                  <a:pt x="1399" y="1875"/>
                </a:lnTo>
                <a:lnTo>
                  <a:pt x="1401" y="1875"/>
                </a:lnTo>
                <a:lnTo>
                  <a:pt x="1404" y="1875"/>
                </a:lnTo>
                <a:lnTo>
                  <a:pt x="1406" y="1875"/>
                </a:lnTo>
                <a:lnTo>
                  <a:pt x="1406" y="1878"/>
                </a:lnTo>
                <a:lnTo>
                  <a:pt x="1404" y="1878"/>
                </a:lnTo>
                <a:lnTo>
                  <a:pt x="1403" y="1878"/>
                </a:lnTo>
                <a:lnTo>
                  <a:pt x="1401" y="1878"/>
                </a:lnTo>
                <a:lnTo>
                  <a:pt x="1399" y="1878"/>
                </a:lnTo>
                <a:lnTo>
                  <a:pt x="1401" y="1880"/>
                </a:lnTo>
                <a:lnTo>
                  <a:pt x="1399" y="1880"/>
                </a:lnTo>
                <a:lnTo>
                  <a:pt x="1398" y="1880"/>
                </a:lnTo>
                <a:lnTo>
                  <a:pt x="1396" y="1882"/>
                </a:lnTo>
                <a:lnTo>
                  <a:pt x="1398" y="1882"/>
                </a:lnTo>
                <a:lnTo>
                  <a:pt x="1396" y="1882"/>
                </a:lnTo>
                <a:lnTo>
                  <a:pt x="1394" y="1882"/>
                </a:lnTo>
                <a:lnTo>
                  <a:pt x="1394" y="1884"/>
                </a:lnTo>
                <a:lnTo>
                  <a:pt x="1393" y="1885"/>
                </a:lnTo>
                <a:lnTo>
                  <a:pt x="1396" y="1885"/>
                </a:lnTo>
                <a:lnTo>
                  <a:pt x="1396" y="1887"/>
                </a:lnTo>
                <a:lnTo>
                  <a:pt x="1394" y="1885"/>
                </a:lnTo>
                <a:lnTo>
                  <a:pt x="1394" y="1887"/>
                </a:lnTo>
                <a:lnTo>
                  <a:pt x="1393" y="1885"/>
                </a:lnTo>
                <a:lnTo>
                  <a:pt x="1391" y="1885"/>
                </a:lnTo>
                <a:lnTo>
                  <a:pt x="1393" y="1887"/>
                </a:lnTo>
                <a:lnTo>
                  <a:pt x="1393" y="1889"/>
                </a:lnTo>
                <a:lnTo>
                  <a:pt x="1391" y="1890"/>
                </a:lnTo>
                <a:lnTo>
                  <a:pt x="1389" y="1892"/>
                </a:lnTo>
                <a:lnTo>
                  <a:pt x="1387" y="1894"/>
                </a:lnTo>
                <a:lnTo>
                  <a:pt x="1386" y="1895"/>
                </a:lnTo>
                <a:lnTo>
                  <a:pt x="1386" y="1897"/>
                </a:lnTo>
                <a:lnTo>
                  <a:pt x="1384" y="1897"/>
                </a:lnTo>
                <a:lnTo>
                  <a:pt x="1384" y="1899"/>
                </a:lnTo>
                <a:lnTo>
                  <a:pt x="1381" y="1899"/>
                </a:lnTo>
                <a:lnTo>
                  <a:pt x="1379" y="1899"/>
                </a:lnTo>
                <a:lnTo>
                  <a:pt x="1381" y="1901"/>
                </a:lnTo>
                <a:lnTo>
                  <a:pt x="1379" y="1901"/>
                </a:lnTo>
                <a:lnTo>
                  <a:pt x="1379" y="1902"/>
                </a:lnTo>
                <a:lnTo>
                  <a:pt x="1381" y="1902"/>
                </a:lnTo>
                <a:lnTo>
                  <a:pt x="1382" y="1901"/>
                </a:lnTo>
                <a:lnTo>
                  <a:pt x="1382" y="1902"/>
                </a:lnTo>
                <a:lnTo>
                  <a:pt x="1379" y="1902"/>
                </a:lnTo>
                <a:lnTo>
                  <a:pt x="1381" y="1902"/>
                </a:lnTo>
                <a:lnTo>
                  <a:pt x="1381" y="1904"/>
                </a:lnTo>
                <a:lnTo>
                  <a:pt x="1382" y="1904"/>
                </a:lnTo>
                <a:lnTo>
                  <a:pt x="1381" y="1904"/>
                </a:lnTo>
                <a:lnTo>
                  <a:pt x="1382" y="1904"/>
                </a:lnTo>
                <a:lnTo>
                  <a:pt x="1381" y="1904"/>
                </a:lnTo>
                <a:lnTo>
                  <a:pt x="1379" y="1904"/>
                </a:lnTo>
                <a:lnTo>
                  <a:pt x="1377" y="1904"/>
                </a:lnTo>
                <a:lnTo>
                  <a:pt x="1376" y="1902"/>
                </a:lnTo>
                <a:lnTo>
                  <a:pt x="1377" y="1902"/>
                </a:lnTo>
                <a:lnTo>
                  <a:pt x="1377" y="1901"/>
                </a:lnTo>
                <a:lnTo>
                  <a:pt x="1376" y="1902"/>
                </a:lnTo>
                <a:lnTo>
                  <a:pt x="1376" y="1901"/>
                </a:lnTo>
                <a:lnTo>
                  <a:pt x="1374" y="1902"/>
                </a:lnTo>
                <a:lnTo>
                  <a:pt x="1374" y="1904"/>
                </a:lnTo>
                <a:lnTo>
                  <a:pt x="1374" y="1906"/>
                </a:lnTo>
                <a:lnTo>
                  <a:pt x="1372" y="1906"/>
                </a:lnTo>
                <a:lnTo>
                  <a:pt x="1370" y="1904"/>
                </a:lnTo>
                <a:lnTo>
                  <a:pt x="1370" y="1902"/>
                </a:lnTo>
                <a:lnTo>
                  <a:pt x="1369" y="1902"/>
                </a:lnTo>
                <a:lnTo>
                  <a:pt x="1370" y="1902"/>
                </a:lnTo>
                <a:lnTo>
                  <a:pt x="1372" y="1906"/>
                </a:lnTo>
                <a:lnTo>
                  <a:pt x="1374" y="1907"/>
                </a:lnTo>
                <a:lnTo>
                  <a:pt x="1376" y="1907"/>
                </a:lnTo>
                <a:lnTo>
                  <a:pt x="1377" y="1909"/>
                </a:lnTo>
                <a:lnTo>
                  <a:pt x="1376" y="1909"/>
                </a:lnTo>
                <a:lnTo>
                  <a:pt x="1374" y="1909"/>
                </a:lnTo>
                <a:lnTo>
                  <a:pt x="1376" y="1911"/>
                </a:lnTo>
                <a:lnTo>
                  <a:pt x="1374" y="1911"/>
                </a:lnTo>
                <a:lnTo>
                  <a:pt x="1376" y="1911"/>
                </a:lnTo>
                <a:lnTo>
                  <a:pt x="1377" y="1909"/>
                </a:lnTo>
                <a:lnTo>
                  <a:pt x="1376" y="1911"/>
                </a:lnTo>
                <a:lnTo>
                  <a:pt x="1379" y="1909"/>
                </a:lnTo>
                <a:lnTo>
                  <a:pt x="1379" y="1911"/>
                </a:lnTo>
                <a:lnTo>
                  <a:pt x="1381" y="1911"/>
                </a:lnTo>
                <a:lnTo>
                  <a:pt x="1382" y="1909"/>
                </a:lnTo>
                <a:lnTo>
                  <a:pt x="1382" y="1912"/>
                </a:lnTo>
                <a:lnTo>
                  <a:pt x="1384" y="1912"/>
                </a:lnTo>
                <a:lnTo>
                  <a:pt x="1382" y="1912"/>
                </a:lnTo>
                <a:lnTo>
                  <a:pt x="1381" y="1912"/>
                </a:lnTo>
                <a:lnTo>
                  <a:pt x="1382" y="1914"/>
                </a:lnTo>
                <a:lnTo>
                  <a:pt x="1384" y="1914"/>
                </a:lnTo>
                <a:lnTo>
                  <a:pt x="1384" y="1916"/>
                </a:lnTo>
                <a:lnTo>
                  <a:pt x="1386" y="1914"/>
                </a:lnTo>
                <a:lnTo>
                  <a:pt x="1387" y="1918"/>
                </a:lnTo>
                <a:lnTo>
                  <a:pt x="1386" y="1918"/>
                </a:lnTo>
                <a:lnTo>
                  <a:pt x="1384" y="1916"/>
                </a:lnTo>
                <a:lnTo>
                  <a:pt x="1382" y="1914"/>
                </a:lnTo>
                <a:lnTo>
                  <a:pt x="1384" y="1916"/>
                </a:lnTo>
                <a:lnTo>
                  <a:pt x="1386" y="1918"/>
                </a:lnTo>
                <a:lnTo>
                  <a:pt x="1386" y="1919"/>
                </a:lnTo>
                <a:lnTo>
                  <a:pt x="1387" y="1919"/>
                </a:lnTo>
                <a:lnTo>
                  <a:pt x="1386" y="1919"/>
                </a:lnTo>
                <a:lnTo>
                  <a:pt x="1387" y="1919"/>
                </a:lnTo>
                <a:lnTo>
                  <a:pt x="1387" y="1921"/>
                </a:lnTo>
                <a:lnTo>
                  <a:pt x="1387" y="1919"/>
                </a:lnTo>
                <a:lnTo>
                  <a:pt x="1389" y="1919"/>
                </a:lnTo>
                <a:lnTo>
                  <a:pt x="1389" y="1921"/>
                </a:lnTo>
                <a:lnTo>
                  <a:pt x="1387" y="1921"/>
                </a:lnTo>
                <a:lnTo>
                  <a:pt x="1386" y="1923"/>
                </a:lnTo>
                <a:lnTo>
                  <a:pt x="1382" y="1923"/>
                </a:lnTo>
                <a:lnTo>
                  <a:pt x="1384" y="1923"/>
                </a:lnTo>
                <a:lnTo>
                  <a:pt x="1382" y="1924"/>
                </a:lnTo>
                <a:lnTo>
                  <a:pt x="1384" y="1924"/>
                </a:lnTo>
                <a:lnTo>
                  <a:pt x="1386" y="1924"/>
                </a:lnTo>
                <a:lnTo>
                  <a:pt x="1384" y="1926"/>
                </a:lnTo>
                <a:lnTo>
                  <a:pt x="1382" y="1926"/>
                </a:lnTo>
                <a:lnTo>
                  <a:pt x="1382" y="1928"/>
                </a:lnTo>
                <a:lnTo>
                  <a:pt x="1381" y="1928"/>
                </a:lnTo>
                <a:lnTo>
                  <a:pt x="1382" y="1926"/>
                </a:lnTo>
                <a:lnTo>
                  <a:pt x="1381" y="1926"/>
                </a:lnTo>
                <a:lnTo>
                  <a:pt x="1381" y="1923"/>
                </a:lnTo>
                <a:lnTo>
                  <a:pt x="1381" y="1926"/>
                </a:lnTo>
                <a:lnTo>
                  <a:pt x="1377" y="1928"/>
                </a:lnTo>
                <a:lnTo>
                  <a:pt x="1376" y="1929"/>
                </a:lnTo>
                <a:lnTo>
                  <a:pt x="1376" y="1931"/>
                </a:lnTo>
                <a:lnTo>
                  <a:pt x="1374" y="1929"/>
                </a:lnTo>
                <a:lnTo>
                  <a:pt x="1374" y="1933"/>
                </a:lnTo>
                <a:lnTo>
                  <a:pt x="1374" y="1931"/>
                </a:lnTo>
                <a:lnTo>
                  <a:pt x="1374" y="1935"/>
                </a:lnTo>
                <a:lnTo>
                  <a:pt x="1372" y="1936"/>
                </a:lnTo>
                <a:lnTo>
                  <a:pt x="1374" y="1938"/>
                </a:lnTo>
                <a:lnTo>
                  <a:pt x="1372" y="1940"/>
                </a:lnTo>
                <a:lnTo>
                  <a:pt x="1372" y="1943"/>
                </a:lnTo>
                <a:lnTo>
                  <a:pt x="1372" y="1945"/>
                </a:lnTo>
                <a:lnTo>
                  <a:pt x="1372" y="1946"/>
                </a:lnTo>
                <a:lnTo>
                  <a:pt x="1372" y="1945"/>
                </a:lnTo>
                <a:lnTo>
                  <a:pt x="1370" y="1945"/>
                </a:lnTo>
                <a:lnTo>
                  <a:pt x="1370" y="1943"/>
                </a:lnTo>
                <a:lnTo>
                  <a:pt x="1370" y="1945"/>
                </a:lnTo>
                <a:lnTo>
                  <a:pt x="1369" y="1941"/>
                </a:lnTo>
                <a:lnTo>
                  <a:pt x="1370" y="1941"/>
                </a:lnTo>
                <a:lnTo>
                  <a:pt x="1369" y="1940"/>
                </a:lnTo>
                <a:lnTo>
                  <a:pt x="1370" y="1941"/>
                </a:lnTo>
                <a:lnTo>
                  <a:pt x="1369" y="1941"/>
                </a:lnTo>
                <a:lnTo>
                  <a:pt x="1369" y="1943"/>
                </a:lnTo>
                <a:lnTo>
                  <a:pt x="1370" y="1943"/>
                </a:lnTo>
                <a:lnTo>
                  <a:pt x="1370" y="1946"/>
                </a:lnTo>
                <a:lnTo>
                  <a:pt x="1370" y="1948"/>
                </a:lnTo>
                <a:lnTo>
                  <a:pt x="1367" y="1948"/>
                </a:lnTo>
                <a:lnTo>
                  <a:pt x="1369" y="1946"/>
                </a:lnTo>
                <a:lnTo>
                  <a:pt x="1369" y="1945"/>
                </a:lnTo>
                <a:lnTo>
                  <a:pt x="1369" y="1943"/>
                </a:lnTo>
                <a:lnTo>
                  <a:pt x="1369" y="1941"/>
                </a:lnTo>
                <a:lnTo>
                  <a:pt x="1369" y="1940"/>
                </a:lnTo>
                <a:lnTo>
                  <a:pt x="1367" y="1940"/>
                </a:lnTo>
                <a:lnTo>
                  <a:pt x="1367" y="1938"/>
                </a:lnTo>
                <a:lnTo>
                  <a:pt x="1365" y="1936"/>
                </a:lnTo>
                <a:lnTo>
                  <a:pt x="1365" y="1938"/>
                </a:lnTo>
                <a:lnTo>
                  <a:pt x="1367" y="1938"/>
                </a:lnTo>
                <a:lnTo>
                  <a:pt x="1369" y="1941"/>
                </a:lnTo>
                <a:lnTo>
                  <a:pt x="1367" y="1943"/>
                </a:lnTo>
                <a:lnTo>
                  <a:pt x="1367" y="1941"/>
                </a:lnTo>
                <a:lnTo>
                  <a:pt x="1365" y="1940"/>
                </a:lnTo>
                <a:lnTo>
                  <a:pt x="1365" y="1941"/>
                </a:lnTo>
                <a:lnTo>
                  <a:pt x="1365" y="1938"/>
                </a:lnTo>
                <a:lnTo>
                  <a:pt x="1365" y="1936"/>
                </a:lnTo>
                <a:lnTo>
                  <a:pt x="1365" y="1935"/>
                </a:lnTo>
                <a:lnTo>
                  <a:pt x="1364" y="1931"/>
                </a:lnTo>
                <a:lnTo>
                  <a:pt x="1364" y="1929"/>
                </a:lnTo>
                <a:lnTo>
                  <a:pt x="1365" y="1929"/>
                </a:lnTo>
                <a:lnTo>
                  <a:pt x="1364" y="1928"/>
                </a:lnTo>
                <a:lnTo>
                  <a:pt x="1365" y="1926"/>
                </a:lnTo>
                <a:lnTo>
                  <a:pt x="1364" y="1926"/>
                </a:lnTo>
                <a:lnTo>
                  <a:pt x="1364" y="1929"/>
                </a:lnTo>
                <a:lnTo>
                  <a:pt x="1362" y="1929"/>
                </a:lnTo>
                <a:lnTo>
                  <a:pt x="1362" y="1928"/>
                </a:lnTo>
                <a:lnTo>
                  <a:pt x="1362" y="1926"/>
                </a:lnTo>
                <a:lnTo>
                  <a:pt x="1360" y="1923"/>
                </a:lnTo>
                <a:lnTo>
                  <a:pt x="1360" y="1921"/>
                </a:lnTo>
                <a:lnTo>
                  <a:pt x="1360" y="1923"/>
                </a:lnTo>
                <a:lnTo>
                  <a:pt x="1360" y="1924"/>
                </a:lnTo>
                <a:lnTo>
                  <a:pt x="1362" y="1926"/>
                </a:lnTo>
                <a:lnTo>
                  <a:pt x="1360" y="1926"/>
                </a:lnTo>
                <a:lnTo>
                  <a:pt x="1360" y="1928"/>
                </a:lnTo>
                <a:lnTo>
                  <a:pt x="1359" y="1928"/>
                </a:lnTo>
                <a:lnTo>
                  <a:pt x="1360" y="1929"/>
                </a:lnTo>
                <a:lnTo>
                  <a:pt x="1360" y="1931"/>
                </a:lnTo>
                <a:lnTo>
                  <a:pt x="1360" y="1933"/>
                </a:lnTo>
                <a:lnTo>
                  <a:pt x="1360" y="1935"/>
                </a:lnTo>
                <a:lnTo>
                  <a:pt x="1360" y="1936"/>
                </a:lnTo>
                <a:lnTo>
                  <a:pt x="1360" y="1938"/>
                </a:lnTo>
                <a:lnTo>
                  <a:pt x="1360" y="1936"/>
                </a:lnTo>
                <a:lnTo>
                  <a:pt x="1359" y="1938"/>
                </a:lnTo>
                <a:lnTo>
                  <a:pt x="1360" y="1938"/>
                </a:lnTo>
                <a:lnTo>
                  <a:pt x="1359" y="1940"/>
                </a:lnTo>
                <a:lnTo>
                  <a:pt x="1360" y="1940"/>
                </a:lnTo>
                <a:lnTo>
                  <a:pt x="1362" y="1941"/>
                </a:lnTo>
                <a:lnTo>
                  <a:pt x="1359" y="1941"/>
                </a:lnTo>
                <a:lnTo>
                  <a:pt x="1360" y="1941"/>
                </a:lnTo>
                <a:lnTo>
                  <a:pt x="1357" y="1941"/>
                </a:lnTo>
                <a:lnTo>
                  <a:pt x="1359" y="1943"/>
                </a:lnTo>
                <a:lnTo>
                  <a:pt x="1360" y="1943"/>
                </a:lnTo>
                <a:lnTo>
                  <a:pt x="1360" y="1945"/>
                </a:lnTo>
                <a:lnTo>
                  <a:pt x="1359" y="1945"/>
                </a:lnTo>
                <a:lnTo>
                  <a:pt x="1360" y="1946"/>
                </a:lnTo>
                <a:lnTo>
                  <a:pt x="1359" y="1945"/>
                </a:lnTo>
                <a:lnTo>
                  <a:pt x="1357" y="1943"/>
                </a:lnTo>
                <a:lnTo>
                  <a:pt x="1355" y="1943"/>
                </a:lnTo>
                <a:lnTo>
                  <a:pt x="1357" y="1945"/>
                </a:lnTo>
                <a:lnTo>
                  <a:pt x="1357" y="1946"/>
                </a:lnTo>
                <a:lnTo>
                  <a:pt x="1355" y="1946"/>
                </a:lnTo>
                <a:lnTo>
                  <a:pt x="1357" y="1948"/>
                </a:lnTo>
                <a:lnTo>
                  <a:pt x="1355" y="1946"/>
                </a:lnTo>
                <a:lnTo>
                  <a:pt x="1355" y="1948"/>
                </a:lnTo>
                <a:lnTo>
                  <a:pt x="1357" y="1948"/>
                </a:lnTo>
                <a:lnTo>
                  <a:pt x="1359" y="1950"/>
                </a:lnTo>
                <a:lnTo>
                  <a:pt x="1357" y="1950"/>
                </a:lnTo>
                <a:lnTo>
                  <a:pt x="1355" y="1948"/>
                </a:lnTo>
                <a:lnTo>
                  <a:pt x="1355" y="1950"/>
                </a:lnTo>
                <a:lnTo>
                  <a:pt x="1353" y="1950"/>
                </a:lnTo>
                <a:lnTo>
                  <a:pt x="1353" y="1953"/>
                </a:lnTo>
                <a:lnTo>
                  <a:pt x="1352" y="1952"/>
                </a:lnTo>
                <a:lnTo>
                  <a:pt x="1352" y="1953"/>
                </a:lnTo>
                <a:lnTo>
                  <a:pt x="1350" y="1952"/>
                </a:lnTo>
                <a:lnTo>
                  <a:pt x="1350" y="1953"/>
                </a:lnTo>
                <a:lnTo>
                  <a:pt x="1350" y="1955"/>
                </a:lnTo>
                <a:lnTo>
                  <a:pt x="1347" y="1953"/>
                </a:lnTo>
                <a:lnTo>
                  <a:pt x="1347" y="1955"/>
                </a:lnTo>
                <a:lnTo>
                  <a:pt x="1345" y="1955"/>
                </a:lnTo>
                <a:lnTo>
                  <a:pt x="1343" y="1955"/>
                </a:lnTo>
                <a:lnTo>
                  <a:pt x="1343" y="1952"/>
                </a:lnTo>
                <a:lnTo>
                  <a:pt x="1343" y="1953"/>
                </a:lnTo>
                <a:lnTo>
                  <a:pt x="1340" y="1955"/>
                </a:lnTo>
                <a:lnTo>
                  <a:pt x="1342" y="1955"/>
                </a:lnTo>
                <a:lnTo>
                  <a:pt x="1343" y="1955"/>
                </a:lnTo>
                <a:lnTo>
                  <a:pt x="1343" y="1957"/>
                </a:lnTo>
                <a:lnTo>
                  <a:pt x="1345" y="1957"/>
                </a:lnTo>
                <a:lnTo>
                  <a:pt x="1343" y="1957"/>
                </a:lnTo>
                <a:lnTo>
                  <a:pt x="1342" y="1957"/>
                </a:lnTo>
                <a:lnTo>
                  <a:pt x="1343" y="1958"/>
                </a:lnTo>
                <a:lnTo>
                  <a:pt x="1345" y="1957"/>
                </a:lnTo>
                <a:lnTo>
                  <a:pt x="1347" y="1957"/>
                </a:lnTo>
                <a:lnTo>
                  <a:pt x="1345" y="1958"/>
                </a:lnTo>
                <a:lnTo>
                  <a:pt x="1345" y="1960"/>
                </a:lnTo>
                <a:lnTo>
                  <a:pt x="1343" y="1960"/>
                </a:lnTo>
                <a:lnTo>
                  <a:pt x="1343" y="1958"/>
                </a:lnTo>
                <a:lnTo>
                  <a:pt x="1342" y="1960"/>
                </a:lnTo>
                <a:lnTo>
                  <a:pt x="1342" y="1958"/>
                </a:lnTo>
                <a:lnTo>
                  <a:pt x="1340" y="1958"/>
                </a:lnTo>
                <a:lnTo>
                  <a:pt x="1338" y="1958"/>
                </a:lnTo>
                <a:lnTo>
                  <a:pt x="1338" y="1960"/>
                </a:lnTo>
                <a:lnTo>
                  <a:pt x="1340" y="1960"/>
                </a:lnTo>
                <a:lnTo>
                  <a:pt x="1342" y="1960"/>
                </a:lnTo>
                <a:lnTo>
                  <a:pt x="1342" y="1962"/>
                </a:lnTo>
                <a:lnTo>
                  <a:pt x="1340" y="1962"/>
                </a:lnTo>
                <a:lnTo>
                  <a:pt x="1338" y="1963"/>
                </a:lnTo>
                <a:lnTo>
                  <a:pt x="1336" y="1963"/>
                </a:lnTo>
                <a:lnTo>
                  <a:pt x="1333" y="1963"/>
                </a:lnTo>
                <a:lnTo>
                  <a:pt x="1330" y="1963"/>
                </a:lnTo>
                <a:lnTo>
                  <a:pt x="1326" y="1963"/>
                </a:lnTo>
                <a:lnTo>
                  <a:pt x="1325" y="1963"/>
                </a:lnTo>
                <a:lnTo>
                  <a:pt x="1323" y="1962"/>
                </a:lnTo>
                <a:lnTo>
                  <a:pt x="1321" y="1962"/>
                </a:lnTo>
                <a:lnTo>
                  <a:pt x="1318" y="1962"/>
                </a:lnTo>
                <a:lnTo>
                  <a:pt x="1316" y="1962"/>
                </a:lnTo>
                <a:lnTo>
                  <a:pt x="1314" y="1962"/>
                </a:lnTo>
                <a:lnTo>
                  <a:pt x="1313" y="1962"/>
                </a:lnTo>
                <a:lnTo>
                  <a:pt x="1314" y="1963"/>
                </a:lnTo>
                <a:lnTo>
                  <a:pt x="1313" y="1965"/>
                </a:lnTo>
                <a:lnTo>
                  <a:pt x="1311" y="1963"/>
                </a:lnTo>
                <a:lnTo>
                  <a:pt x="1311" y="1967"/>
                </a:lnTo>
                <a:lnTo>
                  <a:pt x="1311" y="1965"/>
                </a:lnTo>
                <a:lnTo>
                  <a:pt x="1313" y="1965"/>
                </a:lnTo>
                <a:lnTo>
                  <a:pt x="1311" y="1967"/>
                </a:lnTo>
                <a:lnTo>
                  <a:pt x="1313" y="1967"/>
                </a:lnTo>
                <a:lnTo>
                  <a:pt x="1313" y="1965"/>
                </a:lnTo>
                <a:lnTo>
                  <a:pt x="1316" y="1967"/>
                </a:lnTo>
                <a:lnTo>
                  <a:pt x="1316" y="1963"/>
                </a:lnTo>
                <a:lnTo>
                  <a:pt x="1318" y="1965"/>
                </a:lnTo>
                <a:lnTo>
                  <a:pt x="1319" y="1967"/>
                </a:lnTo>
                <a:lnTo>
                  <a:pt x="1319" y="1965"/>
                </a:lnTo>
                <a:lnTo>
                  <a:pt x="1319" y="1963"/>
                </a:lnTo>
                <a:lnTo>
                  <a:pt x="1323" y="1963"/>
                </a:lnTo>
                <a:lnTo>
                  <a:pt x="1323" y="1965"/>
                </a:lnTo>
                <a:lnTo>
                  <a:pt x="1325" y="1963"/>
                </a:lnTo>
                <a:lnTo>
                  <a:pt x="1326" y="1963"/>
                </a:lnTo>
                <a:lnTo>
                  <a:pt x="1328" y="1965"/>
                </a:lnTo>
                <a:lnTo>
                  <a:pt x="1330" y="1965"/>
                </a:lnTo>
                <a:lnTo>
                  <a:pt x="1331" y="1967"/>
                </a:lnTo>
                <a:lnTo>
                  <a:pt x="1330" y="1965"/>
                </a:lnTo>
                <a:lnTo>
                  <a:pt x="1333" y="1965"/>
                </a:lnTo>
                <a:lnTo>
                  <a:pt x="1333" y="1967"/>
                </a:lnTo>
                <a:lnTo>
                  <a:pt x="1333" y="1969"/>
                </a:lnTo>
                <a:lnTo>
                  <a:pt x="1335" y="1969"/>
                </a:lnTo>
                <a:lnTo>
                  <a:pt x="1336" y="1970"/>
                </a:lnTo>
                <a:lnTo>
                  <a:pt x="1335" y="1970"/>
                </a:lnTo>
                <a:lnTo>
                  <a:pt x="1336" y="1970"/>
                </a:lnTo>
                <a:lnTo>
                  <a:pt x="1338" y="1972"/>
                </a:lnTo>
                <a:lnTo>
                  <a:pt x="1340" y="1972"/>
                </a:lnTo>
                <a:lnTo>
                  <a:pt x="1338" y="1974"/>
                </a:lnTo>
                <a:lnTo>
                  <a:pt x="1336" y="1974"/>
                </a:lnTo>
                <a:lnTo>
                  <a:pt x="1336" y="1975"/>
                </a:lnTo>
                <a:lnTo>
                  <a:pt x="1333" y="1975"/>
                </a:lnTo>
                <a:lnTo>
                  <a:pt x="1331" y="1977"/>
                </a:lnTo>
                <a:lnTo>
                  <a:pt x="1330" y="1977"/>
                </a:lnTo>
                <a:lnTo>
                  <a:pt x="1328" y="1977"/>
                </a:lnTo>
                <a:lnTo>
                  <a:pt x="1326" y="1977"/>
                </a:lnTo>
                <a:lnTo>
                  <a:pt x="1326" y="1975"/>
                </a:lnTo>
                <a:lnTo>
                  <a:pt x="1325" y="1975"/>
                </a:lnTo>
                <a:lnTo>
                  <a:pt x="1323" y="1974"/>
                </a:lnTo>
                <a:lnTo>
                  <a:pt x="1323" y="1975"/>
                </a:lnTo>
                <a:lnTo>
                  <a:pt x="1319" y="1974"/>
                </a:lnTo>
                <a:lnTo>
                  <a:pt x="1319" y="1975"/>
                </a:lnTo>
                <a:lnTo>
                  <a:pt x="1321" y="1975"/>
                </a:lnTo>
                <a:lnTo>
                  <a:pt x="1323" y="1975"/>
                </a:lnTo>
                <a:lnTo>
                  <a:pt x="1325" y="1977"/>
                </a:lnTo>
                <a:lnTo>
                  <a:pt x="1326" y="1977"/>
                </a:lnTo>
                <a:lnTo>
                  <a:pt x="1328" y="1977"/>
                </a:lnTo>
                <a:lnTo>
                  <a:pt x="1328" y="1979"/>
                </a:lnTo>
                <a:lnTo>
                  <a:pt x="1330" y="1979"/>
                </a:lnTo>
                <a:lnTo>
                  <a:pt x="1331" y="1980"/>
                </a:lnTo>
                <a:lnTo>
                  <a:pt x="1331" y="1982"/>
                </a:lnTo>
                <a:lnTo>
                  <a:pt x="1333" y="1982"/>
                </a:lnTo>
                <a:lnTo>
                  <a:pt x="1333" y="1980"/>
                </a:lnTo>
                <a:lnTo>
                  <a:pt x="1335" y="1982"/>
                </a:lnTo>
                <a:lnTo>
                  <a:pt x="1335" y="1984"/>
                </a:lnTo>
                <a:lnTo>
                  <a:pt x="1333" y="1984"/>
                </a:lnTo>
                <a:lnTo>
                  <a:pt x="1333" y="1982"/>
                </a:lnTo>
                <a:lnTo>
                  <a:pt x="1333" y="1984"/>
                </a:lnTo>
                <a:lnTo>
                  <a:pt x="1330" y="1984"/>
                </a:lnTo>
                <a:lnTo>
                  <a:pt x="1328" y="1982"/>
                </a:lnTo>
                <a:lnTo>
                  <a:pt x="1328" y="1984"/>
                </a:lnTo>
                <a:lnTo>
                  <a:pt x="1330" y="1984"/>
                </a:lnTo>
                <a:lnTo>
                  <a:pt x="1333" y="1986"/>
                </a:lnTo>
                <a:lnTo>
                  <a:pt x="1335" y="1984"/>
                </a:lnTo>
                <a:lnTo>
                  <a:pt x="1336" y="1986"/>
                </a:lnTo>
                <a:lnTo>
                  <a:pt x="1338" y="1987"/>
                </a:lnTo>
                <a:lnTo>
                  <a:pt x="1336" y="1987"/>
                </a:lnTo>
                <a:lnTo>
                  <a:pt x="1336" y="1986"/>
                </a:lnTo>
                <a:lnTo>
                  <a:pt x="1335" y="1986"/>
                </a:lnTo>
                <a:lnTo>
                  <a:pt x="1335" y="1987"/>
                </a:lnTo>
                <a:lnTo>
                  <a:pt x="1336" y="1987"/>
                </a:lnTo>
                <a:lnTo>
                  <a:pt x="1335" y="1987"/>
                </a:lnTo>
                <a:lnTo>
                  <a:pt x="1335" y="1989"/>
                </a:lnTo>
                <a:lnTo>
                  <a:pt x="1333" y="1987"/>
                </a:lnTo>
                <a:lnTo>
                  <a:pt x="1333" y="1989"/>
                </a:lnTo>
                <a:lnTo>
                  <a:pt x="1331" y="1989"/>
                </a:lnTo>
                <a:lnTo>
                  <a:pt x="1335" y="1991"/>
                </a:lnTo>
                <a:lnTo>
                  <a:pt x="1333" y="1991"/>
                </a:lnTo>
                <a:lnTo>
                  <a:pt x="1335" y="1989"/>
                </a:lnTo>
                <a:lnTo>
                  <a:pt x="1336" y="1991"/>
                </a:lnTo>
                <a:lnTo>
                  <a:pt x="1335" y="1991"/>
                </a:lnTo>
                <a:lnTo>
                  <a:pt x="1336" y="1992"/>
                </a:lnTo>
                <a:lnTo>
                  <a:pt x="1336" y="1994"/>
                </a:lnTo>
                <a:lnTo>
                  <a:pt x="1338" y="1992"/>
                </a:lnTo>
                <a:lnTo>
                  <a:pt x="1336" y="1996"/>
                </a:lnTo>
                <a:lnTo>
                  <a:pt x="1336" y="1994"/>
                </a:lnTo>
                <a:lnTo>
                  <a:pt x="1336" y="1996"/>
                </a:lnTo>
                <a:lnTo>
                  <a:pt x="1338" y="1997"/>
                </a:lnTo>
                <a:lnTo>
                  <a:pt x="1336" y="1997"/>
                </a:lnTo>
                <a:lnTo>
                  <a:pt x="1336" y="1999"/>
                </a:lnTo>
                <a:lnTo>
                  <a:pt x="1335" y="1997"/>
                </a:lnTo>
                <a:lnTo>
                  <a:pt x="1335" y="1999"/>
                </a:lnTo>
                <a:lnTo>
                  <a:pt x="1333" y="1997"/>
                </a:lnTo>
                <a:lnTo>
                  <a:pt x="1331" y="1996"/>
                </a:lnTo>
                <a:lnTo>
                  <a:pt x="1330" y="1994"/>
                </a:lnTo>
                <a:lnTo>
                  <a:pt x="1328" y="1994"/>
                </a:lnTo>
                <a:lnTo>
                  <a:pt x="1330" y="1994"/>
                </a:lnTo>
                <a:lnTo>
                  <a:pt x="1330" y="1996"/>
                </a:lnTo>
                <a:lnTo>
                  <a:pt x="1331" y="1996"/>
                </a:lnTo>
                <a:lnTo>
                  <a:pt x="1333" y="1997"/>
                </a:lnTo>
                <a:lnTo>
                  <a:pt x="1333" y="1999"/>
                </a:lnTo>
                <a:lnTo>
                  <a:pt x="1333" y="1997"/>
                </a:lnTo>
                <a:lnTo>
                  <a:pt x="1331" y="1997"/>
                </a:lnTo>
                <a:lnTo>
                  <a:pt x="1333" y="1999"/>
                </a:lnTo>
                <a:lnTo>
                  <a:pt x="1335" y="2001"/>
                </a:lnTo>
                <a:lnTo>
                  <a:pt x="1336" y="2003"/>
                </a:lnTo>
                <a:lnTo>
                  <a:pt x="1336" y="2004"/>
                </a:lnTo>
                <a:lnTo>
                  <a:pt x="1335" y="2003"/>
                </a:lnTo>
                <a:lnTo>
                  <a:pt x="1336" y="2003"/>
                </a:lnTo>
                <a:lnTo>
                  <a:pt x="1335" y="2003"/>
                </a:lnTo>
                <a:lnTo>
                  <a:pt x="1333" y="2004"/>
                </a:lnTo>
                <a:lnTo>
                  <a:pt x="1335" y="2004"/>
                </a:lnTo>
                <a:lnTo>
                  <a:pt x="1336" y="2006"/>
                </a:lnTo>
                <a:lnTo>
                  <a:pt x="1338" y="2006"/>
                </a:lnTo>
                <a:lnTo>
                  <a:pt x="1336" y="2006"/>
                </a:lnTo>
                <a:lnTo>
                  <a:pt x="1335" y="2006"/>
                </a:lnTo>
                <a:lnTo>
                  <a:pt x="1333" y="2006"/>
                </a:lnTo>
                <a:lnTo>
                  <a:pt x="1333" y="2008"/>
                </a:lnTo>
                <a:lnTo>
                  <a:pt x="1333" y="2006"/>
                </a:lnTo>
                <a:lnTo>
                  <a:pt x="1335" y="2008"/>
                </a:lnTo>
                <a:lnTo>
                  <a:pt x="1333" y="2008"/>
                </a:lnTo>
                <a:lnTo>
                  <a:pt x="1333" y="2006"/>
                </a:lnTo>
                <a:lnTo>
                  <a:pt x="1331" y="2006"/>
                </a:lnTo>
                <a:lnTo>
                  <a:pt x="1331" y="2004"/>
                </a:lnTo>
                <a:lnTo>
                  <a:pt x="1331" y="2006"/>
                </a:lnTo>
                <a:lnTo>
                  <a:pt x="1333" y="2008"/>
                </a:lnTo>
                <a:lnTo>
                  <a:pt x="1331" y="2008"/>
                </a:lnTo>
                <a:lnTo>
                  <a:pt x="1333" y="2009"/>
                </a:lnTo>
                <a:lnTo>
                  <a:pt x="1333" y="2008"/>
                </a:lnTo>
                <a:lnTo>
                  <a:pt x="1333" y="2009"/>
                </a:lnTo>
                <a:lnTo>
                  <a:pt x="1335" y="2011"/>
                </a:lnTo>
                <a:lnTo>
                  <a:pt x="1335" y="2009"/>
                </a:lnTo>
                <a:lnTo>
                  <a:pt x="1336" y="2008"/>
                </a:lnTo>
                <a:lnTo>
                  <a:pt x="1338" y="2008"/>
                </a:lnTo>
                <a:lnTo>
                  <a:pt x="1336" y="2009"/>
                </a:lnTo>
                <a:lnTo>
                  <a:pt x="1336" y="2011"/>
                </a:lnTo>
                <a:lnTo>
                  <a:pt x="1338" y="2013"/>
                </a:lnTo>
                <a:lnTo>
                  <a:pt x="1336" y="2013"/>
                </a:lnTo>
                <a:lnTo>
                  <a:pt x="1336" y="2011"/>
                </a:lnTo>
                <a:lnTo>
                  <a:pt x="1335" y="2013"/>
                </a:lnTo>
                <a:lnTo>
                  <a:pt x="1336" y="2013"/>
                </a:lnTo>
                <a:lnTo>
                  <a:pt x="1336" y="2015"/>
                </a:lnTo>
                <a:lnTo>
                  <a:pt x="1338" y="2016"/>
                </a:lnTo>
                <a:lnTo>
                  <a:pt x="1336" y="2016"/>
                </a:lnTo>
                <a:lnTo>
                  <a:pt x="1338" y="2016"/>
                </a:lnTo>
                <a:lnTo>
                  <a:pt x="1336" y="2016"/>
                </a:lnTo>
                <a:lnTo>
                  <a:pt x="1335" y="2015"/>
                </a:lnTo>
                <a:lnTo>
                  <a:pt x="1333" y="2015"/>
                </a:lnTo>
                <a:lnTo>
                  <a:pt x="1335" y="2015"/>
                </a:lnTo>
                <a:lnTo>
                  <a:pt x="1333" y="2016"/>
                </a:lnTo>
                <a:lnTo>
                  <a:pt x="1333" y="2015"/>
                </a:lnTo>
                <a:lnTo>
                  <a:pt x="1331" y="2016"/>
                </a:lnTo>
                <a:lnTo>
                  <a:pt x="1330" y="2013"/>
                </a:lnTo>
                <a:lnTo>
                  <a:pt x="1331" y="2013"/>
                </a:lnTo>
                <a:lnTo>
                  <a:pt x="1333" y="2013"/>
                </a:lnTo>
                <a:lnTo>
                  <a:pt x="1331" y="2013"/>
                </a:lnTo>
                <a:lnTo>
                  <a:pt x="1330" y="2011"/>
                </a:lnTo>
                <a:lnTo>
                  <a:pt x="1328" y="2009"/>
                </a:lnTo>
                <a:lnTo>
                  <a:pt x="1326" y="2008"/>
                </a:lnTo>
                <a:lnTo>
                  <a:pt x="1328" y="2011"/>
                </a:lnTo>
                <a:lnTo>
                  <a:pt x="1330" y="2013"/>
                </a:lnTo>
                <a:lnTo>
                  <a:pt x="1328" y="2013"/>
                </a:lnTo>
                <a:lnTo>
                  <a:pt x="1331" y="2016"/>
                </a:lnTo>
                <a:lnTo>
                  <a:pt x="1330" y="2016"/>
                </a:lnTo>
                <a:lnTo>
                  <a:pt x="1328" y="2015"/>
                </a:lnTo>
                <a:lnTo>
                  <a:pt x="1326" y="2015"/>
                </a:lnTo>
                <a:lnTo>
                  <a:pt x="1326" y="2016"/>
                </a:lnTo>
                <a:lnTo>
                  <a:pt x="1328" y="2018"/>
                </a:lnTo>
                <a:lnTo>
                  <a:pt x="1328" y="2020"/>
                </a:lnTo>
                <a:lnTo>
                  <a:pt x="1330" y="2020"/>
                </a:lnTo>
                <a:lnTo>
                  <a:pt x="1331" y="2021"/>
                </a:lnTo>
                <a:lnTo>
                  <a:pt x="1333" y="2021"/>
                </a:lnTo>
                <a:lnTo>
                  <a:pt x="1333" y="2023"/>
                </a:lnTo>
                <a:lnTo>
                  <a:pt x="1335" y="2025"/>
                </a:lnTo>
                <a:lnTo>
                  <a:pt x="1336" y="2026"/>
                </a:lnTo>
                <a:lnTo>
                  <a:pt x="1335" y="2023"/>
                </a:lnTo>
                <a:lnTo>
                  <a:pt x="1333" y="2025"/>
                </a:lnTo>
                <a:lnTo>
                  <a:pt x="1331" y="2023"/>
                </a:lnTo>
                <a:lnTo>
                  <a:pt x="1330" y="2021"/>
                </a:lnTo>
                <a:lnTo>
                  <a:pt x="1328" y="2020"/>
                </a:lnTo>
                <a:lnTo>
                  <a:pt x="1328" y="2018"/>
                </a:lnTo>
                <a:lnTo>
                  <a:pt x="1326" y="2020"/>
                </a:lnTo>
                <a:lnTo>
                  <a:pt x="1325" y="2018"/>
                </a:lnTo>
                <a:lnTo>
                  <a:pt x="1323" y="2015"/>
                </a:lnTo>
                <a:lnTo>
                  <a:pt x="1323" y="2016"/>
                </a:lnTo>
                <a:lnTo>
                  <a:pt x="1325" y="2018"/>
                </a:lnTo>
                <a:lnTo>
                  <a:pt x="1325" y="2020"/>
                </a:lnTo>
                <a:lnTo>
                  <a:pt x="1326" y="2020"/>
                </a:lnTo>
                <a:lnTo>
                  <a:pt x="1326" y="2018"/>
                </a:lnTo>
                <a:lnTo>
                  <a:pt x="1326" y="2020"/>
                </a:lnTo>
                <a:lnTo>
                  <a:pt x="1330" y="2021"/>
                </a:lnTo>
                <a:lnTo>
                  <a:pt x="1330" y="2023"/>
                </a:lnTo>
                <a:lnTo>
                  <a:pt x="1331" y="2023"/>
                </a:lnTo>
                <a:lnTo>
                  <a:pt x="1333" y="2025"/>
                </a:lnTo>
                <a:lnTo>
                  <a:pt x="1335" y="2025"/>
                </a:lnTo>
                <a:lnTo>
                  <a:pt x="1335" y="2026"/>
                </a:lnTo>
                <a:lnTo>
                  <a:pt x="1333" y="2026"/>
                </a:lnTo>
                <a:lnTo>
                  <a:pt x="1335" y="2026"/>
                </a:lnTo>
                <a:lnTo>
                  <a:pt x="1336" y="2026"/>
                </a:lnTo>
                <a:lnTo>
                  <a:pt x="1335" y="2026"/>
                </a:lnTo>
                <a:lnTo>
                  <a:pt x="1336" y="2028"/>
                </a:lnTo>
                <a:lnTo>
                  <a:pt x="1336" y="2026"/>
                </a:lnTo>
                <a:lnTo>
                  <a:pt x="1338" y="2028"/>
                </a:lnTo>
                <a:lnTo>
                  <a:pt x="1336" y="2028"/>
                </a:lnTo>
                <a:lnTo>
                  <a:pt x="1335" y="2028"/>
                </a:lnTo>
                <a:lnTo>
                  <a:pt x="1336" y="2030"/>
                </a:lnTo>
                <a:lnTo>
                  <a:pt x="1335" y="2030"/>
                </a:lnTo>
                <a:lnTo>
                  <a:pt x="1333" y="2030"/>
                </a:lnTo>
                <a:lnTo>
                  <a:pt x="1331" y="2028"/>
                </a:lnTo>
                <a:lnTo>
                  <a:pt x="1330" y="2026"/>
                </a:lnTo>
                <a:lnTo>
                  <a:pt x="1328" y="2026"/>
                </a:lnTo>
                <a:lnTo>
                  <a:pt x="1330" y="2028"/>
                </a:lnTo>
                <a:lnTo>
                  <a:pt x="1331" y="2030"/>
                </a:lnTo>
                <a:lnTo>
                  <a:pt x="1333" y="2030"/>
                </a:lnTo>
                <a:lnTo>
                  <a:pt x="1333" y="2032"/>
                </a:lnTo>
                <a:lnTo>
                  <a:pt x="1331" y="2032"/>
                </a:lnTo>
                <a:lnTo>
                  <a:pt x="1331" y="2033"/>
                </a:lnTo>
                <a:lnTo>
                  <a:pt x="1333" y="2033"/>
                </a:lnTo>
                <a:lnTo>
                  <a:pt x="1335" y="2035"/>
                </a:lnTo>
                <a:lnTo>
                  <a:pt x="1333" y="2035"/>
                </a:lnTo>
                <a:lnTo>
                  <a:pt x="1333" y="2037"/>
                </a:lnTo>
                <a:lnTo>
                  <a:pt x="1335" y="2038"/>
                </a:lnTo>
                <a:lnTo>
                  <a:pt x="1333" y="2037"/>
                </a:lnTo>
                <a:lnTo>
                  <a:pt x="1331" y="2035"/>
                </a:lnTo>
                <a:lnTo>
                  <a:pt x="1331" y="2037"/>
                </a:lnTo>
                <a:lnTo>
                  <a:pt x="1331" y="2035"/>
                </a:lnTo>
                <a:lnTo>
                  <a:pt x="1330" y="2035"/>
                </a:lnTo>
                <a:lnTo>
                  <a:pt x="1328" y="2033"/>
                </a:lnTo>
                <a:lnTo>
                  <a:pt x="1330" y="2035"/>
                </a:lnTo>
                <a:lnTo>
                  <a:pt x="1330" y="2037"/>
                </a:lnTo>
                <a:lnTo>
                  <a:pt x="1331" y="2038"/>
                </a:lnTo>
                <a:lnTo>
                  <a:pt x="1330" y="2038"/>
                </a:lnTo>
                <a:lnTo>
                  <a:pt x="1331" y="2038"/>
                </a:lnTo>
                <a:lnTo>
                  <a:pt x="1331" y="2040"/>
                </a:lnTo>
                <a:lnTo>
                  <a:pt x="1333" y="2038"/>
                </a:lnTo>
                <a:lnTo>
                  <a:pt x="1335" y="2038"/>
                </a:lnTo>
                <a:lnTo>
                  <a:pt x="1335" y="2040"/>
                </a:lnTo>
                <a:lnTo>
                  <a:pt x="1333" y="2040"/>
                </a:lnTo>
                <a:lnTo>
                  <a:pt x="1335" y="2042"/>
                </a:lnTo>
                <a:lnTo>
                  <a:pt x="1336" y="2042"/>
                </a:lnTo>
                <a:lnTo>
                  <a:pt x="1335" y="2042"/>
                </a:lnTo>
                <a:lnTo>
                  <a:pt x="1336" y="2043"/>
                </a:lnTo>
                <a:lnTo>
                  <a:pt x="1336" y="2045"/>
                </a:lnTo>
                <a:lnTo>
                  <a:pt x="1335" y="2045"/>
                </a:lnTo>
                <a:lnTo>
                  <a:pt x="1336" y="2045"/>
                </a:lnTo>
                <a:lnTo>
                  <a:pt x="1335" y="2047"/>
                </a:lnTo>
                <a:lnTo>
                  <a:pt x="1336" y="2045"/>
                </a:lnTo>
                <a:lnTo>
                  <a:pt x="1338" y="2047"/>
                </a:lnTo>
                <a:lnTo>
                  <a:pt x="1336" y="2047"/>
                </a:lnTo>
                <a:lnTo>
                  <a:pt x="1338" y="2047"/>
                </a:lnTo>
                <a:lnTo>
                  <a:pt x="1336" y="2049"/>
                </a:lnTo>
                <a:lnTo>
                  <a:pt x="1335" y="2049"/>
                </a:lnTo>
                <a:lnTo>
                  <a:pt x="1335" y="2050"/>
                </a:lnTo>
                <a:lnTo>
                  <a:pt x="1336" y="2052"/>
                </a:lnTo>
                <a:lnTo>
                  <a:pt x="1335" y="2050"/>
                </a:lnTo>
                <a:lnTo>
                  <a:pt x="1335" y="2052"/>
                </a:lnTo>
                <a:lnTo>
                  <a:pt x="1335" y="2050"/>
                </a:lnTo>
                <a:lnTo>
                  <a:pt x="1335" y="2052"/>
                </a:lnTo>
                <a:lnTo>
                  <a:pt x="1333" y="2052"/>
                </a:lnTo>
                <a:lnTo>
                  <a:pt x="1331" y="2052"/>
                </a:lnTo>
                <a:lnTo>
                  <a:pt x="1331" y="2054"/>
                </a:lnTo>
                <a:lnTo>
                  <a:pt x="1333" y="2054"/>
                </a:lnTo>
                <a:lnTo>
                  <a:pt x="1331" y="2054"/>
                </a:lnTo>
                <a:lnTo>
                  <a:pt x="1333" y="2055"/>
                </a:lnTo>
                <a:lnTo>
                  <a:pt x="1333" y="2054"/>
                </a:lnTo>
                <a:lnTo>
                  <a:pt x="1333" y="2055"/>
                </a:lnTo>
                <a:lnTo>
                  <a:pt x="1333" y="2057"/>
                </a:lnTo>
                <a:lnTo>
                  <a:pt x="1330" y="2057"/>
                </a:lnTo>
                <a:lnTo>
                  <a:pt x="1330" y="2059"/>
                </a:lnTo>
                <a:lnTo>
                  <a:pt x="1331" y="2060"/>
                </a:lnTo>
                <a:lnTo>
                  <a:pt x="1331" y="2062"/>
                </a:lnTo>
                <a:lnTo>
                  <a:pt x="1330" y="2062"/>
                </a:lnTo>
                <a:lnTo>
                  <a:pt x="1330" y="2064"/>
                </a:lnTo>
                <a:lnTo>
                  <a:pt x="1330" y="2067"/>
                </a:lnTo>
                <a:lnTo>
                  <a:pt x="1331" y="2067"/>
                </a:lnTo>
                <a:lnTo>
                  <a:pt x="1331" y="2071"/>
                </a:lnTo>
                <a:lnTo>
                  <a:pt x="1333" y="2069"/>
                </a:lnTo>
                <a:lnTo>
                  <a:pt x="1333" y="2071"/>
                </a:lnTo>
                <a:lnTo>
                  <a:pt x="1335" y="2071"/>
                </a:lnTo>
                <a:lnTo>
                  <a:pt x="1333" y="2072"/>
                </a:lnTo>
                <a:lnTo>
                  <a:pt x="1335" y="2074"/>
                </a:lnTo>
                <a:lnTo>
                  <a:pt x="1335" y="2076"/>
                </a:lnTo>
                <a:lnTo>
                  <a:pt x="1333" y="2074"/>
                </a:lnTo>
                <a:lnTo>
                  <a:pt x="1335" y="2076"/>
                </a:lnTo>
                <a:lnTo>
                  <a:pt x="1333" y="2076"/>
                </a:lnTo>
                <a:lnTo>
                  <a:pt x="1330" y="2076"/>
                </a:lnTo>
                <a:lnTo>
                  <a:pt x="1331" y="2076"/>
                </a:lnTo>
                <a:lnTo>
                  <a:pt x="1335" y="2077"/>
                </a:lnTo>
                <a:lnTo>
                  <a:pt x="1333" y="2077"/>
                </a:lnTo>
                <a:lnTo>
                  <a:pt x="1333" y="2079"/>
                </a:lnTo>
                <a:lnTo>
                  <a:pt x="1331" y="2077"/>
                </a:lnTo>
                <a:lnTo>
                  <a:pt x="1331" y="2079"/>
                </a:lnTo>
                <a:lnTo>
                  <a:pt x="1331" y="2081"/>
                </a:lnTo>
                <a:lnTo>
                  <a:pt x="1330" y="2079"/>
                </a:lnTo>
                <a:lnTo>
                  <a:pt x="1331" y="2077"/>
                </a:lnTo>
                <a:lnTo>
                  <a:pt x="1331" y="2076"/>
                </a:lnTo>
                <a:lnTo>
                  <a:pt x="1330" y="2079"/>
                </a:lnTo>
                <a:lnTo>
                  <a:pt x="1331" y="2081"/>
                </a:lnTo>
                <a:lnTo>
                  <a:pt x="1331" y="2083"/>
                </a:lnTo>
                <a:lnTo>
                  <a:pt x="1330" y="2084"/>
                </a:lnTo>
                <a:lnTo>
                  <a:pt x="1331" y="2084"/>
                </a:lnTo>
                <a:lnTo>
                  <a:pt x="1331" y="2086"/>
                </a:lnTo>
                <a:lnTo>
                  <a:pt x="1330" y="2089"/>
                </a:lnTo>
                <a:lnTo>
                  <a:pt x="1331" y="2091"/>
                </a:lnTo>
                <a:lnTo>
                  <a:pt x="1330" y="2091"/>
                </a:lnTo>
                <a:lnTo>
                  <a:pt x="1330" y="2093"/>
                </a:lnTo>
                <a:lnTo>
                  <a:pt x="1331" y="2093"/>
                </a:lnTo>
                <a:lnTo>
                  <a:pt x="1333" y="2091"/>
                </a:lnTo>
                <a:lnTo>
                  <a:pt x="1333" y="2094"/>
                </a:lnTo>
                <a:lnTo>
                  <a:pt x="1331" y="2094"/>
                </a:lnTo>
                <a:lnTo>
                  <a:pt x="1331" y="2093"/>
                </a:lnTo>
                <a:lnTo>
                  <a:pt x="1330" y="2094"/>
                </a:lnTo>
                <a:lnTo>
                  <a:pt x="1328" y="2094"/>
                </a:lnTo>
                <a:lnTo>
                  <a:pt x="1330" y="2094"/>
                </a:lnTo>
                <a:lnTo>
                  <a:pt x="1328" y="2094"/>
                </a:lnTo>
                <a:lnTo>
                  <a:pt x="1330" y="2098"/>
                </a:lnTo>
                <a:lnTo>
                  <a:pt x="1328" y="2098"/>
                </a:lnTo>
                <a:lnTo>
                  <a:pt x="1330" y="2098"/>
                </a:lnTo>
                <a:lnTo>
                  <a:pt x="1330" y="2100"/>
                </a:lnTo>
                <a:lnTo>
                  <a:pt x="1330" y="2101"/>
                </a:lnTo>
                <a:lnTo>
                  <a:pt x="1330" y="2103"/>
                </a:lnTo>
                <a:lnTo>
                  <a:pt x="1330" y="2101"/>
                </a:lnTo>
                <a:lnTo>
                  <a:pt x="1328" y="2103"/>
                </a:lnTo>
                <a:lnTo>
                  <a:pt x="1328" y="2105"/>
                </a:lnTo>
                <a:lnTo>
                  <a:pt x="1328" y="2103"/>
                </a:lnTo>
                <a:lnTo>
                  <a:pt x="1326" y="2103"/>
                </a:lnTo>
                <a:lnTo>
                  <a:pt x="1326" y="2105"/>
                </a:lnTo>
                <a:lnTo>
                  <a:pt x="1325" y="2105"/>
                </a:lnTo>
                <a:lnTo>
                  <a:pt x="1325" y="2106"/>
                </a:lnTo>
                <a:lnTo>
                  <a:pt x="1325" y="2108"/>
                </a:lnTo>
                <a:lnTo>
                  <a:pt x="1325" y="2110"/>
                </a:lnTo>
                <a:lnTo>
                  <a:pt x="1325" y="2111"/>
                </a:lnTo>
                <a:lnTo>
                  <a:pt x="1323" y="2111"/>
                </a:lnTo>
                <a:lnTo>
                  <a:pt x="1323" y="2115"/>
                </a:lnTo>
                <a:lnTo>
                  <a:pt x="1321" y="2115"/>
                </a:lnTo>
                <a:lnTo>
                  <a:pt x="1321" y="2117"/>
                </a:lnTo>
                <a:lnTo>
                  <a:pt x="1321" y="2118"/>
                </a:lnTo>
                <a:lnTo>
                  <a:pt x="1321" y="2117"/>
                </a:lnTo>
                <a:lnTo>
                  <a:pt x="1321" y="2118"/>
                </a:lnTo>
                <a:lnTo>
                  <a:pt x="1321" y="2120"/>
                </a:lnTo>
                <a:lnTo>
                  <a:pt x="1321" y="2122"/>
                </a:lnTo>
                <a:lnTo>
                  <a:pt x="1319" y="2123"/>
                </a:lnTo>
                <a:lnTo>
                  <a:pt x="1321" y="2123"/>
                </a:lnTo>
                <a:lnTo>
                  <a:pt x="1319" y="2127"/>
                </a:lnTo>
                <a:lnTo>
                  <a:pt x="1319" y="2130"/>
                </a:lnTo>
                <a:lnTo>
                  <a:pt x="1319" y="2134"/>
                </a:lnTo>
                <a:lnTo>
                  <a:pt x="1319" y="2132"/>
                </a:lnTo>
                <a:lnTo>
                  <a:pt x="1318" y="2132"/>
                </a:lnTo>
                <a:lnTo>
                  <a:pt x="1318" y="2134"/>
                </a:lnTo>
                <a:lnTo>
                  <a:pt x="1318" y="2135"/>
                </a:lnTo>
                <a:lnTo>
                  <a:pt x="1316" y="2135"/>
                </a:lnTo>
                <a:lnTo>
                  <a:pt x="1316" y="2137"/>
                </a:lnTo>
                <a:lnTo>
                  <a:pt x="1314" y="2139"/>
                </a:lnTo>
                <a:lnTo>
                  <a:pt x="1314" y="2140"/>
                </a:lnTo>
                <a:lnTo>
                  <a:pt x="1313" y="2144"/>
                </a:lnTo>
                <a:lnTo>
                  <a:pt x="1313" y="2145"/>
                </a:lnTo>
                <a:lnTo>
                  <a:pt x="1311" y="2142"/>
                </a:lnTo>
                <a:lnTo>
                  <a:pt x="1311" y="2144"/>
                </a:lnTo>
                <a:lnTo>
                  <a:pt x="1309" y="2142"/>
                </a:lnTo>
                <a:lnTo>
                  <a:pt x="1311" y="2140"/>
                </a:lnTo>
                <a:lnTo>
                  <a:pt x="1311" y="2139"/>
                </a:lnTo>
                <a:lnTo>
                  <a:pt x="1309" y="2139"/>
                </a:lnTo>
                <a:lnTo>
                  <a:pt x="1309" y="2140"/>
                </a:lnTo>
                <a:lnTo>
                  <a:pt x="1309" y="2142"/>
                </a:lnTo>
                <a:lnTo>
                  <a:pt x="1308" y="2142"/>
                </a:lnTo>
                <a:lnTo>
                  <a:pt x="1309" y="2142"/>
                </a:lnTo>
                <a:lnTo>
                  <a:pt x="1308" y="2140"/>
                </a:lnTo>
                <a:lnTo>
                  <a:pt x="1309" y="2140"/>
                </a:lnTo>
                <a:lnTo>
                  <a:pt x="1309" y="2139"/>
                </a:lnTo>
                <a:lnTo>
                  <a:pt x="1308" y="2140"/>
                </a:lnTo>
                <a:lnTo>
                  <a:pt x="1308" y="2139"/>
                </a:lnTo>
                <a:lnTo>
                  <a:pt x="1306" y="2139"/>
                </a:lnTo>
                <a:lnTo>
                  <a:pt x="1306" y="2137"/>
                </a:lnTo>
                <a:lnTo>
                  <a:pt x="1306" y="2139"/>
                </a:lnTo>
                <a:lnTo>
                  <a:pt x="1304" y="2137"/>
                </a:lnTo>
                <a:lnTo>
                  <a:pt x="1302" y="2139"/>
                </a:lnTo>
                <a:lnTo>
                  <a:pt x="1302" y="2140"/>
                </a:lnTo>
                <a:lnTo>
                  <a:pt x="1302" y="2139"/>
                </a:lnTo>
                <a:lnTo>
                  <a:pt x="1302" y="2137"/>
                </a:lnTo>
                <a:lnTo>
                  <a:pt x="1302" y="2135"/>
                </a:lnTo>
                <a:lnTo>
                  <a:pt x="1301" y="2137"/>
                </a:lnTo>
                <a:lnTo>
                  <a:pt x="1301" y="2139"/>
                </a:lnTo>
                <a:lnTo>
                  <a:pt x="1299" y="2139"/>
                </a:lnTo>
                <a:lnTo>
                  <a:pt x="1297" y="2139"/>
                </a:lnTo>
                <a:lnTo>
                  <a:pt x="1297" y="2140"/>
                </a:lnTo>
                <a:lnTo>
                  <a:pt x="1297" y="2139"/>
                </a:lnTo>
                <a:lnTo>
                  <a:pt x="1297" y="2142"/>
                </a:lnTo>
                <a:lnTo>
                  <a:pt x="1297" y="2140"/>
                </a:lnTo>
                <a:lnTo>
                  <a:pt x="1296" y="2142"/>
                </a:lnTo>
                <a:lnTo>
                  <a:pt x="1296" y="2140"/>
                </a:lnTo>
                <a:lnTo>
                  <a:pt x="1297" y="2139"/>
                </a:lnTo>
                <a:lnTo>
                  <a:pt x="1296" y="2139"/>
                </a:lnTo>
                <a:lnTo>
                  <a:pt x="1294" y="2140"/>
                </a:lnTo>
                <a:lnTo>
                  <a:pt x="1294" y="2142"/>
                </a:lnTo>
                <a:lnTo>
                  <a:pt x="1294" y="2144"/>
                </a:lnTo>
                <a:lnTo>
                  <a:pt x="1292" y="2142"/>
                </a:lnTo>
                <a:lnTo>
                  <a:pt x="1291" y="2142"/>
                </a:lnTo>
                <a:lnTo>
                  <a:pt x="1292" y="2140"/>
                </a:lnTo>
                <a:lnTo>
                  <a:pt x="1292" y="2139"/>
                </a:lnTo>
                <a:lnTo>
                  <a:pt x="1291" y="2140"/>
                </a:lnTo>
                <a:lnTo>
                  <a:pt x="1291" y="2139"/>
                </a:lnTo>
                <a:lnTo>
                  <a:pt x="1289" y="2140"/>
                </a:lnTo>
                <a:lnTo>
                  <a:pt x="1287" y="2140"/>
                </a:lnTo>
                <a:lnTo>
                  <a:pt x="1285" y="2142"/>
                </a:lnTo>
                <a:lnTo>
                  <a:pt x="1285" y="2140"/>
                </a:lnTo>
                <a:lnTo>
                  <a:pt x="1284" y="2140"/>
                </a:lnTo>
                <a:lnTo>
                  <a:pt x="1284" y="2142"/>
                </a:lnTo>
                <a:lnTo>
                  <a:pt x="1284" y="2140"/>
                </a:lnTo>
                <a:lnTo>
                  <a:pt x="1282" y="2142"/>
                </a:lnTo>
                <a:lnTo>
                  <a:pt x="1282" y="2140"/>
                </a:lnTo>
                <a:lnTo>
                  <a:pt x="1282" y="2139"/>
                </a:lnTo>
                <a:lnTo>
                  <a:pt x="1280" y="2139"/>
                </a:lnTo>
                <a:lnTo>
                  <a:pt x="1282" y="2139"/>
                </a:lnTo>
                <a:lnTo>
                  <a:pt x="1280" y="2139"/>
                </a:lnTo>
                <a:lnTo>
                  <a:pt x="1280" y="2140"/>
                </a:lnTo>
                <a:lnTo>
                  <a:pt x="1280" y="2139"/>
                </a:lnTo>
                <a:lnTo>
                  <a:pt x="1280" y="2140"/>
                </a:lnTo>
                <a:lnTo>
                  <a:pt x="1280" y="2142"/>
                </a:lnTo>
                <a:lnTo>
                  <a:pt x="1279" y="2140"/>
                </a:lnTo>
                <a:lnTo>
                  <a:pt x="1277" y="2142"/>
                </a:lnTo>
                <a:lnTo>
                  <a:pt x="1275" y="2140"/>
                </a:lnTo>
                <a:lnTo>
                  <a:pt x="1275" y="2142"/>
                </a:lnTo>
                <a:lnTo>
                  <a:pt x="1274" y="2140"/>
                </a:lnTo>
                <a:lnTo>
                  <a:pt x="1274" y="2142"/>
                </a:lnTo>
                <a:lnTo>
                  <a:pt x="1274" y="2144"/>
                </a:lnTo>
                <a:lnTo>
                  <a:pt x="1274" y="2142"/>
                </a:lnTo>
                <a:lnTo>
                  <a:pt x="1272" y="2142"/>
                </a:lnTo>
                <a:lnTo>
                  <a:pt x="1270" y="2142"/>
                </a:lnTo>
                <a:lnTo>
                  <a:pt x="1268" y="2142"/>
                </a:lnTo>
                <a:lnTo>
                  <a:pt x="1267" y="2142"/>
                </a:lnTo>
                <a:lnTo>
                  <a:pt x="1267" y="2144"/>
                </a:lnTo>
                <a:lnTo>
                  <a:pt x="1268" y="2144"/>
                </a:lnTo>
                <a:lnTo>
                  <a:pt x="1268" y="2145"/>
                </a:lnTo>
                <a:lnTo>
                  <a:pt x="1268" y="2147"/>
                </a:lnTo>
                <a:lnTo>
                  <a:pt x="1268" y="2149"/>
                </a:lnTo>
                <a:lnTo>
                  <a:pt x="1272" y="2151"/>
                </a:lnTo>
                <a:lnTo>
                  <a:pt x="1270" y="2152"/>
                </a:lnTo>
                <a:lnTo>
                  <a:pt x="1270" y="2154"/>
                </a:lnTo>
                <a:lnTo>
                  <a:pt x="1268" y="2152"/>
                </a:lnTo>
                <a:lnTo>
                  <a:pt x="1267" y="2154"/>
                </a:lnTo>
                <a:lnTo>
                  <a:pt x="1265" y="2152"/>
                </a:lnTo>
                <a:lnTo>
                  <a:pt x="1265" y="2154"/>
                </a:lnTo>
                <a:lnTo>
                  <a:pt x="1265" y="2152"/>
                </a:lnTo>
                <a:lnTo>
                  <a:pt x="1263" y="2152"/>
                </a:lnTo>
                <a:lnTo>
                  <a:pt x="1265" y="2149"/>
                </a:lnTo>
                <a:lnTo>
                  <a:pt x="1263" y="2151"/>
                </a:lnTo>
                <a:lnTo>
                  <a:pt x="1263" y="2152"/>
                </a:lnTo>
                <a:lnTo>
                  <a:pt x="1262" y="2149"/>
                </a:lnTo>
                <a:lnTo>
                  <a:pt x="1262" y="2151"/>
                </a:lnTo>
                <a:lnTo>
                  <a:pt x="1260" y="2151"/>
                </a:lnTo>
                <a:lnTo>
                  <a:pt x="1258" y="2152"/>
                </a:lnTo>
                <a:lnTo>
                  <a:pt x="1260" y="2152"/>
                </a:lnTo>
                <a:lnTo>
                  <a:pt x="1257" y="2154"/>
                </a:lnTo>
                <a:lnTo>
                  <a:pt x="1257" y="2156"/>
                </a:lnTo>
                <a:lnTo>
                  <a:pt x="1255" y="2157"/>
                </a:lnTo>
                <a:lnTo>
                  <a:pt x="1255" y="2159"/>
                </a:lnTo>
                <a:lnTo>
                  <a:pt x="1253" y="2159"/>
                </a:lnTo>
                <a:lnTo>
                  <a:pt x="1255" y="2159"/>
                </a:lnTo>
                <a:lnTo>
                  <a:pt x="1253" y="2161"/>
                </a:lnTo>
                <a:lnTo>
                  <a:pt x="1251" y="2163"/>
                </a:lnTo>
                <a:lnTo>
                  <a:pt x="1251" y="2164"/>
                </a:lnTo>
                <a:lnTo>
                  <a:pt x="1250" y="2164"/>
                </a:lnTo>
                <a:lnTo>
                  <a:pt x="1251" y="2164"/>
                </a:lnTo>
                <a:lnTo>
                  <a:pt x="1250" y="2166"/>
                </a:lnTo>
                <a:lnTo>
                  <a:pt x="1250" y="2168"/>
                </a:lnTo>
                <a:lnTo>
                  <a:pt x="1250" y="2169"/>
                </a:lnTo>
                <a:lnTo>
                  <a:pt x="1250" y="2171"/>
                </a:lnTo>
                <a:lnTo>
                  <a:pt x="1250" y="2173"/>
                </a:lnTo>
                <a:lnTo>
                  <a:pt x="1250" y="2174"/>
                </a:lnTo>
                <a:lnTo>
                  <a:pt x="1251" y="2176"/>
                </a:lnTo>
                <a:lnTo>
                  <a:pt x="1253" y="2176"/>
                </a:lnTo>
                <a:lnTo>
                  <a:pt x="1253" y="2178"/>
                </a:lnTo>
                <a:lnTo>
                  <a:pt x="1253" y="2181"/>
                </a:lnTo>
                <a:lnTo>
                  <a:pt x="1257" y="2183"/>
                </a:lnTo>
                <a:lnTo>
                  <a:pt x="1257" y="2185"/>
                </a:lnTo>
                <a:lnTo>
                  <a:pt x="1257" y="2188"/>
                </a:lnTo>
                <a:lnTo>
                  <a:pt x="1257" y="2190"/>
                </a:lnTo>
                <a:lnTo>
                  <a:pt x="1255" y="2191"/>
                </a:lnTo>
                <a:lnTo>
                  <a:pt x="1253" y="2193"/>
                </a:lnTo>
                <a:lnTo>
                  <a:pt x="1251" y="2197"/>
                </a:lnTo>
                <a:lnTo>
                  <a:pt x="1251" y="2198"/>
                </a:lnTo>
                <a:lnTo>
                  <a:pt x="1250" y="2198"/>
                </a:lnTo>
                <a:lnTo>
                  <a:pt x="1246" y="2198"/>
                </a:lnTo>
                <a:lnTo>
                  <a:pt x="1245" y="2198"/>
                </a:lnTo>
                <a:lnTo>
                  <a:pt x="1245" y="2197"/>
                </a:lnTo>
                <a:lnTo>
                  <a:pt x="1243" y="2195"/>
                </a:lnTo>
                <a:lnTo>
                  <a:pt x="1240" y="2195"/>
                </a:lnTo>
                <a:lnTo>
                  <a:pt x="1238" y="2195"/>
                </a:lnTo>
                <a:lnTo>
                  <a:pt x="1236" y="2197"/>
                </a:lnTo>
                <a:lnTo>
                  <a:pt x="1236" y="2195"/>
                </a:lnTo>
                <a:lnTo>
                  <a:pt x="1234" y="2195"/>
                </a:lnTo>
                <a:lnTo>
                  <a:pt x="1233" y="2195"/>
                </a:lnTo>
                <a:lnTo>
                  <a:pt x="1231" y="2197"/>
                </a:lnTo>
                <a:lnTo>
                  <a:pt x="1229" y="2197"/>
                </a:lnTo>
                <a:lnTo>
                  <a:pt x="1228" y="2198"/>
                </a:lnTo>
                <a:lnTo>
                  <a:pt x="1226" y="2198"/>
                </a:lnTo>
                <a:lnTo>
                  <a:pt x="1223" y="2198"/>
                </a:lnTo>
                <a:lnTo>
                  <a:pt x="1221" y="2200"/>
                </a:lnTo>
                <a:lnTo>
                  <a:pt x="1221" y="2202"/>
                </a:lnTo>
                <a:lnTo>
                  <a:pt x="1217" y="2202"/>
                </a:lnTo>
                <a:lnTo>
                  <a:pt x="1214" y="2202"/>
                </a:lnTo>
                <a:lnTo>
                  <a:pt x="1212" y="2202"/>
                </a:lnTo>
                <a:lnTo>
                  <a:pt x="1211" y="2200"/>
                </a:lnTo>
                <a:lnTo>
                  <a:pt x="1207" y="2200"/>
                </a:lnTo>
                <a:lnTo>
                  <a:pt x="1206" y="2200"/>
                </a:lnTo>
                <a:lnTo>
                  <a:pt x="1204" y="2200"/>
                </a:lnTo>
                <a:lnTo>
                  <a:pt x="1202" y="2198"/>
                </a:lnTo>
                <a:lnTo>
                  <a:pt x="1200" y="2198"/>
                </a:lnTo>
                <a:lnTo>
                  <a:pt x="1202" y="2197"/>
                </a:lnTo>
                <a:lnTo>
                  <a:pt x="1202" y="2195"/>
                </a:lnTo>
                <a:lnTo>
                  <a:pt x="1202" y="2197"/>
                </a:lnTo>
                <a:lnTo>
                  <a:pt x="1202" y="2195"/>
                </a:lnTo>
                <a:lnTo>
                  <a:pt x="1200" y="2191"/>
                </a:lnTo>
                <a:lnTo>
                  <a:pt x="1200" y="2190"/>
                </a:lnTo>
                <a:lnTo>
                  <a:pt x="1199" y="2190"/>
                </a:lnTo>
                <a:lnTo>
                  <a:pt x="1200" y="2190"/>
                </a:lnTo>
                <a:lnTo>
                  <a:pt x="1199" y="2188"/>
                </a:lnTo>
                <a:lnTo>
                  <a:pt x="1200" y="2185"/>
                </a:lnTo>
                <a:lnTo>
                  <a:pt x="1202" y="2185"/>
                </a:lnTo>
                <a:lnTo>
                  <a:pt x="1202" y="2183"/>
                </a:lnTo>
                <a:lnTo>
                  <a:pt x="1204" y="2185"/>
                </a:lnTo>
                <a:lnTo>
                  <a:pt x="1202" y="2183"/>
                </a:lnTo>
                <a:lnTo>
                  <a:pt x="1204" y="2183"/>
                </a:lnTo>
                <a:lnTo>
                  <a:pt x="1202" y="2183"/>
                </a:lnTo>
                <a:lnTo>
                  <a:pt x="1206" y="2181"/>
                </a:lnTo>
                <a:lnTo>
                  <a:pt x="1206" y="2180"/>
                </a:lnTo>
                <a:lnTo>
                  <a:pt x="1206" y="2178"/>
                </a:lnTo>
                <a:lnTo>
                  <a:pt x="1204" y="2178"/>
                </a:lnTo>
                <a:lnTo>
                  <a:pt x="1202" y="2176"/>
                </a:lnTo>
                <a:lnTo>
                  <a:pt x="1202" y="2174"/>
                </a:lnTo>
                <a:lnTo>
                  <a:pt x="1202" y="2176"/>
                </a:lnTo>
                <a:lnTo>
                  <a:pt x="1200" y="2174"/>
                </a:lnTo>
                <a:lnTo>
                  <a:pt x="1199" y="2174"/>
                </a:lnTo>
                <a:lnTo>
                  <a:pt x="1200" y="2171"/>
                </a:lnTo>
                <a:lnTo>
                  <a:pt x="1199" y="2168"/>
                </a:lnTo>
                <a:lnTo>
                  <a:pt x="1197" y="2166"/>
                </a:lnTo>
                <a:lnTo>
                  <a:pt x="1195" y="2168"/>
                </a:lnTo>
                <a:lnTo>
                  <a:pt x="1195" y="2166"/>
                </a:lnTo>
                <a:lnTo>
                  <a:pt x="1194" y="2164"/>
                </a:lnTo>
                <a:lnTo>
                  <a:pt x="1195" y="2163"/>
                </a:lnTo>
                <a:lnTo>
                  <a:pt x="1194" y="2161"/>
                </a:lnTo>
                <a:lnTo>
                  <a:pt x="1192" y="2161"/>
                </a:lnTo>
                <a:lnTo>
                  <a:pt x="1192" y="2157"/>
                </a:lnTo>
                <a:lnTo>
                  <a:pt x="1190" y="2157"/>
                </a:lnTo>
                <a:lnTo>
                  <a:pt x="1190" y="2154"/>
                </a:lnTo>
                <a:lnTo>
                  <a:pt x="1189" y="2152"/>
                </a:lnTo>
                <a:lnTo>
                  <a:pt x="1187" y="2151"/>
                </a:lnTo>
                <a:lnTo>
                  <a:pt x="1187" y="2149"/>
                </a:lnTo>
                <a:lnTo>
                  <a:pt x="1185" y="2147"/>
                </a:lnTo>
                <a:lnTo>
                  <a:pt x="1183" y="2145"/>
                </a:lnTo>
                <a:lnTo>
                  <a:pt x="1183" y="2144"/>
                </a:lnTo>
                <a:lnTo>
                  <a:pt x="1183" y="2140"/>
                </a:lnTo>
                <a:lnTo>
                  <a:pt x="1182" y="2140"/>
                </a:lnTo>
                <a:lnTo>
                  <a:pt x="1182" y="2137"/>
                </a:lnTo>
                <a:lnTo>
                  <a:pt x="1180" y="2137"/>
                </a:lnTo>
                <a:lnTo>
                  <a:pt x="1182" y="2137"/>
                </a:lnTo>
                <a:lnTo>
                  <a:pt x="1185" y="2139"/>
                </a:lnTo>
                <a:lnTo>
                  <a:pt x="1187" y="2139"/>
                </a:lnTo>
                <a:lnTo>
                  <a:pt x="1189" y="2139"/>
                </a:lnTo>
                <a:lnTo>
                  <a:pt x="1190" y="2142"/>
                </a:lnTo>
                <a:lnTo>
                  <a:pt x="1192" y="2140"/>
                </a:lnTo>
                <a:lnTo>
                  <a:pt x="1194" y="2142"/>
                </a:lnTo>
                <a:lnTo>
                  <a:pt x="1194" y="2140"/>
                </a:lnTo>
                <a:lnTo>
                  <a:pt x="1195" y="2139"/>
                </a:lnTo>
                <a:lnTo>
                  <a:pt x="1194" y="2137"/>
                </a:lnTo>
                <a:lnTo>
                  <a:pt x="1192" y="2135"/>
                </a:lnTo>
                <a:lnTo>
                  <a:pt x="1192" y="2134"/>
                </a:lnTo>
                <a:lnTo>
                  <a:pt x="1190" y="2132"/>
                </a:lnTo>
                <a:lnTo>
                  <a:pt x="1189" y="2130"/>
                </a:lnTo>
                <a:lnTo>
                  <a:pt x="1187" y="2130"/>
                </a:lnTo>
                <a:lnTo>
                  <a:pt x="1187" y="2128"/>
                </a:lnTo>
                <a:lnTo>
                  <a:pt x="1187" y="2125"/>
                </a:lnTo>
                <a:lnTo>
                  <a:pt x="1190" y="2123"/>
                </a:lnTo>
                <a:lnTo>
                  <a:pt x="1190" y="2125"/>
                </a:lnTo>
                <a:lnTo>
                  <a:pt x="1192" y="2125"/>
                </a:lnTo>
                <a:lnTo>
                  <a:pt x="1194" y="2127"/>
                </a:lnTo>
                <a:lnTo>
                  <a:pt x="1195" y="2127"/>
                </a:lnTo>
                <a:lnTo>
                  <a:pt x="1197" y="2125"/>
                </a:lnTo>
                <a:lnTo>
                  <a:pt x="1199" y="2123"/>
                </a:lnTo>
                <a:lnTo>
                  <a:pt x="1199" y="2120"/>
                </a:lnTo>
                <a:lnTo>
                  <a:pt x="1199" y="2118"/>
                </a:lnTo>
                <a:lnTo>
                  <a:pt x="1199" y="2120"/>
                </a:lnTo>
                <a:lnTo>
                  <a:pt x="1199" y="2118"/>
                </a:lnTo>
                <a:lnTo>
                  <a:pt x="1197" y="2115"/>
                </a:lnTo>
                <a:lnTo>
                  <a:pt x="1197" y="2113"/>
                </a:lnTo>
                <a:lnTo>
                  <a:pt x="1195" y="2111"/>
                </a:lnTo>
                <a:lnTo>
                  <a:pt x="1194" y="2111"/>
                </a:lnTo>
                <a:lnTo>
                  <a:pt x="1195" y="2111"/>
                </a:lnTo>
                <a:lnTo>
                  <a:pt x="1195" y="2110"/>
                </a:lnTo>
                <a:lnTo>
                  <a:pt x="1194" y="2111"/>
                </a:lnTo>
                <a:lnTo>
                  <a:pt x="1194" y="2110"/>
                </a:lnTo>
                <a:lnTo>
                  <a:pt x="1192" y="2111"/>
                </a:lnTo>
                <a:lnTo>
                  <a:pt x="1190" y="2111"/>
                </a:lnTo>
                <a:lnTo>
                  <a:pt x="1190" y="2110"/>
                </a:lnTo>
                <a:lnTo>
                  <a:pt x="1189" y="2110"/>
                </a:lnTo>
                <a:lnTo>
                  <a:pt x="1187" y="2108"/>
                </a:lnTo>
                <a:lnTo>
                  <a:pt x="1185" y="2105"/>
                </a:lnTo>
                <a:lnTo>
                  <a:pt x="1185" y="2103"/>
                </a:lnTo>
                <a:lnTo>
                  <a:pt x="1185" y="2101"/>
                </a:lnTo>
                <a:lnTo>
                  <a:pt x="1185" y="2100"/>
                </a:lnTo>
                <a:lnTo>
                  <a:pt x="1182" y="2098"/>
                </a:lnTo>
                <a:lnTo>
                  <a:pt x="1182" y="2096"/>
                </a:lnTo>
                <a:lnTo>
                  <a:pt x="1180" y="2096"/>
                </a:lnTo>
                <a:lnTo>
                  <a:pt x="1180" y="2094"/>
                </a:lnTo>
                <a:lnTo>
                  <a:pt x="1178" y="2096"/>
                </a:lnTo>
                <a:lnTo>
                  <a:pt x="1178" y="2094"/>
                </a:lnTo>
                <a:lnTo>
                  <a:pt x="1177" y="2094"/>
                </a:lnTo>
                <a:lnTo>
                  <a:pt x="1175" y="2093"/>
                </a:lnTo>
                <a:lnTo>
                  <a:pt x="1175" y="2089"/>
                </a:lnTo>
                <a:lnTo>
                  <a:pt x="1175" y="2088"/>
                </a:lnTo>
                <a:lnTo>
                  <a:pt x="1173" y="2086"/>
                </a:lnTo>
                <a:lnTo>
                  <a:pt x="1172" y="2084"/>
                </a:lnTo>
                <a:lnTo>
                  <a:pt x="1172" y="2083"/>
                </a:lnTo>
                <a:lnTo>
                  <a:pt x="1170" y="2083"/>
                </a:lnTo>
                <a:lnTo>
                  <a:pt x="1172" y="2083"/>
                </a:lnTo>
                <a:lnTo>
                  <a:pt x="1170" y="2081"/>
                </a:lnTo>
                <a:lnTo>
                  <a:pt x="1170" y="2079"/>
                </a:lnTo>
                <a:lnTo>
                  <a:pt x="1168" y="2079"/>
                </a:lnTo>
                <a:lnTo>
                  <a:pt x="1170" y="2079"/>
                </a:lnTo>
                <a:lnTo>
                  <a:pt x="1168" y="2077"/>
                </a:lnTo>
                <a:lnTo>
                  <a:pt x="1170" y="2077"/>
                </a:lnTo>
                <a:lnTo>
                  <a:pt x="1168" y="2074"/>
                </a:lnTo>
                <a:lnTo>
                  <a:pt x="1166" y="2074"/>
                </a:lnTo>
                <a:lnTo>
                  <a:pt x="1168" y="2072"/>
                </a:lnTo>
                <a:lnTo>
                  <a:pt x="1166" y="2072"/>
                </a:lnTo>
                <a:lnTo>
                  <a:pt x="1165" y="2071"/>
                </a:lnTo>
                <a:lnTo>
                  <a:pt x="1163" y="2071"/>
                </a:lnTo>
                <a:lnTo>
                  <a:pt x="1165" y="2069"/>
                </a:lnTo>
                <a:lnTo>
                  <a:pt x="1166" y="2067"/>
                </a:lnTo>
                <a:lnTo>
                  <a:pt x="1166" y="2066"/>
                </a:lnTo>
                <a:lnTo>
                  <a:pt x="1165" y="2064"/>
                </a:lnTo>
                <a:lnTo>
                  <a:pt x="1163" y="2064"/>
                </a:lnTo>
                <a:lnTo>
                  <a:pt x="1163" y="2062"/>
                </a:lnTo>
                <a:lnTo>
                  <a:pt x="1165" y="2062"/>
                </a:lnTo>
                <a:lnTo>
                  <a:pt x="1165" y="2060"/>
                </a:lnTo>
                <a:lnTo>
                  <a:pt x="1163" y="2060"/>
                </a:lnTo>
                <a:lnTo>
                  <a:pt x="1165" y="2059"/>
                </a:lnTo>
                <a:lnTo>
                  <a:pt x="1165" y="2057"/>
                </a:lnTo>
                <a:lnTo>
                  <a:pt x="1161" y="2055"/>
                </a:lnTo>
                <a:lnTo>
                  <a:pt x="1161" y="2059"/>
                </a:lnTo>
                <a:lnTo>
                  <a:pt x="1161" y="2060"/>
                </a:lnTo>
                <a:lnTo>
                  <a:pt x="1161" y="2062"/>
                </a:lnTo>
                <a:lnTo>
                  <a:pt x="1160" y="2064"/>
                </a:lnTo>
                <a:lnTo>
                  <a:pt x="1160" y="2062"/>
                </a:lnTo>
                <a:lnTo>
                  <a:pt x="1158" y="2064"/>
                </a:lnTo>
                <a:lnTo>
                  <a:pt x="1158" y="2062"/>
                </a:lnTo>
                <a:lnTo>
                  <a:pt x="1160" y="2060"/>
                </a:lnTo>
                <a:lnTo>
                  <a:pt x="1158" y="2060"/>
                </a:lnTo>
                <a:lnTo>
                  <a:pt x="1156" y="2060"/>
                </a:lnTo>
                <a:lnTo>
                  <a:pt x="1158" y="2059"/>
                </a:lnTo>
                <a:lnTo>
                  <a:pt x="1156" y="2057"/>
                </a:lnTo>
                <a:lnTo>
                  <a:pt x="1156" y="2055"/>
                </a:lnTo>
                <a:lnTo>
                  <a:pt x="1158" y="2055"/>
                </a:lnTo>
                <a:lnTo>
                  <a:pt x="1156" y="2054"/>
                </a:lnTo>
                <a:lnTo>
                  <a:pt x="1158" y="2054"/>
                </a:lnTo>
                <a:lnTo>
                  <a:pt x="1156" y="2054"/>
                </a:lnTo>
                <a:lnTo>
                  <a:pt x="1158" y="2052"/>
                </a:lnTo>
                <a:lnTo>
                  <a:pt x="1156" y="2052"/>
                </a:lnTo>
                <a:lnTo>
                  <a:pt x="1158" y="2050"/>
                </a:lnTo>
                <a:lnTo>
                  <a:pt x="1156" y="2050"/>
                </a:lnTo>
                <a:lnTo>
                  <a:pt x="1158" y="2050"/>
                </a:lnTo>
                <a:lnTo>
                  <a:pt x="1156" y="2049"/>
                </a:lnTo>
                <a:lnTo>
                  <a:pt x="1158" y="2047"/>
                </a:lnTo>
                <a:lnTo>
                  <a:pt x="1156" y="2047"/>
                </a:lnTo>
                <a:lnTo>
                  <a:pt x="1158" y="2045"/>
                </a:lnTo>
                <a:lnTo>
                  <a:pt x="1156" y="2043"/>
                </a:lnTo>
                <a:lnTo>
                  <a:pt x="1156" y="2045"/>
                </a:lnTo>
                <a:lnTo>
                  <a:pt x="1155" y="2045"/>
                </a:lnTo>
                <a:lnTo>
                  <a:pt x="1155" y="2043"/>
                </a:lnTo>
                <a:lnTo>
                  <a:pt x="1155" y="2042"/>
                </a:lnTo>
                <a:lnTo>
                  <a:pt x="1153" y="2042"/>
                </a:lnTo>
                <a:lnTo>
                  <a:pt x="1155" y="2042"/>
                </a:lnTo>
                <a:lnTo>
                  <a:pt x="1155" y="2040"/>
                </a:lnTo>
                <a:lnTo>
                  <a:pt x="1156" y="2038"/>
                </a:lnTo>
                <a:lnTo>
                  <a:pt x="1158" y="2038"/>
                </a:lnTo>
                <a:lnTo>
                  <a:pt x="1160" y="2037"/>
                </a:lnTo>
                <a:lnTo>
                  <a:pt x="1158" y="2038"/>
                </a:lnTo>
                <a:lnTo>
                  <a:pt x="1156" y="2038"/>
                </a:lnTo>
                <a:lnTo>
                  <a:pt x="1156" y="2040"/>
                </a:lnTo>
                <a:lnTo>
                  <a:pt x="1153" y="2040"/>
                </a:lnTo>
                <a:lnTo>
                  <a:pt x="1151" y="2038"/>
                </a:lnTo>
                <a:lnTo>
                  <a:pt x="1151" y="2040"/>
                </a:lnTo>
                <a:lnTo>
                  <a:pt x="1148" y="2038"/>
                </a:lnTo>
                <a:lnTo>
                  <a:pt x="1149" y="2037"/>
                </a:lnTo>
                <a:lnTo>
                  <a:pt x="1153" y="2035"/>
                </a:lnTo>
                <a:lnTo>
                  <a:pt x="1151" y="2035"/>
                </a:lnTo>
                <a:lnTo>
                  <a:pt x="1153" y="2033"/>
                </a:lnTo>
                <a:lnTo>
                  <a:pt x="1155" y="2032"/>
                </a:lnTo>
                <a:lnTo>
                  <a:pt x="1156" y="2030"/>
                </a:lnTo>
                <a:lnTo>
                  <a:pt x="1156" y="2028"/>
                </a:lnTo>
                <a:lnTo>
                  <a:pt x="1158" y="2028"/>
                </a:lnTo>
                <a:lnTo>
                  <a:pt x="1160" y="2028"/>
                </a:lnTo>
                <a:lnTo>
                  <a:pt x="1158" y="2028"/>
                </a:lnTo>
                <a:lnTo>
                  <a:pt x="1156" y="2028"/>
                </a:lnTo>
                <a:lnTo>
                  <a:pt x="1156" y="2030"/>
                </a:lnTo>
                <a:lnTo>
                  <a:pt x="1155" y="2030"/>
                </a:lnTo>
                <a:lnTo>
                  <a:pt x="1153" y="2032"/>
                </a:lnTo>
                <a:lnTo>
                  <a:pt x="1151" y="2032"/>
                </a:lnTo>
                <a:lnTo>
                  <a:pt x="1149" y="2033"/>
                </a:lnTo>
                <a:lnTo>
                  <a:pt x="1149" y="2032"/>
                </a:lnTo>
                <a:lnTo>
                  <a:pt x="1148" y="2030"/>
                </a:lnTo>
                <a:lnTo>
                  <a:pt x="1148" y="2028"/>
                </a:lnTo>
                <a:lnTo>
                  <a:pt x="1148" y="2026"/>
                </a:lnTo>
                <a:lnTo>
                  <a:pt x="1148" y="2025"/>
                </a:lnTo>
                <a:lnTo>
                  <a:pt x="1151" y="2025"/>
                </a:lnTo>
                <a:lnTo>
                  <a:pt x="1149" y="2023"/>
                </a:lnTo>
                <a:lnTo>
                  <a:pt x="1151" y="2023"/>
                </a:lnTo>
                <a:lnTo>
                  <a:pt x="1149" y="2023"/>
                </a:lnTo>
                <a:lnTo>
                  <a:pt x="1151" y="2021"/>
                </a:lnTo>
                <a:lnTo>
                  <a:pt x="1149" y="2021"/>
                </a:lnTo>
                <a:lnTo>
                  <a:pt x="1153" y="2018"/>
                </a:lnTo>
                <a:lnTo>
                  <a:pt x="1151" y="2016"/>
                </a:lnTo>
                <a:lnTo>
                  <a:pt x="1153" y="2015"/>
                </a:lnTo>
                <a:lnTo>
                  <a:pt x="1151" y="2013"/>
                </a:lnTo>
                <a:lnTo>
                  <a:pt x="1153" y="2011"/>
                </a:lnTo>
                <a:lnTo>
                  <a:pt x="1151" y="2011"/>
                </a:lnTo>
                <a:lnTo>
                  <a:pt x="1153" y="2009"/>
                </a:lnTo>
                <a:lnTo>
                  <a:pt x="1153" y="2008"/>
                </a:lnTo>
                <a:lnTo>
                  <a:pt x="1155" y="2006"/>
                </a:lnTo>
                <a:lnTo>
                  <a:pt x="1153" y="2004"/>
                </a:lnTo>
                <a:lnTo>
                  <a:pt x="1155" y="2004"/>
                </a:lnTo>
                <a:lnTo>
                  <a:pt x="1156" y="2003"/>
                </a:lnTo>
                <a:lnTo>
                  <a:pt x="1155" y="2003"/>
                </a:lnTo>
                <a:lnTo>
                  <a:pt x="1153" y="1999"/>
                </a:lnTo>
                <a:lnTo>
                  <a:pt x="1151" y="1997"/>
                </a:lnTo>
                <a:lnTo>
                  <a:pt x="1151" y="1996"/>
                </a:lnTo>
                <a:lnTo>
                  <a:pt x="1153" y="1996"/>
                </a:lnTo>
                <a:lnTo>
                  <a:pt x="1155" y="1994"/>
                </a:lnTo>
                <a:lnTo>
                  <a:pt x="1156" y="1994"/>
                </a:lnTo>
                <a:lnTo>
                  <a:pt x="1155" y="1992"/>
                </a:lnTo>
                <a:lnTo>
                  <a:pt x="1155" y="1994"/>
                </a:lnTo>
                <a:lnTo>
                  <a:pt x="1153" y="1996"/>
                </a:lnTo>
                <a:lnTo>
                  <a:pt x="1151" y="1996"/>
                </a:lnTo>
                <a:lnTo>
                  <a:pt x="1149" y="1994"/>
                </a:lnTo>
                <a:lnTo>
                  <a:pt x="1148" y="1994"/>
                </a:lnTo>
                <a:lnTo>
                  <a:pt x="1149" y="1996"/>
                </a:lnTo>
                <a:lnTo>
                  <a:pt x="1148" y="1996"/>
                </a:lnTo>
                <a:lnTo>
                  <a:pt x="1146" y="1996"/>
                </a:lnTo>
                <a:lnTo>
                  <a:pt x="1146" y="1999"/>
                </a:lnTo>
                <a:lnTo>
                  <a:pt x="1144" y="1999"/>
                </a:lnTo>
                <a:lnTo>
                  <a:pt x="1143" y="2001"/>
                </a:lnTo>
                <a:lnTo>
                  <a:pt x="1141" y="1999"/>
                </a:lnTo>
                <a:lnTo>
                  <a:pt x="1143" y="2001"/>
                </a:lnTo>
                <a:lnTo>
                  <a:pt x="1143" y="2003"/>
                </a:lnTo>
                <a:lnTo>
                  <a:pt x="1139" y="2001"/>
                </a:lnTo>
                <a:lnTo>
                  <a:pt x="1141" y="1999"/>
                </a:lnTo>
                <a:lnTo>
                  <a:pt x="1139" y="1999"/>
                </a:lnTo>
                <a:lnTo>
                  <a:pt x="1141" y="1999"/>
                </a:lnTo>
                <a:lnTo>
                  <a:pt x="1141" y="1996"/>
                </a:lnTo>
                <a:lnTo>
                  <a:pt x="1143" y="1996"/>
                </a:lnTo>
                <a:lnTo>
                  <a:pt x="1143" y="1992"/>
                </a:lnTo>
                <a:lnTo>
                  <a:pt x="1144" y="1991"/>
                </a:lnTo>
                <a:lnTo>
                  <a:pt x="1146" y="1991"/>
                </a:lnTo>
                <a:lnTo>
                  <a:pt x="1144" y="1991"/>
                </a:lnTo>
                <a:lnTo>
                  <a:pt x="1146" y="1989"/>
                </a:lnTo>
                <a:lnTo>
                  <a:pt x="1148" y="1987"/>
                </a:lnTo>
                <a:lnTo>
                  <a:pt x="1146" y="1987"/>
                </a:lnTo>
                <a:lnTo>
                  <a:pt x="1146" y="1989"/>
                </a:lnTo>
                <a:lnTo>
                  <a:pt x="1144" y="1991"/>
                </a:lnTo>
                <a:lnTo>
                  <a:pt x="1144" y="1989"/>
                </a:lnTo>
                <a:lnTo>
                  <a:pt x="1143" y="1989"/>
                </a:lnTo>
                <a:lnTo>
                  <a:pt x="1143" y="1986"/>
                </a:lnTo>
                <a:lnTo>
                  <a:pt x="1143" y="1984"/>
                </a:lnTo>
                <a:lnTo>
                  <a:pt x="1143" y="1986"/>
                </a:lnTo>
                <a:lnTo>
                  <a:pt x="1143" y="1989"/>
                </a:lnTo>
                <a:lnTo>
                  <a:pt x="1143" y="1991"/>
                </a:lnTo>
                <a:lnTo>
                  <a:pt x="1143" y="1992"/>
                </a:lnTo>
                <a:lnTo>
                  <a:pt x="1141" y="1994"/>
                </a:lnTo>
                <a:lnTo>
                  <a:pt x="1141" y="1997"/>
                </a:lnTo>
                <a:lnTo>
                  <a:pt x="1139" y="1997"/>
                </a:lnTo>
                <a:lnTo>
                  <a:pt x="1138" y="1999"/>
                </a:lnTo>
                <a:lnTo>
                  <a:pt x="1138" y="1997"/>
                </a:lnTo>
                <a:lnTo>
                  <a:pt x="1139" y="1996"/>
                </a:lnTo>
                <a:lnTo>
                  <a:pt x="1138" y="1997"/>
                </a:lnTo>
                <a:lnTo>
                  <a:pt x="1136" y="1996"/>
                </a:lnTo>
                <a:lnTo>
                  <a:pt x="1138" y="1994"/>
                </a:lnTo>
                <a:lnTo>
                  <a:pt x="1139" y="1994"/>
                </a:lnTo>
                <a:lnTo>
                  <a:pt x="1138" y="1992"/>
                </a:lnTo>
                <a:lnTo>
                  <a:pt x="1139" y="1991"/>
                </a:lnTo>
                <a:lnTo>
                  <a:pt x="1138" y="1991"/>
                </a:lnTo>
                <a:lnTo>
                  <a:pt x="1136" y="1994"/>
                </a:lnTo>
                <a:lnTo>
                  <a:pt x="1136" y="1992"/>
                </a:lnTo>
                <a:lnTo>
                  <a:pt x="1136" y="1994"/>
                </a:lnTo>
                <a:lnTo>
                  <a:pt x="1134" y="1994"/>
                </a:lnTo>
                <a:lnTo>
                  <a:pt x="1136" y="1992"/>
                </a:lnTo>
                <a:lnTo>
                  <a:pt x="1138" y="1989"/>
                </a:lnTo>
                <a:lnTo>
                  <a:pt x="1138" y="1986"/>
                </a:lnTo>
                <a:lnTo>
                  <a:pt x="1138" y="1989"/>
                </a:lnTo>
                <a:lnTo>
                  <a:pt x="1136" y="1989"/>
                </a:lnTo>
                <a:lnTo>
                  <a:pt x="1136" y="1991"/>
                </a:lnTo>
                <a:lnTo>
                  <a:pt x="1136" y="1992"/>
                </a:lnTo>
                <a:lnTo>
                  <a:pt x="1134" y="1992"/>
                </a:lnTo>
                <a:lnTo>
                  <a:pt x="1132" y="1992"/>
                </a:lnTo>
                <a:lnTo>
                  <a:pt x="1132" y="1991"/>
                </a:lnTo>
                <a:lnTo>
                  <a:pt x="1132" y="1992"/>
                </a:lnTo>
                <a:lnTo>
                  <a:pt x="1131" y="1994"/>
                </a:lnTo>
                <a:lnTo>
                  <a:pt x="1131" y="1991"/>
                </a:lnTo>
                <a:lnTo>
                  <a:pt x="1129" y="1991"/>
                </a:lnTo>
                <a:lnTo>
                  <a:pt x="1131" y="1991"/>
                </a:lnTo>
                <a:lnTo>
                  <a:pt x="1129" y="1989"/>
                </a:lnTo>
                <a:lnTo>
                  <a:pt x="1131" y="1989"/>
                </a:lnTo>
                <a:lnTo>
                  <a:pt x="1131" y="1987"/>
                </a:lnTo>
                <a:lnTo>
                  <a:pt x="1131" y="1989"/>
                </a:lnTo>
                <a:lnTo>
                  <a:pt x="1132" y="1987"/>
                </a:lnTo>
                <a:lnTo>
                  <a:pt x="1132" y="1989"/>
                </a:lnTo>
                <a:lnTo>
                  <a:pt x="1132" y="1986"/>
                </a:lnTo>
                <a:lnTo>
                  <a:pt x="1134" y="1986"/>
                </a:lnTo>
                <a:lnTo>
                  <a:pt x="1132" y="1986"/>
                </a:lnTo>
                <a:lnTo>
                  <a:pt x="1134" y="1984"/>
                </a:lnTo>
                <a:lnTo>
                  <a:pt x="1132" y="1986"/>
                </a:lnTo>
                <a:lnTo>
                  <a:pt x="1132" y="1984"/>
                </a:lnTo>
                <a:lnTo>
                  <a:pt x="1132" y="1982"/>
                </a:lnTo>
                <a:lnTo>
                  <a:pt x="1131" y="1982"/>
                </a:lnTo>
                <a:lnTo>
                  <a:pt x="1131" y="1980"/>
                </a:lnTo>
                <a:lnTo>
                  <a:pt x="1131" y="1979"/>
                </a:lnTo>
                <a:lnTo>
                  <a:pt x="1131" y="1982"/>
                </a:lnTo>
                <a:lnTo>
                  <a:pt x="1129" y="1980"/>
                </a:lnTo>
                <a:lnTo>
                  <a:pt x="1131" y="1979"/>
                </a:lnTo>
                <a:lnTo>
                  <a:pt x="1132" y="1979"/>
                </a:lnTo>
                <a:lnTo>
                  <a:pt x="1132" y="1977"/>
                </a:lnTo>
                <a:lnTo>
                  <a:pt x="1131" y="1977"/>
                </a:lnTo>
                <a:lnTo>
                  <a:pt x="1132" y="1975"/>
                </a:lnTo>
                <a:lnTo>
                  <a:pt x="1131" y="1975"/>
                </a:lnTo>
                <a:lnTo>
                  <a:pt x="1132" y="1974"/>
                </a:lnTo>
                <a:lnTo>
                  <a:pt x="1131" y="1972"/>
                </a:lnTo>
                <a:lnTo>
                  <a:pt x="1131" y="1970"/>
                </a:lnTo>
                <a:lnTo>
                  <a:pt x="1129" y="1970"/>
                </a:lnTo>
                <a:lnTo>
                  <a:pt x="1129" y="1969"/>
                </a:lnTo>
                <a:lnTo>
                  <a:pt x="1127" y="1969"/>
                </a:lnTo>
                <a:lnTo>
                  <a:pt x="1127" y="1967"/>
                </a:lnTo>
                <a:lnTo>
                  <a:pt x="1127" y="1965"/>
                </a:lnTo>
                <a:lnTo>
                  <a:pt x="1129" y="1965"/>
                </a:lnTo>
                <a:lnTo>
                  <a:pt x="1131" y="1969"/>
                </a:lnTo>
                <a:lnTo>
                  <a:pt x="1131" y="1967"/>
                </a:lnTo>
                <a:lnTo>
                  <a:pt x="1129" y="1965"/>
                </a:lnTo>
                <a:lnTo>
                  <a:pt x="1127" y="1963"/>
                </a:lnTo>
                <a:lnTo>
                  <a:pt x="1129" y="1963"/>
                </a:lnTo>
                <a:lnTo>
                  <a:pt x="1129" y="1965"/>
                </a:lnTo>
                <a:lnTo>
                  <a:pt x="1131" y="1965"/>
                </a:lnTo>
                <a:lnTo>
                  <a:pt x="1129" y="1963"/>
                </a:lnTo>
                <a:lnTo>
                  <a:pt x="1129" y="1962"/>
                </a:lnTo>
                <a:lnTo>
                  <a:pt x="1129" y="1960"/>
                </a:lnTo>
                <a:lnTo>
                  <a:pt x="1129" y="1962"/>
                </a:lnTo>
                <a:lnTo>
                  <a:pt x="1131" y="1962"/>
                </a:lnTo>
                <a:lnTo>
                  <a:pt x="1129" y="1958"/>
                </a:lnTo>
                <a:lnTo>
                  <a:pt x="1127" y="1957"/>
                </a:lnTo>
                <a:lnTo>
                  <a:pt x="1129" y="1953"/>
                </a:lnTo>
                <a:lnTo>
                  <a:pt x="1127" y="1953"/>
                </a:lnTo>
                <a:lnTo>
                  <a:pt x="1127" y="1952"/>
                </a:lnTo>
                <a:lnTo>
                  <a:pt x="1126" y="1953"/>
                </a:lnTo>
                <a:lnTo>
                  <a:pt x="1126" y="1950"/>
                </a:lnTo>
                <a:lnTo>
                  <a:pt x="1127" y="1948"/>
                </a:lnTo>
                <a:lnTo>
                  <a:pt x="1129" y="1948"/>
                </a:lnTo>
                <a:lnTo>
                  <a:pt x="1129" y="1946"/>
                </a:lnTo>
                <a:lnTo>
                  <a:pt x="1127" y="1948"/>
                </a:lnTo>
                <a:lnTo>
                  <a:pt x="1126" y="1948"/>
                </a:lnTo>
                <a:lnTo>
                  <a:pt x="1126" y="1946"/>
                </a:lnTo>
                <a:lnTo>
                  <a:pt x="1127" y="1945"/>
                </a:lnTo>
                <a:lnTo>
                  <a:pt x="1127" y="1943"/>
                </a:lnTo>
                <a:lnTo>
                  <a:pt x="1129" y="1941"/>
                </a:lnTo>
                <a:lnTo>
                  <a:pt x="1131" y="1941"/>
                </a:lnTo>
                <a:lnTo>
                  <a:pt x="1132" y="1940"/>
                </a:lnTo>
                <a:lnTo>
                  <a:pt x="1134" y="1941"/>
                </a:lnTo>
                <a:lnTo>
                  <a:pt x="1134" y="1943"/>
                </a:lnTo>
                <a:lnTo>
                  <a:pt x="1136" y="1946"/>
                </a:lnTo>
                <a:lnTo>
                  <a:pt x="1138" y="1948"/>
                </a:lnTo>
                <a:lnTo>
                  <a:pt x="1136" y="1945"/>
                </a:lnTo>
                <a:lnTo>
                  <a:pt x="1136" y="1943"/>
                </a:lnTo>
                <a:lnTo>
                  <a:pt x="1136" y="1945"/>
                </a:lnTo>
                <a:lnTo>
                  <a:pt x="1136" y="1943"/>
                </a:lnTo>
                <a:lnTo>
                  <a:pt x="1134" y="1941"/>
                </a:lnTo>
                <a:lnTo>
                  <a:pt x="1134" y="1940"/>
                </a:lnTo>
                <a:lnTo>
                  <a:pt x="1132" y="1940"/>
                </a:lnTo>
                <a:lnTo>
                  <a:pt x="1131" y="1941"/>
                </a:lnTo>
                <a:lnTo>
                  <a:pt x="1129" y="1941"/>
                </a:lnTo>
                <a:lnTo>
                  <a:pt x="1127" y="1941"/>
                </a:lnTo>
                <a:lnTo>
                  <a:pt x="1129" y="1940"/>
                </a:lnTo>
                <a:lnTo>
                  <a:pt x="1129" y="1938"/>
                </a:lnTo>
                <a:lnTo>
                  <a:pt x="1129" y="1940"/>
                </a:lnTo>
                <a:lnTo>
                  <a:pt x="1127" y="1940"/>
                </a:lnTo>
                <a:lnTo>
                  <a:pt x="1129" y="1940"/>
                </a:lnTo>
                <a:lnTo>
                  <a:pt x="1127" y="1940"/>
                </a:lnTo>
                <a:lnTo>
                  <a:pt x="1127" y="1938"/>
                </a:lnTo>
                <a:lnTo>
                  <a:pt x="1127" y="1940"/>
                </a:lnTo>
                <a:lnTo>
                  <a:pt x="1129" y="1938"/>
                </a:lnTo>
                <a:lnTo>
                  <a:pt x="1127" y="1938"/>
                </a:lnTo>
                <a:lnTo>
                  <a:pt x="1127" y="1935"/>
                </a:lnTo>
                <a:lnTo>
                  <a:pt x="1126" y="1935"/>
                </a:lnTo>
                <a:lnTo>
                  <a:pt x="1127" y="1936"/>
                </a:lnTo>
                <a:lnTo>
                  <a:pt x="1126" y="1936"/>
                </a:lnTo>
                <a:lnTo>
                  <a:pt x="1126" y="1938"/>
                </a:lnTo>
                <a:lnTo>
                  <a:pt x="1124" y="1936"/>
                </a:lnTo>
                <a:lnTo>
                  <a:pt x="1124" y="1935"/>
                </a:lnTo>
                <a:lnTo>
                  <a:pt x="1124" y="1933"/>
                </a:lnTo>
                <a:lnTo>
                  <a:pt x="1122" y="1933"/>
                </a:lnTo>
                <a:lnTo>
                  <a:pt x="1124" y="1935"/>
                </a:lnTo>
                <a:lnTo>
                  <a:pt x="1124" y="1936"/>
                </a:lnTo>
                <a:lnTo>
                  <a:pt x="1124" y="1938"/>
                </a:lnTo>
                <a:lnTo>
                  <a:pt x="1124" y="1940"/>
                </a:lnTo>
                <a:lnTo>
                  <a:pt x="1124" y="1938"/>
                </a:lnTo>
                <a:lnTo>
                  <a:pt x="1122" y="1940"/>
                </a:lnTo>
                <a:lnTo>
                  <a:pt x="1122" y="1938"/>
                </a:lnTo>
                <a:lnTo>
                  <a:pt x="1122" y="1936"/>
                </a:lnTo>
                <a:lnTo>
                  <a:pt x="1122" y="1938"/>
                </a:lnTo>
                <a:lnTo>
                  <a:pt x="1121" y="1938"/>
                </a:lnTo>
                <a:lnTo>
                  <a:pt x="1122" y="1936"/>
                </a:lnTo>
                <a:lnTo>
                  <a:pt x="1121" y="1936"/>
                </a:lnTo>
                <a:lnTo>
                  <a:pt x="1122" y="1935"/>
                </a:lnTo>
                <a:lnTo>
                  <a:pt x="1119" y="1936"/>
                </a:lnTo>
                <a:lnTo>
                  <a:pt x="1119" y="1933"/>
                </a:lnTo>
                <a:lnTo>
                  <a:pt x="1119" y="1935"/>
                </a:lnTo>
                <a:lnTo>
                  <a:pt x="1119" y="1933"/>
                </a:lnTo>
                <a:lnTo>
                  <a:pt x="1117" y="1933"/>
                </a:lnTo>
                <a:lnTo>
                  <a:pt x="1117" y="1935"/>
                </a:lnTo>
                <a:lnTo>
                  <a:pt x="1115" y="1936"/>
                </a:lnTo>
                <a:lnTo>
                  <a:pt x="1115" y="1935"/>
                </a:lnTo>
                <a:lnTo>
                  <a:pt x="1115" y="1936"/>
                </a:lnTo>
                <a:lnTo>
                  <a:pt x="1114" y="1936"/>
                </a:lnTo>
                <a:lnTo>
                  <a:pt x="1114" y="1935"/>
                </a:lnTo>
                <a:lnTo>
                  <a:pt x="1112" y="1931"/>
                </a:lnTo>
                <a:lnTo>
                  <a:pt x="1114" y="1929"/>
                </a:lnTo>
                <a:lnTo>
                  <a:pt x="1112" y="1931"/>
                </a:lnTo>
                <a:lnTo>
                  <a:pt x="1110" y="1933"/>
                </a:lnTo>
                <a:lnTo>
                  <a:pt x="1112" y="1929"/>
                </a:lnTo>
                <a:lnTo>
                  <a:pt x="1110" y="1929"/>
                </a:lnTo>
                <a:lnTo>
                  <a:pt x="1112" y="1929"/>
                </a:lnTo>
                <a:lnTo>
                  <a:pt x="1112" y="1928"/>
                </a:lnTo>
                <a:lnTo>
                  <a:pt x="1114" y="1926"/>
                </a:lnTo>
                <a:lnTo>
                  <a:pt x="1112" y="1926"/>
                </a:lnTo>
                <a:lnTo>
                  <a:pt x="1110" y="1928"/>
                </a:lnTo>
                <a:lnTo>
                  <a:pt x="1110" y="1926"/>
                </a:lnTo>
                <a:lnTo>
                  <a:pt x="1112" y="1926"/>
                </a:lnTo>
                <a:lnTo>
                  <a:pt x="1110" y="1924"/>
                </a:lnTo>
                <a:lnTo>
                  <a:pt x="1109" y="1928"/>
                </a:lnTo>
                <a:lnTo>
                  <a:pt x="1109" y="1924"/>
                </a:lnTo>
                <a:lnTo>
                  <a:pt x="1109" y="1923"/>
                </a:lnTo>
                <a:lnTo>
                  <a:pt x="1109" y="1921"/>
                </a:lnTo>
                <a:lnTo>
                  <a:pt x="1109" y="1919"/>
                </a:lnTo>
                <a:lnTo>
                  <a:pt x="1109" y="1918"/>
                </a:lnTo>
                <a:lnTo>
                  <a:pt x="1109" y="1914"/>
                </a:lnTo>
                <a:lnTo>
                  <a:pt x="1109" y="1912"/>
                </a:lnTo>
                <a:lnTo>
                  <a:pt x="1109" y="1911"/>
                </a:lnTo>
                <a:lnTo>
                  <a:pt x="1109" y="1912"/>
                </a:lnTo>
                <a:lnTo>
                  <a:pt x="1107" y="1909"/>
                </a:lnTo>
                <a:lnTo>
                  <a:pt x="1109" y="1907"/>
                </a:lnTo>
                <a:lnTo>
                  <a:pt x="1109" y="1906"/>
                </a:lnTo>
                <a:lnTo>
                  <a:pt x="1107" y="1904"/>
                </a:lnTo>
                <a:lnTo>
                  <a:pt x="1107" y="1902"/>
                </a:lnTo>
                <a:lnTo>
                  <a:pt x="1107" y="1901"/>
                </a:lnTo>
                <a:lnTo>
                  <a:pt x="1107" y="1899"/>
                </a:lnTo>
                <a:lnTo>
                  <a:pt x="1107" y="1901"/>
                </a:lnTo>
                <a:lnTo>
                  <a:pt x="1105" y="1897"/>
                </a:lnTo>
                <a:lnTo>
                  <a:pt x="1105" y="1895"/>
                </a:lnTo>
                <a:lnTo>
                  <a:pt x="1107" y="1892"/>
                </a:lnTo>
                <a:lnTo>
                  <a:pt x="1107" y="1890"/>
                </a:lnTo>
                <a:lnTo>
                  <a:pt x="1107" y="1889"/>
                </a:lnTo>
                <a:lnTo>
                  <a:pt x="1109" y="1887"/>
                </a:lnTo>
                <a:lnTo>
                  <a:pt x="1109" y="1889"/>
                </a:lnTo>
                <a:lnTo>
                  <a:pt x="1110" y="1892"/>
                </a:lnTo>
                <a:lnTo>
                  <a:pt x="1110" y="1894"/>
                </a:lnTo>
                <a:lnTo>
                  <a:pt x="1110" y="1895"/>
                </a:lnTo>
                <a:lnTo>
                  <a:pt x="1110" y="1897"/>
                </a:lnTo>
                <a:lnTo>
                  <a:pt x="1110" y="1895"/>
                </a:lnTo>
                <a:lnTo>
                  <a:pt x="1110" y="1892"/>
                </a:lnTo>
                <a:lnTo>
                  <a:pt x="1112" y="1890"/>
                </a:lnTo>
                <a:lnTo>
                  <a:pt x="1112" y="1887"/>
                </a:lnTo>
                <a:lnTo>
                  <a:pt x="1112" y="1885"/>
                </a:lnTo>
                <a:lnTo>
                  <a:pt x="1110" y="1887"/>
                </a:lnTo>
                <a:lnTo>
                  <a:pt x="1112" y="1885"/>
                </a:lnTo>
                <a:lnTo>
                  <a:pt x="1109" y="1884"/>
                </a:lnTo>
                <a:lnTo>
                  <a:pt x="1109" y="1885"/>
                </a:lnTo>
                <a:lnTo>
                  <a:pt x="1109" y="1884"/>
                </a:lnTo>
                <a:lnTo>
                  <a:pt x="1107" y="1884"/>
                </a:lnTo>
                <a:lnTo>
                  <a:pt x="1107" y="1885"/>
                </a:lnTo>
                <a:lnTo>
                  <a:pt x="1107" y="1887"/>
                </a:lnTo>
                <a:lnTo>
                  <a:pt x="1105" y="1887"/>
                </a:lnTo>
                <a:lnTo>
                  <a:pt x="1107" y="1885"/>
                </a:lnTo>
                <a:lnTo>
                  <a:pt x="1105" y="1885"/>
                </a:lnTo>
                <a:lnTo>
                  <a:pt x="1107" y="1885"/>
                </a:lnTo>
                <a:lnTo>
                  <a:pt x="1104" y="1885"/>
                </a:lnTo>
                <a:lnTo>
                  <a:pt x="1102" y="1887"/>
                </a:lnTo>
                <a:lnTo>
                  <a:pt x="1102" y="1889"/>
                </a:lnTo>
                <a:lnTo>
                  <a:pt x="1102" y="1890"/>
                </a:lnTo>
                <a:lnTo>
                  <a:pt x="1104" y="1889"/>
                </a:lnTo>
                <a:lnTo>
                  <a:pt x="1102" y="1890"/>
                </a:lnTo>
                <a:lnTo>
                  <a:pt x="1102" y="1892"/>
                </a:lnTo>
                <a:lnTo>
                  <a:pt x="1102" y="1895"/>
                </a:lnTo>
                <a:lnTo>
                  <a:pt x="1104" y="1895"/>
                </a:lnTo>
                <a:lnTo>
                  <a:pt x="1104" y="1897"/>
                </a:lnTo>
                <a:lnTo>
                  <a:pt x="1104" y="1901"/>
                </a:lnTo>
                <a:lnTo>
                  <a:pt x="1107" y="1902"/>
                </a:lnTo>
                <a:lnTo>
                  <a:pt x="1105" y="1902"/>
                </a:lnTo>
                <a:lnTo>
                  <a:pt x="1107" y="1902"/>
                </a:lnTo>
                <a:lnTo>
                  <a:pt x="1107" y="1904"/>
                </a:lnTo>
                <a:lnTo>
                  <a:pt x="1107" y="1907"/>
                </a:lnTo>
                <a:lnTo>
                  <a:pt x="1107" y="1909"/>
                </a:lnTo>
                <a:lnTo>
                  <a:pt x="1105" y="1911"/>
                </a:lnTo>
                <a:lnTo>
                  <a:pt x="1104" y="1912"/>
                </a:lnTo>
                <a:lnTo>
                  <a:pt x="1104" y="1911"/>
                </a:lnTo>
                <a:lnTo>
                  <a:pt x="1102" y="1912"/>
                </a:lnTo>
                <a:lnTo>
                  <a:pt x="1100" y="1912"/>
                </a:lnTo>
                <a:lnTo>
                  <a:pt x="1100" y="1911"/>
                </a:lnTo>
                <a:lnTo>
                  <a:pt x="1100" y="1909"/>
                </a:lnTo>
                <a:lnTo>
                  <a:pt x="1100" y="1907"/>
                </a:lnTo>
                <a:lnTo>
                  <a:pt x="1100" y="1906"/>
                </a:lnTo>
                <a:lnTo>
                  <a:pt x="1100" y="1904"/>
                </a:lnTo>
                <a:lnTo>
                  <a:pt x="1100" y="1902"/>
                </a:lnTo>
                <a:lnTo>
                  <a:pt x="1100" y="1901"/>
                </a:lnTo>
                <a:lnTo>
                  <a:pt x="1098" y="1901"/>
                </a:lnTo>
                <a:lnTo>
                  <a:pt x="1098" y="1899"/>
                </a:lnTo>
                <a:lnTo>
                  <a:pt x="1097" y="1899"/>
                </a:lnTo>
                <a:lnTo>
                  <a:pt x="1095" y="1895"/>
                </a:lnTo>
                <a:lnTo>
                  <a:pt x="1093" y="1897"/>
                </a:lnTo>
                <a:lnTo>
                  <a:pt x="1095" y="1899"/>
                </a:lnTo>
                <a:lnTo>
                  <a:pt x="1097" y="1901"/>
                </a:lnTo>
                <a:lnTo>
                  <a:pt x="1098" y="1901"/>
                </a:lnTo>
                <a:lnTo>
                  <a:pt x="1098" y="1904"/>
                </a:lnTo>
                <a:lnTo>
                  <a:pt x="1098" y="1907"/>
                </a:lnTo>
                <a:lnTo>
                  <a:pt x="1100" y="1907"/>
                </a:lnTo>
                <a:lnTo>
                  <a:pt x="1098" y="1907"/>
                </a:lnTo>
                <a:lnTo>
                  <a:pt x="1098" y="1909"/>
                </a:lnTo>
                <a:lnTo>
                  <a:pt x="1098" y="1911"/>
                </a:lnTo>
                <a:lnTo>
                  <a:pt x="1097" y="1911"/>
                </a:lnTo>
                <a:lnTo>
                  <a:pt x="1095" y="1909"/>
                </a:lnTo>
                <a:lnTo>
                  <a:pt x="1093" y="1909"/>
                </a:lnTo>
                <a:lnTo>
                  <a:pt x="1095" y="1911"/>
                </a:lnTo>
                <a:lnTo>
                  <a:pt x="1095" y="1914"/>
                </a:lnTo>
                <a:lnTo>
                  <a:pt x="1097" y="1914"/>
                </a:lnTo>
                <a:lnTo>
                  <a:pt x="1097" y="1916"/>
                </a:lnTo>
                <a:lnTo>
                  <a:pt x="1097" y="1914"/>
                </a:lnTo>
                <a:lnTo>
                  <a:pt x="1098" y="1918"/>
                </a:lnTo>
                <a:lnTo>
                  <a:pt x="1100" y="1916"/>
                </a:lnTo>
                <a:lnTo>
                  <a:pt x="1100" y="1918"/>
                </a:lnTo>
                <a:lnTo>
                  <a:pt x="1102" y="1919"/>
                </a:lnTo>
                <a:lnTo>
                  <a:pt x="1102" y="1921"/>
                </a:lnTo>
                <a:lnTo>
                  <a:pt x="1102" y="1923"/>
                </a:lnTo>
                <a:lnTo>
                  <a:pt x="1102" y="1924"/>
                </a:lnTo>
                <a:lnTo>
                  <a:pt x="1102" y="1926"/>
                </a:lnTo>
                <a:lnTo>
                  <a:pt x="1104" y="1926"/>
                </a:lnTo>
                <a:lnTo>
                  <a:pt x="1104" y="1928"/>
                </a:lnTo>
                <a:lnTo>
                  <a:pt x="1102" y="1929"/>
                </a:lnTo>
                <a:lnTo>
                  <a:pt x="1104" y="1931"/>
                </a:lnTo>
                <a:lnTo>
                  <a:pt x="1102" y="1929"/>
                </a:lnTo>
                <a:lnTo>
                  <a:pt x="1102" y="1931"/>
                </a:lnTo>
                <a:lnTo>
                  <a:pt x="1100" y="1929"/>
                </a:lnTo>
                <a:lnTo>
                  <a:pt x="1098" y="1929"/>
                </a:lnTo>
                <a:lnTo>
                  <a:pt x="1098" y="1933"/>
                </a:lnTo>
                <a:lnTo>
                  <a:pt x="1097" y="1933"/>
                </a:lnTo>
                <a:lnTo>
                  <a:pt x="1097" y="1935"/>
                </a:lnTo>
                <a:lnTo>
                  <a:pt x="1097" y="1936"/>
                </a:lnTo>
                <a:lnTo>
                  <a:pt x="1095" y="1938"/>
                </a:lnTo>
                <a:lnTo>
                  <a:pt x="1097" y="1940"/>
                </a:lnTo>
                <a:lnTo>
                  <a:pt x="1095" y="1938"/>
                </a:lnTo>
                <a:lnTo>
                  <a:pt x="1095" y="1940"/>
                </a:lnTo>
                <a:lnTo>
                  <a:pt x="1095" y="1941"/>
                </a:lnTo>
                <a:lnTo>
                  <a:pt x="1095" y="1945"/>
                </a:lnTo>
                <a:lnTo>
                  <a:pt x="1095" y="1941"/>
                </a:lnTo>
                <a:lnTo>
                  <a:pt x="1095" y="1940"/>
                </a:lnTo>
                <a:lnTo>
                  <a:pt x="1093" y="1941"/>
                </a:lnTo>
                <a:lnTo>
                  <a:pt x="1095" y="1943"/>
                </a:lnTo>
                <a:lnTo>
                  <a:pt x="1095" y="1946"/>
                </a:lnTo>
                <a:lnTo>
                  <a:pt x="1093" y="1945"/>
                </a:lnTo>
                <a:lnTo>
                  <a:pt x="1093" y="1943"/>
                </a:lnTo>
                <a:lnTo>
                  <a:pt x="1093" y="1941"/>
                </a:lnTo>
                <a:lnTo>
                  <a:pt x="1093" y="1940"/>
                </a:lnTo>
                <a:lnTo>
                  <a:pt x="1093" y="1941"/>
                </a:lnTo>
                <a:lnTo>
                  <a:pt x="1092" y="1943"/>
                </a:lnTo>
                <a:lnTo>
                  <a:pt x="1093" y="1945"/>
                </a:lnTo>
                <a:lnTo>
                  <a:pt x="1092" y="1946"/>
                </a:lnTo>
                <a:lnTo>
                  <a:pt x="1090" y="1948"/>
                </a:lnTo>
                <a:lnTo>
                  <a:pt x="1090" y="1946"/>
                </a:lnTo>
                <a:lnTo>
                  <a:pt x="1092" y="1946"/>
                </a:lnTo>
                <a:lnTo>
                  <a:pt x="1090" y="1945"/>
                </a:lnTo>
                <a:lnTo>
                  <a:pt x="1088" y="1946"/>
                </a:lnTo>
                <a:lnTo>
                  <a:pt x="1087" y="1948"/>
                </a:lnTo>
                <a:lnTo>
                  <a:pt x="1087" y="1945"/>
                </a:lnTo>
                <a:lnTo>
                  <a:pt x="1087" y="1946"/>
                </a:lnTo>
                <a:lnTo>
                  <a:pt x="1085" y="1945"/>
                </a:lnTo>
                <a:lnTo>
                  <a:pt x="1085" y="1946"/>
                </a:lnTo>
                <a:lnTo>
                  <a:pt x="1087" y="1948"/>
                </a:lnTo>
                <a:lnTo>
                  <a:pt x="1087" y="1950"/>
                </a:lnTo>
                <a:lnTo>
                  <a:pt x="1085" y="1950"/>
                </a:lnTo>
                <a:lnTo>
                  <a:pt x="1085" y="1952"/>
                </a:lnTo>
                <a:lnTo>
                  <a:pt x="1085" y="1950"/>
                </a:lnTo>
                <a:lnTo>
                  <a:pt x="1083" y="1950"/>
                </a:lnTo>
                <a:lnTo>
                  <a:pt x="1083" y="1952"/>
                </a:lnTo>
                <a:lnTo>
                  <a:pt x="1081" y="1950"/>
                </a:lnTo>
                <a:lnTo>
                  <a:pt x="1081" y="1952"/>
                </a:lnTo>
                <a:lnTo>
                  <a:pt x="1081" y="1950"/>
                </a:lnTo>
                <a:lnTo>
                  <a:pt x="1081" y="1952"/>
                </a:lnTo>
                <a:lnTo>
                  <a:pt x="1080" y="1950"/>
                </a:lnTo>
                <a:lnTo>
                  <a:pt x="1080" y="1952"/>
                </a:lnTo>
                <a:lnTo>
                  <a:pt x="1078" y="1950"/>
                </a:lnTo>
                <a:lnTo>
                  <a:pt x="1080" y="1950"/>
                </a:lnTo>
                <a:lnTo>
                  <a:pt x="1080" y="1948"/>
                </a:lnTo>
                <a:lnTo>
                  <a:pt x="1078" y="1945"/>
                </a:lnTo>
                <a:lnTo>
                  <a:pt x="1078" y="1946"/>
                </a:lnTo>
                <a:lnTo>
                  <a:pt x="1076" y="1943"/>
                </a:lnTo>
                <a:lnTo>
                  <a:pt x="1078" y="1943"/>
                </a:lnTo>
                <a:lnTo>
                  <a:pt x="1078" y="1941"/>
                </a:lnTo>
                <a:lnTo>
                  <a:pt x="1076" y="1945"/>
                </a:lnTo>
                <a:lnTo>
                  <a:pt x="1076" y="1946"/>
                </a:lnTo>
                <a:lnTo>
                  <a:pt x="1075" y="1943"/>
                </a:lnTo>
                <a:lnTo>
                  <a:pt x="1075" y="1941"/>
                </a:lnTo>
                <a:lnTo>
                  <a:pt x="1073" y="1941"/>
                </a:lnTo>
                <a:lnTo>
                  <a:pt x="1075" y="1945"/>
                </a:lnTo>
                <a:lnTo>
                  <a:pt x="1073" y="1945"/>
                </a:lnTo>
                <a:lnTo>
                  <a:pt x="1071" y="1941"/>
                </a:lnTo>
                <a:lnTo>
                  <a:pt x="1071" y="1940"/>
                </a:lnTo>
                <a:lnTo>
                  <a:pt x="1070" y="1940"/>
                </a:lnTo>
                <a:lnTo>
                  <a:pt x="1068" y="1940"/>
                </a:lnTo>
                <a:lnTo>
                  <a:pt x="1070" y="1940"/>
                </a:lnTo>
                <a:lnTo>
                  <a:pt x="1068" y="1941"/>
                </a:lnTo>
                <a:lnTo>
                  <a:pt x="1071" y="1943"/>
                </a:lnTo>
                <a:lnTo>
                  <a:pt x="1071" y="1945"/>
                </a:lnTo>
                <a:lnTo>
                  <a:pt x="1075" y="1946"/>
                </a:lnTo>
                <a:lnTo>
                  <a:pt x="1076" y="1948"/>
                </a:lnTo>
                <a:lnTo>
                  <a:pt x="1076" y="1950"/>
                </a:lnTo>
                <a:lnTo>
                  <a:pt x="1075" y="1948"/>
                </a:lnTo>
                <a:lnTo>
                  <a:pt x="1075" y="1950"/>
                </a:lnTo>
                <a:lnTo>
                  <a:pt x="1073" y="1948"/>
                </a:lnTo>
                <a:lnTo>
                  <a:pt x="1073" y="1950"/>
                </a:lnTo>
                <a:lnTo>
                  <a:pt x="1075" y="1950"/>
                </a:lnTo>
                <a:lnTo>
                  <a:pt x="1073" y="1950"/>
                </a:lnTo>
                <a:lnTo>
                  <a:pt x="1075" y="1950"/>
                </a:lnTo>
                <a:lnTo>
                  <a:pt x="1073" y="1952"/>
                </a:lnTo>
                <a:lnTo>
                  <a:pt x="1071" y="1950"/>
                </a:lnTo>
                <a:lnTo>
                  <a:pt x="1071" y="1952"/>
                </a:lnTo>
                <a:lnTo>
                  <a:pt x="1070" y="1952"/>
                </a:lnTo>
                <a:lnTo>
                  <a:pt x="1070" y="1953"/>
                </a:lnTo>
                <a:lnTo>
                  <a:pt x="1071" y="1953"/>
                </a:lnTo>
                <a:lnTo>
                  <a:pt x="1070" y="1953"/>
                </a:lnTo>
                <a:lnTo>
                  <a:pt x="1068" y="1953"/>
                </a:lnTo>
                <a:lnTo>
                  <a:pt x="1066" y="1953"/>
                </a:lnTo>
                <a:lnTo>
                  <a:pt x="1064" y="1953"/>
                </a:lnTo>
                <a:lnTo>
                  <a:pt x="1066" y="1953"/>
                </a:lnTo>
                <a:lnTo>
                  <a:pt x="1066" y="1955"/>
                </a:lnTo>
                <a:lnTo>
                  <a:pt x="1064" y="1955"/>
                </a:lnTo>
                <a:lnTo>
                  <a:pt x="1064" y="1957"/>
                </a:lnTo>
                <a:lnTo>
                  <a:pt x="1064" y="1955"/>
                </a:lnTo>
                <a:lnTo>
                  <a:pt x="1063" y="1955"/>
                </a:lnTo>
                <a:lnTo>
                  <a:pt x="1061" y="1957"/>
                </a:lnTo>
                <a:lnTo>
                  <a:pt x="1063" y="1957"/>
                </a:lnTo>
                <a:lnTo>
                  <a:pt x="1061" y="1957"/>
                </a:lnTo>
                <a:lnTo>
                  <a:pt x="1064" y="1955"/>
                </a:lnTo>
                <a:lnTo>
                  <a:pt x="1064" y="1957"/>
                </a:lnTo>
                <a:lnTo>
                  <a:pt x="1063" y="1957"/>
                </a:lnTo>
                <a:lnTo>
                  <a:pt x="1063" y="1958"/>
                </a:lnTo>
                <a:lnTo>
                  <a:pt x="1061" y="1958"/>
                </a:lnTo>
                <a:lnTo>
                  <a:pt x="1059" y="1957"/>
                </a:lnTo>
                <a:lnTo>
                  <a:pt x="1059" y="1958"/>
                </a:lnTo>
                <a:lnTo>
                  <a:pt x="1058" y="1960"/>
                </a:lnTo>
                <a:lnTo>
                  <a:pt x="1059" y="1960"/>
                </a:lnTo>
                <a:lnTo>
                  <a:pt x="1061" y="1960"/>
                </a:lnTo>
                <a:lnTo>
                  <a:pt x="1064" y="1958"/>
                </a:lnTo>
                <a:lnTo>
                  <a:pt x="1066" y="1960"/>
                </a:lnTo>
                <a:lnTo>
                  <a:pt x="1063" y="1962"/>
                </a:lnTo>
                <a:lnTo>
                  <a:pt x="1061" y="1963"/>
                </a:lnTo>
                <a:lnTo>
                  <a:pt x="1063" y="1963"/>
                </a:lnTo>
                <a:lnTo>
                  <a:pt x="1064" y="1962"/>
                </a:lnTo>
                <a:lnTo>
                  <a:pt x="1063" y="1963"/>
                </a:lnTo>
                <a:lnTo>
                  <a:pt x="1064" y="1963"/>
                </a:lnTo>
                <a:lnTo>
                  <a:pt x="1063" y="1963"/>
                </a:lnTo>
                <a:lnTo>
                  <a:pt x="1063" y="1965"/>
                </a:lnTo>
                <a:lnTo>
                  <a:pt x="1063" y="1963"/>
                </a:lnTo>
                <a:lnTo>
                  <a:pt x="1061" y="1965"/>
                </a:lnTo>
                <a:lnTo>
                  <a:pt x="1059" y="1967"/>
                </a:lnTo>
                <a:lnTo>
                  <a:pt x="1058" y="1965"/>
                </a:lnTo>
                <a:lnTo>
                  <a:pt x="1058" y="1967"/>
                </a:lnTo>
                <a:lnTo>
                  <a:pt x="1056" y="1967"/>
                </a:lnTo>
                <a:lnTo>
                  <a:pt x="1054" y="1967"/>
                </a:lnTo>
                <a:lnTo>
                  <a:pt x="1054" y="1965"/>
                </a:lnTo>
                <a:lnTo>
                  <a:pt x="1054" y="1967"/>
                </a:lnTo>
                <a:lnTo>
                  <a:pt x="1053" y="1965"/>
                </a:lnTo>
                <a:lnTo>
                  <a:pt x="1051" y="1967"/>
                </a:lnTo>
                <a:lnTo>
                  <a:pt x="1051" y="1965"/>
                </a:lnTo>
                <a:lnTo>
                  <a:pt x="1051" y="1967"/>
                </a:lnTo>
                <a:lnTo>
                  <a:pt x="1053" y="1969"/>
                </a:lnTo>
                <a:lnTo>
                  <a:pt x="1054" y="1969"/>
                </a:lnTo>
                <a:lnTo>
                  <a:pt x="1058" y="1967"/>
                </a:lnTo>
                <a:lnTo>
                  <a:pt x="1058" y="1969"/>
                </a:lnTo>
                <a:lnTo>
                  <a:pt x="1056" y="1969"/>
                </a:lnTo>
                <a:lnTo>
                  <a:pt x="1054" y="1970"/>
                </a:lnTo>
                <a:lnTo>
                  <a:pt x="1053" y="1970"/>
                </a:lnTo>
                <a:lnTo>
                  <a:pt x="1053" y="1969"/>
                </a:lnTo>
                <a:lnTo>
                  <a:pt x="1051" y="1970"/>
                </a:lnTo>
                <a:lnTo>
                  <a:pt x="1049" y="1970"/>
                </a:lnTo>
                <a:lnTo>
                  <a:pt x="1049" y="1972"/>
                </a:lnTo>
                <a:lnTo>
                  <a:pt x="1049" y="1970"/>
                </a:lnTo>
                <a:lnTo>
                  <a:pt x="1047" y="1972"/>
                </a:lnTo>
                <a:lnTo>
                  <a:pt x="1049" y="1970"/>
                </a:lnTo>
                <a:lnTo>
                  <a:pt x="1051" y="1970"/>
                </a:lnTo>
                <a:lnTo>
                  <a:pt x="1053" y="1970"/>
                </a:lnTo>
                <a:lnTo>
                  <a:pt x="1054" y="1970"/>
                </a:lnTo>
                <a:lnTo>
                  <a:pt x="1056" y="1970"/>
                </a:lnTo>
                <a:lnTo>
                  <a:pt x="1056" y="1972"/>
                </a:lnTo>
                <a:lnTo>
                  <a:pt x="1054" y="1972"/>
                </a:lnTo>
                <a:lnTo>
                  <a:pt x="1053" y="1972"/>
                </a:lnTo>
                <a:lnTo>
                  <a:pt x="1053" y="1974"/>
                </a:lnTo>
                <a:lnTo>
                  <a:pt x="1051" y="1974"/>
                </a:lnTo>
                <a:lnTo>
                  <a:pt x="1051" y="1975"/>
                </a:lnTo>
                <a:lnTo>
                  <a:pt x="1051" y="1974"/>
                </a:lnTo>
                <a:lnTo>
                  <a:pt x="1051" y="1975"/>
                </a:lnTo>
                <a:lnTo>
                  <a:pt x="1049" y="1975"/>
                </a:lnTo>
                <a:lnTo>
                  <a:pt x="1047" y="1975"/>
                </a:lnTo>
                <a:lnTo>
                  <a:pt x="1049" y="1975"/>
                </a:lnTo>
                <a:lnTo>
                  <a:pt x="1047" y="1977"/>
                </a:lnTo>
                <a:lnTo>
                  <a:pt x="1047" y="1975"/>
                </a:lnTo>
                <a:lnTo>
                  <a:pt x="1046" y="1975"/>
                </a:lnTo>
                <a:lnTo>
                  <a:pt x="1046" y="1977"/>
                </a:lnTo>
                <a:lnTo>
                  <a:pt x="1046" y="1979"/>
                </a:lnTo>
                <a:lnTo>
                  <a:pt x="1047" y="1977"/>
                </a:lnTo>
                <a:lnTo>
                  <a:pt x="1046" y="1979"/>
                </a:lnTo>
                <a:lnTo>
                  <a:pt x="1047" y="1980"/>
                </a:lnTo>
                <a:lnTo>
                  <a:pt x="1046" y="1980"/>
                </a:lnTo>
                <a:lnTo>
                  <a:pt x="1044" y="1982"/>
                </a:lnTo>
                <a:lnTo>
                  <a:pt x="1044" y="1984"/>
                </a:lnTo>
                <a:lnTo>
                  <a:pt x="1042" y="1984"/>
                </a:lnTo>
                <a:lnTo>
                  <a:pt x="1044" y="1982"/>
                </a:lnTo>
                <a:lnTo>
                  <a:pt x="1042" y="1982"/>
                </a:lnTo>
                <a:lnTo>
                  <a:pt x="1042" y="1984"/>
                </a:lnTo>
                <a:lnTo>
                  <a:pt x="1042" y="1986"/>
                </a:lnTo>
                <a:lnTo>
                  <a:pt x="1041" y="1986"/>
                </a:lnTo>
                <a:lnTo>
                  <a:pt x="1039" y="1987"/>
                </a:lnTo>
                <a:lnTo>
                  <a:pt x="1037" y="1987"/>
                </a:lnTo>
                <a:lnTo>
                  <a:pt x="1037" y="1989"/>
                </a:lnTo>
                <a:lnTo>
                  <a:pt x="1037" y="1991"/>
                </a:lnTo>
                <a:lnTo>
                  <a:pt x="1037" y="1992"/>
                </a:lnTo>
                <a:lnTo>
                  <a:pt x="1036" y="1992"/>
                </a:lnTo>
                <a:lnTo>
                  <a:pt x="1036" y="1994"/>
                </a:lnTo>
                <a:lnTo>
                  <a:pt x="1034" y="1996"/>
                </a:lnTo>
                <a:lnTo>
                  <a:pt x="1034" y="1992"/>
                </a:lnTo>
                <a:lnTo>
                  <a:pt x="1034" y="1994"/>
                </a:lnTo>
                <a:lnTo>
                  <a:pt x="1032" y="1996"/>
                </a:lnTo>
                <a:lnTo>
                  <a:pt x="1030" y="1996"/>
                </a:lnTo>
                <a:lnTo>
                  <a:pt x="1030" y="1997"/>
                </a:lnTo>
                <a:lnTo>
                  <a:pt x="1030" y="1996"/>
                </a:lnTo>
                <a:lnTo>
                  <a:pt x="1030" y="1997"/>
                </a:lnTo>
                <a:lnTo>
                  <a:pt x="1029" y="1999"/>
                </a:lnTo>
                <a:lnTo>
                  <a:pt x="1030" y="1999"/>
                </a:lnTo>
                <a:lnTo>
                  <a:pt x="1030" y="1997"/>
                </a:lnTo>
                <a:lnTo>
                  <a:pt x="1030" y="2001"/>
                </a:lnTo>
                <a:lnTo>
                  <a:pt x="1030" y="1999"/>
                </a:lnTo>
                <a:lnTo>
                  <a:pt x="1029" y="1999"/>
                </a:lnTo>
                <a:lnTo>
                  <a:pt x="1029" y="2001"/>
                </a:lnTo>
                <a:lnTo>
                  <a:pt x="1029" y="1999"/>
                </a:lnTo>
                <a:lnTo>
                  <a:pt x="1027" y="1999"/>
                </a:lnTo>
                <a:lnTo>
                  <a:pt x="1027" y="1997"/>
                </a:lnTo>
                <a:lnTo>
                  <a:pt x="1025" y="1999"/>
                </a:lnTo>
                <a:lnTo>
                  <a:pt x="1027" y="2001"/>
                </a:lnTo>
                <a:lnTo>
                  <a:pt x="1025" y="2001"/>
                </a:lnTo>
                <a:lnTo>
                  <a:pt x="1024" y="2001"/>
                </a:lnTo>
                <a:lnTo>
                  <a:pt x="1024" y="2003"/>
                </a:lnTo>
                <a:lnTo>
                  <a:pt x="1022" y="2003"/>
                </a:lnTo>
                <a:lnTo>
                  <a:pt x="1022" y="2004"/>
                </a:lnTo>
                <a:lnTo>
                  <a:pt x="1020" y="2003"/>
                </a:lnTo>
                <a:lnTo>
                  <a:pt x="1020" y="2004"/>
                </a:lnTo>
                <a:lnTo>
                  <a:pt x="1022" y="2004"/>
                </a:lnTo>
                <a:lnTo>
                  <a:pt x="1020" y="2006"/>
                </a:lnTo>
                <a:lnTo>
                  <a:pt x="1022" y="2006"/>
                </a:lnTo>
                <a:lnTo>
                  <a:pt x="1020" y="2006"/>
                </a:lnTo>
                <a:lnTo>
                  <a:pt x="1019" y="2004"/>
                </a:lnTo>
                <a:lnTo>
                  <a:pt x="1019" y="2006"/>
                </a:lnTo>
                <a:lnTo>
                  <a:pt x="1020" y="2006"/>
                </a:lnTo>
                <a:lnTo>
                  <a:pt x="1020" y="2008"/>
                </a:lnTo>
                <a:lnTo>
                  <a:pt x="1019" y="2008"/>
                </a:lnTo>
                <a:lnTo>
                  <a:pt x="1020" y="2009"/>
                </a:lnTo>
                <a:lnTo>
                  <a:pt x="1019" y="2009"/>
                </a:lnTo>
                <a:lnTo>
                  <a:pt x="1020" y="2009"/>
                </a:lnTo>
                <a:lnTo>
                  <a:pt x="1019" y="2009"/>
                </a:lnTo>
                <a:lnTo>
                  <a:pt x="1019" y="2008"/>
                </a:lnTo>
                <a:lnTo>
                  <a:pt x="1019" y="2006"/>
                </a:lnTo>
                <a:lnTo>
                  <a:pt x="1017" y="2006"/>
                </a:lnTo>
                <a:lnTo>
                  <a:pt x="1017" y="2009"/>
                </a:lnTo>
                <a:lnTo>
                  <a:pt x="1015" y="2009"/>
                </a:lnTo>
                <a:lnTo>
                  <a:pt x="1017" y="2009"/>
                </a:lnTo>
                <a:lnTo>
                  <a:pt x="1015" y="2011"/>
                </a:lnTo>
                <a:lnTo>
                  <a:pt x="1015" y="2009"/>
                </a:lnTo>
                <a:lnTo>
                  <a:pt x="1015" y="2011"/>
                </a:lnTo>
                <a:lnTo>
                  <a:pt x="1013" y="2009"/>
                </a:lnTo>
                <a:lnTo>
                  <a:pt x="1013" y="2008"/>
                </a:lnTo>
                <a:lnTo>
                  <a:pt x="1013" y="2009"/>
                </a:lnTo>
                <a:lnTo>
                  <a:pt x="1013" y="2008"/>
                </a:lnTo>
                <a:lnTo>
                  <a:pt x="1015" y="2006"/>
                </a:lnTo>
                <a:lnTo>
                  <a:pt x="1013" y="2006"/>
                </a:lnTo>
                <a:lnTo>
                  <a:pt x="1013" y="2004"/>
                </a:lnTo>
                <a:lnTo>
                  <a:pt x="1012" y="2003"/>
                </a:lnTo>
                <a:lnTo>
                  <a:pt x="1012" y="2001"/>
                </a:lnTo>
                <a:lnTo>
                  <a:pt x="1013" y="2004"/>
                </a:lnTo>
                <a:lnTo>
                  <a:pt x="1012" y="2004"/>
                </a:lnTo>
                <a:lnTo>
                  <a:pt x="1012" y="2006"/>
                </a:lnTo>
                <a:lnTo>
                  <a:pt x="1012" y="2008"/>
                </a:lnTo>
                <a:lnTo>
                  <a:pt x="1010" y="2008"/>
                </a:lnTo>
                <a:lnTo>
                  <a:pt x="1008" y="2009"/>
                </a:lnTo>
                <a:lnTo>
                  <a:pt x="1010" y="2011"/>
                </a:lnTo>
                <a:lnTo>
                  <a:pt x="1008" y="2011"/>
                </a:lnTo>
                <a:lnTo>
                  <a:pt x="1008" y="2013"/>
                </a:lnTo>
                <a:lnTo>
                  <a:pt x="1008" y="2011"/>
                </a:lnTo>
                <a:lnTo>
                  <a:pt x="1007" y="2013"/>
                </a:lnTo>
                <a:lnTo>
                  <a:pt x="1005" y="2013"/>
                </a:lnTo>
                <a:lnTo>
                  <a:pt x="1007" y="2013"/>
                </a:lnTo>
                <a:lnTo>
                  <a:pt x="1005" y="2013"/>
                </a:lnTo>
                <a:lnTo>
                  <a:pt x="1003" y="2013"/>
                </a:lnTo>
                <a:lnTo>
                  <a:pt x="1003" y="2011"/>
                </a:lnTo>
                <a:lnTo>
                  <a:pt x="1002" y="2013"/>
                </a:lnTo>
                <a:lnTo>
                  <a:pt x="1000" y="2013"/>
                </a:lnTo>
                <a:lnTo>
                  <a:pt x="1000" y="2015"/>
                </a:lnTo>
                <a:lnTo>
                  <a:pt x="998" y="2011"/>
                </a:lnTo>
                <a:lnTo>
                  <a:pt x="1000" y="2013"/>
                </a:lnTo>
                <a:lnTo>
                  <a:pt x="998" y="2009"/>
                </a:lnTo>
                <a:lnTo>
                  <a:pt x="998" y="2013"/>
                </a:lnTo>
                <a:lnTo>
                  <a:pt x="1000" y="2015"/>
                </a:lnTo>
                <a:lnTo>
                  <a:pt x="998" y="2015"/>
                </a:lnTo>
                <a:lnTo>
                  <a:pt x="998" y="2016"/>
                </a:lnTo>
                <a:lnTo>
                  <a:pt x="996" y="2016"/>
                </a:lnTo>
                <a:lnTo>
                  <a:pt x="996" y="2015"/>
                </a:lnTo>
                <a:lnTo>
                  <a:pt x="996" y="2016"/>
                </a:lnTo>
                <a:lnTo>
                  <a:pt x="993" y="2016"/>
                </a:lnTo>
                <a:lnTo>
                  <a:pt x="991" y="2016"/>
                </a:lnTo>
                <a:lnTo>
                  <a:pt x="990" y="2016"/>
                </a:lnTo>
                <a:lnTo>
                  <a:pt x="990" y="2015"/>
                </a:lnTo>
                <a:lnTo>
                  <a:pt x="988" y="2015"/>
                </a:lnTo>
                <a:lnTo>
                  <a:pt x="990" y="2015"/>
                </a:lnTo>
                <a:lnTo>
                  <a:pt x="988" y="2015"/>
                </a:lnTo>
                <a:lnTo>
                  <a:pt x="990" y="2016"/>
                </a:lnTo>
                <a:lnTo>
                  <a:pt x="988" y="2016"/>
                </a:lnTo>
                <a:lnTo>
                  <a:pt x="990" y="2016"/>
                </a:lnTo>
                <a:lnTo>
                  <a:pt x="988" y="2016"/>
                </a:lnTo>
                <a:lnTo>
                  <a:pt x="986" y="2015"/>
                </a:lnTo>
                <a:lnTo>
                  <a:pt x="985" y="2015"/>
                </a:lnTo>
                <a:lnTo>
                  <a:pt x="983" y="2015"/>
                </a:lnTo>
                <a:lnTo>
                  <a:pt x="985" y="2013"/>
                </a:lnTo>
                <a:lnTo>
                  <a:pt x="983" y="2013"/>
                </a:lnTo>
                <a:lnTo>
                  <a:pt x="981" y="2015"/>
                </a:lnTo>
                <a:lnTo>
                  <a:pt x="979" y="2013"/>
                </a:lnTo>
                <a:lnTo>
                  <a:pt x="979" y="2015"/>
                </a:lnTo>
                <a:lnTo>
                  <a:pt x="979" y="2013"/>
                </a:lnTo>
                <a:lnTo>
                  <a:pt x="979" y="2015"/>
                </a:lnTo>
                <a:lnTo>
                  <a:pt x="978" y="2013"/>
                </a:lnTo>
                <a:lnTo>
                  <a:pt x="979" y="2011"/>
                </a:lnTo>
                <a:lnTo>
                  <a:pt x="979" y="2009"/>
                </a:lnTo>
                <a:lnTo>
                  <a:pt x="981" y="2009"/>
                </a:lnTo>
                <a:lnTo>
                  <a:pt x="979" y="2008"/>
                </a:lnTo>
                <a:lnTo>
                  <a:pt x="979" y="2009"/>
                </a:lnTo>
                <a:lnTo>
                  <a:pt x="979" y="2011"/>
                </a:lnTo>
                <a:lnTo>
                  <a:pt x="978" y="2011"/>
                </a:lnTo>
                <a:lnTo>
                  <a:pt x="976" y="2011"/>
                </a:lnTo>
                <a:lnTo>
                  <a:pt x="976" y="2013"/>
                </a:lnTo>
                <a:lnTo>
                  <a:pt x="973" y="2015"/>
                </a:lnTo>
                <a:lnTo>
                  <a:pt x="973" y="2013"/>
                </a:lnTo>
                <a:lnTo>
                  <a:pt x="974" y="2013"/>
                </a:lnTo>
                <a:lnTo>
                  <a:pt x="974" y="2011"/>
                </a:lnTo>
                <a:lnTo>
                  <a:pt x="976" y="2008"/>
                </a:lnTo>
                <a:lnTo>
                  <a:pt x="974" y="2009"/>
                </a:lnTo>
                <a:lnTo>
                  <a:pt x="974" y="2011"/>
                </a:lnTo>
                <a:lnTo>
                  <a:pt x="971" y="2013"/>
                </a:lnTo>
                <a:lnTo>
                  <a:pt x="973" y="2011"/>
                </a:lnTo>
                <a:lnTo>
                  <a:pt x="971" y="2011"/>
                </a:lnTo>
                <a:lnTo>
                  <a:pt x="973" y="2011"/>
                </a:lnTo>
                <a:lnTo>
                  <a:pt x="971" y="2011"/>
                </a:lnTo>
                <a:lnTo>
                  <a:pt x="971" y="2009"/>
                </a:lnTo>
                <a:lnTo>
                  <a:pt x="971" y="2011"/>
                </a:lnTo>
                <a:lnTo>
                  <a:pt x="969" y="2011"/>
                </a:lnTo>
                <a:lnTo>
                  <a:pt x="971" y="2011"/>
                </a:lnTo>
                <a:lnTo>
                  <a:pt x="969" y="2011"/>
                </a:lnTo>
                <a:lnTo>
                  <a:pt x="966" y="2009"/>
                </a:lnTo>
                <a:lnTo>
                  <a:pt x="968" y="2009"/>
                </a:lnTo>
                <a:lnTo>
                  <a:pt x="969" y="2008"/>
                </a:lnTo>
                <a:lnTo>
                  <a:pt x="971" y="2009"/>
                </a:lnTo>
                <a:lnTo>
                  <a:pt x="974" y="2008"/>
                </a:lnTo>
                <a:lnTo>
                  <a:pt x="974" y="2006"/>
                </a:lnTo>
                <a:lnTo>
                  <a:pt x="976" y="2008"/>
                </a:lnTo>
                <a:lnTo>
                  <a:pt x="976" y="2006"/>
                </a:lnTo>
                <a:lnTo>
                  <a:pt x="974" y="2006"/>
                </a:lnTo>
                <a:lnTo>
                  <a:pt x="973" y="2008"/>
                </a:lnTo>
                <a:lnTo>
                  <a:pt x="971" y="2008"/>
                </a:lnTo>
                <a:lnTo>
                  <a:pt x="968" y="2006"/>
                </a:lnTo>
                <a:lnTo>
                  <a:pt x="968" y="2004"/>
                </a:lnTo>
                <a:lnTo>
                  <a:pt x="969" y="2003"/>
                </a:lnTo>
                <a:lnTo>
                  <a:pt x="968" y="2004"/>
                </a:lnTo>
                <a:lnTo>
                  <a:pt x="966" y="2003"/>
                </a:lnTo>
                <a:lnTo>
                  <a:pt x="966" y="2006"/>
                </a:lnTo>
                <a:lnTo>
                  <a:pt x="969" y="2008"/>
                </a:lnTo>
                <a:lnTo>
                  <a:pt x="968" y="2009"/>
                </a:lnTo>
                <a:lnTo>
                  <a:pt x="966" y="2008"/>
                </a:lnTo>
                <a:lnTo>
                  <a:pt x="964" y="2008"/>
                </a:lnTo>
                <a:lnTo>
                  <a:pt x="964" y="2004"/>
                </a:lnTo>
                <a:lnTo>
                  <a:pt x="964" y="2003"/>
                </a:lnTo>
                <a:lnTo>
                  <a:pt x="964" y="2006"/>
                </a:lnTo>
                <a:lnTo>
                  <a:pt x="964" y="2008"/>
                </a:lnTo>
                <a:lnTo>
                  <a:pt x="964" y="2009"/>
                </a:lnTo>
                <a:lnTo>
                  <a:pt x="966" y="2009"/>
                </a:lnTo>
                <a:lnTo>
                  <a:pt x="964" y="2011"/>
                </a:lnTo>
                <a:lnTo>
                  <a:pt x="966" y="2011"/>
                </a:lnTo>
                <a:lnTo>
                  <a:pt x="966" y="2013"/>
                </a:lnTo>
                <a:lnTo>
                  <a:pt x="964" y="2011"/>
                </a:lnTo>
                <a:lnTo>
                  <a:pt x="962" y="2011"/>
                </a:lnTo>
                <a:lnTo>
                  <a:pt x="961" y="2011"/>
                </a:lnTo>
                <a:lnTo>
                  <a:pt x="959" y="2009"/>
                </a:lnTo>
                <a:lnTo>
                  <a:pt x="957" y="2008"/>
                </a:lnTo>
                <a:lnTo>
                  <a:pt x="959" y="2006"/>
                </a:lnTo>
                <a:lnTo>
                  <a:pt x="959" y="2004"/>
                </a:lnTo>
                <a:lnTo>
                  <a:pt x="959" y="2003"/>
                </a:lnTo>
                <a:lnTo>
                  <a:pt x="962" y="2004"/>
                </a:lnTo>
                <a:lnTo>
                  <a:pt x="962" y="2003"/>
                </a:lnTo>
                <a:lnTo>
                  <a:pt x="964" y="2001"/>
                </a:lnTo>
                <a:lnTo>
                  <a:pt x="966" y="1999"/>
                </a:lnTo>
                <a:lnTo>
                  <a:pt x="968" y="1999"/>
                </a:lnTo>
                <a:lnTo>
                  <a:pt x="968" y="1997"/>
                </a:lnTo>
                <a:lnTo>
                  <a:pt x="969" y="1997"/>
                </a:lnTo>
                <a:lnTo>
                  <a:pt x="968" y="1997"/>
                </a:lnTo>
                <a:lnTo>
                  <a:pt x="966" y="1999"/>
                </a:lnTo>
                <a:lnTo>
                  <a:pt x="964" y="2001"/>
                </a:lnTo>
                <a:lnTo>
                  <a:pt x="962" y="1997"/>
                </a:lnTo>
                <a:lnTo>
                  <a:pt x="961" y="1997"/>
                </a:lnTo>
                <a:lnTo>
                  <a:pt x="962" y="1994"/>
                </a:lnTo>
                <a:lnTo>
                  <a:pt x="961" y="1994"/>
                </a:lnTo>
                <a:lnTo>
                  <a:pt x="962" y="1996"/>
                </a:lnTo>
                <a:lnTo>
                  <a:pt x="961" y="1996"/>
                </a:lnTo>
                <a:lnTo>
                  <a:pt x="961" y="1997"/>
                </a:lnTo>
                <a:lnTo>
                  <a:pt x="961" y="1999"/>
                </a:lnTo>
                <a:lnTo>
                  <a:pt x="959" y="1999"/>
                </a:lnTo>
                <a:lnTo>
                  <a:pt x="957" y="1997"/>
                </a:lnTo>
                <a:lnTo>
                  <a:pt x="956" y="1997"/>
                </a:lnTo>
                <a:lnTo>
                  <a:pt x="954" y="1997"/>
                </a:lnTo>
                <a:lnTo>
                  <a:pt x="952" y="1996"/>
                </a:lnTo>
                <a:lnTo>
                  <a:pt x="954" y="1996"/>
                </a:lnTo>
                <a:lnTo>
                  <a:pt x="951" y="1996"/>
                </a:lnTo>
                <a:lnTo>
                  <a:pt x="949" y="1994"/>
                </a:lnTo>
                <a:lnTo>
                  <a:pt x="951" y="1992"/>
                </a:lnTo>
                <a:lnTo>
                  <a:pt x="949" y="1994"/>
                </a:lnTo>
                <a:lnTo>
                  <a:pt x="947" y="1992"/>
                </a:lnTo>
                <a:lnTo>
                  <a:pt x="947" y="1991"/>
                </a:lnTo>
                <a:lnTo>
                  <a:pt x="947" y="1992"/>
                </a:lnTo>
                <a:lnTo>
                  <a:pt x="945" y="1992"/>
                </a:lnTo>
                <a:lnTo>
                  <a:pt x="945" y="1991"/>
                </a:lnTo>
                <a:lnTo>
                  <a:pt x="945" y="1992"/>
                </a:lnTo>
                <a:lnTo>
                  <a:pt x="944" y="1991"/>
                </a:lnTo>
                <a:lnTo>
                  <a:pt x="942" y="1991"/>
                </a:lnTo>
                <a:lnTo>
                  <a:pt x="942" y="1989"/>
                </a:lnTo>
                <a:lnTo>
                  <a:pt x="940" y="1987"/>
                </a:lnTo>
                <a:lnTo>
                  <a:pt x="939" y="1989"/>
                </a:lnTo>
                <a:lnTo>
                  <a:pt x="939" y="1986"/>
                </a:lnTo>
                <a:lnTo>
                  <a:pt x="939" y="1984"/>
                </a:lnTo>
                <a:lnTo>
                  <a:pt x="937" y="1986"/>
                </a:lnTo>
                <a:lnTo>
                  <a:pt x="939" y="1982"/>
                </a:lnTo>
                <a:lnTo>
                  <a:pt x="937" y="1984"/>
                </a:lnTo>
                <a:lnTo>
                  <a:pt x="937" y="1982"/>
                </a:lnTo>
                <a:lnTo>
                  <a:pt x="937" y="1980"/>
                </a:lnTo>
                <a:lnTo>
                  <a:pt x="937" y="1982"/>
                </a:lnTo>
                <a:lnTo>
                  <a:pt x="935" y="1982"/>
                </a:lnTo>
                <a:lnTo>
                  <a:pt x="934" y="1982"/>
                </a:lnTo>
                <a:lnTo>
                  <a:pt x="934" y="1980"/>
                </a:lnTo>
                <a:lnTo>
                  <a:pt x="932" y="1980"/>
                </a:lnTo>
                <a:lnTo>
                  <a:pt x="930" y="1980"/>
                </a:lnTo>
                <a:lnTo>
                  <a:pt x="930" y="1979"/>
                </a:lnTo>
                <a:lnTo>
                  <a:pt x="930" y="1977"/>
                </a:lnTo>
                <a:lnTo>
                  <a:pt x="927" y="1977"/>
                </a:lnTo>
                <a:lnTo>
                  <a:pt x="927" y="1975"/>
                </a:lnTo>
                <a:lnTo>
                  <a:pt x="925" y="1972"/>
                </a:lnTo>
                <a:lnTo>
                  <a:pt x="923" y="1969"/>
                </a:lnTo>
                <a:lnTo>
                  <a:pt x="922" y="1967"/>
                </a:lnTo>
                <a:lnTo>
                  <a:pt x="922" y="1965"/>
                </a:lnTo>
                <a:lnTo>
                  <a:pt x="922" y="1963"/>
                </a:lnTo>
                <a:lnTo>
                  <a:pt x="920" y="1960"/>
                </a:lnTo>
                <a:lnTo>
                  <a:pt x="922" y="1958"/>
                </a:lnTo>
                <a:lnTo>
                  <a:pt x="923" y="1958"/>
                </a:lnTo>
                <a:lnTo>
                  <a:pt x="922" y="1957"/>
                </a:lnTo>
                <a:lnTo>
                  <a:pt x="923" y="1955"/>
                </a:lnTo>
                <a:lnTo>
                  <a:pt x="923" y="1953"/>
                </a:lnTo>
                <a:lnTo>
                  <a:pt x="925" y="1952"/>
                </a:lnTo>
                <a:lnTo>
                  <a:pt x="923" y="1952"/>
                </a:lnTo>
                <a:lnTo>
                  <a:pt x="923" y="1948"/>
                </a:lnTo>
                <a:lnTo>
                  <a:pt x="925" y="1948"/>
                </a:lnTo>
                <a:lnTo>
                  <a:pt x="923" y="1948"/>
                </a:lnTo>
                <a:lnTo>
                  <a:pt x="925" y="1946"/>
                </a:lnTo>
                <a:lnTo>
                  <a:pt x="927" y="1948"/>
                </a:lnTo>
                <a:lnTo>
                  <a:pt x="925" y="1950"/>
                </a:lnTo>
                <a:lnTo>
                  <a:pt x="927" y="1952"/>
                </a:lnTo>
                <a:lnTo>
                  <a:pt x="928" y="1948"/>
                </a:lnTo>
                <a:lnTo>
                  <a:pt x="927" y="1948"/>
                </a:lnTo>
                <a:lnTo>
                  <a:pt x="927" y="1946"/>
                </a:lnTo>
                <a:lnTo>
                  <a:pt x="925" y="1946"/>
                </a:lnTo>
                <a:lnTo>
                  <a:pt x="925" y="1945"/>
                </a:lnTo>
                <a:lnTo>
                  <a:pt x="923" y="1945"/>
                </a:lnTo>
                <a:lnTo>
                  <a:pt x="923" y="1943"/>
                </a:lnTo>
                <a:lnTo>
                  <a:pt x="925" y="1943"/>
                </a:lnTo>
                <a:lnTo>
                  <a:pt x="925" y="1941"/>
                </a:lnTo>
                <a:lnTo>
                  <a:pt x="927" y="1943"/>
                </a:lnTo>
                <a:lnTo>
                  <a:pt x="928" y="1943"/>
                </a:lnTo>
                <a:lnTo>
                  <a:pt x="928" y="1945"/>
                </a:lnTo>
                <a:lnTo>
                  <a:pt x="930" y="1946"/>
                </a:lnTo>
                <a:lnTo>
                  <a:pt x="932" y="1946"/>
                </a:lnTo>
                <a:lnTo>
                  <a:pt x="930" y="1948"/>
                </a:lnTo>
                <a:lnTo>
                  <a:pt x="930" y="1946"/>
                </a:lnTo>
                <a:lnTo>
                  <a:pt x="930" y="1948"/>
                </a:lnTo>
                <a:lnTo>
                  <a:pt x="930" y="1950"/>
                </a:lnTo>
                <a:lnTo>
                  <a:pt x="930" y="1952"/>
                </a:lnTo>
                <a:lnTo>
                  <a:pt x="930" y="1955"/>
                </a:lnTo>
                <a:lnTo>
                  <a:pt x="932" y="1952"/>
                </a:lnTo>
                <a:lnTo>
                  <a:pt x="932" y="1950"/>
                </a:lnTo>
                <a:lnTo>
                  <a:pt x="932" y="1948"/>
                </a:lnTo>
                <a:lnTo>
                  <a:pt x="934" y="1950"/>
                </a:lnTo>
                <a:lnTo>
                  <a:pt x="934" y="1948"/>
                </a:lnTo>
                <a:lnTo>
                  <a:pt x="935" y="1946"/>
                </a:lnTo>
                <a:lnTo>
                  <a:pt x="937" y="1946"/>
                </a:lnTo>
                <a:lnTo>
                  <a:pt x="937" y="1948"/>
                </a:lnTo>
                <a:lnTo>
                  <a:pt x="939" y="1948"/>
                </a:lnTo>
                <a:lnTo>
                  <a:pt x="939" y="1950"/>
                </a:lnTo>
                <a:lnTo>
                  <a:pt x="939" y="1952"/>
                </a:lnTo>
                <a:lnTo>
                  <a:pt x="940" y="1952"/>
                </a:lnTo>
                <a:lnTo>
                  <a:pt x="942" y="1952"/>
                </a:lnTo>
                <a:lnTo>
                  <a:pt x="942" y="1953"/>
                </a:lnTo>
                <a:lnTo>
                  <a:pt x="944" y="1955"/>
                </a:lnTo>
                <a:lnTo>
                  <a:pt x="945" y="1957"/>
                </a:lnTo>
                <a:lnTo>
                  <a:pt x="947" y="1957"/>
                </a:lnTo>
                <a:lnTo>
                  <a:pt x="949" y="1957"/>
                </a:lnTo>
                <a:lnTo>
                  <a:pt x="949" y="1955"/>
                </a:lnTo>
                <a:lnTo>
                  <a:pt x="945" y="1955"/>
                </a:lnTo>
                <a:lnTo>
                  <a:pt x="944" y="1953"/>
                </a:lnTo>
                <a:lnTo>
                  <a:pt x="942" y="1952"/>
                </a:lnTo>
                <a:lnTo>
                  <a:pt x="944" y="1952"/>
                </a:lnTo>
                <a:lnTo>
                  <a:pt x="944" y="1950"/>
                </a:lnTo>
                <a:lnTo>
                  <a:pt x="944" y="1948"/>
                </a:lnTo>
                <a:lnTo>
                  <a:pt x="945" y="1948"/>
                </a:lnTo>
                <a:lnTo>
                  <a:pt x="947" y="1946"/>
                </a:lnTo>
                <a:lnTo>
                  <a:pt x="951" y="1945"/>
                </a:lnTo>
                <a:lnTo>
                  <a:pt x="952" y="1945"/>
                </a:lnTo>
                <a:lnTo>
                  <a:pt x="956" y="1945"/>
                </a:lnTo>
                <a:lnTo>
                  <a:pt x="957" y="1943"/>
                </a:lnTo>
                <a:lnTo>
                  <a:pt x="959" y="1943"/>
                </a:lnTo>
                <a:lnTo>
                  <a:pt x="961" y="1943"/>
                </a:lnTo>
                <a:lnTo>
                  <a:pt x="964" y="1943"/>
                </a:lnTo>
                <a:lnTo>
                  <a:pt x="964" y="1941"/>
                </a:lnTo>
                <a:lnTo>
                  <a:pt x="961" y="1943"/>
                </a:lnTo>
                <a:lnTo>
                  <a:pt x="959" y="1943"/>
                </a:lnTo>
                <a:lnTo>
                  <a:pt x="957" y="1943"/>
                </a:lnTo>
                <a:lnTo>
                  <a:pt x="956" y="1943"/>
                </a:lnTo>
                <a:lnTo>
                  <a:pt x="954" y="1943"/>
                </a:lnTo>
                <a:lnTo>
                  <a:pt x="952" y="1945"/>
                </a:lnTo>
                <a:lnTo>
                  <a:pt x="949" y="1945"/>
                </a:lnTo>
                <a:lnTo>
                  <a:pt x="947" y="1946"/>
                </a:lnTo>
                <a:lnTo>
                  <a:pt x="945" y="1946"/>
                </a:lnTo>
                <a:lnTo>
                  <a:pt x="944" y="1948"/>
                </a:lnTo>
                <a:lnTo>
                  <a:pt x="942" y="1952"/>
                </a:lnTo>
                <a:lnTo>
                  <a:pt x="940" y="1950"/>
                </a:lnTo>
                <a:lnTo>
                  <a:pt x="940" y="1946"/>
                </a:lnTo>
                <a:lnTo>
                  <a:pt x="940" y="1945"/>
                </a:lnTo>
                <a:lnTo>
                  <a:pt x="942" y="1945"/>
                </a:lnTo>
                <a:lnTo>
                  <a:pt x="944" y="1946"/>
                </a:lnTo>
                <a:lnTo>
                  <a:pt x="942" y="1945"/>
                </a:lnTo>
                <a:lnTo>
                  <a:pt x="940" y="1943"/>
                </a:lnTo>
                <a:lnTo>
                  <a:pt x="939" y="1943"/>
                </a:lnTo>
                <a:lnTo>
                  <a:pt x="937" y="1941"/>
                </a:lnTo>
                <a:lnTo>
                  <a:pt x="937" y="1940"/>
                </a:lnTo>
                <a:lnTo>
                  <a:pt x="937" y="1938"/>
                </a:lnTo>
                <a:lnTo>
                  <a:pt x="939" y="1936"/>
                </a:lnTo>
                <a:lnTo>
                  <a:pt x="940" y="1936"/>
                </a:lnTo>
                <a:lnTo>
                  <a:pt x="942" y="1936"/>
                </a:lnTo>
                <a:lnTo>
                  <a:pt x="944" y="1935"/>
                </a:lnTo>
                <a:lnTo>
                  <a:pt x="947" y="1935"/>
                </a:lnTo>
                <a:lnTo>
                  <a:pt x="944" y="1935"/>
                </a:lnTo>
                <a:lnTo>
                  <a:pt x="942" y="1935"/>
                </a:lnTo>
                <a:lnTo>
                  <a:pt x="944" y="1933"/>
                </a:lnTo>
                <a:lnTo>
                  <a:pt x="944" y="1931"/>
                </a:lnTo>
                <a:lnTo>
                  <a:pt x="944" y="1929"/>
                </a:lnTo>
                <a:lnTo>
                  <a:pt x="945" y="1929"/>
                </a:lnTo>
                <a:lnTo>
                  <a:pt x="947" y="1928"/>
                </a:lnTo>
                <a:lnTo>
                  <a:pt x="947" y="1926"/>
                </a:lnTo>
                <a:lnTo>
                  <a:pt x="951" y="1926"/>
                </a:lnTo>
                <a:lnTo>
                  <a:pt x="952" y="1926"/>
                </a:lnTo>
                <a:lnTo>
                  <a:pt x="952" y="1924"/>
                </a:lnTo>
                <a:lnTo>
                  <a:pt x="954" y="1924"/>
                </a:lnTo>
                <a:lnTo>
                  <a:pt x="956" y="1923"/>
                </a:lnTo>
                <a:lnTo>
                  <a:pt x="957" y="1923"/>
                </a:lnTo>
                <a:lnTo>
                  <a:pt x="961" y="1923"/>
                </a:lnTo>
                <a:lnTo>
                  <a:pt x="959" y="1923"/>
                </a:lnTo>
                <a:lnTo>
                  <a:pt x="956" y="1923"/>
                </a:lnTo>
                <a:lnTo>
                  <a:pt x="954" y="1923"/>
                </a:lnTo>
                <a:lnTo>
                  <a:pt x="952" y="1924"/>
                </a:lnTo>
                <a:lnTo>
                  <a:pt x="951" y="1926"/>
                </a:lnTo>
                <a:lnTo>
                  <a:pt x="947" y="1926"/>
                </a:lnTo>
                <a:lnTo>
                  <a:pt x="945" y="1924"/>
                </a:lnTo>
                <a:lnTo>
                  <a:pt x="945" y="1923"/>
                </a:lnTo>
                <a:lnTo>
                  <a:pt x="947" y="1923"/>
                </a:lnTo>
                <a:lnTo>
                  <a:pt x="951" y="1923"/>
                </a:lnTo>
                <a:lnTo>
                  <a:pt x="951" y="1924"/>
                </a:lnTo>
                <a:lnTo>
                  <a:pt x="951" y="1923"/>
                </a:lnTo>
                <a:lnTo>
                  <a:pt x="952" y="1923"/>
                </a:lnTo>
                <a:lnTo>
                  <a:pt x="951" y="1921"/>
                </a:lnTo>
                <a:lnTo>
                  <a:pt x="949" y="1921"/>
                </a:lnTo>
                <a:lnTo>
                  <a:pt x="949" y="1918"/>
                </a:lnTo>
                <a:lnTo>
                  <a:pt x="949" y="1921"/>
                </a:lnTo>
                <a:lnTo>
                  <a:pt x="951" y="1923"/>
                </a:lnTo>
                <a:lnTo>
                  <a:pt x="949" y="1923"/>
                </a:lnTo>
                <a:lnTo>
                  <a:pt x="947" y="1923"/>
                </a:lnTo>
                <a:lnTo>
                  <a:pt x="949" y="1923"/>
                </a:lnTo>
                <a:lnTo>
                  <a:pt x="949" y="1921"/>
                </a:lnTo>
                <a:lnTo>
                  <a:pt x="947" y="1923"/>
                </a:lnTo>
                <a:lnTo>
                  <a:pt x="945" y="1923"/>
                </a:lnTo>
                <a:lnTo>
                  <a:pt x="945" y="1919"/>
                </a:lnTo>
                <a:lnTo>
                  <a:pt x="944" y="1921"/>
                </a:lnTo>
                <a:lnTo>
                  <a:pt x="944" y="1923"/>
                </a:lnTo>
                <a:lnTo>
                  <a:pt x="942" y="1921"/>
                </a:lnTo>
                <a:lnTo>
                  <a:pt x="944" y="1918"/>
                </a:lnTo>
                <a:lnTo>
                  <a:pt x="945" y="1918"/>
                </a:lnTo>
                <a:lnTo>
                  <a:pt x="945" y="1916"/>
                </a:lnTo>
                <a:lnTo>
                  <a:pt x="945" y="1918"/>
                </a:lnTo>
                <a:lnTo>
                  <a:pt x="945" y="1916"/>
                </a:lnTo>
                <a:lnTo>
                  <a:pt x="947" y="1916"/>
                </a:lnTo>
                <a:lnTo>
                  <a:pt x="949" y="1914"/>
                </a:lnTo>
                <a:lnTo>
                  <a:pt x="949" y="1916"/>
                </a:lnTo>
                <a:lnTo>
                  <a:pt x="949" y="1914"/>
                </a:lnTo>
                <a:lnTo>
                  <a:pt x="951" y="1912"/>
                </a:lnTo>
                <a:lnTo>
                  <a:pt x="951" y="1911"/>
                </a:lnTo>
                <a:lnTo>
                  <a:pt x="952" y="1909"/>
                </a:lnTo>
                <a:lnTo>
                  <a:pt x="956" y="1909"/>
                </a:lnTo>
                <a:lnTo>
                  <a:pt x="959" y="1907"/>
                </a:lnTo>
                <a:lnTo>
                  <a:pt x="961" y="1907"/>
                </a:lnTo>
                <a:lnTo>
                  <a:pt x="964" y="1906"/>
                </a:lnTo>
                <a:lnTo>
                  <a:pt x="962" y="1906"/>
                </a:lnTo>
                <a:lnTo>
                  <a:pt x="961" y="1906"/>
                </a:lnTo>
                <a:lnTo>
                  <a:pt x="957" y="1906"/>
                </a:lnTo>
                <a:lnTo>
                  <a:pt x="956" y="1907"/>
                </a:lnTo>
                <a:lnTo>
                  <a:pt x="954" y="1907"/>
                </a:lnTo>
                <a:lnTo>
                  <a:pt x="952" y="1909"/>
                </a:lnTo>
                <a:lnTo>
                  <a:pt x="952" y="1906"/>
                </a:lnTo>
                <a:lnTo>
                  <a:pt x="954" y="1904"/>
                </a:lnTo>
                <a:lnTo>
                  <a:pt x="954" y="1901"/>
                </a:lnTo>
                <a:lnTo>
                  <a:pt x="956" y="1901"/>
                </a:lnTo>
                <a:lnTo>
                  <a:pt x="954" y="1901"/>
                </a:lnTo>
                <a:lnTo>
                  <a:pt x="952" y="1902"/>
                </a:lnTo>
                <a:lnTo>
                  <a:pt x="952" y="1904"/>
                </a:lnTo>
                <a:lnTo>
                  <a:pt x="952" y="1906"/>
                </a:lnTo>
                <a:lnTo>
                  <a:pt x="951" y="1909"/>
                </a:lnTo>
                <a:lnTo>
                  <a:pt x="949" y="1909"/>
                </a:lnTo>
                <a:lnTo>
                  <a:pt x="949" y="1912"/>
                </a:lnTo>
                <a:lnTo>
                  <a:pt x="947" y="1914"/>
                </a:lnTo>
                <a:lnTo>
                  <a:pt x="945" y="1916"/>
                </a:lnTo>
                <a:lnTo>
                  <a:pt x="944" y="1916"/>
                </a:lnTo>
                <a:lnTo>
                  <a:pt x="944" y="1918"/>
                </a:lnTo>
                <a:lnTo>
                  <a:pt x="942" y="1916"/>
                </a:lnTo>
                <a:lnTo>
                  <a:pt x="942" y="1918"/>
                </a:lnTo>
                <a:lnTo>
                  <a:pt x="940" y="1919"/>
                </a:lnTo>
                <a:lnTo>
                  <a:pt x="939" y="1919"/>
                </a:lnTo>
                <a:lnTo>
                  <a:pt x="939" y="1916"/>
                </a:lnTo>
                <a:lnTo>
                  <a:pt x="939" y="1914"/>
                </a:lnTo>
                <a:lnTo>
                  <a:pt x="939" y="1912"/>
                </a:lnTo>
                <a:lnTo>
                  <a:pt x="940" y="1914"/>
                </a:lnTo>
                <a:lnTo>
                  <a:pt x="942" y="1914"/>
                </a:lnTo>
                <a:lnTo>
                  <a:pt x="944" y="1912"/>
                </a:lnTo>
                <a:lnTo>
                  <a:pt x="945" y="1912"/>
                </a:lnTo>
                <a:lnTo>
                  <a:pt x="947" y="1912"/>
                </a:lnTo>
                <a:lnTo>
                  <a:pt x="949" y="1912"/>
                </a:lnTo>
                <a:lnTo>
                  <a:pt x="949" y="1911"/>
                </a:lnTo>
                <a:lnTo>
                  <a:pt x="947" y="1911"/>
                </a:lnTo>
                <a:lnTo>
                  <a:pt x="945" y="1911"/>
                </a:lnTo>
                <a:lnTo>
                  <a:pt x="942" y="1911"/>
                </a:lnTo>
                <a:lnTo>
                  <a:pt x="939" y="1911"/>
                </a:lnTo>
                <a:lnTo>
                  <a:pt x="937" y="1911"/>
                </a:lnTo>
                <a:lnTo>
                  <a:pt x="939" y="1909"/>
                </a:lnTo>
                <a:lnTo>
                  <a:pt x="937" y="1909"/>
                </a:lnTo>
                <a:lnTo>
                  <a:pt x="937" y="1906"/>
                </a:lnTo>
                <a:lnTo>
                  <a:pt x="937" y="1907"/>
                </a:lnTo>
                <a:lnTo>
                  <a:pt x="935" y="1907"/>
                </a:lnTo>
                <a:lnTo>
                  <a:pt x="937" y="1911"/>
                </a:lnTo>
                <a:lnTo>
                  <a:pt x="937" y="1912"/>
                </a:lnTo>
                <a:lnTo>
                  <a:pt x="934" y="1912"/>
                </a:lnTo>
                <a:lnTo>
                  <a:pt x="934" y="1914"/>
                </a:lnTo>
                <a:lnTo>
                  <a:pt x="934" y="1912"/>
                </a:lnTo>
                <a:lnTo>
                  <a:pt x="932" y="1911"/>
                </a:lnTo>
                <a:lnTo>
                  <a:pt x="932" y="1912"/>
                </a:lnTo>
                <a:lnTo>
                  <a:pt x="934" y="1914"/>
                </a:lnTo>
                <a:lnTo>
                  <a:pt x="930" y="1916"/>
                </a:lnTo>
                <a:lnTo>
                  <a:pt x="932" y="1914"/>
                </a:lnTo>
                <a:lnTo>
                  <a:pt x="934" y="1914"/>
                </a:lnTo>
                <a:lnTo>
                  <a:pt x="935" y="1914"/>
                </a:lnTo>
                <a:lnTo>
                  <a:pt x="937" y="1916"/>
                </a:lnTo>
                <a:lnTo>
                  <a:pt x="937" y="1918"/>
                </a:lnTo>
                <a:lnTo>
                  <a:pt x="937" y="1919"/>
                </a:lnTo>
                <a:lnTo>
                  <a:pt x="937" y="1921"/>
                </a:lnTo>
                <a:lnTo>
                  <a:pt x="935" y="1921"/>
                </a:lnTo>
                <a:lnTo>
                  <a:pt x="934" y="1919"/>
                </a:lnTo>
                <a:lnTo>
                  <a:pt x="934" y="1921"/>
                </a:lnTo>
                <a:lnTo>
                  <a:pt x="932" y="1919"/>
                </a:lnTo>
                <a:lnTo>
                  <a:pt x="932" y="1921"/>
                </a:lnTo>
                <a:lnTo>
                  <a:pt x="928" y="1923"/>
                </a:lnTo>
                <a:lnTo>
                  <a:pt x="928" y="1926"/>
                </a:lnTo>
                <a:lnTo>
                  <a:pt x="928" y="1924"/>
                </a:lnTo>
                <a:lnTo>
                  <a:pt x="928" y="1921"/>
                </a:lnTo>
                <a:lnTo>
                  <a:pt x="930" y="1921"/>
                </a:lnTo>
                <a:lnTo>
                  <a:pt x="928" y="1919"/>
                </a:lnTo>
                <a:lnTo>
                  <a:pt x="928" y="1918"/>
                </a:lnTo>
                <a:lnTo>
                  <a:pt x="928" y="1916"/>
                </a:lnTo>
                <a:lnTo>
                  <a:pt x="928" y="1914"/>
                </a:lnTo>
                <a:lnTo>
                  <a:pt x="928" y="1912"/>
                </a:lnTo>
                <a:lnTo>
                  <a:pt x="928" y="1911"/>
                </a:lnTo>
                <a:lnTo>
                  <a:pt x="928" y="1909"/>
                </a:lnTo>
                <a:lnTo>
                  <a:pt x="927" y="1909"/>
                </a:lnTo>
                <a:lnTo>
                  <a:pt x="925" y="1911"/>
                </a:lnTo>
                <a:lnTo>
                  <a:pt x="925" y="1912"/>
                </a:lnTo>
                <a:lnTo>
                  <a:pt x="923" y="1911"/>
                </a:lnTo>
                <a:lnTo>
                  <a:pt x="922" y="1912"/>
                </a:lnTo>
                <a:lnTo>
                  <a:pt x="923" y="1912"/>
                </a:lnTo>
                <a:lnTo>
                  <a:pt x="925" y="1914"/>
                </a:lnTo>
                <a:lnTo>
                  <a:pt x="927" y="1912"/>
                </a:lnTo>
                <a:lnTo>
                  <a:pt x="927" y="1911"/>
                </a:lnTo>
                <a:lnTo>
                  <a:pt x="927" y="1912"/>
                </a:lnTo>
                <a:lnTo>
                  <a:pt x="928" y="1914"/>
                </a:lnTo>
                <a:lnTo>
                  <a:pt x="928" y="1916"/>
                </a:lnTo>
                <a:lnTo>
                  <a:pt x="927" y="1914"/>
                </a:lnTo>
                <a:lnTo>
                  <a:pt x="927" y="1916"/>
                </a:lnTo>
                <a:lnTo>
                  <a:pt x="928" y="1916"/>
                </a:lnTo>
                <a:lnTo>
                  <a:pt x="927" y="1918"/>
                </a:lnTo>
                <a:lnTo>
                  <a:pt x="928" y="1918"/>
                </a:lnTo>
                <a:lnTo>
                  <a:pt x="927" y="1918"/>
                </a:lnTo>
                <a:lnTo>
                  <a:pt x="927" y="1921"/>
                </a:lnTo>
                <a:lnTo>
                  <a:pt x="927" y="1923"/>
                </a:lnTo>
                <a:lnTo>
                  <a:pt x="925" y="1924"/>
                </a:lnTo>
                <a:lnTo>
                  <a:pt x="923" y="1924"/>
                </a:lnTo>
                <a:lnTo>
                  <a:pt x="922" y="1924"/>
                </a:lnTo>
                <a:lnTo>
                  <a:pt x="922" y="1921"/>
                </a:lnTo>
                <a:lnTo>
                  <a:pt x="923" y="1921"/>
                </a:lnTo>
                <a:lnTo>
                  <a:pt x="922" y="1921"/>
                </a:lnTo>
                <a:lnTo>
                  <a:pt x="923" y="1918"/>
                </a:lnTo>
                <a:lnTo>
                  <a:pt x="922" y="1916"/>
                </a:lnTo>
                <a:lnTo>
                  <a:pt x="923" y="1916"/>
                </a:lnTo>
                <a:lnTo>
                  <a:pt x="922" y="1916"/>
                </a:lnTo>
                <a:lnTo>
                  <a:pt x="922" y="1918"/>
                </a:lnTo>
                <a:lnTo>
                  <a:pt x="922" y="1919"/>
                </a:lnTo>
                <a:lnTo>
                  <a:pt x="922" y="1923"/>
                </a:lnTo>
                <a:lnTo>
                  <a:pt x="920" y="1923"/>
                </a:lnTo>
                <a:lnTo>
                  <a:pt x="920" y="1921"/>
                </a:lnTo>
                <a:lnTo>
                  <a:pt x="920" y="1919"/>
                </a:lnTo>
                <a:lnTo>
                  <a:pt x="920" y="1918"/>
                </a:lnTo>
                <a:lnTo>
                  <a:pt x="920" y="1916"/>
                </a:lnTo>
                <a:lnTo>
                  <a:pt x="920" y="1914"/>
                </a:lnTo>
                <a:lnTo>
                  <a:pt x="918" y="1914"/>
                </a:lnTo>
                <a:lnTo>
                  <a:pt x="920" y="1916"/>
                </a:lnTo>
                <a:lnTo>
                  <a:pt x="918" y="1918"/>
                </a:lnTo>
                <a:lnTo>
                  <a:pt x="918" y="1919"/>
                </a:lnTo>
                <a:lnTo>
                  <a:pt x="917" y="1919"/>
                </a:lnTo>
                <a:lnTo>
                  <a:pt x="917" y="1918"/>
                </a:lnTo>
                <a:lnTo>
                  <a:pt x="917" y="1916"/>
                </a:lnTo>
                <a:lnTo>
                  <a:pt x="915" y="1914"/>
                </a:lnTo>
                <a:lnTo>
                  <a:pt x="915" y="1912"/>
                </a:lnTo>
                <a:lnTo>
                  <a:pt x="915" y="1911"/>
                </a:lnTo>
                <a:lnTo>
                  <a:pt x="915" y="1909"/>
                </a:lnTo>
                <a:lnTo>
                  <a:pt x="915" y="1907"/>
                </a:lnTo>
                <a:lnTo>
                  <a:pt x="917" y="1909"/>
                </a:lnTo>
                <a:lnTo>
                  <a:pt x="915" y="1909"/>
                </a:lnTo>
                <a:lnTo>
                  <a:pt x="917" y="1909"/>
                </a:lnTo>
                <a:lnTo>
                  <a:pt x="917" y="1907"/>
                </a:lnTo>
                <a:lnTo>
                  <a:pt x="915" y="1907"/>
                </a:lnTo>
                <a:lnTo>
                  <a:pt x="915" y="1906"/>
                </a:lnTo>
                <a:lnTo>
                  <a:pt x="917" y="1907"/>
                </a:lnTo>
                <a:lnTo>
                  <a:pt x="917" y="1906"/>
                </a:lnTo>
                <a:lnTo>
                  <a:pt x="915" y="1906"/>
                </a:lnTo>
                <a:lnTo>
                  <a:pt x="915" y="1904"/>
                </a:lnTo>
                <a:lnTo>
                  <a:pt x="917" y="1904"/>
                </a:lnTo>
                <a:lnTo>
                  <a:pt x="917" y="1902"/>
                </a:lnTo>
                <a:lnTo>
                  <a:pt x="918" y="1901"/>
                </a:lnTo>
                <a:lnTo>
                  <a:pt x="918" y="1899"/>
                </a:lnTo>
                <a:lnTo>
                  <a:pt x="920" y="1899"/>
                </a:lnTo>
                <a:lnTo>
                  <a:pt x="920" y="1897"/>
                </a:lnTo>
                <a:lnTo>
                  <a:pt x="922" y="1897"/>
                </a:lnTo>
                <a:lnTo>
                  <a:pt x="922" y="1901"/>
                </a:lnTo>
                <a:lnTo>
                  <a:pt x="922" y="1902"/>
                </a:lnTo>
                <a:lnTo>
                  <a:pt x="922" y="1901"/>
                </a:lnTo>
                <a:lnTo>
                  <a:pt x="923" y="1901"/>
                </a:lnTo>
                <a:lnTo>
                  <a:pt x="923" y="1899"/>
                </a:lnTo>
                <a:lnTo>
                  <a:pt x="923" y="1897"/>
                </a:lnTo>
                <a:lnTo>
                  <a:pt x="922" y="1897"/>
                </a:lnTo>
                <a:lnTo>
                  <a:pt x="923" y="1897"/>
                </a:lnTo>
                <a:lnTo>
                  <a:pt x="923" y="1895"/>
                </a:lnTo>
                <a:lnTo>
                  <a:pt x="923" y="1894"/>
                </a:lnTo>
                <a:lnTo>
                  <a:pt x="923" y="1895"/>
                </a:lnTo>
                <a:lnTo>
                  <a:pt x="923" y="1894"/>
                </a:lnTo>
                <a:lnTo>
                  <a:pt x="925" y="1894"/>
                </a:lnTo>
                <a:lnTo>
                  <a:pt x="927" y="1892"/>
                </a:lnTo>
                <a:lnTo>
                  <a:pt x="925" y="1894"/>
                </a:lnTo>
                <a:lnTo>
                  <a:pt x="927" y="1894"/>
                </a:lnTo>
                <a:lnTo>
                  <a:pt x="927" y="1895"/>
                </a:lnTo>
                <a:lnTo>
                  <a:pt x="925" y="1897"/>
                </a:lnTo>
                <a:lnTo>
                  <a:pt x="925" y="1899"/>
                </a:lnTo>
                <a:lnTo>
                  <a:pt x="925" y="1902"/>
                </a:lnTo>
                <a:lnTo>
                  <a:pt x="925" y="1904"/>
                </a:lnTo>
                <a:lnTo>
                  <a:pt x="925" y="1906"/>
                </a:lnTo>
                <a:lnTo>
                  <a:pt x="923" y="1904"/>
                </a:lnTo>
                <a:lnTo>
                  <a:pt x="925" y="1906"/>
                </a:lnTo>
                <a:lnTo>
                  <a:pt x="923" y="1907"/>
                </a:lnTo>
                <a:lnTo>
                  <a:pt x="923" y="1906"/>
                </a:lnTo>
                <a:lnTo>
                  <a:pt x="922" y="1906"/>
                </a:lnTo>
                <a:lnTo>
                  <a:pt x="923" y="1907"/>
                </a:lnTo>
                <a:lnTo>
                  <a:pt x="922" y="1907"/>
                </a:lnTo>
                <a:lnTo>
                  <a:pt x="923" y="1909"/>
                </a:lnTo>
                <a:lnTo>
                  <a:pt x="923" y="1907"/>
                </a:lnTo>
                <a:lnTo>
                  <a:pt x="925" y="1907"/>
                </a:lnTo>
                <a:lnTo>
                  <a:pt x="925" y="1906"/>
                </a:lnTo>
                <a:lnTo>
                  <a:pt x="927" y="1907"/>
                </a:lnTo>
                <a:lnTo>
                  <a:pt x="925" y="1906"/>
                </a:lnTo>
                <a:lnTo>
                  <a:pt x="927" y="1906"/>
                </a:lnTo>
                <a:lnTo>
                  <a:pt x="927" y="1902"/>
                </a:lnTo>
                <a:lnTo>
                  <a:pt x="927" y="1901"/>
                </a:lnTo>
                <a:lnTo>
                  <a:pt x="927" y="1899"/>
                </a:lnTo>
                <a:lnTo>
                  <a:pt x="928" y="1895"/>
                </a:lnTo>
                <a:lnTo>
                  <a:pt x="930" y="1897"/>
                </a:lnTo>
                <a:lnTo>
                  <a:pt x="932" y="1897"/>
                </a:lnTo>
                <a:lnTo>
                  <a:pt x="934" y="1899"/>
                </a:lnTo>
                <a:lnTo>
                  <a:pt x="935" y="1901"/>
                </a:lnTo>
                <a:lnTo>
                  <a:pt x="934" y="1902"/>
                </a:lnTo>
                <a:lnTo>
                  <a:pt x="935" y="1902"/>
                </a:lnTo>
                <a:lnTo>
                  <a:pt x="935" y="1901"/>
                </a:lnTo>
                <a:lnTo>
                  <a:pt x="935" y="1899"/>
                </a:lnTo>
                <a:lnTo>
                  <a:pt x="937" y="1899"/>
                </a:lnTo>
                <a:lnTo>
                  <a:pt x="939" y="1899"/>
                </a:lnTo>
                <a:lnTo>
                  <a:pt x="940" y="1899"/>
                </a:lnTo>
                <a:lnTo>
                  <a:pt x="939" y="1899"/>
                </a:lnTo>
                <a:lnTo>
                  <a:pt x="940" y="1897"/>
                </a:lnTo>
                <a:lnTo>
                  <a:pt x="937" y="1897"/>
                </a:lnTo>
                <a:lnTo>
                  <a:pt x="935" y="1899"/>
                </a:lnTo>
                <a:lnTo>
                  <a:pt x="935" y="1895"/>
                </a:lnTo>
                <a:lnTo>
                  <a:pt x="937" y="1894"/>
                </a:lnTo>
                <a:lnTo>
                  <a:pt x="939" y="1894"/>
                </a:lnTo>
                <a:lnTo>
                  <a:pt x="940" y="1892"/>
                </a:lnTo>
                <a:lnTo>
                  <a:pt x="940" y="1890"/>
                </a:lnTo>
                <a:lnTo>
                  <a:pt x="942" y="1894"/>
                </a:lnTo>
                <a:lnTo>
                  <a:pt x="942" y="1892"/>
                </a:lnTo>
                <a:lnTo>
                  <a:pt x="944" y="1892"/>
                </a:lnTo>
                <a:lnTo>
                  <a:pt x="945" y="1894"/>
                </a:lnTo>
                <a:lnTo>
                  <a:pt x="947" y="1892"/>
                </a:lnTo>
                <a:lnTo>
                  <a:pt x="947" y="1890"/>
                </a:lnTo>
                <a:lnTo>
                  <a:pt x="951" y="1889"/>
                </a:lnTo>
                <a:lnTo>
                  <a:pt x="952" y="1887"/>
                </a:lnTo>
                <a:lnTo>
                  <a:pt x="954" y="1887"/>
                </a:lnTo>
                <a:lnTo>
                  <a:pt x="956" y="1885"/>
                </a:lnTo>
                <a:lnTo>
                  <a:pt x="956" y="1884"/>
                </a:lnTo>
                <a:lnTo>
                  <a:pt x="956" y="1885"/>
                </a:lnTo>
                <a:lnTo>
                  <a:pt x="954" y="1885"/>
                </a:lnTo>
                <a:lnTo>
                  <a:pt x="951" y="1887"/>
                </a:lnTo>
                <a:lnTo>
                  <a:pt x="949" y="1889"/>
                </a:lnTo>
                <a:lnTo>
                  <a:pt x="947" y="1890"/>
                </a:lnTo>
                <a:lnTo>
                  <a:pt x="947" y="1889"/>
                </a:lnTo>
                <a:lnTo>
                  <a:pt x="945" y="1892"/>
                </a:lnTo>
                <a:lnTo>
                  <a:pt x="944" y="1892"/>
                </a:lnTo>
                <a:lnTo>
                  <a:pt x="942" y="1890"/>
                </a:lnTo>
                <a:lnTo>
                  <a:pt x="942" y="1889"/>
                </a:lnTo>
                <a:lnTo>
                  <a:pt x="942" y="1887"/>
                </a:lnTo>
                <a:lnTo>
                  <a:pt x="942" y="1885"/>
                </a:lnTo>
                <a:lnTo>
                  <a:pt x="944" y="1884"/>
                </a:lnTo>
                <a:lnTo>
                  <a:pt x="942" y="1885"/>
                </a:lnTo>
                <a:lnTo>
                  <a:pt x="942" y="1887"/>
                </a:lnTo>
                <a:lnTo>
                  <a:pt x="940" y="1889"/>
                </a:lnTo>
                <a:lnTo>
                  <a:pt x="939" y="1890"/>
                </a:lnTo>
                <a:lnTo>
                  <a:pt x="937" y="1889"/>
                </a:lnTo>
                <a:lnTo>
                  <a:pt x="935" y="1885"/>
                </a:lnTo>
                <a:lnTo>
                  <a:pt x="934" y="1885"/>
                </a:lnTo>
                <a:lnTo>
                  <a:pt x="932" y="1885"/>
                </a:lnTo>
                <a:lnTo>
                  <a:pt x="932" y="1884"/>
                </a:lnTo>
                <a:lnTo>
                  <a:pt x="934" y="1884"/>
                </a:lnTo>
                <a:lnTo>
                  <a:pt x="934" y="1882"/>
                </a:lnTo>
                <a:lnTo>
                  <a:pt x="935" y="1884"/>
                </a:lnTo>
                <a:lnTo>
                  <a:pt x="935" y="1880"/>
                </a:lnTo>
                <a:lnTo>
                  <a:pt x="937" y="1878"/>
                </a:lnTo>
                <a:lnTo>
                  <a:pt x="939" y="1878"/>
                </a:lnTo>
                <a:lnTo>
                  <a:pt x="940" y="1877"/>
                </a:lnTo>
                <a:lnTo>
                  <a:pt x="944" y="1877"/>
                </a:lnTo>
                <a:lnTo>
                  <a:pt x="944" y="1875"/>
                </a:lnTo>
                <a:lnTo>
                  <a:pt x="944" y="1873"/>
                </a:lnTo>
                <a:lnTo>
                  <a:pt x="945" y="1872"/>
                </a:lnTo>
                <a:lnTo>
                  <a:pt x="945" y="1870"/>
                </a:lnTo>
                <a:lnTo>
                  <a:pt x="947" y="1868"/>
                </a:lnTo>
                <a:lnTo>
                  <a:pt x="949" y="1868"/>
                </a:lnTo>
                <a:lnTo>
                  <a:pt x="952" y="1867"/>
                </a:lnTo>
                <a:lnTo>
                  <a:pt x="956" y="1867"/>
                </a:lnTo>
                <a:lnTo>
                  <a:pt x="954" y="1865"/>
                </a:lnTo>
                <a:lnTo>
                  <a:pt x="954" y="1863"/>
                </a:lnTo>
                <a:lnTo>
                  <a:pt x="952" y="1865"/>
                </a:lnTo>
                <a:lnTo>
                  <a:pt x="951" y="1867"/>
                </a:lnTo>
                <a:lnTo>
                  <a:pt x="949" y="1867"/>
                </a:lnTo>
                <a:lnTo>
                  <a:pt x="951" y="1867"/>
                </a:lnTo>
                <a:lnTo>
                  <a:pt x="949" y="1865"/>
                </a:lnTo>
                <a:lnTo>
                  <a:pt x="947" y="1861"/>
                </a:lnTo>
                <a:lnTo>
                  <a:pt x="949" y="1860"/>
                </a:lnTo>
                <a:lnTo>
                  <a:pt x="951" y="1860"/>
                </a:lnTo>
                <a:lnTo>
                  <a:pt x="952" y="1858"/>
                </a:lnTo>
                <a:lnTo>
                  <a:pt x="952" y="1856"/>
                </a:lnTo>
                <a:lnTo>
                  <a:pt x="954" y="1855"/>
                </a:lnTo>
                <a:lnTo>
                  <a:pt x="952" y="1855"/>
                </a:lnTo>
                <a:lnTo>
                  <a:pt x="956" y="1853"/>
                </a:lnTo>
                <a:lnTo>
                  <a:pt x="957" y="1851"/>
                </a:lnTo>
                <a:lnTo>
                  <a:pt x="959" y="1851"/>
                </a:lnTo>
                <a:lnTo>
                  <a:pt x="957" y="1850"/>
                </a:lnTo>
                <a:lnTo>
                  <a:pt x="961" y="1850"/>
                </a:lnTo>
                <a:lnTo>
                  <a:pt x="962" y="1848"/>
                </a:lnTo>
                <a:lnTo>
                  <a:pt x="962" y="1846"/>
                </a:lnTo>
                <a:lnTo>
                  <a:pt x="966" y="1844"/>
                </a:lnTo>
                <a:lnTo>
                  <a:pt x="968" y="1844"/>
                </a:lnTo>
                <a:lnTo>
                  <a:pt x="969" y="1846"/>
                </a:lnTo>
                <a:lnTo>
                  <a:pt x="968" y="1848"/>
                </a:lnTo>
                <a:lnTo>
                  <a:pt x="968" y="1851"/>
                </a:lnTo>
                <a:lnTo>
                  <a:pt x="966" y="1853"/>
                </a:lnTo>
                <a:lnTo>
                  <a:pt x="966" y="1855"/>
                </a:lnTo>
                <a:lnTo>
                  <a:pt x="966" y="1856"/>
                </a:lnTo>
                <a:lnTo>
                  <a:pt x="964" y="1858"/>
                </a:lnTo>
                <a:lnTo>
                  <a:pt x="964" y="1860"/>
                </a:lnTo>
                <a:lnTo>
                  <a:pt x="964" y="1861"/>
                </a:lnTo>
                <a:lnTo>
                  <a:pt x="964" y="1865"/>
                </a:lnTo>
                <a:lnTo>
                  <a:pt x="962" y="1868"/>
                </a:lnTo>
                <a:lnTo>
                  <a:pt x="962" y="1870"/>
                </a:lnTo>
                <a:lnTo>
                  <a:pt x="962" y="1868"/>
                </a:lnTo>
                <a:lnTo>
                  <a:pt x="962" y="1870"/>
                </a:lnTo>
                <a:lnTo>
                  <a:pt x="964" y="1870"/>
                </a:lnTo>
                <a:lnTo>
                  <a:pt x="964" y="1868"/>
                </a:lnTo>
                <a:lnTo>
                  <a:pt x="964" y="1867"/>
                </a:lnTo>
                <a:lnTo>
                  <a:pt x="964" y="1865"/>
                </a:lnTo>
                <a:lnTo>
                  <a:pt x="964" y="1863"/>
                </a:lnTo>
                <a:lnTo>
                  <a:pt x="966" y="1863"/>
                </a:lnTo>
                <a:lnTo>
                  <a:pt x="966" y="1860"/>
                </a:lnTo>
                <a:lnTo>
                  <a:pt x="966" y="1858"/>
                </a:lnTo>
                <a:lnTo>
                  <a:pt x="966" y="1856"/>
                </a:lnTo>
                <a:lnTo>
                  <a:pt x="968" y="1853"/>
                </a:lnTo>
                <a:lnTo>
                  <a:pt x="968" y="1851"/>
                </a:lnTo>
                <a:lnTo>
                  <a:pt x="969" y="1848"/>
                </a:lnTo>
                <a:lnTo>
                  <a:pt x="971" y="1850"/>
                </a:lnTo>
                <a:lnTo>
                  <a:pt x="971" y="1848"/>
                </a:lnTo>
                <a:lnTo>
                  <a:pt x="971" y="1844"/>
                </a:lnTo>
                <a:lnTo>
                  <a:pt x="974" y="1844"/>
                </a:lnTo>
                <a:lnTo>
                  <a:pt x="974" y="1843"/>
                </a:lnTo>
                <a:lnTo>
                  <a:pt x="976" y="1843"/>
                </a:lnTo>
                <a:lnTo>
                  <a:pt x="978" y="1843"/>
                </a:lnTo>
                <a:lnTo>
                  <a:pt x="979" y="1843"/>
                </a:lnTo>
                <a:lnTo>
                  <a:pt x="983" y="1843"/>
                </a:lnTo>
                <a:lnTo>
                  <a:pt x="985" y="1841"/>
                </a:lnTo>
                <a:lnTo>
                  <a:pt x="986" y="1841"/>
                </a:lnTo>
                <a:lnTo>
                  <a:pt x="983" y="1841"/>
                </a:lnTo>
                <a:lnTo>
                  <a:pt x="981" y="1841"/>
                </a:lnTo>
                <a:lnTo>
                  <a:pt x="978" y="1841"/>
                </a:lnTo>
                <a:lnTo>
                  <a:pt x="979" y="1838"/>
                </a:lnTo>
                <a:lnTo>
                  <a:pt x="981" y="1836"/>
                </a:lnTo>
                <a:lnTo>
                  <a:pt x="981" y="1834"/>
                </a:lnTo>
                <a:lnTo>
                  <a:pt x="981" y="1836"/>
                </a:lnTo>
                <a:lnTo>
                  <a:pt x="979" y="1836"/>
                </a:lnTo>
                <a:lnTo>
                  <a:pt x="978" y="1839"/>
                </a:lnTo>
                <a:lnTo>
                  <a:pt x="978" y="1836"/>
                </a:lnTo>
                <a:lnTo>
                  <a:pt x="979" y="1836"/>
                </a:lnTo>
                <a:lnTo>
                  <a:pt x="978" y="1836"/>
                </a:lnTo>
                <a:lnTo>
                  <a:pt x="978" y="1838"/>
                </a:lnTo>
                <a:lnTo>
                  <a:pt x="978" y="1839"/>
                </a:lnTo>
                <a:lnTo>
                  <a:pt x="976" y="1841"/>
                </a:lnTo>
                <a:lnTo>
                  <a:pt x="974" y="1841"/>
                </a:lnTo>
                <a:lnTo>
                  <a:pt x="973" y="1843"/>
                </a:lnTo>
                <a:lnTo>
                  <a:pt x="969" y="1844"/>
                </a:lnTo>
                <a:lnTo>
                  <a:pt x="968" y="1844"/>
                </a:lnTo>
                <a:lnTo>
                  <a:pt x="968" y="1843"/>
                </a:lnTo>
                <a:lnTo>
                  <a:pt x="969" y="1841"/>
                </a:lnTo>
                <a:lnTo>
                  <a:pt x="971" y="1839"/>
                </a:lnTo>
                <a:lnTo>
                  <a:pt x="969" y="1839"/>
                </a:lnTo>
                <a:lnTo>
                  <a:pt x="968" y="1841"/>
                </a:lnTo>
                <a:lnTo>
                  <a:pt x="968" y="1843"/>
                </a:lnTo>
                <a:lnTo>
                  <a:pt x="966" y="1843"/>
                </a:lnTo>
                <a:lnTo>
                  <a:pt x="964" y="1843"/>
                </a:lnTo>
                <a:lnTo>
                  <a:pt x="962" y="1844"/>
                </a:lnTo>
                <a:lnTo>
                  <a:pt x="959" y="1844"/>
                </a:lnTo>
                <a:lnTo>
                  <a:pt x="959" y="1846"/>
                </a:lnTo>
                <a:lnTo>
                  <a:pt x="957" y="1846"/>
                </a:lnTo>
                <a:lnTo>
                  <a:pt x="956" y="1848"/>
                </a:lnTo>
                <a:lnTo>
                  <a:pt x="954" y="1844"/>
                </a:lnTo>
                <a:lnTo>
                  <a:pt x="952" y="1841"/>
                </a:lnTo>
                <a:lnTo>
                  <a:pt x="954" y="1843"/>
                </a:lnTo>
                <a:lnTo>
                  <a:pt x="954" y="1844"/>
                </a:lnTo>
                <a:lnTo>
                  <a:pt x="956" y="1848"/>
                </a:lnTo>
                <a:lnTo>
                  <a:pt x="954" y="1848"/>
                </a:lnTo>
                <a:lnTo>
                  <a:pt x="952" y="1848"/>
                </a:lnTo>
                <a:lnTo>
                  <a:pt x="951" y="1850"/>
                </a:lnTo>
                <a:lnTo>
                  <a:pt x="951" y="1848"/>
                </a:lnTo>
                <a:lnTo>
                  <a:pt x="949" y="1848"/>
                </a:lnTo>
                <a:lnTo>
                  <a:pt x="951" y="1848"/>
                </a:lnTo>
                <a:lnTo>
                  <a:pt x="951" y="1850"/>
                </a:lnTo>
                <a:lnTo>
                  <a:pt x="952" y="1851"/>
                </a:lnTo>
                <a:lnTo>
                  <a:pt x="951" y="1851"/>
                </a:lnTo>
                <a:lnTo>
                  <a:pt x="951" y="1853"/>
                </a:lnTo>
                <a:lnTo>
                  <a:pt x="951" y="1855"/>
                </a:lnTo>
                <a:lnTo>
                  <a:pt x="952" y="1855"/>
                </a:lnTo>
                <a:lnTo>
                  <a:pt x="951" y="1858"/>
                </a:lnTo>
                <a:lnTo>
                  <a:pt x="951" y="1856"/>
                </a:lnTo>
                <a:lnTo>
                  <a:pt x="947" y="1856"/>
                </a:lnTo>
                <a:lnTo>
                  <a:pt x="945" y="1855"/>
                </a:lnTo>
                <a:lnTo>
                  <a:pt x="945" y="1858"/>
                </a:lnTo>
                <a:lnTo>
                  <a:pt x="944" y="1860"/>
                </a:lnTo>
                <a:lnTo>
                  <a:pt x="942" y="1861"/>
                </a:lnTo>
                <a:lnTo>
                  <a:pt x="942" y="1863"/>
                </a:lnTo>
                <a:lnTo>
                  <a:pt x="940" y="1863"/>
                </a:lnTo>
                <a:lnTo>
                  <a:pt x="940" y="1865"/>
                </a:lnTo>
                <a:lnTo>
                  <a:pt x="942" y="1867"/>
                </a:lnTo>
                <a:lnTo>
                  <a:pt x="940" y="1868"/>
                </a:lnTo>
                <a:lnTo>
                  <a:pt x="942" y="1868"/>
                </a:lnTo>
                <a:lnTo>
                  <a:pt x="940" y="1870"/>
                </a:lnTo>
                <a:lnTo>
                  <a:pt x="940" y="1872"/>
                </a:lnTo>
                <a:lnTo>
                  <a:pt x="940" y="1873"/>
                </a:lnTo>
                <a:lnTo>
                  <a:pt x="939" y="1875"/>
                </a:lnTo>
                <a:lnTo>
                  <a:pt x="937" y="1873"/>
                </a:lnTo>
                <a:lnTo>
                  <a:pt x="939" y="1873"/>
                </a:lnTo>
                <a:lnTo>
                  <a:pt x="937" y="1873"/>
                </a:lnTo>
                <a:lnTo>
                  <a:pt x="935" y="1875"/>
                </a:lnTo>
                <a:lnTo>
                  <a:pt x="935" y="1873"/>
                </a:lnTo>
                <a:lnTo>
                  <a:pt x="934" y="1873"/>
                </a:lnTo>
                <a:lnTo>
                  <a:pt x="934" y="1872"/>
                </a:lnTo>
                <a:lnTo>
                  <a:pt x="934" y="1870"/>
                </a:lnTo>
                <a:lnTo>
                  <a:pt x="934" y="1868"/>
                </a:lnTo>
                <a:lnTo>
                  <a:pt x="935" y="1870"/>
                </a:lnTo>
                <a:lnTo>
                  <a:pt x="935" y="1868"/>
                </a:lnTo>
                <a:lnTo>
                  <a:pt x="935" y="1870"/>
                </a:lnTo>
                <a:lnTo>
                  <a:pt x="937" y="1868"/>
                </a:lnTo>
                <a:lnTo>
                  <a:pt x="937" y="1870"/>
                </a:lnTo>
                <a:lnTo>
                  <a:pt x="937" y="1868"/>
                </a:lnTo>
                <a:lnTo>
                  <a:pt x="939" y="1868"/>
                </a:lnTo>
                <a:lnTo>
                  <a:pt x="937" y="1868"/>
                </a:lnTo>
                <a:lnTo>
                  <a:pt x="935" y="1868"/>
                </a:lnTo>
                <a:lnTo>
                  <a:pt x="935" y="1867"/>
                </a:lnTo>
                <a:lnTo>
                  <a:pt x="937" y="1865"/>
                </a:lnTo>
                <a:lnTo>
                  <a:pt x="935" y="1863"/>
                </a:lnTo>
                <a:lnTo>
                  <a:pt x="935" y="1861"/>
                </a:lnTo>
                <a:lnTo>
                  <a:pt x="937" y="1861"/>
                </a:lnTo>
                <a:lnTo>
                  <a:pt x="934" y="1861"/>
                </a:lnTo>
                <a:lnTo>
                  <a:pt x="934" y="1860"/>
                </a:lnTo>
                <a:lnTo>
                  <a:pt x="934" y="1861"/>
                </a:lnTo>
                <a:lnTo>
                  <a:pt x="930" y="1863"/>
                </a:lnTo>
                <a:lnTo>
                  <a:pt x="930" y="1860"/>
                </a:lnTo>
                <a:lnTo>
                  <a:pt x="932" y="1860"/>
                </a:lnTo>
                <a:lnTo>
                  <a:pt x="934" y="1858"/>
                </a:lnTo>
                <a:lnTo>
                  <a:pt x="935" y="1856"/>
                </a:lnTo>
                <a:lnTo>
                  <a:pt x="934" y="1856"/>
                </a:lnTo>
                <a:lnTo>
                  <a:pt x="932" y="1856"/>
                </a:lnTo>
                <a:lnTo>
                  <a:pt x="934" y="1855"/>
                </a:lnTo>
                <a:lnTo>
                  <a:pt x="934" y="1853"/>
                </a:lnTo>
                <a:lnTo>
                  <a:pt x="932" y="1856"/>
                </a:lnTo>
                <a:lnTo>
                  <a:pt x="930" y="1856"/>
                </a:lnTo>
                <a:lnTo>
                  <a:pt x="932" y="1855"/>
                </a:lnTo>
                <a:lnTo>
                  <a:pt x="934" y="1853"/>
                </a:lnTo>
                <a:lnTo>
                  <a:pt x="932" y="1855"/>
                </a:lnTo>
                <a:lnTo>
                  <a:pt x="934" y="1853"/>
                </a:lnTo>
                <a:lnTo>
                  <a:pt x="934" y="1850"/>
                </a:lnTo>
                <a:lnTo>
                  <a:pt x="935" y="1848"/>
                </a:lnTo>
                <a:lnTo>
                  <a:pt x="937" y="1848"/>
                </a:lnTo>
                <a:lnTo>
                  <a:pt x="937" y="1846"/>
                </a:lnTo>
                <a:lnTo>
                  <a:pt x="935" y="1846"/>
                </a:lnTo>
                <a:lnTo>
                  <a:pt x="934" y="1848"/>
                </a:lnTo>
                <a:lnTo>
                  <a:pt x="934" y="1850"/>
                </a:lnTo>
                <a:lnTo>
                  <a:pt x="934" y="1848"/>
                </a:lnTo>
                <a:lnTo>
                  <a:pt x="934" y="1850"/>
                </a:lnTo>
                <a:lnTo>
                  <a:pt x="932" y="1851"/>
                </a:lnTo>
                <a:lnTo>
                  <a:pt x="932" y="1853"/>
                </a:lnTo>
                <a:lnTo>
                  <a:pt x="930" y="1855"/>
                </a:lnTo>
                <a:lnTo>
                  <a:pt x="930" y="1856"/>
                </a:lnTo>
                <a:lnTo>
                  <a:pt x="928" y="1858"/>
                </a:lnTo>
                <a:lnTo>
                  <a:pt x="928" y="1860"/>
                </a:lnTo>
                <a:lnTo>
                  <a:pt x="927" y="1860"/>
                </a:lnTo>
                <a:lnTo>
                  <a:pt x="925" y="1863"/>
                </a:lnTo>
                <a:lnTo>
                  <a:pt x="925" y="1861"/>
                </a:lnTo>
                <a:lnTo>
                  <a:pt x="925" y="1863"/>
                </a:lnTo>
                <a:lnTo>
                  <a:pt x="925" y="1861"/>
                </a:lnTo>
                <a:lnTo>
                  <a:pt x="923" y="1861"/>
                </a:lnTo>
                <a:lnTo>
                  <a:pt x="923" y="1860"/>
                </a:lnTo>
                <a:lnTo>
                  <a:pt x="922" y="1860"/>
                </a:lnTo>
                <a:lnTo>
                  <a:pt x="922" y="1858"/>
                </a:lnTo>
                <a:lnTo>
                  <a:pt x="923" y="1858"/>
                </a:lnTo>
                <a:lnTo>
                  <a:pt x="922" y="1856"/>
                </a:lnTo>
                <a:lnTo>
                  <a:pt x="920" y="1858"/>
                </a:lnTo>
                <a:lnTo>
                  <a:pt x="920" y="1856"/>
                </a:lnTo>
                <a:lnTo>
                  <a:pt x="920" y="1858"/>
                </a:lnTo>
                <a:lnTo>
                  <a:pt x="918" y="1858"/>
                </a:lnTo>
                <a:lnTo>
                  <a:pt x="918" y="1856"/>
                </a:lnTo>
                <a:lnTo>
                  <a:pt x="920" y="1856"/>
                </a:lnTo>
                <a:lnTo>
                  <a:pt x="922" y="1855"/>
                </a:lnTo>
                <a:lnTo>
                  <a:pt x="920" y="1855"/>
                </a:lnTo>
                <a:lnTo>
                  <a:pt x="920" y="1853"/>
                </a:lnTo>
                <a:lnTo>
                  <a:pt x="918" y="1855"/>
                </a:lnTo>
                <a:lnTo>
                  <a:pt x="917" y="1853"/>
                </a:lnTo>
                <a:lnTo>
                  <a:pt x="918" y="1850"/>
                </a:lnTo>
                <a:lnTo>
                  <a:pt x="920" y="1851"/>
                </a:lnTo>
                <a:lnTo>
                  <a:pt x="920" y="1850"/>
                </a:lnTo>
                <a:lnTo>
                  <a:pt x="920" y="1851"/>
                </a:lnTo>
                <a:lnTo>
                  <a:pt x="922" y="1851"/>
                </a:lnTo>
                <a:lnTo>
                  <a:pt x="922" y="1850"/>
                </a:lnTo>
                <a:lnTo>
                  <a:pt x="922" y="1848"/>
                </a:lnTo>
                <a:lnTo>
                  <a:pt x="920" y="1850"/>
                </a:lnTo>
                <a:lnTo>
                  <a:pt x="918" y="1848"/>
                </a:lnTo>
                <a:lnTo>
                  <a:pt x="918" y="1850"/>
                </a:lnTo>
                <a:lnTo>
                  <a:pt x="917" y="1850"/>
                </a:lnTo>
                <a:lnTo>
                  <a:pt x="917" y="1848"/>
                </a:lnTo>
                <a:lnTo>
                  <a:pt x="917" y="1846"/>
                </a:lnTo>
                <a:lnTo>
                  <a:pt x="918" y="1844"/>
                </a:lnTo>
                <a:lnTo>
                  <a:pt x="920" y="1846"/>
                </a:lnTo>
                <a:lnTo>
                  <a:pt x="920" y="1844"/>
                </a:lnTo>
                <a:lnTo>
                  <a:pt x="922" y="1846"/>
                </a:lnTo>
                <a:lnTo>
                  <a:pt x="923" y="1846"/>
                </a:lnTo>
                <a:lnTo>
                  <a:pt x="922" y="1846"/>
                </a:lnTo>
                <a:lnTo>
                  <a:pt x="922" y="1844"/>
                </a:lnTo>
                <a:lnTo>
                  <a:pt x="920" y="1843"/>
                </a:lnTo>
                <a:lnTo>
                  <a:pt x="920" y="1841"/>
                </a:lnTo>
                <a:lnTo>
                  <a:pt x="922" y="1843"/>
                </a:lnTo>
                <a:lnTo>
                  <a:pt x="922" y="1841"/>
                </a:lnTo>
                <a:lnTo>
                  <a:pt x="920" y="1841"/>
                </a:lnTo>
                <a:lnTo>
                  <a:pt x="920" y="1839"/>
                </a:lnTo>
                <a:lnTo>
                  <a:pt x="920" y="1836"/>
                </a:lnTo>
                <a:lnTo>
                  <a:pt x="922" y="1836"/>
                </a:lnTo>
                <a:lnTo>
                  <a:pt x="923" y="1838"/>
                </a:lnTo>
                <a:lnTo>
                  <a:pt x="925" y="1839"/>
                </a:lnTo>
                <a:lnTo>
                  <a:pt x="927" y="1841"/>
                </a:lnTo>
                <a:lnTo>
                  <a:pt x="927" y="1843"/>
                </a:lnTo>
                <a:lnTo>
                  <a:pt x="927" y="1841"/>
                </a:lnTo>
                <a:lnTo>
                  <a:pt x="928" y="1843"/>
                </a:lnTo>
                <a:lnTo>
                  <a:pt x="928" y="1844"/>
                </a:lnTo>
                <a:lnTo>
                  <a:pt x="930" y="1843"/>
                </a:lnTo>
                <a:lnTo>
                  <a:pt x="932" y="1843"/>
                </a:lnTo>
                <a:lnTo>
                  <a:pt x="934" y="1841"/>
                </a:lnTo>
                <a:lnTo>
                  <a:pt x="935" y="1841"/>
                </a:lnTo>
                <a:lnTo>
                  <a:pt x="937" y="1841"/>
                </a:lnTo>
                <a:lnTo>
                  <a:pt x="937" y="1839"/>
                </a:lnTo>
                <a:lnTo>
                  <a:pt x="937" y="1838"/>
                </a:lnTo>
                <a:lnTo>
                  <a:pt x="937" y="1836"/>
                </a:lnTo>
                <a:lnTo>
                  <a:pt x="939" y="1832"/>
                </a:lnTo>
                <a:lnTo>
                  <a:pt x="937" y="1834"/>
                </a:lnTo>
                <a:lnTo>
                  <a:pt x="937" y="1832"/>
                </a:lnTo>
                <a:lnTo>
                  <a:pt x="937" y="1829"/>
                </a:lnTo>
                <a:lnTo>
                  <a:pt x="937" y="1827"/>
                </a:lnTo>
                <a:lnTo>
                  <a:pt x="939" y="1827"/>
                </a:lnTo>
                <a:lnTo>
                  <a:pt x="939" y="1829"/>
                </a:lnTo>
                <a:lnTo>
                  <a:pt x="940" y="1831"/>
                </a:lnTo>
                <a:lnTo>
                  <a:pt x="942" y="1829"/>
                </a:lnTo>
                <a:lnTo>
                  <a:pt x="944" y="1829"/>
                </a:lnTo>
                <a:lnTo>
                  <a:pt x="945" y="1829"/>
                </a:lnTo>
                <a:lnTo>
                  <a:pt x="942" y="1829"/>
                </a:lnTo>
                <a:lnTo>
                  <a:pt x="940" y="1831"/>
                </a:lnTo>
                <a:lnTo>
                  <a:pt x="940" y="1827"/>
                </a:lnTo>
                <a:lnTo>
                  <a:pt x="937" y="1827"/>
                </a:lnTo>
                <a:lnTo>
                  <a:pt x="937" y="1826"/>
                </a:lnTo>
                <a:lnTo>
                  <a:pt x="939" y="1826"/>
                </a:lnTo>
                <a:lnTo>
                  <a:pt x="940" y="1822"/>
                </a:lnTo>
                <a:lnTo>
                  <a:pt x="939" y="1824"/>
                </a:lnTo>
                <a:lnTo>
                  <a:pt x="935" y="1824"/>
                </a:lnTo>
                <a:lnTo>
                  <a:pt x="935" y="1822"/>
                </a:lnTo>
                <a:lnTo>
                  <a:pt x="937" y="1821"/>
                </a:lnTo>
                <a:lnTo>
                  <a:pt x="939" y="1819"/>
                </a:lnTo>
                <a:lnTo>
                  <a:pt x="940" y="1817"/>
                </a:lnTo>
                <a:lnTo>
                  <a:pt x="939" y="1817"/>
                </a:lnTo>
                <a:lnTo>
                  <a:pt x="939" y="1819"/>
                </a:lnTo>
                <a:lnTo>
                  <a:pt x="937" y="1821"/>
                </a:lnTo>
                <a:lnTo>
                  <a:pt x="935" y="1822"/>
                </a:lnTo>
                <a:lnTo>
                  <a:pt x="934" y="1824"/>
                </a:lnTo>
                <a:lnTo>
                  <a:pt x="932" y="1824"/>
                </a:lnTo>
                <a:lnTo>
                  <a:pt x="932" y="1827"/>
                </a:lnTo>
                <a:lnTo>
                  <a:pt x="932" y="1829"/>
                </a:lnTo>
                <a:lnTo>
                  <a:pt x="928" y="1829"/>
                </a:lnTo>
                <a:lnTo>
                  <a:pt x="927" y="1831"/>
                </a:lnTo>
                <a:lnTo>
                  <a:pt x="925" y="1831"/>
                </a:lnTo>
                <a:lnTo>
                  <a:pt x="925" y="1832"/>
                </a:lnTo>
                <a:lnTo>
                  <a:pt x="925" y="1831"/>
                </a:lnTo>
                <a:lnTo>
                  <a:pt x="923" y="1831"/>
                </a:lnTo>
                <a:lnTo>
                  <a:pt x="923" y="1832"/>
                </a:lnTo>
                <a:lnTo>
                  <a:pt x="925" y="1832"/>
                </a:lnTo>
                <a:lnTo>
                  <a:pt x="923" y="1832"/>
                </a:lnTo>
                <a:lnTo>
                  <a:pt x="922" y="1834"/>
                </a:lnTo>
                <a:lnTo>
                  <a:pt x="920" y="1832"/>
                </a:lnTo>
                <a:lnTo>
                  <a:pt x="920" y="1831"/>
                </a:lnTo>
                <a:lnTo>
                  <a:pt x="918" y="1829"/>
                </a:lnTo>
                <a:lnTo>
                  <a:pt x="917" y="1827"/>
                </a:lnTo>
                <a:lnTo>
                  <a:pt x="917" y="1826"/>
                </a:lnTo>
                <a:lnTo>
                  <a:pt x="917" y="1824"/>
                </a:lnTo>
                <a:lnTo>
                  <a:pt x="918" y="1826"/>
                </a:lnTo>
                <a:lnTo>
                  <a:pt x="920" y="1827"/>
                </a:lnTo>
                <a:lnTo>
                  <a:pt x="922" y="1829"/>
                </a:lnTo>
                <a:lnTo>
                  <a:pt x="920" y="1827"/>
                </a:lnTo>
                <a:lnTo>
                  <a:pt x="920" y="1826"/>
                </a:lnTo>
                <a:lnTo>
                  <a:pt x="922" y="1827"/>
                </a:lnTo>
                <a:lnTo>
                  <a:pt x="920" y="1826"/>
                </a:lnTo>
                <a:lnTo>
                  <a:pt x="918" y="1824"/>
                </a:lnTo>
                <a:lnTo>
                  <a:pt x="917" y="1822"/>
                </a:lnTo>
                <a:lnTo>
                  <a:pt x="918" y="1822"/>
                </a:lnTo>
                <a:lnTo>
                  <a:pt x="917" y="1821"/>
                </a:lnTo>
                <a:lnTo>
                  <a:pt x="918" y="1824"/>
                </a:lnTo>
                <a:lnTo>
                  <a:pt x="918" y="1821"/>
                </a:lnTo>
                <a:lnTo>
                  <a:pt x="918" y="1822"/>
                </a:lnTo>
                <a:lnTo>
                  <a:pt x="920" y="1822"/>
                </a:lnTo>
                <a:lnTo>
                  <a:pt x="917" y="1821"/>
                </a:lnTo>
                <a:lnTo>
                  <a:pt x="915" y="1819"/>
                </a:lnTo>
                <a:lnTo>
                  <a:pt x="913" y="1817"/>
                </a:lnTo>
                <a:lnTo>
                  <a:pt x="911" y="1815"/>
                </a:lnTo>
                <a:lnTo>
                  <a:pt x="911" y="1817"/>
                </a:lnTo>
                <a:lnTo>
                  <a:pt x="911" y="1815"/>
                </a:lnTo>
                <a:lnTo>
                  <a:pt x="911" y="1814"/>
                </a:lnTo>
                <a:lnTo>
                  <a:pt x="913" y="1815"/>
                </a:lnTo>
                <a:lnTo>
                  <a:pt x="913" y="1814"/>
                </a:lnTo>
                <a:lnTo>
                  <a:pt x="915" y="1815"/>
                </a:lnTo>
                <a:lnTo>
                  <a:pt x="915" y="1817"/>
                </a:lnTo>
                <a:lnTo>
                  <a:pt x="917" y="1819"/>
                </a:lnTo>
                <a:lnTo>
                  <a:pt x="917" y="1817"/>
                </a:lnTo>
                <a:lnTo>
                  <a:pt x="917" y="1819"/>
                </a:lnTo>
                <a:lnTo>
                  <a:pt x="917" y="1817"/>
                </a:lnTo>
                <a:lnTo>
                  <a:pt x="918" y="1819"/>
                </a:lnTo>
                <a:lnTo>
                  <a:pt x="920" y="1821"/>
                </a:lnTo>
                <a:lnTo>
                  <a:pt x="922" y="1821"/>
                </a:lnTo>
                <a:lnTo>
                  <a:pt x="922" y="1822"/>
                </a:lnTo>
                <a:lnTo>
                  <a:pt x="923" y="1821"/>
                </a:lnTo>
                <a:lnTo>
                  <a:pt x="923" y="1822"/>
                </a:lnTo>
                <a:lnTo>
                  <a:pt x="923" y="1824"/>
                </a:lnTo>
                <a:lnTo>
                  <a:pt x="925" y="1826"/>
                </a:lnTo>
                <a:lnTo>
                  <a:pt x="925" y="1827"/>
                </a:lnTo>
                <a:lnTo>
                  <a:pt x="925" y="1826"/>
                </a:lnTo>
                <a:lnTo>
                  <a:pt x="927" y="1827"/>
                </a:lnTo>
                <a:lnTo>
                  <a:pt x="927" y="1829"/>
                </a:lnTo>
                <a:lnTo>
                  <a:pt x="928" y="1829"/>
                </a:lnTo>
                <a:lnTo>
                  <a:pt x="928" y="1827"/>
                </a:lnTo>
                <a:lnTo>
                  <a:pt x="927" y="1826"/>
                </a:lnTo>
                <a:lnTo>
                  <a:pt x="925" y="1826"/>
                </a:lnTo>
                <a:lnTo>
                  <a:pt x="925" y="1824"/>
                </a:lnTo>
                <a:lnTo>
                  <a:pt x="927" y="1824"/>
                </a:lnTo>
                <a:lnTo>
                  <a:pt x="927" y="1826"/>
                </a:lnTo>
                <a:lnTo>
                  <a:pt x="928" y="1827"/>
                </a:lnTo>
                <a:lnTo>
                  <a:pt x="928" y="1826"/>
                </a:lnTo>
                <a:lnTo>
                  <a:pt x="927" y="1824"/>
                </a:lnTo>
                <a:lnTo>
                  <a:pt x="928" y="1822"/>
                </a:lnTo>
                <a:lnTo>
                  <a:pt x="927" y="1824"/>
                </a:lnTo>
                <a:lnTo>
                  <a:pt x="927" y="1821"/>
                </a:lnTo>
                <a:lnTo>
                  <a:pt x="925" y="1822"/>
                </a:lnTo>
                <a:lnTo>
                  <a:pt x="925" y="1821"/>
                </a:lnTo>
                <a:lnTo>
                  <a:pt x="925" y="1819"/>
                </a:lnTo>
                <a:lnTo>
                  <a:pt x="923" y="1821"/>
                </a:lnTo>
                <a:lnTo>
                  <a:pt x="922" y="1819"/>
                </a:lnTo>
                <a:lnTo>
                  <a:pt x="923" y="1817"/>
                </a:lnTo>
                <a:lnTo>
                  <a:pt x="923" y="1815"/>
                </a:lnTo>
                <a:lnTo>
                  <a:pt x="925" y="1815"/>
                </a:lnTo>
                <a:lnTo>
                  <a:pt x="925" y="1814"/>
                </a:lnTo>
                <a:lnTo>
                  <a:pt x="925" y="1812"/>
                </a:lnTo>
                <a:lnTo>
                  <a:pt x="927" y="1812"/>
                </a:lnTo>
                <a:lnTo>
                  <a:pt x="928" y="1812"/>
                </a:lnTo>
                <a:lnTo>
                  <a:pt x="930" y="1814"/>
                </a:lnTo>
                <a:lnTo>
                  <a:pt x="934" y="1812"/>
                </a:lnTo>
                <a:lnTo>
                  <a:pt x="930" y="1812"/>
                </a:lnTo>
                <a:lnTo>
                  <a:pt x="930" y="1810"/>
                </a:lnTo>
                <a:lnTo>
                  <a:pt x="932" y="1809"/>
                </a:lnTo>
                <a:lnTo>
                  <a:pt x="928" y="1810"/>
                </a:lnTo>
                <a:lnTo>
                  <a:pt x="927" y="1810"/>
                </a:lnTo>
                <a:lnTo>
                  <a:pt x="925" y="1812"/>
                </a:lnTo>
                <a:lnTo>
                  <a:pt x="925" y="1814"/>
                </a:lnTo>
                <a:lnTo>
                  <a:pt x="923" y="1814"/>
                </a:lnTo>
                <a:lnTo>
                  <a:pt x="923" y="1815"/>
                </a:lnTo>
                <a:lnTo>
                  <a:pt x="922" y="1814"/>
                </a:lnTo>
                <a:lnTo>
                  <a:pt x="920" y="1814"/>
                </a:lnTo>
                <a:lnTo>
                  <a:pt x="920" y="1812"/>
                </a:lnTo>
                <a:lnTo>
                  <a:pt x="922" y="1812"/>
                </a:lnTo>
                <a:lnTo>
                  <a:pt x="920" y="1812"/>
                </a:lnTo>
                <a:lnTo>
                  <a:pt x="920" y="1814"/>
                </a:lnTo>
                <a:lnTo>
                  <a:pt x="920" y="1812"/>
                </a:lnTo>
                <a:lnTo>
                  <a:pt x="918" y="1812"/>
                </a:lnTo>
                <a:lnTo>
                  <a:pt x="918" y="1814"/>
                </a:lnTo>
                <a:lnTo>
                  <a:pt x="917" y="1814"/>
                </a:lnTo>
                <a:lnTo>
                  <a:pt x="917" y="1812"/>
                </a:lnTo>
                <a:lnTo>
                  <a:pt x="917" y="1814"/>
                </a:lnTo>
                <a:lnTo>
                  <a:pt x="915" y="1814"/>
                </a:lnTo>
                <a:lnTo>
                  <a:pt x="917" y="1814"/>
                </a:lnTo>
                <a:lnTo>
                  <a:pt x="915" y="1812"/>
                </a:lnTo>
                <a:lnTo>
                  <a:pt x="915" y="1809"/>
                </a:lnTo>
                <a:lnTo>
                  <a:pt x="915" y="1807"/>
                </a:lnTo>
                <a:lnTo>
                  <a:pt x="913" y="1807"/>
                </a:lnTo>
                <a:lnTo>
                  <a:pt x="915" y="1804"/>
                </a:lnTo>
                <a:lnTo>
                  <a:pt x="913" y="1804"/>
                </a:lnTo>
                <a:lnTo>
                  <a:pt x="915" y="1805"/>
                </a:lnTo>
                <a:lnTo>
                  <a:pt x="918" y="1805"/>
                </a:lnTo>
                <a:lnTo>
                  <a:pt x="917" y="1807"/>
                </a:lnTo>
                <a:lnTo>
                  <a:pt x="917" y="1809"/>
                </a:lnTo>
                <a:lnTo>
                  <a:pt x="917" y="1812"/>
                </a:lnTo>
                <a:lnTo>
                  <a:pt x="918" y="1810"/>
                </a:lnTo>
                <a:lnTo>
                  <a:pt x="917" y="1809"/>
                </a:lnTo>
                <a:lnTo>
                  <a:pt x="918" y="1807"/>
                </a:lnTo>
                <a:lnTo>
                  <a:pt x="918" y="1805"/>
                </a:lnTo>
                <a:lnTo>
                  <a:pt x="922" y="1805"/>
                </a:lnTo>
                <a:lnTo>
                  <a:pt x="925" y="1804"/>
                </a:lnTo>
                <a:lnTo>
                  <a:pt x="922" y="1804"/>
                </a:lnTo>
                <a:lnTo>
                  <a:pt x="920" y="1805"/>
                </a:lnTo>
                <a:lnTo>
                  <a:pt x="920" y="1802"/>
                </a:lnTo>
                <a:lnTo>
                  <a:pt x="918" y="1804"/>
                </a:lnTo>
                <a:lnTo>
                  <a:pt x="917" y="1804"/>
                </a:lnTo>
                <a:lnTo>
                  <a:pt x="917" y="1802"/>
                </a:lnTo>
                <a:lnTo>
                  <a:pt x="917" y="1804"/>
                </a:lnTo>
                <a:lnTo>
                  <a:pt x="915" y="1804"/>
                </a:lnTo>
                <a:lnTo>
                  <a:pt x="915" y="1800"/>
                </a:lnTo>
                <a:lnTo>
                  <a:pt x="915" y="1798"/>
                </a:lnTo>
                <a:lnTo>
                  <a:pt x="915" y="1797"/>
                </a:lnTo>
                <a:lnTo>
                  <a:pt x="917" y="1797"/>
                </a:lnTo>
                <a:lnTo>
                  <a:pt x="918" y="1797"/>
                </a:lnTo>
                <a:lnTo>
                  <a:pt x="920" y="1797"/>
                </a:lnTo>
                <a:lnTo>
                  <a:pt x="922" y="1797"/>
                </a:lnTo>
                <a:lnTo>
                  <a:pt x="923" y="1798"/>
                </a:lnTo>
                <a:lnTo>
                  <a:pt x="925" y="1800"/>
                </a:lnTo>
                <a:lnTo>
                  <a:pt x="927" y="1800"/>
                </a:lnTo>
                <a:lnTo>
                  <a:pt x="930" y="1800"/>
                </a:lnTo>
                <a:lnTo>
                  <a:pt x="930" y="1802"/>
                </a:lnTo>
                <a:lnTo>
                  <a:pt x="930" y="1804"/>
                </a:lnTo>
                <a:lnTo>
                  <a:pt x="930" y="1802"/>
                </a:lnTo>
                <a:lnTo>
                  <a:pt x="930" y="1800"/>
                </a:lnTo>
                <a:lnTo>
                  <a:pt x="932" y="1798"/>
                </a:lnTo>
                <a:lnTo>
                  <a:pt x="934" y="1798"/>
                </a:lnTo>
                <a:lnTo>
                  <a:pt x="935" y="1797"/>
                </a:lnTo>
                <a:lnTo>
                  <a:pt x="937" y="1798"/>
                </a:lnTo>
                <a:lnTo>
                  <a:pt x="935" y="1797"/>
                </a:lnTo>
                <a:lnTo>
                  <a:pt x="937" y="1795"/>
                </a:lnTo>
                <a:lnTo>
                  <a:pt x="937" y="1797"/>
                </a:lnTo>
                <a:lnTo>
                  <a:pt x="940" y="1795"/>
                </a:lnTo>
                <a:lnTo>
                  <a:pt x="942" y="1795"/>
                </a:lnTo>
                <a:lnTo>
                  <a:pt x="942" y="1797"/>
                </a:lnTo>
                <a:lnTo>
                  <a:pt x="940" y="1798"/>
                </a:lnTo>
                <a:lnTo>
                  <a:pt x="942" y="1800"/>
                </a:lnTo>
                <a:lnTo>
                  <a:pt x="942" y="1798"/>
                </a:lnTo>
                <a:lnTo>
                  <a:pt x="942" y="1797"/>
                </a:lnTo>
                <a:lnTo>
                  <a:pt x="944" y="1797"/>
                </a:lnTo>
                <a:lnTo>
                  <a:pt x="944" y="1795"/>
                </a:lnTo>
                <a:lnTo>
                  <a:pt x="945" y="1795"/>
                </a:lnTo>
                <a:lnTo>
                  <a:pt x="947" y="1795"/>
                </a:lnTo>
                <a:lnTo>
                  <a:pt x="949" y="1797"/>
                </a:lnTo>
                <a:lnTo>
                  <a:pt x="951" y="1795"/>
                </a:lnTo>
                <a:lnTo>
                  <a:pt x="952" y="1795"/>
                </a:lnTo>
                <a:lnTo>
                  <a:pt x="952" y="1797"/>
                </a:lnTo>
                <a:lnTo>
                  <a:pt x="954" y="1795"/>
                </a:lnTo>
                <a:lnTo>
                  <a:pt x="956" y="1797"/>
                </a:lnTo>
                <a:lnTo>
                  <a:pt x="957" y="1797"/>
                </a:lnTo>
                <a:lnTo>
                  <a:pt x="959" y="1798"/>
                </a:lnTo>
                <a:lnTo>
                  <a:pt x="959" y="1800"/>
                </a:lnTo>
                <a:lnTo>
                  <a:pt x="957" y="1802"/>
                </a:lnTo>
                <a:lnTo>
                  <a:pt x="959" y="1802"/>
                </a:lnTo>
                <a:lnTo>
                  <a:pt x="959" y="1800"/>
                </a:lnTo>
                <a:lnTo>
                  <a:pt x="962" y="1800"/>
                </a:lnTo>
                <a:lnTo>
                  <a:pt x="961" y="1804"/>
                </a:lnTo>
                <a:lnTo>
                  <a:pt x="959" y="1804"/>
                </a:lnTo>
                <a:lnTo>
                  <a:pt x="962" y="1804"/>
                </a:lnTo>
                <a:lnTo>
                  <a:pt x="961" y="1804"/>
                </a:lnTo>
                <a:lnTo>
                  <a:pt x="962" y="1802"/>
                </a:lnTo>
                <a:lnTo>
                  <a:pt x="962" y="1800"/>
                </a:lnTo>
                <a:lnTo>
                  <a:pt x="966" y="1798"/>
                </a:lnTo>
                <a:lnTo>
                  <a:pt x="966" y="1797"/>
                </a:lnTo>
                <a:lnTo>
                  <a:pt x="968" y="1798"/>
                </a:lnTo>
                <a:lnTo>
                  <a:pt x="969" y="1797"/>
                </a:lnTo>
                <a:lnTo>
                  <a:pt x="969" y="1795"/>
                </a:lnTo>
                <a:lnTo>
                  <a:pt x="969" y="1793"/>
                </a:lnTo>
                <a:lnTo>
                  <a:pt x="971" y="1792"/>
                </a:lnTo>
                <a:lnTo>
                  <a:pt x="973" y="1795"/>
                </a:lnTo>
                <a:lnTo>
                  <a:pt x="974" y="1795"/>
                </a:lnTo>
                <a:lnTo>
                  <a:pt x="978" y="1795"/>
                </a:lnTo>
                <a:lnTo>
                  <a:pt x="978" y="1797"/>
                </a:lnTo>
                <a:lnTo>
                  <a:pt x="978" y="1798"/>
                </a:lnTo>
                <a:lnTo>
                  <a:pt x="979" y="1800"/>
                </a:lnTo>
                <a:lnTo>
                  <a:pt x="981" y="1798"/>
                </a:lnTo>
                <a:lnTo>
                  <a:pt x="983" y="1802"/>
                </a:lnTo>
                <a:lnTo>
                  <a:pt x="983" y="1804"/>
                </a:lnTo>
                <a:lnTo>
                  <a:pt x="983" y="1805"/>
                </a:lnTo>
                <a:lnTo>
                  <a:pt x="983" y="1807"/>
                </a:lnTo>
                <a:lnTo>
                  <a:pt x="981" y="1807"/>
                </a:lnTo>
                <a:lnTo>
                  <a:pt x="979" y="1809"/>
                </a:lnTo>
                <a:lnTo>
                  <a:pt x="978" y="1810"/>
                </a:lnTo>
                <a:lnTo>
                  <a:pt x="978" y="1812"/>
                </a:lnTo>
                <a:lnTo>
                  <a:pt x="976" y="1814"/>
                </a:lnTo>
                <a:lnTo>
                  <a:pt x="978" y="1812"/>
                </a:lnTo>
                <a:lnTo>
                  <a:pt x="978" y="1810"/>
                </a:lnTo>
                <a:lnTo>
                  <a:pt x="979" y="1809"/>
                </a:lnTo>
                <a:lnTo>
                  <a:pt x="981" y="1809"/>
                </a:lnTo>
                <a:lnTo>
                  <a:pt x="983" y="1807"/>
                </a:lnTo>
                <a:lnTo>
                  <a:pt x="985" y="1809"/>
                </a:lnTo>
                <a:lnTo>
                  <a:pt x="986" y="1810"/>
                </a:lnTo>
                <a:lnTo>
                  <a:pt x="986" y="1812"/>
                </a:lnTo>
                <a:lnTo>
                  <a:pt x="986" y="1814"/>
                </a:lnTo>
                <a:lnTo>
                  <a:pt x="986" y="1815"/>
                </a:lnTo>
                <a:lnTo>
                  <a:pt x="988" y="1812"/>
                </a:lnTo>
                <a:lnTo>
                  <a:pt x="988" y="1810"/>
                </a:lnTo>
                <a:lnTo>
                  <a:pt x="988" y="1809"/>
                </a:lnTo>
                <a:lnTo>
                  <a:pt x="986" y="1809"/>
                </a:lnTo>
                <a:lnTo>
                  <a:pt x="985" y="1807"/>
                </a:lnTo>
                <a:lnTo>
                  <a:pt x="985" y="1805"/>
                </a:lnTo>
                <a:lnTo>
                  <a:pt x="983" y="1804"/>
                </a:lnTo>
                <a:lnTo>
                  <a:pt x="983" y="1802"/>
                </a:lnTo>
                <a:lnTo>
                  <a:pt x="983" y="1798"/>
                </a:lnTo>
                <a:lnTo>
                  <a:pt x="985" y="1798"/>
                </a:lnTo>
                <a:lnTo>
                  <a:pt x="986" y="1798"/>
                </a:lnTo>
                <a:lnTo>
                  <a:pt x="988" y="1797"/>
                </a:lnTo>
                <a:lnTo>
                  <a:pt x="990" y="1797"/>
                </a:lnTo>
                <a:lnTo>
                  <a:pt x="991" y="1795"/>
                </a:lnTo>
                <a:lnTo>
                  <a:pt x="993" y="1797"/>
                </a:lnTo>
                <a:lnTo>
                  <a:pt x="995" y="1797"/>
                </a:lnTo>
                <a:lnTo>
                  <a:pt x="996" y="1798"/>
                </a:lnTo>
                <a:lnTo>
                  <a:pt x="998" y="1798"/>
                </a:lnTo>
                <a:lnTo>
                  <a:pt x="996" y="1798"/>
                </a:lnTo>
                <a:lnTo>
                  <a:pt x="995" y="1795"/>
                </a:lnTo>
                <a:lnTo>
                  <a:pt x="996" y="1795"/>
                </a:lnTo>
                <a:lnTo>
                  <a:pt x="998" y="1793"/>
                </a:lnTo>
                <a:lnTo>
                  <a:pt x="1000" y="1792"/>
                </a:lnTo>
                <a:lnTo>
                  <a:pt x="1003" y="1793"/>
                </a:lnTo>
                <a:lnTo>
                  <a:pt x="1003" y="1792"/>
                </a:lnTo>
                <a:lnTo>
                  <a:pt x="1005" y="1790"/>
                </a:lnTo>
                <a:lnTo>
                  <a:pt x="1007" y="1790"/>
                </a:lnTo>
                <a:lnTo>
                  <a:pt x="1005" y="1790"/>
                </a:lnTo>
                <a:lnTo>
                  <a:pt x="1003" y="1792"/>
                </a:lnTo>
                <a:lnTo>
                  <a:pt x="1002" y="1792"/>
                </a:lnTo>
                <a:lnTo>
                  <a:pt x="1000" y="1792"/>
                </a:lnTo>
                <a:lnTo>
                  <a:pt x="998" y="1792"/>
                </a:lnTo>
                <a:lnTo>
                  <a:pt x="996" y="1792"/>
                </a:lnTo>
                <a:lnTo>
                  <a:pt x="996" y="1790"/>
                </a:lnTo>
                <a:lnTo>
                  <a:pt x="996" y="1787"/>
                </a:lnTo>
                <a:lnTo>
                  <a:pt x="993" y="1785"/>
                </a:lnTo>
                <a:lnTo>
                  <a:pt x="996" y="1783"/>
                </a:lnTo>
                <a:lnTo>
                  <a:pt x="996" y="1781"/>
                </a:lnTo>
                <a:lnTo>
                  <a:pt x="996" y="1780"/>
                </a:lnTo>
                <a:lnTo>
                  <a:pt x="1000" y="1776"/>
                </a:lnTo>
                <a:lnTo>
                  <a:pt x="1002" y="1775"/>
                </a:lnTo>
                <a:lnTo>
                  <a:pt x="1003" y="1773"/>
                </a:lnTo>
                <a:lnTo>
                  <a:pt x="1003" y="1771"/>
                </a:lnTo>
                <a:lnTo>
                  <a:pt x="1003" y="1773"/>
                </a:lnTo>
                <a:lnTo>
                  <a:pt x="1002" y="1773"/>
                </a:lnTo>
                <a:lnTo>
                  <a:pt x="998" y="1775"/>
                </a:lnTo>
                <a:lnTo>
                  <a:pt x="998" y="1776"/>
                </a:lnTo>
                <a:lnTo>
                  <a:pt x="996" y="1778"/>
                </a:lnTo>
                <a:lnTo>
                  <a:pt x="995" y="1780"/>
                </a:lnTo>
                <a:lnTo>
                  <a:pt x="993" y="1778"/>
                </a:lnTo>
                <a:lnTo>
                  <a:pt x="995" y="1780"/>
                </a:lnTo>
                <a:lnTo>
                  <a:pt x="995" y="1781"/>
                </a:lnTo>
                <a:lnTo>
                  <a:pt x="995" y="1783"/>
                </a:lnTo>
                <a:lnTo>
                  <a:pt x="993" y="1783"/>
                </a:lnTo>
                <a:lnTo>
                  <a:pt x="991" y="1785"/>
                </a:lnTo>
                <a:lnTo>
                  <a:pt x="993" y="1787"/>
                </a:lnTo>
                <a:lnTo>
                  <a:pt x="995" y="1787"/>
                </a:lnTo>
                <a:lnTo>
                  <a:pt x="995" y="1788"/>
                </a:lnTo>
                <a:lnTo>
                  <a:pt x="995" y="1790"/>
                </a:lnTo>
                <a:lnTo>
                  <a:pt x="995" y="1792"/>
                </a:lnTo>
                <a:lnTo>
                  <a:pt x="996" y="1793"/>
                </a:lnTo>
                <a:lnTo>
                  <a:pt x="993" y="1795"/>
                </a:lnTo>
                <a:lnTo>
                  <a:pt x="991" y="1793"/>
                </a:lnTo>
                <a:lnTo>
                  <a:pt x="990" y="1793"/>
                </a:lnTo>
                <a:lnTo>
                  <a:pt x="988" y="1795"/>
                </a:lnTo>
                <a:lnTo>
                  <a:pt x="986" y="1797"/>
                </a:lnTo>
                <a:lnTo>
                  <a:pt x="985" y="1797"/>
                </a:lnTo>
                <a:lnTo>
                  <a:pt x="981" y="1798"/>
                </a:lnTo>
                <a:lnTo>
                  <a:pt x="981" y="1797"/>
                </a:lnTo>
                <a:lnTo>
                  <a:pt x="979" y="1795"/>
                </a:lnTo>
                <a:lnTo>
                  <a:pt x="983" y="1795"/>
                </a:lnTo>
                <a:lnTo>
                  <a:pt x="983" y="1793"/>
                </a:lnTo>
                <a:lnTo>
                  <a:pt x="985" y="1792"/>
                </a:lnTo>
                <a:lnTo>
                  <a:pt x="988" y="1792"/>
                </a:lnTo>
                <a:lnTo>
                  <a:pt x="986" y="1790"/>
                </a:lnTo>
                <a:lnTo>
                  <a:pt x="988" y="1788"/>
                </a:lnTo>
                <a:lnTo>
                  <a:pt x="988" y="1787"/>
                </a:lnTo>
                <a:lnTo>
                  <a:pt x="986" y="1788"/>
                </a:lnTo>
                <a:lnTo>
                  <a:pt x="986" y="1790"/>
                </a:lnTo>
                <a:lnTo>
                  <a:pt x="983" y="1792"/>
                </a:lnTo>
                <a:lnTo>
                  <a:pt x="983" y="1795"/>
                </a:lnTo>
                <a:lnTo>
                  <a:pt x="979" y="1793"/>
                </a:lnTo>
                <a:lnTo>
                  <a:pt x="978" y="1792"/>
                </a:lnTo>
                <a:lnTo>
                  <a:pt x="976" y="1792"/>
                </a:lnTo>
                <a:lnTo>
                  <a:pt x="973" y="1792"/>
                </a:lnTo>
                <a:lnTo>
                  <a:pt x="971" y="1790"/>
                </a:lnTo>
                <a:lnTo>
                  <a:pt x="969" y="1790"/>
                </a:lnTo>
                <a:lnTo>
                  <a:pt x="969" y="1788"/>
                </a:lnTo>
                <a:lnTo>
                  <a:pt x="971" y="1787"/>
                </a:lnTo>
                <a:lnTo>
                  <a:pt x="973" y="1785"/>
                </a:lnTo>
                <a:lnTo>
                  <a:pt x="973" y="1783"/>
                </a:lnTo>
                <a:lnTo>
                  <a:pt x="973" y="1781"/>
                </a:lnTo>
                <a:lnTo>
                  <a:pt x="974" y="1780"/>
                </a:lnTo>
                <a:lnTo>
                  <a:pt x="974" y="1778"/>
                </a:lnTo>
                <a:lnTo>
                  <a:pt x="974" y="1776"/>
                </a:lnTo>
                <a:lnTo>
                  <a:pt x="974" y="1775"/>
                </a:lnTo>
                <a:lnTo>
                  <a:pt x="974" y="1776"/>
                </a:lnTo>
                <a:lnTo>
                  <a:pt x="974" y="1778"/>
                </a:lnTo>
                <a:lnTo>
                  <a:pt x="974" y="1780"/>
                </a:lnTo>
                <a:lnTo>
                  <a:pt x="971" y="1783"/>
                </a:lnTo>
                <a:lnTo>
                  <a:pt x="971" y="1785"/>
                </a:lnTo>
                <a:lnTo>
                  <a:pt x="968" y="1787"/>
                </a:lnTo>
                <a:lnTo>
                  <a:pt x="968" y="1785"/>
                </a:lnTo>
                <a:lnTo>
                  <a:pt x="968" y="1783"/>
                </a:lnTo>
                <a:lnTo>
                  <a:pt x="968" y="1785"/>
                </a:lnTo>
                <a:lnTo>
                  <a:pt x="966" y="1785"/>
                </a:lnTo>
                <a:lnTo>
                  <a:pt x="968" y="1787"/>
                </a:lnTo>
                <a:lnTo>
                  <a:pt x="968" y="1788"/>
                </a:lnTo>
                <a:lnTo>
                  <a:pt x="968" y="1790"/>
                </a:lnTo>
                <a:lnTo>
                  <a:pt x="966" y="1790"/>
                </a:lnTo>
                <a:lnTo>
                  <a:pt x="964" y="1788"/>
                </a:lnTo>
                <a:lnTo>
                  <a:pt x="966" y="1790"/>
                </a:lnTo>
                <a:lnTo>
                  <a:pt x="968" y="1790"/>
                </a:lnTo>
                <a:lnTo>
                  <a:pt x="966" y="1792"/>
                </a:lnTo>
                <a:lnTo>
                  <a:pt x="968" y="1793"/>
                </a:lnTo>
                <a:lnTo>
                  <a:pt x="968" y="1795"/>
                </a:lnTo>
                <a:lnTo>
                  <a:pt x="964" y="1795"/>
                </a:lnTo>
                <a:lnTo>
                  <a:pt x="964" y="1797"/>
                </a:lnTo>
                <a:lnTo>
                  <a:pt x="962" y="1797"/>
                </a:lnTo>
                <a:lnTo>
                  <a:pt x="961" y="1797"/>
                </a:lnTo>
                <a:lnTo>
                  <a:pt x="959" y="1795"/>
                </a:lnTo>
                <a:lnTo>
                  <a:pt x="957" y="1795"/>
                </a:lnTo>
                <a:lnTo>
                  <a:pt x="956" y="1792"/>
                </a:lnTo>
                <a:lnTo>
                  <a:pt x="954" y="1793"/>
                </a:lnTo>
                <a:lnTo>
                  <a:pt x="952" y="1793"/>
                </a:lnTo>
                <a:lnTo>
                  <a:pt x="951" y="1793"/>
                </a:lnTo>
                <a:lnTo>
                  <a:pt x="949" y="1792"/>
                </a:lnTo>
                <a:lnTo>
                  <a:pt x="951" y="1790"/>
                </a:lnTo>
                <a:lnTo>
                  <a:pt x="951" y="1788"/>
                </a:lnTo>
                <a:lnTo>
                  <a:pt x="951" y="1790"/>
                </a:lnTo>
                <a:lnTo>
                  <a:pt x="949" y="1790"/>
                </a:lnTo>
                <a:lnTo>
                  <a:pt x="947" y="1792"/>
                </a:lnTo>
                <a:lnTo>
                  <a:pt x="945" y="1792"/>
                </a:lnTo>
                <a:lnTo>
                  <a:pt x="944" y="1792"/>
                </a:lnTo>
                <a:lnTo>
                  <a:pt x="942" y="1792"/>
                </a:lnTo>
                <a:lnTo>
                  <a:pt x="942" y="1790"/>
                </a:lnTo>
                <a:lnTo>
                  <a:pt x="944" y="1788"/>
                </a:lnTo>
                <a:lnTo>
                  <a:pt x="942" y="1788"/>
                </a:lnTo>
                <a:lnTo>
                  <a:pt x="942" y="1790"/>
                </a:lnTo>
                <a:lnTo>
                  <a:pt x="942" y="1792"/>
                </a:lnTo>
                <a:lnTo>
                  <a:pt x="939" y="1792"/>
                </a:lnTo>
                <a:lnTo>
                  <a:pt x="939" y="1793"/>
                </a:lnTo>
                <a:lnTo>
                  <a:pt x="937" y="1793"/>
                </a:lnTo>
                <a:lnTo>
                  <a:pt x="935" y="1793"/>
                </a:lnTo>
                <a:lnTo>
                  <a:pt x="935" y="1792"/>
                </a:lnTo>
                <a:lnTo>
                  <a:pt x="935" y="1793"/>
                </a:lnTo>
                <a:lnTo>
                  <a:pt x="934" y="1795"/>
                </a:lnTo>
                <a:lnTo>
                  <a:pt x="932" y="1795"/>
                </a:lnTo>
                <a:lnTo>
                  <a:pt x="928" y="1797"/>
                </a:lnTo>
                <a:lnTo>
                  <a:pt x="927" y="1798"/>
                </a:lnTo>
                <a:lnTo>
                  <a:pt x="927" y="1797"/>
                </a:lnTo>
                <a:lnTo>
                  <a:pt x="925" y="1795"/>
                </a:lnTo>
                <a:lnTo>
                  <a:pt x="927" y="1793"/>
                </a:lnTo>
                <a:lnTo>
                  <a:pt x="925" y="1795"/>
                </a:lnTo>
                <a:lnTo>
                  <a:pt x="923" y="1795"/>
                </a:lnTo>
                <a:lnTo>
                  <a:pt x="923" y="1793"/>
                </a:lnTo>
                <a:lnTo>
                  <a:pt x="923" y="1795"/>
                </a:lnTo>
                <a:lnTo>
                  <a:pt x="922" y="1795"/>
                </a:lnTo>
                <a:lnTo>
                  <a:pt x="922" y="1792"/>
                </a:lnTo>
                <a:lnTo>
                  <a:pt x="923" y="1793"/>
                </a:lnTo>
                <a:lnTo>
                  <a:pt x="922" y="1790"/>
                </a:lnTo>
                <a:lnTo>
                  <a:pt x="920" y="1792"/>
                </a:lnTo>
                <a:lnTo>
                  <a:pt x="918" y="1790"/>
                </a:lnTo>
                <a:lnTo>
                  <a:pt x="917" y="1790"/>
                </a:lnTo>
                <a:lnTo>
                  <a:pt x="918" y="1788"/>
                </a:lnTo>
                <a:lnTo>
                  <a:pt x="920" y="1788"/>
                </a:lnTo>
                <a:lnTo>
                  <a:pt x="922" y="1788"/>
                </a:lnTo>
                <a:lnTo>
                  <a:pt x="923" y="1790"/>
                </a:lnTo>
                <a:lnTo>
                  <a:pt x="925" y="1790"/>
                </a:lnTo>
                <a:lnTo>
                  <a:pt x="923" y="1788"/>
                </a:lnTo>
                <a:lnTo>
                  <a:pt x="925" y="1790"/>
                </a:lnTo>
                <a:lnTo>
                  <a:pt x="925" y="1788"/>
                </a:lnTo>
                <a:lnTo>
                  <a:pt x="923" y="1788"/>
                </a:lnTo>
                <a:lnTo>
                  <a:pt x="922" y="1787"/>
                </a:lnTo>
                <a:lnTo>
                  <a:pt x="918" y="1787"/>
                </a:lnTo>
                <a:lnTo>
                  <a:pt x="917" y="1787"/>
                </a:lnTo>
                <a:lnTo>
                  <a:pt x="915" y="1787"/>
                </a:lnTo>
                <a:lnTo>
                  <a:pt x="917" y="1785"/>
                </a:lnTo>
                <a:lnTo>
                  <a:pt x="918" y="1785"/>
                </a:lnTo>
                <a:lnTo>
                  <a:pt x="918" y="1783"/>
                </a:lnTo>
                <a:lnTo>
                  <a:pt x="918" y="1785"/>
                </a:lnTo>
                <a:lnTo>
                  <a:pt x="915" y="1785"/>
                </a:lnTo>
                <a:lnTo>
                  <a:pt x="917" y="1783"/>
                </a:lnTo>
                <a:lnTo>
                  <a:pt x="915" y="1783"/>
                </a:lnTo>
                <a:lnTo>
                  <a:pt x="915" y="1781"/>
                </a:lnTo>
                <a:lnTo>
                  <a:pt x="917" y="1781"/>
                </a:lnTo>
                <a:lnTo>
                  <a:pt x="918" y="1781"/>
                </a:lnTo>
                <a:lnTo>
                  <a:pt x="917" y="1781"/>
                </a:lnTo>
                <a:lnTo>
                  <a:pt x="917" y="1780"/>
                </a:lnTo>
                <a:lnTo>
                  <a:pt x="920" y="1781"/>
                </a:lnTo>
                <a:lnTo>
                  <a:pt x="920" y="1780"/>
                </a:lnTo>
                <a:lnTo>
                  <a:pt x="920" y="1781"/>
                </a:lnTo>
                <a:lnTo>
                  <a:pt x="923" y="1781"/>
                </a:lnTo>
                <a:lnTo>
                  <a:pt x="922" y="1778"/>
                </a:lnTo>
                <a:lnTo>
                  <a:pt x="923" y="1778"/>
                </a:lnTo>
                <a:lnTo>
                  <a:pt x="925" y="1778"/>
                </a:lnTo>
                <a:lnTo>
                  <a:pt x="927" y="1780"/>
                </a:lnTo>
                <a:lnTo>
                  <a:pt x="927" y="1778"/>
                </a:lnTo>
                <a:lnTo>
                  <a:pt x="927" y="1780"/>
                </a:lnTo>
                <a:lnTo>
                  <a:pt x="927" y="1778"/>
                </a:lnTo>
                <a:lnTo>
                  <a:pt x="925" y="1778"/>
                </a:lnTo>
                <a:lnTo>
                  <a:pt x="927" y="1778"/>
                </a:lnTo>
                <a:lnTo>
                  <a:pt x="928" y="1776"/>
                </a:lnTo>
                <a:lnTo>
                  <a:pt x="930" y="1776"/>
                </a:lnTo>
                <a:lnTo>
                  <a:pt x="932" y="1776"/>
                </a:lnTo>
                <a:lnTo>
                  <a:pt x="934" y="1776"/>
                </a:lnTo>
                <a:lnTo>
                  <a:pt x="935" y="1778"/>
                </a:lnTo>
                <a:lnTo>
                  <a:pt x="937" y="1776"/>
                </a:lnTo>
                <a:lnTo>
                  <a:pt x="939" y="1778"/>
                </a:lnTo>
                <a:lnTo>
                  <a:pt x="939" y="1776"/>
                </a:lnTo>
                <a:lnTo>
                  <a:pt x="937" y="1776"/>
                </a:lnTo>
                <a:lnTo>
                  <a:pt x="935" y="1776"/>
                </a:lnTo>
                <a:lnTo>
                  <a:pt x="934" y="1776"/>
                </a:lnTo>
                <a:lnTo>
                  <a:pt x="930" y="1776"/>
                </a:lnTo>
                <a:lnTo>
                  <a:pt x="930" y="1775"/>
                </a:lnTo>
                <a:lnTo>
                  <a:pt x="928" y="1776"/>
                </a:lnTo>
                <a:lnTo>
                  <a:pt x="925" y="1776"/>
                </a:lnTo>
                <a:lnTo>
                  <a:pt x="922" y="1776"/>
                </a:lnTo>
                <a:lnTo>
                  <a:pt x="922" y="1778"/>
                </a:lnTo>
                <a:lnTo>
                  <a:pt x="918" y="1778"/>
                </a:lnTo>
                <a:lnTo>
                  <a:pt x="918" y="1780"/>
                </a:lnTo>
                <a:lnTo>
                  <a:pt x="918" y="1778"/>
                </a:lnTo>
                <a:lnTo>
                  <a:pt x="920" y="1776"/>
                </a:lnTo>
                <a:lnTo>
                  <a:pt x="918" y="1776"/>
                </a:lnTo>
                <a:lnTo>
                  <a:pt x="918" y="1778"/>
                </a:lnTo>
                <a:lnTo>
                  <a:pt x="917" y="1778"/>
                </a:lnTo>
                <a:lnTo>
                  <a:pt x="917" y="1775"/>
                </a:lnTo>
                <a:lnTo>
                  <a:pt x="918" y="1773"/>
                </a:lnTo>
                <a:lnTo>
                  <a:pt x="918" y="1775"/>
                </a:lnTo>
                <a:lnTo>
                  <a:pt x="920" y="1773"/>
                </a:lnTo>
                <a:lnTo>
                  <a:pt x="922" y="1771"/>
                </a:lnTo>
                <a:lnTo>
                  <a:pt x="918" y="1771"/>
                </a:lnTo>
                <a:lnTo>
                  <a:pt x="917" y="1773"/>
                </a:lnTo>
                <a:lnTo>
                  <a:pt x="915" y="1771"/>
                </a:lnTo>
                <a:lnTo>
                  <a:pt x="917" y="1771"/>
                </a:lnTo>
                <a:lnTo>
                  <a:pt x="918" y="1770"/>
                </a:lnTo>
                <a:lnTo>
                  <a:pt x="922" y="1770"/>
                </a:lnTo>
                <a:lnTo>
                  <a:pt x="923" y="1770"/>
                </a:lnTo>
                <a:lnTo>
                  <a:pt x="925" y="1770"/>
                </a:lnTo>
                <a:lnTo>
                  <a:pt x="923" y="1768"/>
                </a:lnTo>
                <a:lnTo>
                  <a:pt x="925" y="1768"/>
                </a:lnTo>
                <a:lnTo>
                  <a:pt x="925" y="1770"/>
                </a:lnTo>
                <a:lnTo>
                  <a:pt x="927" y="1770"/>
                </a:lnTo>
                <a:lnTo>
                  <a:pt x="928" y="1770"/>
                </a:lnTo>
                <a:lnTo>
                  <a:pt x="927" y="1768"/>
                </a:lnTo>
                <a:lnTo>
                  <a:pt x="930" y="1770"/>
                </a:lnTo>
                <a:lnTo>
                  <a:pt x="932" y="1771"/>
                </a:lnTo>
                <a:lnTo>
                  <a:pt x="930" y="1771"/>
                </a:lnTo>
                <a:lnTo>
                  <a:pt x="934" y="1771"/>
                </a:lnTo>
                <a:lnTo>
                  <a:pt x="935" y="1771"/>
                </a:lnTo>
                <a:lnTo>
                  <a:pt x="937" y="1771"/>
                </a:lnTo>
                <a:lnTo>
                  <a:pt x="939" y="1770"/>
                </a:lnTo>
                <a:lnTo>
                  <a:pt x="940" y="1768"/>
                </a:lnTo>
                <a:lnTo>
                  <a:pt x="942" y="1770"/>
                </a:lnTo>
                <a:lnTo>
                  <a:pt x="944" y="1771"/>
                </a:lnTo>
                <a:lnTo>
                  <a:pt x="944" y="1770"/>
                </a:lnTo>
                <a:lnTo>
                  <a:pt x="944" y="1768"/>
                </a:lnTo>
                <a:lnTo>
                  <a:pt x="940" y="1768"/>
                </a:lnTo>
                <a:lnTo>
                  <a:pt x="939" y="1768"/>
                </a:lnTo>
                <a:lnTo>
                  <a:pt x="937" y="1770"/>
                </a:lnTo>
                <a:lnTo>
                  <a:pt x="934" y="1770"/>
                </a:lnTo>
                <a:lnTo>
                  <a:pt x="934" y="1771"/>
                </a:lnTo>
                <a:lnTo>
                  <a:pt x="932" y="1771"/>
                </a:lnTo>
                <a:lnTo>
                  <a:pt x="930" y="1770"/>
                </a:lnTo>
                <a:lnTo>
                  <a:pt x="932" y="1770"/>
                </a:lnTo>
                <a:lnTo>
                  <a:pt x="932" y="1768"/>
                </a:lnTo>
                <a:lnTo>
                  <a:pt x="934" y="1768"/>
                </a:lnTo>
                <a:lnTo>
                  <a:pt x="932" y="1768"/>
                </a:lnTo>
                <a:lnTo>
                  <a:pt x="930" y="1768"/>
                </a:lnTo>
                <a:lnTo>
                  <a:pt x="928" y="1768"/>
                </a:lnTo>
                <a:lnTo>
                  <a:pt x="927" y="1768"/>
                </a:lnTo>
                <a:lnTo>
                  <a:pt x="925" y="1768"/>
                </a:lnTo>
                <a:lnTo>
                  <a:pt x="923" y="1766"/>
                </a:lnTo>
                <a:lnTo>
                  <a:pt x="922" y="1766"/>
                </a:lnTo>
                <a:lnTo>
                  <a:pt x="922" y="1764"/>
                </a:lnTo>
                <a:lnTo>
                  <a:pt x="923" y="1764"/>
                </a:lnTo>
                <a:lnTo>
                  <a:pt x="922" y="1764"/>
                </a:lnTo>
                <a:lnTo>
                  <a:pt x="922" y="1763"/>
                </a:lnTo>
                <a:lnTo>
                  <a:pt x="923" y="1763"/>
                </a:lnTo>
                <a:lnTo>
                  <a:pt x="925" y="1764"/>
                </a:lnTo>
                <a:lnTo>
                  <a:pt x="927" y="1764"/>
                </a:lnTo>
                <a:lnTo>
                  <a:pt x="925" y="1763"/>
                </a:lnTo>
                <a:lnTo>
                  <a:pt x="927" y="1764"/>
                </a:lnTo>
                <a:lnTo>
                  <a:pt x="928" y="1763"/>
                </a:lnTo>
                <a:lnTo>
                  <a:pt x="930" y="1764"/>
                </a:lnTo>
                <a:lnTo>
                  <a:pt x="928" y="1763"/>
                </a:lnTo>
                <a:lnTo>
                  <a:pt x="925" y="1763"/>
                </a:lnTo>
                <a:lnTo>
                  <a:pt x="923" y="1761"/>
                </a:lnTo>
                <a:lnTo>
                  <a:pt x="923" y="1759"/>
                </a:lnTo>
                <a:lnTo>
                  <a:pt x="925" y="1759"/>
                </a:lnTo>
                <a:lnTo>
                  <a:pt x="927" y="1759"/>
                </a:lnTo>
                <a:lnTo>
                  <a:pt x="928" y="1759"/>
                </a:lnTo>
                <a:lnTo>
                  <a:pt x="930" y="1761"/>
                </a:lnTo>
                <a:lnTo>
                  <a:pt x="928" y="1761"/>
                </a:lnTo>
                <a:lnTo>
                  <a:pt x="928" y="1763"/>
                </a:lnTo>
                <a:lnTo>
                  <a:pt x="932" y="1763"/>
                </a:lnTo>
                <a:lnTo>
                  <a:pt x="932" y="1761"/>
                </a:lnTo>
                <a:lnTo>
                  <a:pt x="930" y="1761"/>
                </a:lnTo>
                <a:lnTo>
                  <a:pt x="930" y="1759"/>
                </a:lnTo>
                <a:lnTo>
                  <a:pt x="928" y="1759"/>
                </a:lnTo>
                <a:lnTo>
                  <a:pt x="927" y="1759"/>
                </a:lnTo>
                <a:lnTo>
                  <a:pt x="925" y="1759"/>
                </a:lnTo>
                <a:lnTo>
                  <a:pt x="922" y="1759"/>
                </a:lnTo>
                <a:lnTo>
                  <a:pt x="923" y="1758"/>
                </a:lnTo>
                <a:lnTo>
                  <a:pt x="925" y="1759"/>
                </a:lnTo>
                <a:lnTo>
                  <a:pt x="927" y="1758"/>
                </a:lnTo>
                <a:lnTo>
                  <a:pt x="928" y="1758"/>
                </a:lnTo>
                <a:lnTo>
                  <a:pt x="932" y="1758"/>
                </a:lnTo>
                <a:lnTo>
                  <a:pt x="930" y="1758"/>
                </a:lnTo>
                <a:lnTo>
                  <a:pt x="928" y="1758"/>
                </a:lnTo>
                <a:lnTo>
                  <a:pt x="927" y="1758"/>
                </a:lnTo>
                <a:lnTo>
                  <a:pt x="923" y="1758"/>
                </a:lnTo>
                <a:lnTo>
                  <a:pt x="925" y="1758"/>
                </a:lnTo>
                <a:lnTo>
                  <a:pt x="922" y="1758"/>
                </a:lnTo>
                <a:lnTo>
                  <a:pt x="920" y="1756"/>
                </a:lnTo>
                <a:lnTo>
                  <a:pt x="918" y="1758"/>
                </a:lnTo>
                <a:lnTo>
                  <a:pt x="917" y="1756"/>
                </a:lnTo>
                <a:lnTo>
                  <a:pt x="917" y="1758"/>
                </a:lnTo>
                <a:lnTo>
                  <a:pt x="917" y="1756"/>
                </a:lnTo>
                <a:lnTo>
                  <a:pt x="917" y="1754"/>
                </a:lnTo>
                <a:lnTo>
                  <a:pt x="917" y="1753"/>
                </a:lnTo>
                <a:lnTo>
                  <a:pt x="917" y="1751"/>
                </a:lnTo>
                <a:lnTo>
                  <a:pt x="918" y="1751"/>
                </a:lnTo>
                <a:lnTo>
                  <a:pt x="917" y="1749"/>
                </a:lnTo>
                <a:lnTo>
                  <a:pt x="918" y="1747"/>
                </a:lnTo>
                <a:lnTo>
                  <a:pt x="920" y="1749"/>
                </a:lnTo>
                <a:lnTo>
                  <a:pt x="920" y="1753"/>
                </a:lnTo>
                <a:lnTo>
                  <a:pt x="922" y="1749"/>
                </a:lnTo>
                <a:lnTo>
                  <a:pt x="923" y="1751"/>
                </a:lnTo>
                <a:lnTo>
                  <a:pt x="922" y="1753"/>
                </a:lnTo>
                <a:lnTo>
                  <a:pt x="923" y="1751"/>
                </a:lnTo>
                <a:lnTo>
                  <a:pt x="925" y="1751"/>
                </a:lnTo>
                <a:lnTo>
                  <a:pt x="922" y="1749"/>
                </a:lnTo>
                <a:lnTo>
                  <a:pt x="925" y="1749"/>
                </a:lnTo>
                <a:lnTo>
                  <a:pt x="925" y="1747"/>
                </a:lnTo>
                <a:lnTo>
                  <a:pt x="927" y="1749"/>
                </a:lnTo>
                <a:lnTo>
                  <a:pt x="927" y="1747"/>
                </a:lnTo>
                <a:lnTo>
                  <a:pt x="925" y="1747"/>
                </a:lnTo>
                <a:lnTo>
                  <a:pt x="923" y="1747"/>
                </a:lnTo>
                <a:lnTo>
                  <a:pt x="922" y="1749"/>
                </a:lnTo>
                <a:lnTo>
                  <a:pt x="920" y="1747"/>
                </a:lnTo>
                <a:lnTo>
                  <a:pt x="923" y="1746"/>
                </a:lnTo>
                <a:lnTo>
                  <a:pt x="925" y="1746"/>
                </a:lnTo>
                <a:lnTo>
                  <a:pt x="925" y="1744"/>
                </a:lnTo>
                <a:lnTo>
                  <a:pt x="928" y="1744"/>
                </a:lnTo>
                <a:lnTo>
                  <a:pt x="927" y="1744"/>
                </a:lnTo>
                <a:lnTo>
                  <a:pt x="928" y="1742"/>
                </a:lnTo>
                <a:lnTo>
                  <a:pt x="930" y="1742"/>
                </a:lnTo>
                <a:lnTo>
                  <a:pt x="928" y="1742"/>
                </a:lnTo>
                <a:lnTo>
                  <a:pt x="928" y="1741"/>
                </a:lnTo>
                <a:lnTo>
                  <a:pt x="930" y="1739"/>
                </a:lnTo>
                <a:lnTo>
                  <a:pt x="932" y="1737"/>
                </a:lnTo>
                <a:lnTo>
                  <a:pt x="934" y="1739"/>
                </a:lnTo>
                <a:lnTo>
                  <a:pt x="935" y="1739"/>
                </a:lnTo>
                <a:lnTo>
                  <a:pt x="937" y="1741"/>
                </a:lnTo>
                <a:lnTo>
                  <a:pt x="939" y="1739"/>
                </a:lnTo>
                <a:lnTo>
                  <a:pt x="940" y="1741"/>
                </a:lnTo>
                <a:lnTo>
                  <a:pt x="942" y="1741"/>
                </a:lnTo>
                <a:lnTo>
                  <a:pt x="942" y="1742"/>
                </a:lnTo>
                <a:lnTo>
                  <a:pt x="944" y="1742"/>
                </a:lnTo>
                <a:lnTo>
                  <a:pt x="942" y="1744"/>
                </a:lnTo>
                <a:lnTo>
                  <a:pt x="940" y="1744"/>
                </a:lnTo>
                <a:lnTo>
                  <a:pt x="939" y="1746"/>
                </a:lnTo>
                <a:lnTo>
                  <a:pt x="940" y="1744"/>
                </a:lnTo>
                <a:lnTo>
                  <a:pt x="944" y="1744"/>
                </a:lnTo>
                <a:lnTo>
                  <a:pt x="945" y="1744"/>
                </a:lnTo>
                <a:lnTo>
                  <a:pt x="947" y="1742"/>
                </a:lnTo>
                <a:lnTo>
                  <a:pt x="949" y="1742"/>
                </a:lnTo>
                <a:lnTo>
                  <a:pt x="951" y="1744"/>
                </a:lnTo>
                <a:lnTo>
                  <a:pt x="951" y="1746"/>
                </a:lnTo>
                <a:lnTo>
                  <a:pt x="949" y="1747"/>
                </a:lnTo>
                <a:lnTo>
                  <a:pt x="949" y="1749"/>
                </a:lnTo>
                <a:lnTo>
                  <a:pt x="947" y="1751"/>
                </a:lnTo>
                <a:lnTo>
                  <a:pt x="947" y="1753"/>
                </a:lnTo>
                <a:lnTo>
                  <a:pt x="949" y="1751"/>
                </a:lnTo>
                <a:lnTo>
                  <a:pt x="949" y="1749"/>
                </a:lnTo>
                <a:lnTo>
                  <a:pt x="951" y="1747"/>
                </a:lnTo>
                <a:lnTo>
                  <a:pt x="951" y="1746"/>
                </a:lnTo>
                <a:lnTo>
                  <a:pt x="951" y="1744"/>
                </a:lnTo>
                <a:lnTo>
                  <a:pt x="952" y="1744"/>
                </a:lnTo>
                <a:lnTo>
                  <a:pt x="952" y="1746"/>
                </a:lnTo>
                <a:lnTo>
                  <a:pt x="954" y="1747"/>
                </a:lnTo>
                <a:lnTo>
                  <a:pt x="954" y="1749"/>
                </a:lnTo>
                <a:lnTo>
                  <a:pt x="957" y="1751"/>
                </a:lnTo>
                <a:lnTo>
                  <a:pt x="957" y="1749"/>
                </a:lnTo>
                <a:lnTo>
                  <a:pt x="957" y="1751"/>
                </a:lnTo>
                <a:lnTo>
                  <a:pt x="957" y="1749"/>
                </a:lnTo>
                <a:lnTo>
                  <a:pt x="956" y="1746"/>
                </a:lnTo>
                <a:lnTo>
                  <a:pt x="954" y="1746"/>
                </a:lnTo>
                <a:lnTo>
                  <a:pt x="954" y="1744"/>
                </a:lnTo>
                <a:lnTo>
                  <a:pt x="956" y="1746"/>
                </a:lnTo>
                <a:lnTo>
                  <a:pt x="957" y="1746"/>
                </a:lnTo>
                <a:lnTo>
                  <a:pt x="959" y="1744"/>
                </a:lnTo>
                <a:lnTo>
                  <a:pt x="961" y="1744"/>
                </a:lnTo>
                <a:lnTo>
                  <a:pt x="962" y="1746"/>
                </a:lnTo>
                <a:lnTo>
                  <a:pt x="964" y="1747"/>
                </a:lnTo>
                <a:lnTo>
                  <a:pt x="966" y="1747"/>
                </a:lnTo>
                <a:lnTo>
                  <a:pt x="968" y="1747"/>
                </a:lnTo>
                <a:lnTo>
                  <a:pt x="969" y="1747"/>
                </a:lnTo>
                <a:lnTo>
                  <a:pt x="969" y="1746"/>
                </a:lnTo>
                <a:lnTo>
                  <a:pt x="971" y="1746"/>
                </a:lnTo>
                <a:lnTo>
                  <a:pt x="971" y="1744"/>
                </a:lnTo>
                <a:lnTo>
                  <a:pt x="973" y="1742"/>
                </a:lnTo>
                <a:lnTo>
                  <a:pt x="974" y="1744"/>
                </a:lnTo>
                <a:lnTo>
                  <a:pt x="976" y="1744"/>
                </a:lnTo>
                <a:lnTo>
                  <a:pt x="978" y="1746"/>
                </a:lnTo>
                <a:lnTo>
                  <a:pt x="978" y="1744"/>
                </a:lnTo>
                <a:lnTo>
                  <a:pt x="979" y="1744"/>
                </a:lnTo>
                <a:lnTo>
                  <a:pt x="978" y="1744"/>
                </a:lnTo>
                <a:lnTo>
                  <a:pt x="976" y="1742"/>
                </a:lnTo>
                <a:lnTo>
                  <a:pt x="974" y="1742"/>
                </a:lnTo>
                <a:lnTo>
                  <a:pt x="974" y="1741"/>
                </a:lnTo>
                <a:lnTo>
                  <a:pt x="974" y="1742"/>
                </a:lnTo>
                <a:lnTo>
                  <a:pt x="973" y="1742"/>
                </a:lnTo>
                <a:lnTo>
                  <a:pt x="969" y="1742"/>
                </a:lnTo>
                <a:lnTo>
                  <a:pt x="969" y="1744"/>
                </a:lnTo>
                <a:lnTo>
                  <a:pt x="969" y="1746"/>
                </a:lnTo>
                <a:lnTo>
                  <a:pt x="966" y="1746"/>
                </a:lnTo>
                <a:lnTo>
                  <a:pt x="964" y="1746"/>
                </a:lnTo>
                <a:lnTo>
                  <a:pt x="962" y="1744"/>
                </a:lnTo>
                <a:lnTo>
                  <a:pt x="959" y="1744"/>
                </a:lnTo>
                <a:lnTo>
                  <a:pt x="957" y="1744"/>
                </a:lnTo>
                <a:lnTo>
                  <a:pt x="956" y="1744"/>
                </a:lnTo>
                <a:lnTo>
                  <a:pt x="954" y="1742"/>
                </a:lnTo>
                <a:lnTo>
                  <a:pt x="952" y="1742"/>
                </a:lnTo>
                <a:lnTo>
                  <a:pt x="951" y="1742"/>
                </a:lnTo>
                <a:lnTo>
                  <a:pt x="949" y="1741"/>
                </a:lnTo>
                <a:lnTo>
                  <a:pt x="947" y="1742"/>
                </a:lnTo>
                <a:lnTo>
                  <a:pt x="945" y="1742"/>
                </a:lnTo>
                <a:lnTo>
                  <a:pt x="944" y="1742"/>
                </a:lnTo>
                <a:lnTo>
                  <a:pt x="942" y="1741"/>
                </a:lnTo>
                <a:lnTo>
                  <a:pt x="945" y="1739"/>
                </a:lnTo>
                <a:lnTo>
                  <a:pt x="945" y="1741"/>
                </a:lnTo>
                <a:lnTo>
                  <a:pt x="949" y="1741"/>
                </a:lnTo>
                <a:lnTo>
                  <a:pt x="951" y="1741"/>
                </a:lnTo>
                <a:lnTo>
                  <a:pt x="951" y="1739"/>
                </a:lnTo>
                <a:lnTo>
                  <a:pt x="949" y="1739"/>
                </a:lnTo>
                <a:lnTo>
                  <a:pt x="947" y="1739"/>
                </a:lnTo>
                <a:lnTo>
                  <a:pt x="944" y="1739"/>
                </a:lnTo>
                <a:lnTo>
                  <a:pt x="942" y="1739"/>
                </a:lnTo>
                <a:lnTo>
                  <a:pt x="940" y="1739"/>
                </a:lnTo>
                <a:lnTo>
                  <a:pt x="939" y="1737"/>
                </a:lnTo>
                <a:lnTo>
                  <a:pt x="935" y="1737"/>
                </a:lnTo>
                <a:lnTo>
                  <a:pt x="934" y="1737"/>
                </a:lnTo>
                <a:lnTo>
                  <a:pt x="934" y="1736"/>
                </a:lnTo>
                <a:lnTo>
                  <a:pt x="930" y="1737"/>
                </a:lnTo>
                <a:lnTo>
                  <a:pt x="928" y="1739"/>
                </a:lnTo>
                <a:lnTo>
                  <a:pt x="927" y="1737"/>
                </a:lnTo>
                <a:lnTo>
                  <a:pt x="925" y="1737"/>
                </a:lnTo>
                <a:lnTo>
                  <a:pt x="923" y="1739"/>
                </a:lnTo>
                <a:lnTo>
                  <a:pt x="923" y="1737"/>
                </a:lnTo>
                <a:lnTo>
                  <a:pt x="925" y="1737"/>
                </a:lnTo>
                <a:lnTo>
                  <a:pt x="922" y="1737"/>
                </a:lnTo>
                <a:lnTo>
                  <a:pt x="922" y="1736"/>
                </a:lnTo>
                <a:lnTo>
                  <a:pt x="923" y="1736"/>
                </a:lnTo>
                <a:lnTo>
                  <a:pt x="923" y="1737"/>
                </a:lnTo>
                <a:lnTo>
                  <a:pt x="923" y="1736"/>
                </a:lnTo>
                <a:lnTo>
                  <a:pt x="923" y="1734"/>
                </a:lnTo>
                <a:lnTo>
                  <a:pt x="923" y="1732"/>
                </a:lnTo>
                <a:lnTo>
                  <a:pt x="925" y="1732"/>
                </a:lnTo>
                <a:lnTo>
                  <a:pt x="925" y="1736"/>
                </a:lnTo>
                <a:lnTo>
                  <a:pt x="925" y="1732"/>
                </a:lnTo>
                <a:lnTo>
                  <a:pt x="927" y="1732"/>
                </a:lnTo>
                <a:lnTo>
                  <a:pt x="927" y="1734"/>
                </a:lnTo>
                <a:lnTo>
                  <a:pt x="928" y="1736"/>
                </a:lnTo>
                <a:lnTo>
                  <a:pt x="928" y="1734"/>
                </a:lnTo>
                <a:lnTo>
                  <a:pt x="927" y="1734"/>
                </a:lnTo>
                <a:lnTo>
                  <a:pt x="928" y="1732"/>
                </a:lnTo>
                <a:lnTo>
                  <a:pt x="928" y="1734"/>
                </a:lnTo>
                <a:lnTo>
                  <a:pt x="930" y="1732"/>
                </a:lnTo>
                <a:lnTo>
                  <a:pt x="930" y="1729"/>
                </a:lnTo>
                <a:lnTo>
                  <a:pt x="934" y="1730"/>
                </a:lnTo>
                <a:lnTo>
                  <a:pt x="932" y="1729"/>
                </a:lnTo>
                <a:lnTo>
                  <a:pt x="930" y="1729"/>
                </a:lnTo>
                <a:lnTo>
                  <a:pt x="930" y="1727"/>
                </a:lnTo>
                <a:lnTo>
                  <a:pt x="928" y="1727"/>
                </a:lnTo>
                <a:lnTo>
                  <a:pt x="928" y="1725"/>
                </a:lnTo>
                <a:lnTo>
                  <a:pt x="927" y="1724"/>
                </a:lnTo>
                <a:lnTo>
                  <a:pt x="923" y="1724"/>
                </a:lnTo>
                <a:lnTo>
                  <a:pt x="923" y="1722"/>
                </a:lnTo>
                <a:lnTo>
                  <a:pt x="925" y="1722"/>
                </a:lnTo>
                <a:lnTo>
                  <a:pt x="923" y="1720"/>
                </a:lnTo>
                <a:lnTo>
                  <a:pt x="922" y="1719"/>
                </a:lnTo>
                <a:lnTo>
                  <a:pt x="923" y="1719"/>
                </a:lnTo>
                <a:lnTo>
                  <a:pt x="923" y="1717"/>
                </a:lnTo>
                <a:lnTo>
                  <a:pt x="925" y="1719"/>
                </a:lnTo>
                <a:lnTo>
                  <a:pt x="927" y="1719"/>
                </a:lnTo>
                <a:lnTo>
                  <a:pt x="925" y="1717"/>
                </a:lnTo>
                <a:lnTo>
                  <a:pt x="927" y="1717"/>
                </a:lnTo>
                <a:lnTo>
                  <a:pt x="928" y="1719"/>
                </a:lnTo>
                <a:lnTo>
                  <a:pt x="928" y="1720"/>
                </a:lnTo>
                <a:lnTo>
                  <a:pt x="930" y="1720"/>
                </a:lnTo>
                <a:lnTo>
                  <a:pt x="928" y="1720"/>
                </a:lnTo>
                <a:lnTo>
                  <a:pt x="930" y="1724"/>
                </a:lnTo>
                <a:lnTo>
                  <a:pt x="930" y="1725"/>
                </a:lnTo>
                <a:lnTo>
                  <a:pt x="932" y="1725"/>
                </a:lnTo>
                <a:lnTo>
                  <a:pt x="932" y="1727"/>
                </a:lnTo>
                <a:lnTo>
                  <a:pt x="934" y="1727"/>
                </a:lnTo>
                <a:lnTo>
                  <a:pt x="934" y="1729"/>
                </a:lnTo>
                <a:lnTo>
                  <a:pt x="935" y="1729"/>
                </a:lnTo>
                <a:lnTo>
                  <a:pt x="934" y="1729"/>
                </a:lnTo>
                <a:lnTo>
                  <a:pt x="935" y="1730"/>
                </a:lnTo>
                <a:lnTo>
                  <a:pt x="934" y="1732"/>
                </a:lnTo>
                <a:lnTo>
                  <a:pt x="935" y="1732"/>
                </a:lnTo>
                <a:lnTo>
                  <a:pt x="935" y="1729"/>
                </a:lnTo>
                <a:lnTo>
                  <a:pt x="935" y="1727"/>
                </a:lnTo>
                <a:lnTo>
                  <a:pt x="939" y="1727"/>
                </a:lnTo>
                <a:lnTo>
                  <a:pt x="939" y="1729"/>
                </a:lnTo>
                <a:lnTo>
                  <a:pt x="939" y="1727"/>
                </a:lnTo>
                <a:lnTo>
                  <a:pt x="937" y="1725"/>
                </a:lnTo>
                <a:lnTo>
                  <a:pt x="934" y="1725"/>
                </a:lnTo>
                <a:lnTo>
                  <a:pt x="932" y="1724"/>
                </a:lnTo>
                <a:lnTo>
                  <a:pt x="934" y="1720"/>
                </a:lnTo>
                <a:lnTo>
                  <a:pt x="934" y="1719"/>
                </a:lnTo>
                <a:lnTo>
                  <a:pt x="935" y="1719"/>
                </a:lnTo>
                <a:lnTo>
                  <a:pt x="939" y="1720"/>
                </a:lnTo>
                <a:lnTo>
                  <a:pt x="940" y="1720"/>
                </a:lnTo>
                <a:lnTo>
                  <a:pt x="942" y="1722"/>
                </a:lnTo>
                <a:lnTo>
                  <a:pt x="942" y="1724"/>
                </a:lnTo>
                <a:lnTo>
                  <a:pt x="942" y="1727"/>
                </a:lnTo>
                <a:lnTo>
                  <a:pt x="944" y="1725"/>
                </a:lnTo>
                <a:lnTo>
                  <a:pt x="942" y="1724"/>
                </a:lnTo>
                <a:lnTo>
                  <a:pt x="942" y="1720"/>
                </a:lnTo>
                <a:lnTo>
                  <a:pt x="944" y="1720"/>
                </a:lnTo>
                <a:lnTo>
                  <a:pt x="945" y="1719"/>
                </a:lnTo>
                <a:lnTo>
                  <a:pt x="947" y="1719"/>
                </a:lnTo>
                <a:lnTo>
                  <a:pt x="949" y="1720"/>
                </a:lnTo>
                <a:lnTo>
                  <a:pt x="951" y="1722"/>
                </a:lnTo>
                <a:lnTo>
                  <a:pt x="951" y="1725"/>
                </a:lnTo>
                <a:lnTo>
                  <a:pt x="949" y="1727"/>
                </a:lnTo>
                <a:lnTo>
                  <a:pt x="949" y="1729"/>
                </a:lnTo>
                <a:lnTo>
                  <a:pt x="947" y="1730"/>
                </a:lnTo>
                <a:lnTo>
                  <a:pt x="947" y="1732"/>
                </a:lnTo>
                <a:lnTo>
                  <a:pt x="949" y="1730"/>
                </a:lnTo>
                <a:lnTo>
                  <a:pt x="949" y="1729"/>
                </a:lnTo>
                <a:lnTo>
                  <a:pt x="951" y="1727"/>
                </a:lnTo>
                <a:lnTo>
                  <a:pt x="951" y="1725"/>
                </a:lnTo>
                <a:lnTo>
                  <a:pt x="951" y="1724"/>
                </a:lnTo>
                <a:lnTo>
                  <a:pt x="952" y="1724"/>
                </a:lnTo>
                <a:lnTo>
                  <a:pt x="954" y="1725"/>
                </a:lnTo>
                <a:lnTo>
                  <a:pt x="956" y="1727"/>
                </a:lnTo>
                <a:lnTo>
                  <a:pt x="954" y="1729"/>
                </a:lnTo>
                <a:lnTo>
                  <a:pt x="952" y="1730"/>
                </a:lnTo>
                <a:lnTo>
                  <a:pt x="954" y="1729"/>
                </a:lnTo>
                <a:lnTo>
                  <a:pt x="956" y="1729"/>
                </a:lnTo>
                <a:lnTo>
                  <a:pt x="957" y="1727"/>
                </a:lnTo>
                <a:lnTo>
                  <a:pt x="961" y="1729"/>
                </a:lnTo>
                <a:lnTo>
                  <a:pt x="961" y="1727"/>
                </a:lnTo>
                <a:lnTo>
                  <a:pt x="962" y="1729"/>
                </a:lnTo>
                <a:lnTo>
                  <a:pt x="961" y="1727"/>
                </a:lnTo>
                <a:lnTo>
                  <a:pt x="961" y="1729"/>
                </a:lnTo>
                <a:lnTo>
                  <a:pt x="957" y="1727"/>
                </a:lnTo>
                <a:lnTo>
                  <a:pt x="957" y="1725"/>
                </a:lnTo>
                <a:lnTo>
                  <a:pt x="954" y="1724"/>
                </a:lnTo>
                <a:lnTo>
                  <a:pt x="952" y="1722"/>
                </a:lnTo>
                <a:lnTo>
                  <a:pt x="952" y="1720"/>
                </a:lnTo>
                <a:lnTo>
                  <a:pt x="951" y="1719"/>
                </a:lnTo>
                <a:lnTo>
                  <a:pt x="951" y="1717"/>
                </a:lnTo>
                <a:lnTo>
                  <a:pt x="952" y="1717"/>
                </a:lnTo>
                <a:lnTo>
                  <a:pt x="952" y="1719"/>
                </a:lnTo>
                <a:lnTo>
                  <a:pt x="954" y="1719"/>
                </a:lnTo>
                <a:lnTo>
                  <a:pt x="956" y="1720"/>
                </a:lnTo>
                <a:lnTo>
                  <a:pt x="956" y="1719"/>
                </a:lnTo>
                <a:lnTo>
                  <a:pt x="954" y="1719"/>
                </a:lnTo>
                <a:lnTo>
                  <a:pt x="952" y="1719"/>
                </a:lnTo>
                <a:lnTo>
                  <a:pt x="952" y="1717"/>
                </a:lnTo>
                <a:lnTo>
                  <a:pt x="951" y="1715"/>
                </a:lnTo>
                <a:lnTo>
                  <a:pt x="952" y="1713"/>
                </a:lnTo>
                <a:lnTo>
                  <a:pt x="954" y="1713"/>
                </a:lnTo>
                <a:lnTo>
                  <a:pt x="956" y="1712"/>
                </a:lnTo>
                <a:lnTo>
                  <a:pt x="959" y="1710"/>
                </a:lnTo>
                <a:lnTo>
                  <a:pt x="961" y="1708"/>
                </a:lnTo>
                <a:lnTo>
                  <a:pt x="964" y="1707"/>
                </a:lnTo>
                <a:lnTo>
                  <a:pt x="964" y="1708"/>
                </a:lnTo>
                <a:lnTo>
                  <a:pt x="966" y="1712"/>
                </a:lnTo>
                <a:lnTo>
                  <a:pt x="968" y="1713"/>
                </a:lnTo>
                <a:lnTo>
                  <a:pt x="966" y="1715"/>
                </a:lnTo>
                <a:lnTo>
                  <a:pt x="968" y="1717"/>
                </a:lnTo>
                <a:lnTo>
                  <a:pt x="968" y="1720"/>
                </a:lnTo>
                <a:lnTo>
                  <a:pt x="969" y="1719"/>
                </a:lnTo>
                <a:lnTo>
                  <a:pt x="969" y="1720"/>
                </a:lnTo>
                <a:lnTo>
                  <a:pt x="971" y="1722"/>
                </a:lnTo>
                <a:lnTo>
                  <a:pt x="971" y="1724"/>
                </a:lnTo>
                <a:lnTo>
                  <a:pt x="971" y="1725"/>
                </a:lnTo>
                <a:lnTo>
                  <a:pt x="971" y="1727"/>
                </a:lnTo>
                <a:lnTo>
                  <a:pt x="971" y="1725"/>
                </a:lnTo>
                <a:lnTo>
                  <a:pt x="973" y="1724"/>
                </a:lnTo>
                <a:lnTo>
                  <a:pt x="973" y="1722"/>
                </a:lnTo>
                <a:lnTo>
                  <a:pt x="971" y="1720"/>
                </a:lnTo>
                <a:lnTo>
                  <a:pt x="973" y="1720"/>
                </a:lnTo>
                <a:lnTo>
                  <a:pt x="974" y="1720"/>
                </a:lnTo>
                <a:lnTo>
                  <a:pt x="973" y="1719"/>
                </a:lnTo>
                <a:lnTo>
                  <a:pt x="969" y="1720"/>
                </a:lnTo>
                <a:lnTo>
                  <a:pt x="969" y="1717"/>
                </a:lnTo>
                <a:lnTo>
                  <a:pt x="969" y="1715"/>
                </a:lnTo>
                <a:lnTo>
                  <a:pt x="968" y="1715"/>
                </a:lnTo>
                <a:lnTo>
                  <a:pt x="968" y="1712"/>
                </a:lnTo>
                <a:lnTo>
                  <a:pt x="968" y="1710"/>
                </a:lnTo>
                <a:lnTo>
                  <a:pt x="966" y="1708"/>
                </a:lnTo>
                <a:lnTo>
                  <a:pt x="968" y="1708"/>
                </a:lnTo>
                <a:lnTo>
                  <a:pt x="966" y="1707"/>
                </a:lnTo>
                <a:lnTo>
                  <a:pt x="968" y="1705"/>
                </a:lnTo>
                <a:lnTo>
                  <a:pt x="969" y="1705"/>
                </a:lnTo>
                <a:lnTo>
                  <a:pt x="971" y="1707"/>
                </a:lnTo>
                <a:lnTo>
                  <a:pt x="971" y="1708"/>
                </a:lnTo>
                <a:lnTo>
                  <a:pt x="973" y="1710"/>
                </a:lnTo>
                <a:lnTo>
                  <a:pt x="971" y="1708"/>
                </a:lnTo>
                <a:lnTo>
                  <a:pt x="973" y="1707"/>
                </a:lnTo>
                <a:lnTo>
                  <a:pt x="971" y="1705"/>
                </a:lnTo>
                <a:lnTo>
                  <a:pt x="973" y="1703"/>
                </a:lnTo>
                <a:lnTo>
                  <a:pt x="974" y="1703"/>
                </a:lnTo>
                <a:lnTo>
                  <a:pt x="978" y="1702"/>
                </a:lnTo>
                <a:lnTo>
                  <a:pt x="978" y="1703"/>
                </a:lnTo>
                <a:lnTo>
                  <a:pt x="979" y="1703"/>
                </a:lnTo>
                <a:lnTo>
                  <a:pt x="981" y="1703"/>
                </a:lnTo>
                <a:lnTo>
                  <a:pt x="983" y="1705"/>
                </a:lnTo>
                <a:lnTo>
                  <a:pt x="983" y="1708"/>
                </a:lnTo>
                <a:lnTo>
                  <a:pt x="983" y="1710"/>
                </a:lnTo>
                <a:lnTo>
                  <a:pt x="983" y="1712"/>
                </a:lnTo>
                <a:lnTo>
                  <a:pt x="985" y="1713"/>
                </a:lnTo>
                <a:lnTo>
                  <a:pt x="986" y="1715"/>
                </a:lnTo>
                <a:lnTo>
                  <a:pt x="986" y="1717"/>
                </a:lnTo>
                <a:lnTo>
                  <a:pt x="986" y="1720"/>
                </a:lnTo>
                <a:lnTo>
                  <a:pt x="986" y="1722"/>
                </a:lnTo>
                <a:lnTo>
                  <a:pt x="985" y="1724"/>
                </a:lnTo>
                <a:lnTo>
                  <a:pt x="983" y="1727"/>
                </a:lnTo>
                <a:lnTo>
                  <a:pt x="981" y="1729"/>
                </a:lnTo>
                <a:lnTo>
                  <a:pt x="983" y="1727"/>
                </a:lnTo>
                <a:lnTo>
                  <a:pt x="986" y="1729"/>
                </a:lnTo>
                <a:lnTo>
                  <a:pt x="988" y="1729"/>
                </a:lnTo>
                <a:lnTo>
                  <a:pt x="990" y="1727"/>
                </a:lnTo>
                <a:lnTo>
                  <a:pt x="991" y="1729"/>
                </a:lnTo>
                <a:lnTo>
                  <a:pt x="990" y="1725"/>
                </a:lnTo>
                <a:lnTo>
                  <a:pt x="988" y="1727"/>
                </a:lnTo>
                <a:lnTo>
                  <a:pt x="986" y="1729"/>
                </a:lnTo>
                <a:lnTo>
                  <a:pt x="985" y="1727"/>
                </a:lnTo>
                <a:lnTo>
                  <a:pt x="985" y="1725"/>
                </a:lnTo>
                <a:lnTo>
                  <a:pt x="986" y="1722"/>
                </a:lnTo>
                <a:lnTo>
                  <a:pt x="986" y="1720"/>
                </a:lnTo>
                <a:lnTo>
                  <a:pt x="986" y="1719"/>
                </a:lnTo>
                <a:lnTo>
                  <a:pt x="986" y="1717"/>
                </a:lnTo>
                <a:lnTo>
                  <a:pt x="986" y="1715"/>
                </a:lnTo>
                <a:lnTo>
                  <a:pt x="990" y="1715"/>
                </a:lnTo>
                <a:lnTo>
                  <a:pt x="991" y="1717"/>
                </a:lnTo>
                <a:lnTo>
                  <a:pt x="993" y="1717"/>
                </a:lnTo>
                <a:lnTo>
                  <a:pt x="995" y="1715"/>
                </a:lnTo>
                <a:lnTo>
                  <a:pt x="996" y="1715"/>
                </a:lnTo>
                <a:lnTo>
                  <a:pt x="998" y="1717"/>
                </a:lnTo>
                <a:lnTo>
                  <a:pt x="1000" y="1719"/>
                </a:lnTo>
                <a:lnTo>
                  <a:pt x="1000" y="1717"/>
                </a:lnTo>
                <a:lnTo>
                  <a:pt x="998" y="1715"/>
                </a:lnTo>
                <a:lnTo>
                  <a:pt x="996" y="1715"/>
                </a:lnTo>
                <a:lnTo>
                  <a:pt x="995" y="1713"/>
                </a:lnTo>
                <a:lnTo>
                  <a:pt x="991" y="1715"/>
                </a:lnTo>
                <a:lnTo>
                  <a:pt x="990" y="1713"/>
                </a:lnTo>
                <a:lnTo>
                  <a:pt x="988" y="1713"/>
                </a:lnTo>
                <a:lnTo>
                  <a:pt x="986" y="1712"/>
                </a:lnTo>
                <a:lnTo>
                  <a:pt x="985" y="1712"/>
                </a:lnTo>
                <a:lnTo>
                  <a:pt x="985" y="1708"/>
                </a:lnTo>
                <a:lnTo>
                  <a:pt x="986" y="1707"/>
                </a:lnTo>
                <a:lnTo>
                  <a:pt x="985" y="1707"/>
                </a:lnTo>
                <a:lnTo>
                  <a:pt x="985" y="1705"/>
                </a:lnTo>
                <a:lnTo>
                  <a:pt x="983" y="1703"/>
                </a:lnTo>
                <a:lnTo>
                  <a:pt x="983" y="1702"/>
                </a:lnTo>
                <a:lnTo>
                  <a:pt x="979" y="1702"/>
                </a:lnTo>
                <a:lnTo>
                  <a:pt x="979" y="1700"/>
                </a:lnTo>
                <a:lnTo>
                  <a:pt x="978" y="1700"/>
                </a:lnTo>
                <a:lnTo>
                  <a:pt x="976" y="1702"/>
                </a:lnTo>
                <a:lnTo>
                  <a:pt x="978" y="1700"/>
                </a:lnTo>
                <a:lnTo>
                  <a:pt x="976" y="1698"/>
                </a:lnTo>
                <a:lnTo>
                  <a:pt x="974" y="1698"/>
                </a:lnTo>
                <a:lnTo>
                  <a:pt x="974" y="1696"/>
                </a:lnTo>
                <a:lnTo>
                  <a:pt x="971" y="1698"/>
                </a:lnTo>
                <a:lnTo>
                  <a:pt x="971" y="1696"/>
                </a:lnTo>
                <a:lnTo>
                  <a:pt x="969" y="1698"/>
                </a:lnTo>
                <a:lnTo>
                  <a:pt x="971" y="1696"/>
                </a:lnTo>
                <a:lnTo>
                  <a:pt x="973" y="1696"/>
                </a:lnTo>
                <a:lnTo>
                  <a:pt x="971" y="1696"/>
                </a:lnTo>
                <a:lnTo>
                  <a:pt x="969" y="1696"/>
                </a:lnTo>
                <a:lnTo>
                  <a:pt x="966" y="1696"/>
                </a:lnTo>
                <a:lnTo>
                  <a:pt x="964" y="1696"/>
                </a:lnTo>
                <a:lnTo>
                  <a:pt x="962" y="1696"/>
                </a:lnTo>
                <a:lnTo>
                  <a:pt x="962" y="1695"/>
                </a:lnTo>
                <a:lnTo>
                  <a:pt x="962" y="1693"/>
                </a:lnTo>
                <a:lnTo>
                  <a:pt x="964" y="1691"/>
                </a:lnTo>
                <a:lnTo>
                  <a:pt x="964" y="1690"/>
                </a:lnTo>
                <a:lnTo>
                  <a:pt x="966" y="1691"/>
                </a:lnTo>
                <a:lnTo>
                  <a:pt x="969" y="1690"/>
                </a:lnTo>
                <a:lnTo>
                  <a:pt x="969" y="1691"/>
                </a:lnTo>
                <a:lnTo>
                  <a:pt x="969" y="1693"/>
                </a:lnTo>
                <a:lnTo>
                  <a:pt x="969" y="1695"/>
                </a:lnTo>
                <a:lnTo>
                  <a:pt x="969" y="1693"/>
                </a:lnTo>
                <a:lnTo>
                  <a:pt x="969" y="1691"/>
                </a:lnTo>
                <a:lnTo>
                  <a:pt x="969" y="1690"/>
                </a:lnTo>
                <a:lnTo>
                  <a:pt x="971" y="1690"/>
                </a:lnTo>
                <a:lnTo>
                  <a:pt x="973" y="1690"/>
                </a:lnTo>
                <a:lnTo>
                  <a:pt x="973" y="1691"/>
                </a:lnTo>
                <a:lnTo>
                  <a:pt x="974" y="1693"/>
                </a:lnTo>
                <a:lnTo>
                  <a:pt x="974" y="1695"/>
                </a:lnTo>
                <a:lnTo>
                  <a:pt x="974" y="1691"/>
                </a:lnTo>
                <a:lnTo>
                  <a:pt x="974" y="1690"/>
                </a:lnTo>
                <a:lnTo>
                  <a:pt x="976" y="1690"/>
                </a:lnTo>
                <a:lnTo>
                  <a:pt x="976" y="1691"/>
                </a:lnTo>
                <a:lnTo>
                  <a:pt x="976" y="1690"/>
                </a:lnTo>
                <a:lnTo>
                  <a:pt x="979" y="1688"/>
                </a:lnTo>
                <a:lnTo>
                  <a:pt x="981" y="1688"/>
                </a:lnTo>
                <a:lnTo>
                  <a:pt x="981" y="1690"/>
                </a:lnTo>
                <a:lnTo>
                  <a:pt x="983" y="1691"/>
                </a:lnTo>
                <a:lnTo>
                  <a:pt x="983" y="1693"/>
                </a:lnTo>
                <a:lnTo>
                  <a:pt x="985" y="1693"/>
                </a:lnTo>
                <a:lnTo>
                  <a:pt x="985" y="1695"/>
                </a:lnTo>
                <a:lnTo>
                  <a:pt x="985" y="1691"/>
                </a:lnTo>
                <a:lnTo>
                  <a:pt x="985" y="1690"/>
                </a:lnTo>
                <a:lnTo>
                  <a:pt x="986" y="1688"/>
                </a:lnTo>
                <a:lnTo>
                  <a:pt x="990" y="1688"/>
                </a:lnTo>
                <a:lnTo>
                  <a:pt x="990" y="1690"/>
                </a:lnTo>
                <a:lnTo>
                  <a:pt x="988" y="1691"/>
                </a:lnTo>
                <a:lnTo>
                  <a:pt x="990" y="1691"/>
                </a:lnTo>
                <a:lnTo>
                  <a:pt x="990" y="1693"/>
                </a:lnTo>
                <a:lnTo>
                  <a:pt x="991" y="1695"/>
                </a:lnTo>
                <a:lnTo>
                  <a:pt x="991" y="1698"/>
                </a:lnTo>
                <a:lnTo>
                  <a:pt x="991" y="1696"/>
                </a:lnTo>
                <a:lnTo>
                  <a:pt x="991" y="1695"/>
                </a:lnTo>
                <a:lnTo>
                  <a:pt x="991" y="1691"/>
                </a:lnTo>
                <a:lnTo>
                  <a:pt x="993" y="1690"/>
                </a:lnTo>
                <a:lnTo>
                  <a:pt x="995" y="1691"/>
                </a:lnTo>
                <a:lnTo>
                  <a:pt x="998" y="1691"/>
                </a:lnTo>
                <a:lnTo>
                  <a:pt x="998" y="1693"/>
                </a:lnTo>
                <a:lnTo>
                  <a:pt x="998" y="1691"/>
                </a:lnTo>
                <a:lnTo>
                  <a:pt x="998" y="1695"/>
                </a:lnTo>
                <a:lnTo>
                  <a:pt x="1002" y="1696"/>
                </a:lnTo>
                <a:lnTo>
                  <a:pt x="1003" y="1696"/>
                </a:lnTo>
                <a:lnTo>
                  <a:pt x="1003" y="1698"/>
                </a:lnTo>
                <a:lnTo>
                  <a:pt x="1005" y="1700"/>
                </a:lnTo>
                <a:lnTo>
                  <a:pt x="1005" y="1698"/>
                </a:lnTo>
                <a:lnTo>
                  <a:pt x="1008" y="1696"/>
                </a:lnTo>
                <a:lnTo>
                  <a:pt x="1008" y="1695"/>
                </a:lnTo>
                <a:lnTo>
                  <a:pt x="1012" y="1695"/>
                </a:lnTo>
                <a:lnTo>
                  <a:pt x="1010" y="1695"/>
                </a:lnTo>
                <a:lnTo>
                  <a:pt x="1008" y="1695"/>
                </a:lnTo>
                <a:lnTo>
                  <a:pt x="1007" y="1695"/>
                </a:lnTo>
                <a:lnTo>
                  <a:pt x="1005" y="1696"/>
                </a:lnTo>
                <a:lnTo>
                  <a:pt x="1002" y="1695"/>
                </a:lnTo>
                <a:lnTo>
                  <a:pt x="1002" y="1693"/>
                </a:lnTo>
                <a:lnTo>
                  <a:pt x="1000" y="1693"/>
                </a:lnTo>
                <a:lnTo>
                  <a:pt x="1000" y="1690"/>
                </a:lnTo>
                <a:lnTo>
                  <a:pt x="1003" y="1690"/>
                </a:lnTo>
                <a:lnTo>
                  <a:pt x="1003" y="1693"/>
                </a:lnTo>
                <a:lnTo>
                  <a:pt x="1005" y="1695"/>
                </a:lnTo>
                <a:lnTo>
                  <a:pt x="1005" y="1691"/>
                </a:lnTo>
                <a:lnTo>
                  <a:pt x="1003" y="1690"/>
                </a:lnTo>
                <a:lnTo>
                  <a:pt x="1003" y="1688"/>
                </a:lnTo>
                <a:lnTo>
                  <a:pt x="1005" y="1688"/>
                </a:lnTo>
                <a:lnTo>
                  <a:pt x="1007" y="1688"/>
                </a:lnTo>
                <a:lnTo>
                  <a:pt x="1007" y="1686"/>
                </a:lnTo>
                <a:lnTo>
                  <a:pt x="1010" y="1686"/>
                </a:lnTo>
                <a:lnTo>
                  <a:pt x="1010" y="1684"/>
                </a:lnTo>
                <a:lnTo>
                  <a:pt x="1012" y="1684"/>
                </a:lnTo>
                <a:lnTo>
                  <a:pt x="1013" y="1684"/>
                </a:lnTo>
                <a:lnTo>
                  <a:pt x="1015" y="1683"/>
                </a:lnTo>
                <a:lnTo>
                  <a:pt x="1017" y="1684"/>
                </a:lnTo>
                <a:lnTo>
                  <a:pt x="1019" y="1683"/>
                </a:lnTo>
                <a:lnTo>
                  <a:pt x="1020" y="1683"/>
                </a:lnTo>
                <a:lnTo>
                  <a:pt x="1020" y="1684"/>
                </a:lnTo>
                <a:lnTo>
                  <a:pt x="1022" y="1686"/>
                </a:lnTo>
                <a:lnTo>
                  <a:pt x="1024" y="1688"/>
                </a:lnTo>
                <a:lnTo>
                  <a:pt x="1024" y="1686"/>
                </a:lnTo>
                <a:lnTo>
                  <a:pt x="1024" y="1684"/>
                </a:lnTo>
                <a:lnTo>
                  <a:pt x="1020" y="1683"/>
                </a:lnTo>
                <a:lnTo>
                  <a:pt x="1022" y="1681"/>
                </a:lnTo>
                <a:lnTo>
                  <a:pt x="1020" y="1681"/>
                </a:lnTo>
                <a:lnTo>
                  <a:pt x="1019" y="1681"/>
                </a:lnTo>
                <a:lnTo>
                  <a:pt x="1015" y="1681"/>
                </a:lnTo>
                <a:lnTo>
                  <a:pt x="1013" y="1683"/>
                </a:lnTo>
                <a:lnTo>
                  <a:pt x="1012" y="1683"/>
                </a:lnTo>
                <a:lnTo>
                  <a:pt x="1010" y="1684"/>
                </a:lnTo>
                <a:lnTo>
                  <a:pt x="1007" y="1684"/>
                </a:lnTo>
                <a:lnTo>
                  <a:pt x="1005" y="1686"/>
                </a:lnTo>
                <a:lnTo>
                  <a:pt x="1003" y="1686"/>
                </a:lnTo>
                <a:lnTo>
                  <a:pt x="1002" y="1686"/>
                </a:lnTo>
                <a:lnTo>
                  <a:pt x="998" y="1686"/>
                </a:lnTo>
                <a:lnTo>
                  <a:pt x="1002" y="1684"/>
                </a:lnTo>
                <a:lnTo>
                  <a:pt x="998" y="1683"/>
                </a:lnTo>
                <a:lnTo>
                  <a:pt x="1000" y="1683"/>
                </a:lnTo>
                <a:lnTo>
                  <a:pt x="1002" y="1681"/>
                </a:lnTo>
                <a:lnTo>
                  <a:pt x="1005" y="1681"/>
                </a:lnTo>
                <a:lnTo>
                  <a:pt x="1007" y="1679"/>
                </a:lnTo>
                <a:lnTo>
                  <a:pt x="1008" y="1681"/>
                </a:lnTo>
                <a:lnTo>
                  <a:pt x="1010" y="1679"/>
                </a:lnTo>
                <a:lnTo>
                  <a:pt x="1008" y="1679"/>
                </a:lnTo>
                <a:lnTo>
                  <a:pt x="1005" y="1679"/>
                </a:lnTo>
                <a:lnTo>
                  <a:pt x="1003" y="1679"/>
                </a:lnTo>
                <a:lnTo>
                  <a:pt x="1002" y="1681"/>
                </a:lnTo>
                <a:lnTo>
                  <a:pt x="998" y="1681"/>
                </a:lnTo>
                <a:lnTo>
                  <a:pt x="995" y="1683"/>
                </a:lnTo>
                <a:lnTo>
                  <a:pt x="993" y="1683"/>
                </a:lnTo>
                <a:lnTo>
                  <a:pt x="991" y="1683"/>
                </a:lnTo>
                <a:lnTo>
                  <a:pt x="990" y="1683"/>
                </a:lnTo>
                <a:lnTo>
                  <a:pt x="988" y="1683"/>
                </a:lnTo>
                <a:lnTo>
                  <a:pt x="986" y="1683"/>
                </a:lnTo>
                <a:lnTo>
                  <a:pt x="986" y="1681"/>
                </a:lnTo>
                <a:lnTo>
                  <a:pt x="986" y="1679"/>
                </a:lnTo>
                <a:lnTo>
                  <a:pt x="988" y="1678"/>
                </a:lnTo>
                <a:lnTo>
                  <a:pt x="988" y="1676"/>
                </a:lnTo>
                <a:lnTo>
                  <a:pt x="991" y="1676"/>
                </a:lnTo>
                <a:lnTo>
                  <a:pt x="990" y="1676"/>
                </a:lnTo>
                <a:lnTo>
                  <a:pt x="991" y="1678"/>
                </a:lnTo>
                <a:lnTo>
                  <a:pt x="993" y="1676"/>
                </a:lnTo>
                <a:lnTo>
                  <a:pt x="993" y="1678"/>
                </a:lnTo>
                <a:lnTo>
                  <a:pt x="995" y="1678"/>
                </a:lnTo>
                <a:lnTo>
                  <a:pt x="993" y="1676"/>
                </a:lnTo>
                <a:lnTo>
                  <a:pt x="995" y="1676"/>
                </a:lnTo>
                <a:lnTo>
                  <a:pt x="993" y="1676"/>
                </a:lnTo>
                <a:lnTo>
                  <a:pt x="993" y="1674"/>
                </a:lnTo>
                <a:lnTo>
                  <a:pt x="991" y="1674"/>
                </a:lnTo>
                <a:lnTo>
                  <a:pt x="990" y="1676"/>
                </a:lnTo>
                <a:lnTo>
                  <a:pt x="988" y="1674"/>
                </a:lnTo>
                <a:lnTo>
                  <a:pt x="988" y="1676"/>
                </a:lnTo>
                <a:lnTo>
                  <a:pt x="988" y="1674"/>
                </a:lnTo>
                <a:lnTo>
                  <a:pt x="986" y="1673"/>
                </a:lnTo>
                <a:lnTo>
                  <a:pt x="986" y="1671"/>
                </a:lnTo>
                <a:lnTo>
                  <a:pt x="985" y="1669"/>
                </a:lnTo>
                <a:lnTo>
                  <a:pt x="986" y="1669"/>
                </a:lnTo>
                <a:lnTo>
                  <a:pt x="988" y="1667"/>
                </a:lnTo>
                <a:lnTo>
                  <a:pt x="990" y="1667"/>
                </a:lnTo>
                <a:lnTo>
                  <a:pt x="990" y="1666"/>
                </a:lnTo>
                <a:lnTo>
                  <a:pt x="991" y="1667"/>
                </a:lnTo>
                <a:lnTo>
                  <a:pt x="991" y="1666"/>
                </a:lnTo>
                <a:lnTo>
                  <a:pt x="991" y="1664"/>
                </a:lnTo>
                <a:lnTo>
                  <a:pt x="991" y="1666"/>
                </a:lnTo>
                <a:lnTo>
                  <a:pt x="993" y="1666"/>
                </a:lnTo>
                <a:lnTo>
                  <a:pt x="993" y="1664"/>
                </a:lnTo>
                <a:lnTo>
                  <a:pt x="995" y="1664"/>
                </a:lnTo>
                <a:lnTo>
                  <a:pt x="998" y="1664"/>
                </a:lnTo>
                <a:lnTo>
                  <a:pt x="996" y="1666"/>
                </a:lnTo>
                <a:lnTo>
                  <a:pt x="998" y="1666"/>
                </a:lnTo>
                <a:lnTo>
                  <a:pt x="996" y="1664"/>
                </a:lnTo>
                <a:lnTo>
                  <a:pt x="998" y="1664"/>
                </a:lnTo>
                <a:lnTo>
                  <a:pt x="998" y="1666"/>
                </a:lnTo>
                <a:lnTo>
                  <a:pt x="1000" y="1667"/>
                </a:lnTo>
                <a:lnTo>
                  <a:pt x="1002" y="1667"/>
                </a:lnTo>
                <a:lnTo>
                  <a:pt x="1002" y="1669"/>
                </a:lnTo>
                <a:lnTo>
                  <a:pt x="1002" y="1671"/>
                </a:lnTo>
                <a:lnTo>
                  <a:pt x="1003" y="1671"/>
                </a:lnTo>
                <a:lnTo>
                  <a:pt x="1005" y="1671"/>
                </a:lnTo>
                <a:lnTo>
                  <a:pt x="1007" y="1669"/>
                </a:lnTo>
                <a:lnTo>
                  <a:pt x="1008" y="1667"/>
                </a:lnTo>
                <a:lnTo>
                  <a:pt x="1010" y="1667"/>
                </a:lnTo>
                <a:lnTo>
                  <a:pt x="1012" y="1666"/>
                </a:lnTo>
                <a:lnTo>
                  <a:pt x="1013" y="1667"/>
                </a:lnTo>
                <a:lnTo>
                  <a:pt x="1010" y="1669"/>
                </a:lnTo>
                <a:lnTo>
                  <a:pt x="1010" y="1671"/>
                </a:lnTo>
                <a:lnTo>
                  <a:pt x="1010" y="1673"/>
                </a:lnTo>
                <a:lnTo>
                  <a:pt x="1010" y="1671"/>
                </a:lnTo>
                <a:lnTo>
                  <a:pt x="1012" y="1671"/>
                </a:lnTo>
                <a:lnTo>
                  <a:pt x="1013" y="1669"/>
                </a:lnTo>
                <a:lnTo>
                  <a:pt x="1015" y="1667"/>
                </a:lnTo>
                <a:lnTo>
                  <a:pt x="1015" y="1669"/>
                </a:lnTo>
                <a:lnTo>
                  <a:pt x="1017" y="1667"/>
                </a:lnTo>
                <a:lnTo>
                  <a:pt x="1019" y="1667"/>
                </a:lnTo>
                <a:lnTo>
                  <a:pt x="1022" y="1667"/>
                </a:lnTo>
                <a:lnTo>
                  <a:pt x="1022" y="1669"/>
                </a:lnTo>
                <a:lnTo>
                  <a:pt x="1024" y="1671"/>
                </a:lnTo>
                <a:lnTo>
                  <a:pt x="1022" y="1673"/>
                </a:lnTo>
                <a:lnTo>
                  <a:pt x="1024" y="1673"/>
                </a:lnTo>
                <a:lnTo>
                  <a:pt x="1024" y="1674"/>
                </a:lnTo>
                <a:lnTo>
                  <a:pt x="1024" y="1678"/>
                </a:lnTo>
                <a:lnTo>
                  <a:pt x="1025" y="1679"/>
                </a:lnTo>
                <a:lnTo>
                  <a:pt x="1027" y="1679"/>
                </a:lnTo>
                <a:lnTo>
                  <a:pt x="1029" y="1681"/>
                </a:lnTo>
                <a:lnTo>
                  <a:pt x="1030" y="1681"/>
                </a:lnTo>
                <a:lnTo>
                  <a:pt x="1032" y="1683"/>
                </a:lnTo>
                <a:lnTo>
                  <a:pt x="1034" y="1684"/>
                </a:lnTo>
                <a:lnTo>
                  <a:pt x="1036" y="1684"/>
                </a:lnTo>
                <a:lnTo>
                  <a:pt x="1036" y="1686"/>
                </a:lnTo>
                <a:lnTo>
                  <a:pt x="1036" y="1688"/>
                </a:lnTo>
                <a:lnTo>
                  <a:pt x="1037" y="1690"/>
                </a:lnTo>
                <a:lnTo>
                  <a:pt x="1037" y="1688"/>
                </a:lnTo>
                <a:lnTo>
                  <a:pt x="1037" y="1686"/>
                </a:lnTo>
                <a:lnTo>
                  <a:pt x="1037" y="1684"/>
                </a:lnTo>
                <a:lnTo>
                  <a:pt x="1036" y="1683"/>
                </a:lnTo>
                <a:lnTo>
                  <a:pt x="1034" y="1683"/>
                </a:lnTo>
                <a:lnTo>
                  <a:pt x="1032" y="1681"/>
                </a:lnTo>
                <a:lnTo>
                  <a:pt x="1030" y="1681"/>
                </a:lnTo>
                <a:lnTo>
                  <a:pt x="1030" y="1679"/>
                </a:lnTo>
                <a:lnTo>
                  <a:pt x="1027" y="1679"/>
                </a:lnTo>
                <a:lnTo>
                  <a:pt x="1025" y="1678"/>
                </a:lnTo>
                <a:lnTo>
                  <a:pt x="1025" y="1676"/>
                </a:lnTo>
                <a:lnTo>
                  <a:pt x="1025" y="1673"/>
                </a:lnTo>
                <a:lnTo>
                  <a:pt x="1027" y="1671"/>
                </a:lnTo>
                <a:lnTo>
                  <a:pt x="1025" y="1671"/>
                </a:lnTo>
                <a:lnTo>
                  <a:pt x="1024" y="1669"/>
                </a:lnTo>
                <a:lnTo>
                  <a:pt x="1022" y="1667"/>
                </a:lnTo>
                <a:lnTo>
                  <a:pt x="1022" y="1666"/>
                </a:lnTo>
                <a:lnTo>
                  <a:pt x="1020" y="1666"/>
                </a:lnTo>
                <a:lnTo>
                  <a:pt x="1020" y="1664"/>
                </a:lnTo>
                <a:lnTo>
                  <a:pt x="1019" y="1662"/>
                </a:lnTo>
                <a:lnTo>
                  <a:pt x="1020" y="1661"/>
                </a:lnTo>
                <a:lnTo>
                  <a:pt x="1020" y="1659"/>
                </a:lnTo>
                <a:lnTo>
                  <a:pt x="1022" y="1657"/>
                </a:lnTo>
                <a:lnTo>
                  <a:pt x="1024" y="1657"/>
                </a:lnTo>
                <a:lnTo>
                  <a:pt x="1025" y="1661"/>
                </a:lnTo>
                <a:lnTo>
                  <a:pt x="1024" y="1661"/>
                </a:lnTo>
                <a:lnTo>
                  <a:pt x="1022" y="1662"/>
                </a:lnTo>
                <a:lnTo>
                  <a:pt x="1024" y="1662"/>
                </a:lnTo>
                <a:lnTo>
                  <a:pt x="1025" y="1662"/>
                </a:lnTo>
                <a:lnTo>
                  <a:pt x="1027" y="1664"/>
                </a:lnTo>
                <a:lnTo>
                  <a:pt x="1029" y="1666"/>
                </a:lnTo>
                <a:lnTo>
                  <a:pt x="1029" y="1667"/>
                </a:lnTo>
                <a:lnTo>
                  <a:pt x="1029" y="1666"/>
                </a:lnTo>
                <a:lnTo>
                  <a:pt x="1030" y="1667"/>
                </a:lnTo>
                <a:lnTo>
                  <a:pt x="1029" y="1671"/>
                </a:lnTo>
                <a:lnTo>
                  <a:pt x="1030" y="1671"/>
                </a:lnTo>
                <a:lnTo>
                  <a:pt x="1030" y="1673"/>
                </a:lnTo>
                <a:lnTo>
                  <a:pt x="1029" y="1676"/>
                </a:lnTo>
                <a:lnTo>
                  <a:pt x="1030" y="1674"/>
                </a:lnTo>
                <a:lnTo>
                  <a:pt x="1032" y="1673"/>
                </a:lnTo>
                <a:lnTo>
                  <a:pt x="1034" y="1674"/>
                </a:lnTo>
                <a:lnTo>
                  <a:pt x="1034" y="1676"/>
                </a:lnTo>
                <a:lnTo>
                  <a:pt x="1037" y="1676"/>
                </a:lnTo>
                <a:lnTo>
                  <a:pt x="1034" y="1674"/>
                </a:lnTo>
                <a:lnTo>
                  <a:pt x="1034" y="1673"/>
                </a:lnTo>
                <a:lnTo>
                  <a:pt x="1036" y="1674"/>
                </a:lnTo>
                <a:lnTo>
                  <a:pt x="1037" y="1674"/>
                </a:lnTo>
                <a:lnTo>
                  <a:pt x="1039" y="1674"/>
                </a:lnTo>
                <a:lnTo>
                  <a:pt x="1041" y="1678"/>
                </a:lnTo>
                <a:lnTo>
                  <a:pt x="1042" y="1678"/>
                </a:lnTo>
                <a:lnTo>
                  <a:pt x="1041" y="1676"/>
                </a:lnTo>
                <a:lnTo>
                  <a:pt x="1039" y="1674"/>
                </a:lnTo>
                <a:lnTo>
                  <a:pt x="1037" y="1674"/>
                </a:lnTo>
                <a:lnTo>
                  <a:pt x="1036" y="1673"/>
                </a:lnTo>
                <a:lnTo>
                  <a:pt x="1036" y="1671"/>
                </a:lnTo>
                <a:lnTo>
                  <a:pt x="1034" y="1669"/>
                </a:lnTo>
                <a:lnTo>
                  <a:pt x="1036" y="1667"/>
                </a:lnTo>
                <a:lnTo>
                  <a:pt x="1037" y="1669"/>
                </a:lnTo>
                <a:lnTo>
                  <a:pt x="1039" y="1667"/>
                </a:lnTo>
                <a:lnTo>
                  <a:pt x="1041" y="1667"/>
                </a:lnTo>
                <a:lnTo>
                  <a:pt x="1041" y="1666"/>
                </a:lnTo>
                <a:lnTo>
                  <a:pt x="1039" y="1666"/>
                </a:lnTo>
                <a:lnTo>
                  <a:pt x="1036" y="1667"/>
                </a:lnTo>
                <a:lnTo>
                  <a:pt x="1036" y="1666"/>
                </a:lnTo>
                <a:lnTo>
                  <a:pt x="1037" y="1666"/>
                </a:lnTo>
                <a:lnTo>
                  <a:pt x="1037" y="1664"/>
                </a:lnTo>
                <a:lnTo>
                  <a:pt x="1039" y="1664"/>
                </a:lnTo>
                <a:lnTo>
                  <a:pt x="1036" y="1664"/>
                </a:lnTo>
                <a:lnTo>
                  <a:pt x="1036" y="1666"/>
                </a:lnTo>
                <a:lnTo>
                  <a:pt x="1034" y="1666"/>
                </a:lnTo>
                <a:lnTo>
                  <a:pt x="1032" y="1667"/>
                </a:lnTo>
                <a:lnTo>
                  <a:pt x="1030" y="1666"/>
                </a:lnTo>
                <a:lnTo>
                  <a:pt x="1030" y="1664"/>
                </a:lnTo>
                <a:lnTo>
                  <a:pt x="1032" y="1664"/>
                </a:lnTo>
                <a:lnTo>
                  <a:pt x="1034" y="1664"/>
                </a:lnTo>
                <a:lnTo>
                  <a:pt x="1036" y="1664"/>
                </a:lnTo>
                <a:lnTo>
                  <a:pt x="1032" y="1664"/>
                </a:lnTo>
                <a:lnTo>
                  <a:pt x="1030" y="1664"/>
                </a:lnTo>
                <a:lnTo>
                  <a:pt x="1027" y="1662"/>
                </a:lnTo>
                <a:lnTo>
                  <a:pt x="1027" y="1661"/>
                </a:lnTo>
                <a:lnTo>
                  <a:pt x="1027" y="1659"/>
                </a:lnTo>
                <a:lnTo>
                  <a:pt x="1025" y="1657"/>
                </a:lnTo>
                <a:lnTo>
                  <a:pt x="1027" y="1656"/>
                </a:lnTo>
                <a:lnTo>
                  <a:pt x="1029" y="1657"/>
                </a:lnTo>
                <a:lnTo>
                  <a:pt x="1030" y="1659"/>
                </a:lnTo>
                <a:lnTo>
                  <a:pt x="1029" y="1659"/>
                </a:lnTo>
                <a:lnTo>
                  <a:pt x="1030" y="1659"/>
                </a:lnTo>
                <a:lnTo>
                  <a:pt x="1032" y="1659"/>
                </a:lnTo>
                <a:lnTo>
                  <a:pt x="1030" y="1659"/>
                </a:lnTo>
                <a:lnTo>
                  <a:pt x="1030" y="1657"/>
                </a:lnTo>
                <a:lnTo>
                  <a:pt x="1029" y="1657"/>
                </a:lnTo>
                <a:lnTo>
                  <a:pt x="1029" y="1656"/>
                </a:lnTo>
                <a:lnTo>
                  <a:pt x="1030" y="1654"/>
                </a:lnTo>
                <a:lnTo>
                  <a:pt x="1030" y="1656"/>
                </a:lnTo>
                <a:lnTo>
                  <a:pt x="1032" y="1656"/>
                </a:lnTo>
                <a:lnTo>
                  <a:pt x="1034" y="1656"/>
                </a:lnTo>
                <a:lnTo>
                  <a:pt x="1036" y="1656"/>
                </a:lnTo>
                <a:lnTo>
                  <a:pt x="1037" y="1656"/>
                </a:lnTo>
                <a:lnTo>
                  <a:pt x="1039" y="1657"/>
                </a:lnTo>
                <a:lnTo>
                  <a:pt x="1041" y="1659"/>
                </a:lnTo>
                <a:lnTo>
                  <a:pt x="1041" y="1657"/>
                </a:lnTo>
                <a:lnTo>
                  <a:pt x="1039" y="1656"/>
                </a:lnTo>
                <a:lnTo>
                  <a:pt x="1039" y="1654"/>
                </a:lnTo>
                <a:lnTo>
                  <a:pt x="1041" y="1654"/>
                </a:lnTo>
                <a:lnTo>
                  <a:pt x="1041" y="1652"/>
                </a:lnTo>
                <a:lnTo>
                  <a:pt x="1044" y="1652"/>
                </a:lnTo>
                <a:lnTo>
                  <a:pt x="1046" y="1652"/>
                </a:lnTo>
                <a:lnTo>
                  <a:pt x="1047" y="1652"/>
                </a:lnTo>
                <a:lnTo>
                  <a:pt x="1049" y="1652"/>
                </a:lnTo>
                <a:lnTo>
                  <a:pt x="1051" y="1652"/>
                </a:lnTo>
                <a:lnTo>
                  <a:pt x="1053" y="1650"/>
                </a:lnTo>
                <a:lnTo>
                  <a:pt x="1051" y="1650"/>
                </a:lnTo>
                <a:lnTo>
                  <a:pt x="1047" y="1650"/>
                </a:lnTo>
                <a:lnTo>
                  <a:pt x="1047" y="1652"/>
                </a:lnTo>
                <a:lnTo>
                  <a:pt x="1046" y="1652"/>
                </a:lnTo>
                <a:lnTo>
                  <a:pt x="1042" y="1652"/>
                </a:lnTo>
                <a:lnTo>
                  <a:pt x="1042" y="1650"/>
                </a:lnTo>
                <a:lnTo>
                  <a:pt x="1041" y="1652"/>
                </a:lnTo>
                <a:lnTo>
                  <a:pt x="1039" y="1652"/>
                </a:lnTo>
                <a:lnTo>
                  <a:pt x="1041" y="1650"/>
                </a:lnTo>
                <a:lnTo>
                  <a:pt x="1039" y="1650"/>
                </a:lnTo>
                <a:lnTo>
                  <a:pt x="1039" y="1649"/>
                </a:lnTo>
                <a:lnTo>
                  <a:pt x="1037" y="1647"/>
                </a:lnTo>
                <a:lnTo>
                  <a:pt x="1037" y="1645"/>
                </a:lnTo>
                <a:lnTo>
                  <a:pt x="1036" y="1645"/>
                </a:lnTo>
                <a:lnTo>
                  <a:pt x="1037" y="1645"/>
                </a:lnTo>
                <a:lnTo>
                  <a:pt x="1037" y="1644"/>
                </a:lnTo>
                <a:lnTo>
                  <a:pt x="1039" y="1644"/>
                </a:lnTo>
                <a:lnTo>
                  <a:pt x="1041" y="1642"/>
                </a:lnTo>
                <a:lnTo>
                  <a:pt x="1042" y="1642"/>
                </a:lnTo>
                <a:lnTo>
                  <a:pt x="1044" y="1642"/>
                </a:lnTo>
                <a:lnTo>
                  <a:pt x="1046" y="1640"/>
                </a:lnTo>
                <a:lnTo>
                  <a:pt x="1047" y="1640"/>
                </a:lnTo>
                <a:lnTo>
                  <a:pt x="1044" y="1640"/>
                </a:lnTo>
                <a:lnTo>
                  <a:pt x="1042" y="1640"/>
                </a:lnTo>
                <a:lnTo>
                  <a:pt x="1044" y="1639"/>
                </a:lnTo>
                <a:lnTo>
                  <a:pt x="1042" y="1637"/>
                </a:lnTo>
                <a:lnTo>
                  <a:pt x="1044" y="1635"/>
                </a:lnTo>
                <a:lnTo>
                  <a:pt x="1046" y="1635"/>
                </a:lnTo>
                <a:lnTo>
                  <a:pt x="1049" y="1635"/>
                </a:lnTo>
                <a:lnTo>
                  <a:pt x="1049" y="1637"/>
                </a:lnTo>
                <a:lnTo>
                  <a:pt x="1049" y="1639"/>
                </a:lnTo>
                <a:lnTo>
                  <a:pt x="1049" y="1637"/>
                </a:lnTo>
                <a:lnTo>
                  <a:pt x="1051" y="1637"/>
                </a:lnTo>
                <a:lnTo>
                  <a:pt x="1051" y="1635"/>
                </a:lnTo>
                <a:lnTo>
                  <a:pt x="1051" y="1637"/>
                </a:lnTo>
                <a:lnTo>
                  <a:pt x="1053" y="1637"/>
                </a:lnTo>
                <a:lnTo>
                  <a:pt x="1054" y="1637"/>
                </a:lnTo>
                <a:lnTo>
                  <a:pt x="1053" y="1635"/>
                </a:lnTo>
                <a:lnTo>
                  <a:pt x="1053" y="1633"/>
                </a:lnTo>
                <a:lnTo>
                  <a:pt x="1054" y="1632"/>
                </a:lnTo>
                <a:lnTo>
                  <a:pt x="1054" y="1633"/>
                </a:lnTo>
                <a:lnTo>
                  <a:pt x="1056" y="1633"/>
                </a:lnTo>
                <a:lnTo>
                  <a:pt x="1056" y="1635"/>
                </a:lnTo>
                <a:lnTo>
                  <a:pt x="1058" y="1637"/>
                </a:lnTo>
                <a:lnTo>
                  <a:pt x="1058" y="1639"/>
                </a:lnTo>
                <a:lnTo>
                  <a:pt x="1056" y="1640"/>
                </a:lnTo>
                <a:lnTo>
                  <a:pt x="1058" y="1642"/>
                </a:lnTo>
                <a:lnTo>
                  <a:pt x="1056" y="1644"/>
                </a:lnTo>
                <a:lnTo>
                  <a:pt x="1056" y="1645"/>
                </a:lnTo>
                <a:lnTo>
                  <a:pt x="1058" y="1644"/>
                </a:lnTo>
                <a:lnTo>
                  <a:pt x="1059" y="1642"/>
                </a:lnTo>
                <a:lnTo>
                  <a:pt x="1061" y="1642"/>
                </a:lnTo>
                <a:lnTo>
                  <a:pt x="1061" y="1640"/>
                </a:lnTo>
                <a:lnTo>
                  <a:pt x="1063" y="1640"/>
                </a:lnTo>
                <a:lnTo>
                  <a:pt x="1066" y="1639"/>
                </a:lnTo>
                <a:lnTo>
                  <a:pt x="1068" y="1639"/>
                </a:lnTo>
                <a:lnTo>
                  <a:pt x="1070" y="1637"/>
                </a:lnTo>
                <a:lnTo>
                  <a:pt x="1066" y="1639"/>
                </a:lnTo>
                <a:lnTo>
                  <a:pt x="1064" y="1639"/>
                </a:lnTo>
                <a:lnTo>
                  <a:pt x="1063" y="1639"/>
                </a:lnTo>
                <a:lnTo>
                  <a:pt x="1061" y="1640"/>
                </a:lnTo>
                <a:lnTo>
                  <a:pt x="1059" y="1639"/>
                </a:lnTo>
                <a:lnTo>
                  <a:pt x="1061" y="1639"/>
                </a:lnTo>
                <a:lnTo>
                  <a:pt x="1059" y="1639"/>
                </a:lnTo>
                <a:lnTo>
                  <a:pt x="1058" y="1637"/>
                </a:lnTo>
                <a:lnTo>
                  <a:pt x="1059" y="1635"/>
                </a:lnTo>
                <a:lnTo>
                  <a:pt x="1061" y="1635"/>
                </a:lnTo>
                <a:lnTo>
                  <a:pt x="1063" y="1635"/>
                </a:lnTo>
                <a:lnTo>
                  <a:pt x="1063" y="1633"/>
                </a:lnTo>
                <a:lnTo>
                  <a:pt x="1064" y="1633"/>
                </a:lnTo>
                <a:lnTo>
                  <a:pt x="1066" y="1633"/>
                </a:lnTo>
                <a:lnTo>
                  <a:pt x="1066" y="1632"/>
                </a:lnTo>
                <a:lnTo>
                  <a:pt x="1068" y="1632"/>
                </a:lnTo>
                <a:lnTo>
                  <a:pt x="1070" y="1632"/>
                </a:lnTo>
                <a:lnTo>
                  <a:pt x="1068" y="1632"/>
                </a:lnTo>
                <a:lnTo>
                  <a:pt x="1070" y="1632"/>
                </a:lnTo>
                <a:lnTo>
                  <a:pt x="1068" y="1632"/>
                </a:lnTo>
                <a:lnTo>
                  <a:pt x="1066" y="1632"/>
                </a:lnTo>
                <a:lnTo>
                  <a:pt x="1064" y="1633"/>
                </a:lnTo>
                <a:lnTo>
                  <a:pt x="1064" y="1632"/>
                </a:lnTo>
                <a:lnTo>
                  <a:pt x="1063" y="1632"/>
                </a:lnTo>
                <a:lnTo>
                  <a:pt x="1061" y="1630"/>
                </a:lnTo>
                <a:lnTo>
                  <a:pt x="1061" y="1632"/>
                </a:lnTo>
                <a:lnTo>
                  <a:pt x="1063" y="1632"/>
                </a:lnTo>
                <a:lnTo>
                  <a:pt x="1063" y="1633"/>
                </a:lnTo>
                <a:lnTo>
                  <a:pt x="1061" y="1633"/>
                </a:lnTo>
                <a:lnTo>
                  <a:pt x="1059" y="1633"/>
                </a:lnTo>
                <a:lnTo>
                  <a:pt x="1058" y="1633"/>
                </a:lnTo>
                <a:lnTo>
                  <a:pt x="1058" y="1630"/>
                </a:lnTo>
                <a:lnTo>
                  <a:pt x="1059" y="1630"/>
                </a:lnTo>
                <a:lnTo>
                  <a:pt x="1061" y="1628"/>
                </a:lnTo>
                <a:lnTo>
                  <a:pt x="1061" y="1630"/>
                </a:lnTo>
                <a:lnTo>
                  <a:pt x="1061" y="1628"/>
                </a:lnTo>
                <a:lnTo>
                  <a:pt x="1063" y="1628"/>
                </a:lnTo>
                <a:lnTo>
                  <a:pt x="1064" y="1627"/>
                </a:lnTo>
                <a:lnTo>
                  <a:pt x="1066" y="1627"/>
                </a:lnTo>
                <a:lnTo>
                  <a:pt x="1064" y="1628"/>
                </a:lnTo>
                <a:lnTo>
                  <a:pt x="1066" y="1630"/>
                </a:lnTo>
                <a:lnTo>
                  <a:pt x="1066" y="1628"/>
                </a:lnTo>
                <a:lnTo>
                  <a:pt x="1066" y="1627"/>
                </a:lnTo>
                <a:lnTo>
                  <a:pt x="1068" y="1625"/>
                </a:lnTo>
                <a:lnTo>
                  <a:pt x="1070" y="1625"/>
                </a:lnTo>
                <a:lnTo>
                  <a:pt x="1071" y="1625"/>
                </a:lnTo>
                <a:lnTo>
                  <a:pt x="1071" y="1628"/>
                </a:lnTo>
                <a:lnTo>
                  <a:pt x="1071" y="1625"/>
                </a:lnTo>
                <a:lnTo>
                  <a:pt x="1068" y="1625"/>
                </a:lnTo>
                <a:lnTo>
                  <a:pt x="1070" y="1623"/>
                </a:lnTo>
                <a:lnTo>
                  <a:pt x="1071" y="1622"/>
                </a:lnTo>
                <a:lnTo>
                  <a:pt x="1073" y="1622"/>
                </a:lnTo>
                <a:lnTo>
                  <a:pt x="1075" y="1620"/>
                </a:lnTo>
                <a:lnTo>
                  <a:pt x="1076" y="1620"/>
                </a:lnTo>
                <a:lnTo>
                  <a:pt x="1076" y="1622"/>
                </a:lnTo>
                <a:lnTo>
                  <a:pt x="1076" y="1625"/>
                </a:lnTo>
                <a:lnTo>
                  <a:pt x="1078" y="1625"/>
                </a:lnTo>
                <a:lnTo>
                  <a:pt x="1080" y="1627"/>
                </a:lnTo>
                <a:lnTo>
                  <a:pt x="1078" y="1628"/>
                </a:lnTo>
                <a:lnTo>
                  <a:pt x="1080" y="1630"/>
                </a:lnTo>
                <a:lnTo>
                  <a:pt x="1080" y="1632"/>
                </a:lnTo>
                <a:lnTo>
                  <a:pt x="1081" y="1633"/>
                </a:lnTo>
                <a:lnTo>
                  <a:pt x="1083" y="1633"/>
                </a:lnTo>
                <a:lnTo>
                  <a:pt x="1083" y="1637"/>
                </a:lnTo>
                <a:lnTo>
                  <a:pt x="1083" y="1639"/>
                </a:lnTo>
                <a:lnTo>
                  <a:pt x="1081" y="1640"/>
                </a:lnTo>
                <a:lnTo>
                  <a:pt x="1080" y="1642"/>
                </a:lnTo>
                <a:lnTo>
                  <a:pt x="1078" y="1644"/>
                </a:lnTo>
                <a:lnTo>
                  <a:pt x="1080" y="1644"/>
                </a:lnTo>
                <a:lnTo>
                  <a:pt x="1081" y="1642"/>
                </a:lnTo>
                <a:lnTo>
                  <a:pt x="1083" y="1640"/>
                </a:lnTo>
                <a:lnTo>
                  <a:pt x="1087" y="1640"/>
                </a:lnTo>
                <a:lnTo>
                  <a:pt x="1087" y="1642"/>
                </a:lnTo>
                <a:lnTo>
                  <a:pt x="1090" y="1644"/>
                </a:lnTo>
                <a:lnTo>
                  <a:pt x="1092" y="1642"/>
                </a:lnTo>
                <a:lnTo>
                  <a:pt x="1090" y="1642"/>
                </a:lnTo>
                <a:lnTo>
                  <a:pt x="1088" y="1640"/>
                </a:lnTo>
                <a:lnTo>
                  <a:pt x="1087" y="1639"/>
                </a:lnTo>
                <a:lnTo>
                  <a:pt x="1088" y="1637"/>
                </a:lnTo>
                <a:lnTo>
                  <a:pt x="1090" y="1635"/>
                </a:lnTo>
                <a:lnTo>
                  <a:pt x="1090" y="1633"/>
                </a:lnTo>
                <a:lnTo>
                  <a:pt x="1093" y="1633"/>
                </a:lnTo>
                <a:lnTo>
                  <a:pt x="1095" y="1633"/>
                </a:lnTo>
                <a:lnTo>
                  <a:pt x="1097" y="1635"/>
                </a:lnTo>
                <a:lnTo>
                  <a:pt x="1098" y="1633"/>
                </a:lnTo>
                <a:lnTo>
                  <a:pt x="1102" y="1635"/>
                </a:lnTo>
                <a:lnTo>
                  <a:pt x="1105" y="1633"/>
                </a:lnTo>
                <a:lnTo>
                  <a:pt x="1105" y="1635"/>
                </a:lnTo>
                <a:lnTo>
                  <a:pt x="1109" y="1635"/>
                </a:lnTo>
                <a:lnTo>
                  <a:pt x="1110" y="1637"/>
                </a:lnTo>
                <a:lnTo>
                  <a:pt x="1110" y="1635"/>
                </a:lnTo>
                <a:lnTo>
                  <a:pt x="1114" y="1633"/>
                </a:lnTo>
                <a:lnTo>
                  <a:pt x="1114" y="1632"/>
                </a:lnTo>
                <a:lnTo>
                  <a:pt x="1110" y="1632"/>
                </a:lnTo>
                <a:lnTo>
                  <a:pt x="1109" y="1632"/>
                </a:lnTo>
                <a:lnTo>
                  <a:pt x="1109" y="1630"/>
                </a:lnTo>
                <a:lnTo>
                  <a:pt x="1109" y="1627"/>
                </a:lnTo>
                <a:lnTo>
                  <a:pt x="1110" y="1627"/>
                </a:lnTo>
                <a:lnTo>
                  <a:pt x="1114" y="1627"/>
                </a:lnTo>
                <a:lnTo>
                  <a:pt x="1114" y="1625"/>
                </a:lnTo>
                <a:lnTo>
                  <a:pt x="1112" y="1625"/>
                </a:lnTo>
                <a:lnTo>
                  <a:pt x="1112" y="1623"/>
                </a:lnTo>
                <a:lnTo>
                  <a:pt x="1114" y="1623"/>
                </a:lnTo>
                <a:lnTo>
                  <a:pt x="1112" y="1623"/>
                </a:lnTo>
                <a:lnTo>
                  <a:pt x="1115" y="1623"/>
                </a:lnTo>
                <a:lnTo>
                  <a:pt x="1114" y="1623"/>
                </a:lnTo>
                <a:lnTo>
                  <a:pt x="1114" y="1622"/>
                </a:lnTo>
                <a:lnTo>
                  <a:pt x="1114" y="1623"/>
                </a:lnTo>
                <a:lnTo>
                  <a:pt x="1114" y="1622"/>
                </a:lnTo>
                <a:lnTo>
                  <a:pt x="1110" y="1623"/>
                </a:lnTo>
                <a:lnTo>
                  <a:pt x="1109" y="1625"/>
                </a:lnTo>
                <a:lnTo>
                  <a:pt x="1107" y="1627"/>
                </a:lnTo>
                <a:lnTo>
                  <a:pt x="1105" y="1627"/>
                </a:lnTo>
                <a:lnTo>
                  <a:pt x="1105" y="1625"/>
                </a:lnTo>
                <a:lnTo>
                  <a:pt x="1105" y="1627"/>
                </a:lnTo>
                <a:lnTo>
                  <a:pt x="1105" y="1625"/>
                </a:lnTo>
                <a:lnTo>
                  <a:pt x="1107" y="1622"/>
                </a:lnTo>
                <a:lnTo>
                  <a:pt x="1109" y="1620"/>
                </a:lnTo>
                <a:lnTo>
                  <a:pt x="1112" y="1620"/>
                </a:lnTo>
                <a:lnTo>
                  <a:pt x="1114" y="1616"/>
                </a:lnTo>
                <a:lnTo>
                  <a:pt x="1115" y="1616"/>
                </a:lnTo>
                <a:lnTo>
                  <a:pt x="1115" y="1615"/>
                </a:lnTo>
                <a:lnTo>
                  <a:pt x="1117" y="1615"/>
                </a:lnTo>
                <a:lnTo>
                  <a:pt x="1117" y="1616"/>
                </a:lnTo>
                <a:lnTo>
                  <a:pt x="1119" y="1615"/>
                </a:lnTo>
                <a:lnTo>
                  <a:pt x="1121" y="1615"/>
                </a:lnTo>
                <a:lnTo>
                  <a:pt x="1122" y="1615"/>
                </a:lnTo>
                <a:lnTo>
                  <a:pt x="1122" y="1611"/>
                </a:lnTo>
                <a:lnTo>
                  <a:pt x="1126" y="1611"/>
                </a:lnTo>
                <a:lnTo>
                  <a:pt x="1124" y="1613"/>
                </a:lnTo>
                <a:lnTo>
                  <a:pt x="1126" y="1613"/>
                </a:lnTo>
                <a:lnTo>
                  <a:pt x="1126" y="1611"/>
                </a:lnTo>
                <a:lnTo>
                  <a:pt x="1127" y="1611"/>
                </a:lnTo>
                <a:lnTo>
                  <a:pt x="1129" y="1610"/>
                </a:lnTo>
                <a:lnTo>
                  <a:pt x="1129" y="1611"/>
                </a:lnTo>
                <a:lnTo>
                  <a:pt x="1131" y="1610"/>
                </a:lnTo>
                <a:lnTo>
                  <a:pt x="1129" y="1608"/>
                </a:lnTo>
                <a:lnTo>
                  <a:pt x="1131" y="1608"/>
                </a:lnTo>
                <a:lnTo>
                  <a:pt x="1129" y="1606"/>
                </a:lnTo>
                <a:lnTo>
                  <a:pt x="1131" y="1606"/>
                </a:lnTo>
                <a:lnTo>
                  <a:pt x="1129" y="1605"/>
                </a:lnTo>
                <a:lnTo>
                  <a:pt x="1126" y="1606"/>
                </a:lnTo>
                <a:lnTo>
                  <a:pt x="1126" y="1603"/>
                </a:lnTo>
                <a:lnTo>
                  <a:pt x="1127" y="1605"/>
                </a:lnTo>
                <a:lnTo>
                  <a:pt x="1127" y="1603"/>
                </a:lnTo>
                <a:lnTo>
                  <a:pt x="1127" y="1601"/>
                </a:lnTo>
                <a:lnTo>
                  <a:pt x="1127" y="1599"/>
                </a:lnTo>
                <a:lnTo>
                  <a:pt x="1127" y="1598"/>
                </a:lnTo>
                <a:lnTo>
                  <a:pt x="1126" y="1599"/>
                </a:lnTo>
                <a:lnTo>
                  <a:pt x="1126" y="1601"/>
                </a:lnTo>
                <a:lnTo>
                  <a:pt x="1126" y="1603"/>
                </a:lnTo>
                <a:lnTo>
                  <a:pt x="1124" y="1603"/>
                </a:lnTo>
                <a:lnTo>
                  <a:pt x="1122" y="1605"/>
                </a:lnTo>
                <a:lnTo>
                  <a:pt x="1119" y="1606"/>
                </a:lnTo>
                <a:lnTo>
                  <a:pt x="1119" y="1603"/>
                </a:lnTo>
                <a:lnTo>
                  <a:pt x="1121" y="1601"/>
                </a:lnTo>
                <a:lnTo>
                  <a:pt x="1122" y="1599"/>
                </a:lnTo>
                <a:lnTo>
                  <a:pt x="1124" y="1598"/>
                </a:lnTo>
                <a:lnTo>
                  <a:pt x="1126" y="1596"/>
                </a:lnTo>
                <a:lnTo>
                  <a:pt x="1127" y="1596"/>
                </a:lnTo>
                <a:lnTo>
                  <a:pt x="1129" y="1596"/>
                </a:lnTo>
                <a:lnTo>
                  <a:pt x="1129" y="1594"/>
                </a:lnTo>
                <a:lnTo>
                  <a:pt x="1132" y="1594"/>
                </a:lnTo>
                <a:lnTo>
                  <a:pt x="1129" y="1593"/>
                </a:lnTo>
                <a:lnTo>
                  <a:pt x="1127" y="1593"/>
                </a:lnTo>
                <a:lnTo>
                  <a:pt x="1127" y="1591"/>
                </a:lnTo>
                <a:lnTo>
                  <a:pt x="1124" y="1591"/>
                </a:lnTo>
                <a:lnTo>
                  <a:pt x="1124" y="1593"/>
                </a:lnTo>
                <a:lnTo>
                  <a:pt x="1124" y="1589"/>
                </a:lnTo>
                <a:lnTo>
                  <a:pt x="1127" y="1588"/>
                </a:lnTo>
                <a:lnTo>
                  <a:pt x="1127" y="1586"/>
                </a:lnTo>
                <a:lnTo>
                  <a:pt x="1126" y="1586"/>
                </a:lnTo>
                <a:lnTo>
                  <a:pt x="1126" y="1588"/>
                </a:lnTo>
                <a:lnTo>
                  <a:pt x="1124" y="1589"/>
                </a:lnTo>
                <a:lnTo>
                  <a:pt x="1122" y="1589"/>
                </a:lnTo>
                <a:lnTo>
                  <a:pt x="1122" y="1591"/>
                </a:lnTo>
                <a:lnTo>
                  <a:pt x="1122" y="1593"/>
                </a:lnTo>
                <a:lnTo>
                  <a:pt x="1122" y="1594"/>
                </a:lnTo>
                <a:lnTo>
                  <a:pt x="1121" y="1594"/>
                </a:lnTo>
                <a:lnTo>
                  <a:pt x="1119" y="1596"/>
                </a:lnTo>
                <a:lnTo>
                  <a:pt x="1117" y="1598"/>
                </a:lnTo>
                <a:lnTo>
                  <a:pt x="1115" y="1598"/>
                </a:lnTo>
                <a:lnTo>
                  <a:pt x="1114" y="1599"/>
                </a:lnTo>
                <a:lnTo>
                  <a:pt x="1114" y="1601"/>
                </a:lnTo>
                <a:lnTo>
                  <a:pt x="1112" y="1603"/>
                </a:lnTo>
                <a:lnTo>
                  <a:pt x="1110" y="1603"/>
                </a:lnTo>
                <a:lnTo>
                  <a:pt x="1109" y="1605"/>
                </a:lnTo>
                <a:lnTo>
                  <a:pt x="1107" y="1606"/>
                </a:lnTo>
                <a:lnTo>
                  <a:pt x="1105" y="1606"/>
                </a:lnTo>
                <a:lnTo>
                  <a:pt x="1104" y="1608"/>
                </a:lnTo>
                <a:lnTo>
                  <a:pt x="1104" y="1610"/>
                </a:lnTo>
                <a:lnTo>
                  <a:pt x="1105" y="1608"/>
                </a:lnTo>
                <a:lnTo>
                  <a:pt x="1107" y="1606"/>
                </a:lnTo>
                <a:lnTo>
                  <a:pt x="1105" y="1606"/>
                </a:lnTo>
                <a:lnTo>
                  <a:pt x="1107" y="1606"/>
                </a:lnTo>
                <a:lnTo>
                  <a:pt x="1109" y="1605"/>
                </a:lnTo>
                <a:lnTo>
                  <a:pt x="1110" y="1605"/>
                </a:lnTo>
                <a:lnTo>
                  <a:pt x="1112" y="1603"/>
                </a:lnTo>
                <a:lnTo>
                  <a:pt x="1114" y="1601"/>
                </a:lnTo>
                <a:lnTo>
                  <a:pt x="1115" y="1601"/>
                </a:lnTo>
                <a:lnTo>
                  <a:pt x="1117" y="1603"/>
                </a:lnTo>
                <a:lnTo>
                  <a:pt x="1119" y="1606"/>
                </a:lnTo>
                <a:lnTo>
                  <a:pt x="1115" y="1608"/>
                </a:lnTo>
                <a:lnTo>
                  <a:pt x="1117" y="1608"/>
                </a:lnTo>
                <a:lnTo>
                  <a:pt x="1115" y="1610"/>
                </a:lnTo>
                <a:lnTo>
                  <a:pt x="1115" y="1613"/>
                </a:lnTo>
                <a:lnTo>
                  <a:pt x="1114" y="1613"/>
                </a:lnTo>
                <a:lnTo>
                  <a:pt x="1112" y="1615"/>
                </a:lnTo>
                <a:lnTo>
                  <a:pt x="1110" y="1615"/>
                </a:lnTo>
                <a:lnTo>
                  <a:pt x="1109" y="1615"/>
                </a:lnTo>
                <a:lnTo>
                  <a:pt x="1107" y="1616"/>
                </a:lnTo>
                <a:lnTo>
                  <a:pt x="1105" y="1616"/>
                </a:lnTo>
                <a:lnTo>
                  <a:pt x="1104" y="1618"/>
                </a:lnTo>
                <a:lnTo>
                  <a:pt x="1104" y="1620"/>
                </a:lnTo>
                <a:lnTo>
                  <a:pt x="1102" y="1622"/>
                </a:lnTo>
                <a:lnTo>
                  <a:pt x="1098" y="1623"/>
                </a:lnTo>
                <a:lnTo>
                  <a:pt x="1098" y="1625"/>
                </a:lnTo>
                <a:lnTo>
                  <a:pt x="1097" y="1625"/>
                </a:lnTo>
                <a:lnTo>
                  <a:pt x="1095" y="1627"/>
                </a:lnTo>
                <a:lnTo>
                  <a:pt x="1092" y="1627"/>
                </a:lnTo>
                <a:lnTo>
                  <a:pt x="1092" y="1628"/>
                </a:lnTo>
                <a:lnTo>
                  <a:pt x="1090" y="1628"/>
                </a:lnTo>
                <a:lnTo>
                  <a:pt x="1088" y="1630"/>
                </a:lnTo>
                <a:lnTo>
                  <a:pt x="1085" y="1630"/>
                </a:lnTo>
                <a:lnTo>
                  <a:pt x="1085" y="1632"/>
                </a:lnTo>
                <a:lnTo>
                  <a:pt x="1083" y="1630"/>
                </a:lnTo>
                <a:lnTo>
                  <a:pt x="1081" y="1628"/>
                </a:lnTo>
                <a:lnTo>
                  <a:pt x="1081" y="1627"/>
                </a:lnTo>
                <a:lnTo>
                  <a:pt x="1081" y="1625"/>
                </a:lnTo>
                <a:lnTo>
                  <a:pt x="1081" y="1623"/>
                </a:lnTo>
                <a:lnTo>
                  <a:pt x="1083" y="1623"/>
                </a:lnTo>
                <a:lnTo>
                  <a:pt x="1081" y="1623"/>
                </a:lnTo>
                <a:lnTo>
                  <a:pt x="1080" y="1623"/>
                </a:lnTo>
                <a:lnTo>
                  <a:pt x="1080" y="1622"/>
                </a:lnTo>
                <a:lnTo>
                  <a:pt x="1078" y="1622"/>
                </a:lnTo>
                <a:lnTo>
                  <a:pt x="1080" y="1620"/>
                </a:lnTo>
                <a:lnTo>
                  <a:pt x="1078" y="1618"/>
                </a:lnTo>
                <a:lnTo>
                  <a:pt x="1080" y="1616"/>
                </a:lnTo>
                <a:lnTo>
                  <a:pt x="1080" y="1618"/>
                </a:lnTo>
                <a:lnTo>
                  <a:pt x="1081" y="1616"/>
                </a:lnTo>
                <a:lnTo>
                  <a:pt x="1083" y="1616"/>
                </a:lnTo>
                <a:lnTo>
                  <a:pt x="1083" y="1615"/>
                </a:lnTo>
                <a:lnTo>
                  <a:pt x="1085" y="1615"/>
                </a:lnTo>
                <a:lnTo>
                  <a:pt x="1087" y="1615"/>
                </a:lnTo>
                <a:lnTo>
                  <a:pt x="1088" y="1613"/>
                </a:lnTo>
                <a:lnTo>
                  <a:pt x="1088" y="1611"/>
                </a:lnTo>
                <a:lnTo>
                  <a:pt x="1087" y="1613"/>
                </a:lnTo>
                <a:lnTo>
                  <a:pt x="1085" y="1613"/>
                </a:lnTo>
                <a:lnTo>
                  <a:pt x="1087" y="1611"/>
                </a:lnTo>
                <a:lnTo>
                  <a:pt x="1088" y="1610"/>
                </a:lnTo>
                <a:lnTo>
                  <a:pt x="1087" y="1611"/>
                </a:lnTo>
                <a:lnTo>
                  <a:pt x="1085" y="1611"/>
                </a:lnTo>
                <a:lnTo>
                  <a:pt x="1083" y="1611"/>
                </a:lnTo>
                <a:lnTo>
                  <a:pt x="1081" y="1613"/>
                </a:lnTo>
                <a:lnTo>
                  <a:pt x="1080" y="1615"/>
                </a:lnTo>
                <a:lnTo>
                  <a:pt x="1076" y="1615"/>
                </a:lnTo>
                <a:lnTo>
                  <a:pt x="1076" y="1616"/>
                </a:lnTo>
                <a:lnTo>
                  <a:pt x="1075" y="1616"/>
                </a:lnTo>
                <a:lnTo>
                  <a:pt x="1075" y="1618"/>
                </a:lnTo>
                <a:lnTo>
                  <a:pt x="1071" y="1618"/>
                </a:lnTo>
                <a:lnTo>
                  <a:pt x="1071" y="1620"/>
                </a:lnTo>
                <a:lnTo>
                  <a:pt x="1070" y="1618"/>
                </a:lnTo>
                <a:lnTo>
                  <a:pt x="1071" y="1616"/>
                </a:lnTo>
                <a:lnTo>
                  <a:pt x="1071" y="1615"/>
                </a:lnTo>
                <a:lnTo>
                  <a:pt x="1070" y="1615"/>
                </a:lnTo>
                <a:lnTo>
                  <a:pt x="1071" y="1615"/>
                </a:lnTo>
                <a:lnTo>
                  <a:pt x="1071" y="1613"/>
                </a:lnTo>
                <a:lnTo>
                  <a:pt x="1075" y="1613"/>
                </a:lnTo>
                <a:lnTo>
                  <a:pt x="1075" y="1611"/>
                </a:lnTo>
                <a:lnTo>
                  <a:pt x="1078" y="1611"/>
                </a:lnTo>
                <a:lnTo>
                  <a:pt x="1076" y="1611"/>
                </a:lnTo>
                <a:lnTo>
                  <a:pt x="1073" y="1611"/>
                </a:lnTo>
                <a:lnTo>
                  <a:pt x="1071" y="1611"/>
                </a:lnTo>
                <a:lnTo>
                  <a:pt x="1073" y="1610"/>
                </a:lnTo>
                <a:lnTo>
                  <a:pt x="1073" y="1608"/>
                </a:lnTo>
                <a:lnTo>
                  <a:pt x="1075" y="1608"/>
                </a:lnTo>
                <a:lnTo>
                  <a:pt x="1075" y="1606"/>
                </a:lnTo>
                <a:lnTo>
                  <a:pt x="1073" y="1608"/>
                </a:lnTo>
                <a:lnTo>
                  <a:pt x="1073" y="1606"/>
                </a:lnTo>
                <a:lnTo>
                  <a:pt x="1075" y="1606"/>
                </a:lnTo>
                <a:lnTo>
                  <a:pt x="1075" y="1605"/>
                </a:lnTo>
                <a:lnTo>
                  <a:pt x="1076" y="1605"/>
                </a:lnTo>
                <a:lnTo>
                  <a:pt x="1076" y="1606"/>
                </a:lnTo>
                <a:lnTo>
                  <a:pt x="1080" y="1605"/>
                </a:lnTo>
                <a:lnTo>
                  <a:pt x="1078" y="1606"/>
                </a:lnTo>
                <a:lnTo>
                  <a:pt x="1076" y="1606"/>
                </a:lnTo>
                <a:lnTo>
                  <a:pt x="1075" y="1606"/>
                </a:lnTo>
                <a:lnTo>
                  <a:pt x="1075" y="1608"/>
                </a:lnTo>
                <a:lnTo>
                  <a:pt x="1078" y="1606"/>
                </a:lnTo>
                <a:lnTo>
                  <a:pt x="1080" y="1605"/>
                </a:lnTo>
                <a:lnTo>
                  <a:pt x="1080" y="1606"/>
                </a:lnTo>
                <a:lnTo>
                  <a:pt x="1081" y="1605"/>
                </a:lnTo>
                <a:lnTo>
                  <a:pt x="1081" y="1603"/>
                </a:lnTo>
                <a:lnTo>
                  <a:pt x="1080" y="1605"/>
                </a:lnTo>
                <a:lnTo>
                  <a:pt x="1080" y="1603"/>
                </a:lnTo>
                <a:lnTo>
                  <a:pt x="1081" y="1603"/>
                </a:lnTo>
                <a:lnTo>
                  <a:pt x="1083" y="1601"/>
                </a:lnTo>
                <a:lnTo>
                  <a:pt x="1081" y="1603"/>
                </a:lnTo>
                <a:lnTo>
                  <a:pt x="1083" y="1605"/>
                </a:lnTo>
                <a:lnTo>
                  <a:pt x="1083" y="1603"/>
                </a:lnTo>
                <a:lnTo>
                  <a:pt x="1085" y="1601"/>
                </a:lnTo>
                <a:lnTo>
                  <a:pt x="1088" y="1599"/>
                </a:lnTo>
                <a:lnTo>
                  <a:pt x="1090" y="1599"/>
                </a:lnTo>
                <a:lnTo>
                  <a:pt x="1092" y="1599"/>
                </a:lnTo>
                <a:lnTo>
                  <a:pt x="1092" y="1598"/>
                </a:lnTo>
                <a:lnTo>
                  <a:pt x="1090" y="1598"/>
                </a:lnTo>
                <a:lnTo>
                  <a:pt x="1088" y="1599"/>
                </a:lnTo>
                <a:lnTo>
                  <a:pt x="1088" y="1598"/>
                </a:lnTo>
                <a:lnTo>
                  <a:pt x="1087" y="1599"/>
                </a:lnTo>
                <a:lnTo>
                  <a:pt x="1085" y="1601"/>
                </a:lnTo>
                <a:lnTo>
                  <a:pt x="1083" y="1601"/>
                </a:lnTo>
                <a:lnTo>
                  <a:pt x="1083" y="1599"/>
                </a:lnTo>
                <a:lnTo>
                  <a:pt x="1083" y="1601"/>
                </a:lnTo>
                <a:lnTo>
                  <a:pt x="1087" y="1598"/>
                </a:lnTo>
                <a:lnTo>
                  <a:pt x="1088" y="1598"/>
                </a:lnTo>
                <a:lnTo>
                  <a:pt x="1090" y="1596"/>
                </a:lnTo>
                <a:lnTo>
                  <a:pt x="1092" y="1594"/>
                </a:lnTo>
                <a:lnTo>
                  <a:pt x="1090" y="1594"/>
                </a:lnTo>
                <a:lnTo>
                  <a:pt x="1088" y="1596"/>
                </a:lnTo>
                <a:lnTo>
                  <a:pt x="1088" y="1598"/>
                </a:lnTo>
                <a:lnTo>
                  <a:pt x="1088" y="1596"/>
                </a:lnTo>
                <a:lnTo>
                  <a:pt x="1087" y="1598"/>
                </a:lnTo>
                <a:lnTo>
                  <a:pt x="1088" y="1596"/>
                </a:lnTo>
                <a:lnTo>
                  <a:pt x="1087" y="1598"/>
                </a:lnTo>
                <a:lnTo>
                  <a:pt x="1087" y="1596"/>
                </a:lnTo>
                <a:lnTo>
                  <a:pt x="1085" y="1596"/>
                </a:lnTo>
                <a:lnTo>
                  <a:pt x="1085" y="1598"/>
                </a:lnTo>
                <a:lnTo>
                  <a:pt x="1083" y="1598"/>
                </a:lnTo>
                <a:lnTo>
                  <a:pt x="1083" y="1596"/>
                </a:lnTo>
                <a:lnTo>
                  <a:pt x="1085" y="1596"/>
                </a:lnTo>
                <a:lnTo>
                  <a:pt x="1085" y="1594"/>
                </a:lnTo>
                <a:lnTo>
                  <a:pt x="1087" y="1596"/>
                </a:lnTo>
                <a:lnTo>
                  <a:pt x="1085" y="1593"/>
                </a:lnTo>
                <a:lnTo>
                  <a:pt x="1087" y="1594"/>
                </a:lnTo>
                <a:lnTo>
                  <a:pt x="1087" y="1593"/>
                </a:lnTo>
                <a:lnTo>
                  <a:pt x="1087" y="1591"/>
                </a:lnTo>
                <a:lnTo>
                  <a:pt x="1085" y="1589"/>
                </a:lnTo>
                <a:lnTo>
                  <a:pt x="1087" y="1589"/>
                </a:lnTo>
                <a:lnTo>
                  <a:pt x="1085" y="1588"/>
                </a:lnTo>
                <a:lnTo>
                  <a:pt x="1087" y="1588"/>
                </a:lnTo>
                <a:lnTo>
                  <a:pt x="1088" y="1589"/>
                </a:lnTo>
                <a:lnTo>
                  <a:pt x="1090" y="1589"/>
                </a:lnTo>
                <a:lnTo>
                  <a:pt x="1090" y="1588"/>
                </a:lnTo>
                <a:lnTo>
                  <a:pt x="1093" y="1588"/>
                </a:lnTo>
                <a:lnTo>
                  <a:pt x="1093" y="1586"/>
                </a:lnTo>
                <a:lnTo>
                  <a:pt x="1090" y="1588"/>
                </a:lnTo>
                <a:lnTo>
                  <a:pt x="1088" y="1586"/>
                </a:lnTo>
                <a:lnTo>
                  <a:pt x="1090" y="1584"/>
                </a:lnTo>
                <a:lnTo>
                  <a:pt x="1092" y="1584"/>
                </a:lnTo>
                <a:lnTo>
                  <a:pt x="1090" y="1584"/>
                </a:lnTo>
                <a:lnTo>
                  <a:pt x="1092" y="1584"/>
                </a:lnTo>
                <a:lnTo>
                  <a:pt x="1092" y="1582"/>
                </a:lnTo>
                <a:lnTo>
                  <a:pt x="1090" y="1581"/>
                </a:lnTo>
                <a:lnTo>
                  <a:pt x="1092" y="1579"/>
                </a:lnTo>
                <a:lnTo>
                  <a:pt x="1093" y="1581"/>
                </a:lnTo>
                <a:lnTo>
                  <a:pt x="1092" y="1579"/>
                </a:lnTo>
                <a:lnTo>
                  <a:pt x="1093" y="1579"/>
                </a:lnTo>
                <a:lnTo>
                  <a:pt x="1093" y="1581"/>
                </a:lnTo>
                <a:lnTo>
                  <a:pt x="1093" y="1579"/>
                </a:lnTo>
                <a:lnTo>
                  <a:pt x="1095" y="1579"/>
                </a:lnTo>
                <a:lnTo>
                  <a:pt x="1097" y="1582"/>
                </a:lnTo>
                <a:lnTo>
                  <a:pt x="1097" y="1579"/>
                </a:lnTo>
                <a:lnTo>
                  <a:pt x="1095" y="1579"/>
                </a:lnTo>
                <a:lnTo>
                  <a:pt x="1093" y="1579"/>
                </a:lnTo>
                <a:lnTo>
                  <a:pt x="1093" y="1577"/>
                </a:lnTo>
                <a:lnTo>
                  <a:pt x="1095" y="1576"/>
                </a:lnTo>
                <a:lnTo>
                  <a:pt x="1097" y="1574"/>
                </a:lnTo>
                <a:lnTo>
                  <a:pt x="1098" y="1576"/>
                </a:lnTo>
                <a:lnTo>
                  <a:pt x="1097" y="1574"/>
                </a:lnTo>
                <a:lnTo>
                  <a:pt x="1098" y="1574"/>
                </a:lnTo>
                <a:lnTo>
                  <a:pt x="1100" y="1574"/>
                </a:lnTo>
                <a:lnTo>
                  <a:pt x="1100" y="1572"/>
                </a:lnTo>
                <a:lnTo>
                  <a:pt x="1098" y="1572"/>
                </a:lnTo>
                <a:lnTo>
                  <a:pt x="1098" y="1571"/>
                </a:lnTo>
                <a:lnTo>
                  <a:pt x="1100" y="1571"/>
                </a:lnTo>
                <a:lnTo>
                  <a:pt x="1098" y="1569"/>
                </a:lnTo>
                <a:lnTo>
                  <a:pt x="1100" y="1571"/>
                </a:lnTo>
                <a:lnTo>
                  <a:pt x="1098" y="1569"/>
                </a:lnTo>
                <a:lnTo>
                  <a:pt x="1100" y="1569"/>
                </a:lnTo>
                <a:lnTo>
                  <a:pt x="1102" y="1571"/>
                </a:lnTo>
                <a:lnTo>
                  <a:pt x="1100" y="1569"/>
                </a:lnTo>
                <a:lnTo>
                  <a:pt x="1100" y="1567"/>
                </a:lnTo>
                <a:lnTo>
                  <a:pt x="1102" y="1569"/>
                </a:lnTo>
                <a:lnTo>
                  <a:pt x="1104" y="1571"/>
                </a:lnTo>
                <a:lnTo>
                  <a:pt x="1105" y="1569"/>
                </a:lnTo>
                <a:lnTo>
                  <a:pt x="1104" y="1569"/>
                </a:lnTo>
                <a:lnTo>
                  <a:pt x="1104" y="1567"/>
                </a:lnTo>
                <a:lnTo>
                  <a:pt x="1102" y="1567"/>
                </a:lnTo>
                <a:lnTo>
                  <a:pt x="1102" y="1565"/>
                </a:lnTo>
                <a:lnTo>
                  <a:pt x="1100" y="1565"/>
                </a:lnTo>
                <a:lnTo>
                  <a:pt x="1100" y="1567"/>
                </a:lnTo>
                <a:lnTo>
                  <a:pt x="1100" y="1565"/>
                </a:lnTo>
                <a:lnTo>
                  <a:pt x="1098" y="1565"/>
                </a:lnTo>
                <a:lnTo>
                  <a:pt x="1100" y="1564"/>
                </a:lnTo>
                <a:lnTo>
                  <a:pt x="1104" y="1564"/>
                </a:lnTo>
                <a:lnTo>
                  <a:pt x="1104" y="1567"/>
                </a:lnTo>
                <a:lnTo>
                  <a:pt x="1104" y="1565"/>
                </a:lnTo>
                <a:lnTo>
                  <a:pt x="1104" y="1564"/>
                </a:lnTo>
                <a:lnTo>
                  <a:pt x="1102" y="1564"/>
                </a:lnTo>
                <a:lnTo>
                  <a:pt x="1104" y="1564"/>
                </a:lnTo>
                <a:lnTo>
                  <a:pt x="1104" y="1562"/>
                </a:lnTo>
                <a:lnTo>
                  <a:pt x="1105" y="1564"/>
                </a:lnTo>
                <a:lnTo>
                  <a:pt x="1105" y="1565"/>
                </a:lnTo>
                <a:lnTo>
                  <a:pt x="1109" y="1565"/>
                </a:lnTo>
                <a:lnTo>
                  <a:pt x="1109" y="1567"/>
                </a:lnTo>
                <a:lnTo>
                  <a:pt x="1110" y="1567"/>
                </a:lnTo>
                <a:lnTo>
                  <a:pt x="1110" y="1569"/>
                </a:lnTo>
                <a:lnTo>
                  <a:pt x="1109" y="1565"/>
                </a:lnTo>
                <a:lnTo>
                  <a:pt x="1109" y="1564"/>
                </a:lnTo>
                <a:lnTo>
                  <a:pt x="1110" y="1565"/>
                </a:lnTo>
                <a:lnTo>
                  <a:pt x="1110" y="1564"/>
                </a:lnTo>
                <a:lnTo>
                  <a:pt x="1107" y="1562"/>
                </a:lnTo>
                <a:lnTo>
                  <a:pt x="1107" y="1564"/>
                </a:lnTo>
                <a:lnTo>
                  <a:pt x="1105" y="1562"/>
                </a:lnTo>
                <a:lnTo>
                  <a:pt x="1107" y="1560"/>
                </a:lnTo>
                <a:lnTo>
                  <a:pt x="1107" y="1562"/>
                </a:lnTo>
                <a:lnTo>
                  <a:pt x="1109" y="1562"/>
                </a:lnTo>
                <a:lnTo>
                  <a:pt x="1109" y="1560"/>
                </a:lnTo>
                <a:lnTo>
                  <a:pt x="1109" y="1562"/>
                </a:lnTo>
                <a:lnTo>
                  <a:pt x="1109" y="1560"/>
                </a:lnTo>
                <a:lnTo>
                  <a:pt x="1109" y="1562"/>
                </a:lnTo>
                <a:lnTo>
                  <a:pt x="1109" y="1560"/>
                </a:lnTo>
                <a:lnTo>
                  <a:pt x="1110" y="1560"/>
                </a:lnTo>
                <a:lnTo>
                  <a:pt x="1110" y="1562"/>
                </a:lnTo>
                <a:lnTo>
                  <a:pt x="1112" y="1562"/>
                </a:lnTo>
                <a:lnTo>
                  <a:pt x="1110" y="1560"/>
                </a:lnTo>
                <a:lnTo>
                  <a:pt x="1109" y="1557"/>
                </a:lnTo>
                <a:lnTo>
                  <a:pt x="1112" y="1559"/>
                </a:lnTo>
                <a:lnTo>
                  <a:pt x="1112" y="1562"/>
                </a:lnTo>
                <a:lnTo>
                  <a:pt x="1112" y="1560"/>
                </a:lnTo>
                <a:lnTo>
                  <a:pt x="1112" y="1559"/>
                </a:lnTo>
                <a:lnTo>
                  <a:pt x="1114" y="1559"/>
                </a:lnTo>
                <a:lnTo>
                  <a:pt x="1112" y="1557"/>
                </a:lnTo>
                <a:lnTo>
                  <a:pt x="1115" y="1559"/>
                </a:lnTo>
                <a:lnTo>
                  <a:pt x="1114" y="1557"/>
                </a:lnTo>
                <a:lnTo>
                  <a:pt x="1115" y="1555"/>
                </a:lnTo>
                <a:lnTo>
                  <a:pt x="1114" y="1554"/>
                </a:lnTo>
                <a:lnTo>
                  <a:pt x="1112" y="1554"/>
                </a:lnTo>
                <a:lnTo>
                  <a:pt x="1115" y="1550"/>
                </a:lnTo>
                <a:lnTo>
                  <a:pt x="1115" y="1552"/>
                </a:lnTo>
                <a:lnTo>
                  <a:pt x="1119" y="1554"/>
                </a:lnTo>
                <a:lnTo>
                  <a:pt x="1117" y="1554"/>
                </a:lnTo>
                <a:lnTo>
                  <a:pt x="1117" y="1555"/>
                </a:lnTo>
                <a:lnTo>
                  <a:pt x="1117" y="1557"/>
                </a:lnTo>
                <a:lnTo>
                  <a:pt x="1119" y="1557"/>
                </a:lnTo>
                <a:lnTo>
                  <a:pt x="1121" y="1560"/>
                </a:lnTo>
                <a:lnTo>
                  <a:pt x="1121" y="1562"/>
                </a:lnTo>
                <a:lnTo>
                  <a:pt x="1122" y="1564"/>
                </a:lnTo>
                <a:lnTo>
                  <a:pt x="1122" y="1562"/>
                </a:lnTo>
                <a:lnTo>
                  <a:pt x="1124" y="1562"/>
                </a:lnTo>
                <a:lnTo>
                  <a:pt x="1126" y="1562"/>
                </a:lnTo>
                <a:lnTo>
                  <a:pt x="1126" y="1564"/>
                </a:lnTo>
                <a:lnTo>
                  <a:pt x="1126" y="1565"/>
                </a:lnTo>
                <a:lnTo>
                  <a:pt x="1124" y="1569"/>
                </a:lnTo>
                <a:lnTo>
                  <a:pt x="1122" y="1572"/>
                </a:lnTo>
                <a:lnTo>
                  <a:pt x="1124" y="1569"/>
                </a:lnTo>
                <a:lnTo>
                  <a:pt x="1126" y="1567"/>
                </a:lnTo>
                <a:lnTo>
                  <a:pt x="1126" y="1565"/>
                </a:lnTo>
                <a:lnTo>
                  <a:pt x="1127" y="1565"/>
                </a:lnTo>
                <a:lnTo>
                  <a:pt x="1127" y="1567"/>
                </a:lnTo>
                <a:lnTo>
                  <a:pt x="1127" y="1565"/>
                </a:lnTo>
                <a:lnTo>
                  <a:pt x="1126" y="1564"/>
                </a:lnTo>
                <a:lnTo>
                  <a:pt x="1127" y="1564"/>
                </a:lnTo>
                <a:lnTo>
                  <a:pt x="1127" y="1562"/>
                </a:lnTo>
                <a:lnTo>
                  <a:pt x="1129" y="1564"/>
                </a:lnTo>
                <a:lnTo>
                  <a:pt x="1132" y="1562"/>
                </a:lnTo>
                <a:lnTo>
                  <a:pt x="1131" y="1560"/>
                </a:lnTo>
                <a:lnTo>
                  <a:pt x="1129" y="1562"/>
                </a:lnTo>
                <a:lnTo>
                  <a:pt x="1129" y="1560"/>
                </a:lnTo>
                <a:lnTo>
                  <a:pt x="1129" y="1559"/>
                </a:lnTo>
                <a:lnTo>
                  <a:pt x="1129" y="1557"/>
                </a:lnTo>
                <a:lnTo>
                  <a:pt x="1132" y="1557"/>
                </a:lnTo>
                <a:lnTo>
                  <a:pt x="1131" y="1555"/>
                </a:lnTo>
                <a:lnTo>
                  <a:pt x="1132" y="1555"/>
                </a:lnTo>
                <a:lnTo>
                  <a:pt x="1131" y="1554"/>
                </a:lnTo>
                <a:lnTo>
                  <a:pt x="1132" y="1554"/>
                </a:lnTo>
                <a:lnTo>
                  <a:pt x="1132" y="1555"/>
                </a:lnTo>
                <a:lnTo>
                  <a:pt x="1134" y="1554"/>
                </a:lnTo>
                <a:lnTo>
                  <a:pt x="1138" y="1552"/>
                </a:lnTo>
                <a:lnTo>
                  <a:pt x="1139" y="1552"/>
                </a:lnTo>
                <a:lnTo>
                  <a:pt x="1136" y="1552"/>
                </a:lnTo>
                <a:lnTo>
                  <a:pt x="1134" y="1554"/>
                </a:lnTo>
                <a:lnTo>
                  <a:pt x="1134" y="1550"/>
                </a:lnTo>
                <a:lnTo>
                  <a:pt x="1132" y="1552"/>
                </a:lnTo>
                <a:lnTo>
                  <a:pt x="1134" y="1550"/>
                </a:lnTo>
                <a:lnTo>
                  <a:pt x="1134" y="1552"/>
                </a:lnTo>
                <a:lnTo>
                  <a:pt x="1131" y="1554"/>
                </a:lnTo>
                <a:lnTo>
                  <a:pt x="1131" y="1552"/>
                </a:lnTo>
                <a:lnTo>
                  <a:pt x="1129" y="1552"/>
                </a:lnTo>
                <a:lnTo>
                  <a:pt x="1129" y="1550"/>
                </a:lnTo>
                <a:lnTo>
                  <a:pt x="1127" y="1548"/>
                </a:lnTo>
                <a:lnTo>
                  <a:pt x="1129" y="1548"/>
                </a:lnTo>
                <a:lnTo>
                  <a:pt x="1127" y="1547"/>
                </a:lnTo>
                <a:lnTo>
                  <a:pt x="1127" y="1545"/>
                </a:lnTo>
                <a:lnTo>
                  <a:pt x="1129" y="1545"/>
                </a:lnTo>
                <a:lnTo>
                  <a:pt x="1127" y="1543"/>
                </a:lnTo>
                <a:lnTo>
                  <a:pt x="1129" y="1543"/>
                </a:lnTo>
                <a:lnTo>
                  <a:pt x="1131" y="1542"/>
                </a:lnTo>
                <a:lnTo>
                  <a:pt x="1131" y="1540"/>
                </a:lnTo>
                <a:lnTo>
                  <a:pt x="1132" y="1540"/>
                </a:lnTo>
                <a:lnTo>
                  <a:pt x="1134" y="1542"/>
                </a:lnTo>
                <a:lnTo>
                  <a:pt x="1136" y="1542"/>
                </a:lnTo>
                <a:lnTo>
                  <a:pt x="1134" y="1540"/>
                </a:lnTo>
                <a:lnTo>
                  <a:pt x="1132" y="1540"/>
                </a:lnTo>
                <a:lnTo>
                  <a:pt x="1132" y="1538"/>
                </a:lnTo>
                <a:lnTo>
                  <a:pt x="1134" y="1538"/>
                </a:lnTo>
                <a:lnTo>
                  <a:pt x="1136" y="1538"/>
                </a:lnTo>
                <a:lnTo>
                  <a:pt x="1138" y="1538"/>
                </a:lnTo>
                <a:lnTo>
                  <a:pt x="1138" y="1540"/>
                </a:lnTo>
                <a:lnTo>
                  <a:pt x="1139" y="1538"/>
                </a:lnTo>
                <a:lnTo>
                  <a:pt x="1141" y="1537"/>
                </a:lnTo>
                <a:lnTo>
                  <a:pt x="1139" y="1537"/>
                </a:lnTo>
                <a:lnTo>
                  <a:pt x="1138" y="1537"/>
                </a:lnTo>
                <a:lnTo>
                  <a:pt x="1136" y="1537"/>
                </a:lnTo>
                <a:lnTo>
                  <a:pt x="1136" y="1535"/>
                </a:lnTo>
                <a:lnTo>
                  <a:pt x="1134" y="1537"/>
                </a:lnTo>
                <a:lnTo>
                  <a:pt x="1136" y="1535"/>
                </a:lnTo>
                <a:lnTo>
                  <a:pt x="1138" y="1535"/>
                </a:lnTo>
                <a:lnTo>
                  <a:pt x="1139" y="1535"/>
                </a:lnTo>
                <a:lnTo>
                  <a:pt x="1139" y="1533"/>
                </a:lnTo>
                <a:lnTo>
                  <a:pt x="1138" y="1535"/>
                </a:lnTo>
                <a:lnTo>
                  <a:pt x="1139" y="1531"/>
                </a:lnTo>
                <a:lnTo>
                  <a:pt x="1138" y="1533"/>
                </a:lnTo>
                <a:lnTo>
                  <a:pt x="1136" y="1535"/>
                </a:lnTo>
                <a:lnTo>
                  <a:pt x="1138" y="1533"/>
                </a:lnTo>
                <a:lnTo>
                  <a:pt x="1134" y="1535"/>
                </a:lnTo>
                <a:lnTo>
                  <a:pt x="1136" y="1533"/>
                </a:lnTo>
                <a:lnTo>
                  <a:pt x="1138" y="1531"/>
                </a:lnTo>
                <a:lnTo>
                  <a:pt x="1136" y="1531"/>
                </a:lnTo>
                <a:lnTo>
                  <a:pt x="1138" y="1531"/>
                </a:lnTo>
                <a:lnTo>
                  <a:pt x="1141" y="1530"/>
                </a:lnTo>
                <a:lnTo>
                  <a:pt x="1141" y="1528"/>
                </a:lnTo>
                <a:lnTo>
                  <a:pt x="1144" y="1526"/>
                </a:lnTo>
                <a:lnTo>
                  <a:pt x="1146" y="1526"/>
                </a:lnTo>
                <a:lnTo>
                  <a:pt x="1149" y="1525"/>
                </a:lnTo>
                <a:lnTo>
                  <a:pt x="1151" y="1525"/>
                </a:lnTo>
                <a:lnTo>
                  <a:pt x="1151" y="1526"/>
                </a:lnTo>
                <a:lnTo>
                  <a:pt x="1153" y="1526"/>
                </a:lnTo>
                <a:lnTo>
                  <a:pt x="1155" y="1526"/>
                </a:lnTo>
                <a:lnTo>
                  <a:pt x="1156" y="1526"/>
                </a:lnTo>
                <a:lnTo>
                  <a:pt x="1156" y="1528"/>
                </a:lnTo>
                <a:lnTo>
                  <a:pt x="1158" y="1530"/>
                </a:lnTo>
                <a:lnTo>
                  <a:pt x="1160" y="1530"/>
                </a:lnTo>
                <a:lnTo>
                  <a:pt x="1158" y="1528"/>
                </a:lnTo>
                <a:lnTo>
                  <a:pt x="1158" y="1526"/>
                </a:lnTo>
                <a:lnTo>
                  <a:pt x="1155" y="1526"/>
                </a:lnTo>
                <a:lnTo>
                  <a:pt x="1151" y="1526"/>
                </a:lnTo>
                <a:lnTo>
                  <a:pt x="1149" y="1525"/>
                </a:lnTo>
                <a:lnTo>
                  <a:pt x="1148" y="1525"/>
                </a:lnTo>
                <a:lnTo>
                  <a:pt x="1146" y="1526"/>
                </a:lnTo>
                <a:lnTo>
                  <a:pt x="1144" y="1526"/>
                </a:lnTo>
                <a:lnTo>
                  <a:pt x="1143" y="1528"/>
                </a:lnTo>
                <a:lnTo>
                  <a:pt x="1141" y="1528"/>
                </a:lnTo>
                <a:lnTo>
                  <a:pt x="1138" y="1530"/>
                </a:lnTo>
                <a:lnTo>
                  <a:pt x="1136" y="1531"/>
                </a:lnTo>
                <a:lnTo>
                  <a:pt x="1134" y="1531"/>
                </a:lnTo>
                <a:lnTo>
                  <a:pt x="1136" y="1531"/>
                </a:lnTo>
                <a:lnTo>
                  <a:pt x="1134" y="1535"/>
                </a:lnTo>
                <a:lnTo>
                  <a:pt x="1132" y="1535"/>
                </a:lnTo>
                <a:lnTo>
                  <a:pt x="1132" y="1537"/>
                </a:lnTo>
                <a:lnTo>
                  <a:pt x="1129" y="1537"/>
                </a:lnTo>
                <a:lnTo>
                  <a:pt x="1127" y="1538"/>
                </a:lnTo>
                <a:lnTo>
                  <a:pt x="1129" y="1538"/>
                </a:lnTo>
                <a:lnTo>
                  <a:pt x="1127" y="1540"/>
                </a:lnTo>
                <a:lnTo>
                  <a:pt x="1126" y="1542"/>
                </a:lnTo>
                <a:lnTo>
                  <a:pt x="1122" y="1542"/>
                </a:lnTo>
                <a:lnTo>
                  <a:pt x="1124" y="1540"/>
                </a:lnTo>
                <a:lnTo>
                  <a:pt x="1122" y="1542"/>
                </a:lnTo>
                <a:lnTo>
                  <a:pt x="1121" y="1542"/>
                </a:lnTo>
                <a:lnTo>
                  <a:pt x="1122" y="1542"/>
                </a:lnTo>
                <a:lnTo>
                  <a:pt x="1121" y="1542"/>
                </a:lnTo>
                <a:lnTo>
                  <a:pt x="1124" y="1540"/>
                </a:lnTo>
                <a:lnTo>
                  <a:pt x="1126" y="1540"/>
                </a:lnTo>
                <a:lnTo>
                  <a:pt x="1127" y="1538"/>
                </a:lnTo>
                <a:lnTo>
                  <a:pt x="1127" y="1537"/>
                </a:lnTo>
                <a:lnTo>
                  <a:pt x="1129" y="1537"/>
                </a:lnTo>
                <a:lnTo>
                  <a:pt x="1127" y="1537"/>
                </a:lnTo>
                <a:lnTo>
                  <a:pt x="1126" y="1537"/>
                </a:lnTo>
                <a:lnTo>
                  <a:pt x="1124" y="1537"/>
                </a:lnTo>
                <a:lnTo>
                  <a:pt x="1126" y="1537"/>
                </a:lnTo>
                <a:lnTo>
                  <a:pt x="1126" y="1535"/>
                </a:lnTo>
                <a:lnTo>
                  <a:pt x="1124" y="1537"/>
                </a:lnTo>
                <a:lnTo>
                  <a:pt x="1122" y="1537"/>
                </a:lnTo>
                <a:lnTo>
                  <a:pt x="1124" y="1535"/>
                </a:lnTo>
                <a:lnTo>
                  <a:pt x="1122" y="1535"/>
                </a:lnTo>
                <a:lnTo>
                  <a:pt x="1126" y="1535"/>
                </a:lnTo>
                <a:lnTo>
                  <a:pt x="1124" y="1535"/>
                </a:lnTo>
                <a:lnTo>
                  <a:pt x="1124" y="1533"/>
                </a:lnTo>
                <a:lnTo>
                  <a:pt x="1124" y="1535"/>
                </a:lnTo>
                <a:lnTo>
                  <a:pt x="1124" y="1533"/>
                </a:lnTo>
                <a:lnTo>
                  <a:pt x="1126" y="1533"/>
                </a:lnTo>
                <a:lnTo>
                  <a:pt x="1127" y="1531"/>
                </a:lnTo>
                <a:lnTo>
                  <a:pt x="1131" y="1531"/>
                </a:lnTo>
                <a:lnTo>
                  <a:pt x="1132" y="1531"/>
                </a:lnTo>
                <a:lnTo>
                  <a:pt x="1134" y="1531"/>
                </a:lnTo>
                <a:lnTo>
                  <a:pt x="1136" y="1530"/>
                </a:lnTo>
                <a:lnTo>
                  <a:pt x="1138" y="1530"/>
                </a:lnTo>
                <a:lnTo>
                  <a:pt x="1136" y="1530"/>
                </a:lnTo>
                <a:lnTo>
                  <a:pt x="1132" y="1530"/>
                </a:lnTo>
                <a:lnTo>
                  <a:pt x="1132" y="1531"/>
                </a:lnTo>
                <a:lnTo>
                  <a:pt x="1132" y="1530"/>
                </a:lnTo>
                <a:lnTo>
                  <a:pt x="1132" y="1528"/>
                </a:lnTo>
                <a:lnTo>
                  <a:pt x="1134" y="1528"/>
                </a:lnTo>
                <a:lnTo>
                  <a:pt x="1132" y="1528"/>
                </a:lnTo>
                <a:lnTo>
                  <a:pt x="1131" y="1530"/>
                </a:lnTo>
                <a:lnTo>
                  <a:pt x="1131" y="1528"/>
                </a:lnTo>
                <a:lnTo>
                  <a:pt x="1129" y="1526"/>
                </a:lnTo>
                <a:lnTo>
                  <a:pt x="1132" y="1525"/>
                </a:lnTo>
                <a:lnTo>
                  <a:pt x="1132" y="1526"/>
                </a:lnTo>
                <a:lnTo>
                  <a:pt x="1134" y="1525"/>
                </a:lnTo>
                <a:lnTo>
                  <a:pt x="1134" y="1526"/>
                </a:lnTo>
                <a:lnTo>
                  <a:pt x="1134" y="1525"/>
                </a:lnTo>
                <a:lnTo>
                  <a:pt x="1136" y="1525"/>
                </a:lnTo>
                <a:lnTo>
                  <a:pt x="1136" y="1526"/>
                </a:lnTo>
                <a:lnTo>
                  <a:pt x="1138" y="1526"/>
                </a:lnTo>
                <a:lnTo>
                  <a:pt x="1139" y="1523"/>
                </a:lnTo>
                <a:lnTo>
                  <a:pt x="1138" y="1523"/>
                </a:lnTo>
                <a:lnTo>
                  <a:pt x="1136" y="1525"/>
                </a:lnTo>
                <a:lnTo>
                  <a:pt x="1136" y="1523"/>
                </a:lnTo>
                <a:lnTo>
                  <a:pt x="1132" y="1525"/>
                </a:lnTo>
                <a:lnTo>
                  <a:pt x="1134" y="1523"/>
                </a:lnTo>
                <a:lnTo>
                  <a:pt x="1136" y="1523"/>
                </a:lnTo>
                <a:lnTo>
                  <a:pt x="1136" y="1521"/>
                </a:lnTo>
                <a:lnTo>
                  <a:pt x="1138" y="1523"/>
                </a:lnTo>
                <a:lnTo>
                  <a:pt x="1138" y="1521"/>
                </a:lnTo>
                <a:lnTo>
                  <a:pt x="1139" y="1523"/>
                </a:lnTo>
                <a:lnTo>
                  <a:pt x="1139" y="1521"/>
                </a:lnTo>
                <a:lnTo>
                  <a:pt x="1141" y="1521"/>
                </a:lnTo>
                <a:lnTo>
                  <a:pt x="1139" y="1521"/>
                </a:lnTo>
                <a:lnTo>
                  <a:pt x="1141" y="1521"/>
                </a:lnTo>
                <a:lnTo>
                  <a:pt x="1141" y="1519"/>
                </a:lnTo>
                <a:lnTo>
                  <a:pt x="1143" y="1518"/>
                </a:lnTo>
                <a:lnTo>
                  <a:pt x="1144" y="1518"/>
                </a:lnTo>
                <a:lnTo>
                  <a:pt x="1144" y="1516"/>
                </a:lnTo>
                <a:lnTo>
                  <a:pt x="1146" y="1514"/>
                </a:lnTo>
                <a:lnTo>
                  <a:pt x="1146" y="1516"/>
                </a:lnTo>
                <a:lnTo>
                  <a:pt x="1148" y="1516"/>
                </a:lnTo>
                <a:lnTo>
                  <a:pt x="1146" y="1514"/>
                </a:lnTo>
                <a:lnTo>
                  <a:pt x="1148" y="1513"/>
                </a:lnTo>
                <a:lnTo>
                  <a:pt x="1148" y="1514"/>
                </a:lnTo>
                <a:lnTo>
                  <a:pt x="1149" y="1513"/>
                </a:lnTo>
                <a:lnTo>
                  <a:pt x="1148" y="1513"/>
                </a:lnTo>
                <a:lnTo>
                  <a:pt x="1148" y="1511"/>
                </a:lnTo>
                <a:lnTo>
                  <a:pt x="1148" y="1509"/>
                </a:lnTo>
                <a:lnTo>
                  <a:pt x="1149" y="1508"/>
                </a:lnTo>
                <a:lnTo>
                  <a:pt x="1151" y="1506"/>
                </a:lnTo>
                <a:lnTo>
                  <a:pt x="1153" y="1508"/>
                </a:lnTo>
                <a:lnTo>
                  <a:pt x="1153" y="1509"/>
                </a:lnTo>
                <a:lnTo>
                  <a:pt x="1155" y="1511"/>
                </a:lnTo>
                <a:lnTo>
                  <a:pt x="1153" y="1511"/>
                </a:lnTo>
                <a:lnTo>
                  <a:pt x="1153" y="1513"/>
                </a:lnTo>
                <a:lnTo>
                  <a:pt x="1153" y="1514"/>
                </a:lnTo>
                <a:lnTo>
                  <a:pt x="1155" y="1513"/>
                </a:lnTo>
                <a:lnTo>
                  <a:pt x="1155" y="1514"/>
                </a:lnTo>
                <a:lnTo>
                  <a:pt x="1155" y="1516"/>
                </a:lnTo>
                <a:lnTo>
                  <a:pt x="1153" y="1518"/>
                </a:lnTo>
                <a:lnTo>
                  <a:pt x="1151" y="1518"/>
                </a:lnTo>
                <a:lnTo>
                  <a:pt x="1149" y="1518"/>
                </a:lnTo>
                <a:lnTo>
                  <a:pt x="1148" y="1516"/>
                </a:lnTo>
                <a:lnTo>
                  <a:pt x="1144" y="1516"/>
                </a:lnTo>
                <a:lnTo>
                  <a:pt x="1144" y="1518"/>
                </a:lnTo>
                <a:lnTo>
                  <a:pt x="1148" y="1518"/>
                </a:lnTo>
                <a:lnTo>
                  <a:pt x="1149" y="1518"/>
                </a:lnTo>
                <a:lnTo>
                  <a:pt x="1148" y="1519"/>
                </a:lnTo>
                <a:lnTo>
                  <a:pt x="1149" y="1518"/>
                </a:lnTo>
                <a:lnTo>
                  <a:pt x="1151" y="1521"/>
                </a:lnTo>
                <a:lnTo>
                  <a:pt x="1151" y="1523"/>
                </a:lnTo>
                <a:lnTo>
                  <a:pt x="1151" y="1521"/>
                </a:lnTo>
                <a:lnTo>
                  <a:pt x="1151" y="1518"/>
                </a:lnTo>
                <a:lnTo>
                  <a:pt x="1153" y="1518"/>
                </a:lnTo>
                <a:lnTo>
                  <a:pt x="1155" y="1516"/>
                </a:lnTo>
                <a:lnTo>
                  <a:pt x="1156" y="1514"/>
                </a:lnTo>
                <a:lnTo>
                  <a:pt x="1156" y="1516"/>
                </a:lnTo>
                <a:lnTo>
                  <a:pt x="1158" y="1516"/>
                </a:lnTo>
                <a:lnTo>
                  <a:pt x="1160" y="1518"/>
                </a:lnTo>
                <a:lnTo>
                  <a:pt x="1160" y="1516"/>
                </a:lnTo>
                <a:lnTo>
                  <a:pt x="1160" y="1518"/>
                </a:lnTo>
                <a:lnTo>
                  <a:pt x="1158" y="1516"/>
                </a:lnTo>
                <a:lnTo>
                  <a:pt x="1160" y="1514"/>
                </a:lnTo>
                <a:lnTo>
                  <a:pt x="1158" y="1516"/>
                </a:lnTo>
                <a:lnTo>
                  <a:pt x="1158" y="1514"/>
                </a:lnTo>
                <a:lnTo>
                  <a:pt x="1160" y="1513"/>
                </a:lnTo>
                <a:lnTo>
                  <a:pt x="1161" y="1513"/>
                </a:lnTo>
                <a:lnTo>
                  <a:pt x="1163" y="1511"/>
                </a:lnTo>
                <a:lnTo>
                  <a:pt x="1165" y="1509"/>
                </a:lnTo>
                <a:lnTo>
                  <a:pt x="1165" y="1511"/>
                </a:lnTo>
                <a:lnTo>
                  <a:pt x="1165" y="1509"/>
                </a:lnTo>
                <a:lnTo>
                  <a:pt x="1166" y="1508"/>
                </a:lnTo>
                <a:lnTo>
                  <a:pt x="1168" y="1506"/>
                </a:lnTo>
                <a:lnTo>
                  <a:pt x="1168" y="1504"/>
                </a:lnTo>
                <a:lnTo>
                  <a:pt x="1170" y="1502"/>
                </a:lnTo>
                <a:lnTo>
                  <a:pt x="1170" y="1501"/>
                </a:lnTo>
                <a:lnTo>
                  <a:pt x="1173" y="1499"/>
                </a:lnTo>
                <a:lnTo>
                  <a:pt x="1173" y="1497"/>
                </a:lnTo>
                <a:lnTo>
                  <a:pt x="1172" y="1499"/>
                </a:lnTo>
                <a:lnTo>
                  <a:pt x="1170" y="1501"/>
                </a:lnTo>
                <a:lnTo>
                  <a:pt x="1168" y="1502"/>
                </a:lnTo>
                <a:lnTo>
                  <a:pt x="1168" y="1504"/>
                </a:lnTo>
                <a:lnTo>
                  <a:pt x="1166" y="1506"/>
                </a:lnTo>
                <a:lnTo>
                  <a:pt x="1165" y="1508"/>
                </a:lnTo>
                <a:lnTo>
                  <a:pt x="1163" y="1509"/>
                </a:lnTo>
                <a:lnTo>
                  <a:pt x="1161" y="1511"/>
                </a:lnTo>
                <a:lnTo>
                  <a:pt x="1160" y="1513"/>
                </a:lnTo>
                <a:lnTo>
                  <a:pt x="1158" y="1511"/>
                </a:lnTo>
                <a:lnTo>
                  <a:pt x="1156" y="1511"/>
                </a:lnTo>
                <a:lnTo>
                  <a:pt x="1158" y="1508"/>
                </a:lnTo>
                <a:lnTo>
                  <a:pt x="1158" y="1509"/>
                </a:lnTo>
                <a:lnTo>
                  <a:pt x="1160" y="1508"/>
                </a:lnTo>
                <a:lnTo>
                  <a:pt x="1158" y="1506"/>
                </a:lnTo>
                <a:lnTo>
                  <a:pt x="1158" y="1508"/>
                </a:lnTo>
                <a:lnTo>
                  <a:pt x="1158" y="1504"/>
                </a:lnTo>
                <a:lnTo>
                  <a:pt x="1155" y="1506"/>
                </a:lnTo>
                <a:lnTo>
                  <a:pt x="1156" y="1504"/>
                </a:lnTo>
                <a:lnTo>
                  <a:pt x="1158" y="1504"/>
                </a:lnTo>
                <a:lnTo>
                  <a:pt x="1158" y="1502"/>
                </a:lnTo>
                <a:lnTo>
                  <a:pt x="1156" y="1502"/>
                </a:lnTo>
                <a:lnTo>
                  <a:pt x="1155" y="1502"/>
                </a:lnTo>
                <a:lnTo>
                  <a:pt x="1153" y="1506"/>
                </a:lnTo>
                <a:lnTo>
                  <a:pt x="1155" y="1502"/>
                </a:lnTo>
                <a:lnTo>
                  <a:pt x="1155" y="1501"/>
                </a:lnTo>
                <a:lnTo>
                  <a:pt x="1158" y="1499"/>
                </a:lnTo>
                <a:lnTo>
                  <a:pt x="1158" y="1497"/>
                </a:lnTo>
                <a:lnTo>
                  <a:pt x="1156" y="1499"/>
                </a:lnTo>
                <a:lnTo>
                  <a:pt x="1158" y="1497"/>
                </a:lnTo>
                <a:lnTo>
                  <a:pt x="1160" y="1496"/>
                </a:lnTo>
                <a:lnTo>
                  <a:pt x="1158" y="1496"/>
                </a:lnTo>
                <a:lnTo>
                  <a:pt x="1156" y="1496"/>
                </a:lnTo>
                <a:lnTo>
                  <a:pt x="1156" y="1497"/>
                </a:lnTo>
                <a:lnTo>
                  <a:pt x="1153" y="1499"/>
                </a:lnTo>
                <a:lnTo>
                  <a:pt x="1151" y="1497"/>
                </a:lnTo>
                <a:lnTo>
                  <a:pt x="1151" y="1499"/>
                </a:lnTo>
                <a:lnTo>
                  <a:pt x="1151" y="1501"/>
                </a:lnTo>
                <a:lnTo>
                  <a:pt x="1153" y="1501"/>
                </a:lnTo>
                <a:lnTo>
                  <a:pt x="1153" y="1502"/>
                </a:lnTo>
                <a:lnTo>
                  <a:pt x="1151" y="1504"/>
                </a:lnTo>
                <a:lnTo>
                  <a:pt x="1149" y="1506"/>
                </a:lnTo>
                <a:lnTo>
                  <a:pt x="1148" y="1508"/>
                </a:lnTo>
                <a:lnTo>
                  <a:pt x="1146" y="1506"/>
                </a:lnTo>
                <a:lnTo>
                  <a:pt x="1148" y="1504"/>
                </a:lnTo>
                <a:lnTo>
                  <a:pt x="1148" y="1502"/>
                </a:lnTo>
                <a:lnTo>
                  <a:pt x="1149" y="1502"/>
                </a:lnTo>
                <a:lnTo>
                  <a:pt x="1148" y="1501"/>
                </a:lnTo>
                <a:lnTo>
                  <a:pt x="1149" y="1501"/>
                </a:lnTo>
                <a:lnTo>
                  <a:pt x="1148" y="1499"/>
                </a:lnTo>
                <a:lnTo>
                  <a:pt x="1148" y="1497"/>
                </a:lnTo>
                <a:lnTo>
                  <a:pt x="1149" y="1497"/>
                </a:lnTo>
                <a:lnTo>
                  <a:pt x="1149" y="1496"/>
                </a:lnTo>
                <a:lnTo>
                  <a:pt x="1151" y="1496"/>
                </a:lnTo>
                <a:lnTo>
                  <a:pt x="1151" y="1497"/>
                </a:lnTo>
                <a:lnTo>
                  <a:pt x="1149" y="1496"/>
                </a:lnTo>
                <a:lnTo>
                  <a:pt x="1151" y="1494"/>
                </a:lnTo>
                <a:lnTo>
                  <a:pt x="1151" y="1496"/>
                </a:lnTo>
                <a:lnTo>
                  <a:pt x="1153" y="1494"/>
                </a:lnTo>
                <a:lnTo>
                  <a:pt x="1151" y="1494"/>
                </a:lnTo>
                <a:lnTo>
                  <a:pt x="1149" y="1496"/>
                </a:lnTo>
                <a:lnTo>
                  <a:pt x="1149" y="1494"/>
                </a:lnTo>
                <a:lnTo>
                  <a:pt x="1151" y="1492"/>
                </a:lnTo>
                <a:lnTo>
                  <a:pt x="1153" y="1491"/>
                </a:lnTo>
                <a:lnTo>
                  <a:pt x="1155" y="1489"/>
                </a:lnTo>
                <a:lnTo>
                  <a:pt x="1155" y="1485"/>
                </a:lnTo>
                <a:lnTo>
                  <a:pt x="1153" y="1489"/>
                </a:lnTo>
                <a:lnTo>
                  <a:pt x="1153" y="1487"/>
                </a:lnTo>
                <a:lnTo>
                  <a:pt x="1151" y="1489"/>
                </a:lnTo>
                <a:lnTo>
                  <a:pt x="1151" y="1487"/>
                </a:lnTo>
                <a:lnTo>
                  <a:pt x="1153" y="1485"/>
                </a:lnTo>
                <a:lnTo>
                  <a:pt x="1151" y="1487"/>
                </a:lnTo>
                <a:lnTo>
                  <a:pt x="1151" y="1489"/>
                </a:lnTo>
                <a:lnTo>
                  <a:pt x="1149" y="1491"/>
                </a:lnTo>
                <a:lnTo>
                  <a:pt x="1151" y="1489"/>
                </a:lnTo>
                <a:lnTo>
                  <a:pt x="1149" y="1489"/>
                </a:lnTo>
                <a:lnTo>
                  <a:pt x="1151" y="1487"/>
                </a:lnTo>
                <a:lnTo>
                  <a:pt x="1151" y="1485"/>
                </a:lnTo>
                <a:lnTo>
                  <a:pt x="1151" y="1482"/>
                </a:lnTo>
                <a:lnTo>
                  <a:pt x="1151" y="1484"/>
                </a:lnTo>
                <a:lnTo>
                  <a:pt x="1151" y="1482"/>
                </a:lnTo>
                <a:lnTo>
                  <a:pt x="1153" y="1482"/>
                </a:lnTo>
                <a:lnTo>
                  <a:pt x="1151" y="1482"/>
                </a:lnTo>
                <a:lnTo>
                  <a:pt x="1153" y="1479"/>
                </a:lnTo>
                <a:lnTo>
                  <a:pt x="1155" y="1480"/>
                </a:lnTo>
                <a:lnTo>
                  <a:pt x="1155" y="1484"/>
                </a:lnTo>
                <a:lnTo>
                  <a:pt x="1156" y="1484"/>
                </a:lnTo>
                <a:lnTo>
                  <a:pt x="1158" y="1487"/>
                </a:lnTo>
                <a:lnTo>
                  <a:pt x="1158" y="1489"/>
                </a:lnTo>
                <a:lnTo>
                  <a:pt x="1158" y="1492"/>
                </a:lnTo>
                <a:lnTo>
                  <a:pt x="1160" y="1492"/>
                </a:lnTo>
                <a:lnTo>
                  <a:pt x="1160" y="1494"/>
                </a:lnTo>
                <a:lnTo>
                  <a:pt x="1160" y="1492"/>
                </a:lnTo>
                <a:lnTo>
                  <a:pt x="1158" y="1489"/>
                </a:lnTo>
                <a:lnTo>
                  <a:pt x="1160" y="1489"/>
                </a:lnTo>
                <a:lnTo>
                  <a:pt x="1158" y="1491"/>
                </a:lnTo>
                <a:lnTo>
                  <a:pt x="1160" y="1489"/>
                </a:lnTo>
                <a:lnTo>
                  <a:pt x="1161" y="1491"/>
                </a:lnTo>
                <a:lnTo>
                  <a:pt x="1161" y="1492"/>
                </a:lnTo>
                <a:lnTo>
                  <a:pt x="1161" y="1489"/>
                </a:lnTo>
                <a:lnTo>
                  <a:pt x="1163" y="1492"/>
                </a:lnTo>
                <a:lnTo>
                  <a:pt x="1165" y="1492"/>
                </a:lnTo>
                <a:lnTo>
                  <a:pt x="1166" y="1496"/>
                </a:lnTo>
                <a:lnTo>
                  <a:pt x="1165" y="1494"/>
                </a:lnTo>
                <a:lnTo>
                  <a:pt x="1163" y="1491"/>
                </a:lnTo>
                <a:lnTo>
                  <a:pt x="1163" y="1489"/>
                </a:lnTo>
                <a:lnTo>
                  <a:pt x="1165" y="1489"/>
                </a:lnTo>
                <a:lnTo>
                  <a:pt x="1168" y="1487"/>
                </a:lnTo>
                <a:lnTo>
                  <a:pt x="1166" y="1487"/>
                </a:lnTo>
                <a:lnTo>
                  <a:pt x="1165" y="1489"/>
                </a:lnTo>
                <a:lnTo>
                  <a:pt x="1163" y="1489"/>
                </a:lnTo>
                <a:lnTo>
                  <a:pt x="1165" y="1487"/>
                </a:lnTo>
                <a:lnTo>
                  <a:pt x="1161" y="1487"/>
                </a:lnTo>
                <a:lnTo>
                  <a:pt x="1161" y="1485"/>
                </a:lnTo>
                <a:lnTo>
                  <a:pt x="1163" y="1484"/>
                </a:lnTo>
                <a:lnTo>
                  <a:pt x="1161" y="1484"/>
                </a:lnTo>
                <a:lnTo>
                  <a:pt x="1161" y="1482"/>
                </a:lnTo>
                <a:lnTo>
                  <a:pt x="1161" y="1480"/>
                </a:lnTo>
                <a:lnTo>
                  <a:pt x="1161" y="1479"/>
                </a:lnTo>
                <a:lnTo>
                  <a:pt x="1161" y="1480"/>
                </a:lnTo>
                <a:lnTo>
                  <a:pt x="1161" y="1484"/>
                </a:lnTo>
                <a:lnTo>
                  <a:pt x="1160" y="1484"/>
                </a:lnTo>
                <a:lnTo>
                  <a:pt x="1158" y="1484"/>
                </a:lnTo>
                <a:lnTo>
                  <a:pt x="1160" y="1482"/>
                </a:lnTo>
                <a:lnTo>
                  <a:pt x="1160" y="1479"/>
                </a:lnTo>
                <a:lnTo>
                  <a:pt x="1160" y="1480"/>
                </a:lnTo>
                <a:lnTo>
                  <a:pt x="1160" y="1482"/>
                </a:lnTo>
                <a:lnTo>
                  <a:pt x="1158" y="1484"/>
                </a:lnTo>
                <a:lnTo>
                  <a:pt x="1156" y="1484"/>
                </a:lnTo>
                <a:lnTo>
                  <a:pt x="1156" y="1480"/>
                </a:lnTo>
                <a:lnTo>
                  <a:pt x="1156" y="1479"/>
                </a:lnTo>
                <a:lnTo>
                  <a:pt x="1155" y="1480"/>
                </a:lnTo>
                <a:lnTo>
                  <a:pt x="1155" y="1479"/>
                </a:lnTo>
                <a:lnTo>
                  <a:pt x="1155" y="1477"/>
                </a:lnTo>
                <a:lnTo>
                  <a:pt x="1155" y="1475"/>
                </a:lnTo>
                <a:lnTo>
                  <a:pt x="1156" y="1474"/>
                </a:lnTo>
                <a:lnTo>
                  <a:pt x="1156" y="1472"/>
                </a:lnTo>
                <a:lnTo>
                  <a:pt x="1158" y="1470"/>
                </a:lnTo>
                <a:lnTo>
                  <a:pt x="1158" y="1468"/>
                </a:lnTo>
                <a:lnTo>
                  <a:pt x="1160" y="1468"/>
                </a:lnTo>
                <a:lnTo>
                  <a:pt x="1161" y="1470"/>
                </a:lnTo>
                <a:lnTo>
                  <a:pt x="1161" y="1472"/>
                </a:lnTo>
                <a:lnTo>
                  <a:pt x="1161" y="1474"/>
                </a:lnTo>
                <a:lnTo>
                  <a:pt x="1161" y="1472"/>
                </a:lnTo>
                <a:lnTo>
                  <a:pt x="1163" y="1472"/>
                </a:lnTo>
                <a:lnTo>
                  <a:pt x="1161" y="1474"/>
                </a:lnTo>
                <a:lnTo>
                  <a:pt x="1161" y="1475"/>
                </a:lnTo>
                <a:lnTo>
                  <a:pt x="1163" y="1474"/>
                </a:lnTo>
                <a:lnTo>
                  <a:pt x="1163" y="1475"/>
                </a:lnTo>
                <a:lnTo>
                  <a:pt x="1165" y="1475"/>
                </a:lnTo>
                <a:lnTo>
                  <a:pt x="1166" y="1477"/>
                </a:lnTo>
                <a:lnTo>
                  <a:pt x="1168" y="1475"/>
                </a:lnTo>
                <a:lnTo>
                  <a:pt x="1165" y="1475"/>
                </a:lnTo>
                <a:lnTo>
                  <a:pt x="1163" y="1475"/>
                </a:lnTo>
                <a:lnTo>
                  <a:pt x="1163" y="1472"/>
                </a:lnTo>
                <a:lnTo>
                  <a:pt x="1163" y="1470"/>
                </a:lnTo>
                <a:lnTo>
                  <a:pt x="1161" y="1470"/>
                </a:lnTo>
                <a:lnTo>
                  <a:pt x="1160" y="1467"/>
                </a:lnTo>
                <a:lnTo>
                  <a:pt x="1161" y="1467"/>
                </a:lnTo>
                <a:lnTo>
                  <a:pt x="1161" y="1463"/>
                </a:lnTo>
                <a:lnTo>
                  <a:pt x="1163" y="1463"/>
                </a:lnTo>
                <a:lnTo>
                  <a:pt x="1165" y="1465"/>
                </a:lnTo>
                <a:lnTo>
                  <a:pt x="1165" y="1463"/>
                </a:lnTo>
                <a:lnTo>
                  <a:pt x="1165" y="1462"/>
                </a:lnTo>
                <a:lnTo>
                  <a:pt x="1165" y="1460"/>
                </a:lnTo>
                <a:lnTo>
                  <a:pt x="1163" y="1462"/>
                </a:lnTo>
                <a:lnTo>
                  <a:pt x="1161" y="1462"/>
                </a:lnTo>
                <a:lnTo>
                  <a:pt x="1163" y="1460"/>
                </a:lnTo>
                <a:lnTo>
                  <a:pt x="1161" y="1458"/>
                </a:lnTo>
                <a:lnTo>
                  <a:pt x="1163" y="1457"/>
                </a:lnTo>
                <a:lnTo>
                  <a:pt x="1163" y="1455"/>
                </a:lnTo>
                <a:lnTo>
                  <a:pt x="1165" y="1455"/>
                </a:lnTo>
                <a:lnTo>
                  <a:pt x="1165" y="1453"/>
                </a:lnTo>
                <a:lnTo>
                  <a:pt x="1166" y="1451"/>
                </a:lnTo>
                <a:lnTo>
                  <a:pt x="1168" y="1451"/>
                </a:lnTo>
                <a:lnTo>
                  <a:pt x="1168" y="1453"/>
                </a:lnTo>
                <a:lnTo>
                  <a:pt x="1170" y="1451"/>
                </a:lnTo>
                <a:lnTo>
                  <a:pt x="1172" y="1455"/>
                </a:lnTo>
                <a:lnTo>
                  <a:pt x="1173" y="1455"/>
                </a:lnTo>
                <a:lnTo>
                  <a:pt x="1175" y="1457"/>
                </a:lnTo>
                <a:lnTo>
                  <a:pt x="1177" y="1457"/>
                </a:lnTo>
                <a:lnTo>
                  <a:pt x="1177" y="1458"/>
                </a:lnTo>
                <a:lnTo>
                  <a:pt x="1178" y="1460"/>
                </a:lnTo>
                <a:lnTo>
                  <a:pt x="1178" y="1457"/>
                </a:lnTo>
                <a:lnTo>
                  <a:pt x="1178" y="1455"/>
                </a:lnTo>
                <a:lnTo>
                  <a:pt x="1177" y="1455"/>
                </a:lnTo>
                <a:lnTo>
                  <a:pt x="1177" y="1453"/>
                </a:lnTo>
                <a:lnTo>
                  <a:pt x="1175" y="1453"/>
                </a:lnTo>
                <a:lnTo>
                  <a:pt x="1172" y="1453"/>
                </a:lnTo>
                <a:lnTo>
                  <a:pt x="1170" y="1451"/>
                </a:lnTo>
                <a:lnTo>
                  <a:pt x="1172" y="1448"/>
                </a:lnTo>
                <a:lnTo>
                  <a:pt x="1172" y="1446"/>
                </a:lnTo>
                <a:lnTo>
                  <a:pt x="1173" y="1445"/>
                </a:lnTo>
                <a:lnTo>
                  <a:pt x="1173" y="1443"/>
                </a:lnTo>
                <a:lnTo>
                  <a:pt x="1172" y="1445"/>
                </a:lnTo>
                <a:lnTo>
                  <a:pt x="1170" y="1446"/>
                </a:lnTo>
                <a:lnTo>
                  <a:pt x="1166" y="1446"/>
                </a:lnTo>
                <a:lnTo>
                  <a:pt x="1163" y="1446"/>
                </a:lnTo>
                <a:lnTo>
                  <a:pt x="1163" y="1448"/>
                </a:lnTo>
                <a:lnTo>
                  <a:pt x="1163" y="1446"/>
                </a:lnTo>
                <a:lnTo>
                  <a:pt x="1166" y="1445"/>
                </a:lnTo>
                <a:lnTo>
                  <a:pt x="1168" y="1445"/>
                </a:lnTo>
                <a:lnTo>
                  <a:pt x="1166" y="1445"/>
                </a:lnTo>
                <a:lnTo>
                  <a:pt x="1165" y="1446"/>
                </a:lnTo>
                <a:lnTo>
                  <a:pt x="1163" y="1446"/>
                </a:lnTo>
                <a:lnTo>
                  <a:pt x="1165" y="1445"/>
                </a:lnTo>
                <a:lnTo>
                  <a:pt x="1163" y="1445"/>
                </a:lnTo>
                <a:lnTo>
                  <a:pt x="1163" y="1443"/>
                </a:lnTo>
                <a:lnTo>
                  <a:pt x="1165" y="1441"/>
                </a:lnTo>
                <a:lnTo>
                  <a:pt x="1166" y="1441"/>
                </a:lnTo>
                <a:lnTo>
                  <a:pt x="1166" y="1440"/>
                </a:lnTo>
                <a:lnTo>
                  <a:pt x="1170" y="1440"/>
                </a:lnTo>
                <a:lnTo>
                  <a:pt x="1172" y="1438"/>
                </a:lnTo>
                <a:lnTo>
                  <a:pt x="1173" y="1438"/>
                </a:lnTo>
                <a:lnTo>
                  <a:pt x="1175" y="1438"/>
                </a:lnTo>
                <a:lnTo>
                  <a:pt x="1175" y="1440"/>
                </a:lnTo>
                <a:lnTo>
                  <a:pt x="1175" y="1438"/>
                </a:lnTo>
                <a:lnTo>
                  <a:pt x="1177" y="1436"/>
                </a:lnTo>
                <a:lnTo>
                  <a:pt x="1178" y="1434"/>
                </a:lnTo>
                <a:lnTo>
                  <a:pt x="1182" y="1433"/>
                </a:lnTo>
                <a:lnTo>
                  <a:pt x="1183" y="1433"/>
                </a:lnTo>
                <a:lnTo>
                  <a:pt x="1187" y="1431"/>
                </a:lnTo>
                <a:lnTo>
                  <a:pt x="1189" y="1431"/>
                </a:lnTo>
                <a:lnTo>
                  <a:pt x="1189" y="1433"/>
                </a:lnTo>
                <a:lnTo>
                  <a:pt x="1187" y="1434"/>
                </a:lnTo>
                <a:lnTo>
                  <a:pt x="1190" y="1434"/>
                </a:lnTo>
                <a:lnTo>
                  <a:pt x="1190" y="1436"/>
                </a:lnTo>
                <a:lnTo>
                  <a:pt x="1189" y="1436"/>
                </a:lnTo>
                <a:lnTo>
                  <a:pt x="1189" y="1438"/>
                </a:lnTo>
                <a:lnTo>
                  <a:pt x="1189" y="1441"/>
                </a:lnTo>
                <a:lnTo>
                  <a:pt x="1189" y="1440"/>
                </a:lnTo>
                <a:lnTo>
                  <a:pt x="1190" y="1438"/>
                </a:lnTo>
                <a:lnTo>
                  <a:pt x="1190" y="1436"/>
                </a:lnTo>
                <a:lnTo>
                  <a:pt x="1194" y="1436"/>
                </a:lnTo>
                <a:lnTo>
                  <a:pt x="1195" y="1436"/>
                </a:lnTo>
                <a:lnTo>
                  <a:pt x="1195" y="1438"/>
                </a:lnTo>
                <a:lnTo>
                  <a:pt x="1197" y="1436"/>
                </a:lnTo>
                <a:lnTo>
                  <a:pt x="1195" y="1434"/>
                </a:lnTo>
                <a:lnTo>
                  <a:pt x="1192" y="1436"/>
                </a:lnTo>
                <a:lnTo>
                  <a:pt x="1192" y="1434"/>
                </a:lnTo>
                <a:lnTo>
                  <a:pt x="1190" y="1436"/>
                </a:lnTo>
                <a:lnTo>
                  <a:pt x="1190" y="1433"/>
                </a:lnTo>
                <a:lnTo>
                  <a:pt x="1189" y="1433"/>
                </a:lnTo>
                <a:lnTo>
                  <a:pt x="1190" y="1431"/>
                </a:lnTo>
                <a:lnTo>
                  <a:pt x="1194" y="1431"/>
                </a:lnTo>
                <a:lnTo>
                  <a:pt x="1195" y="1431"/>
                </a:lnTo>
                <a:lnTo>
                  <a:pt x="1194" y="1433"/>
                </a:lnTo>
                <a:lnTo>
                  <a:pt x="1195" y="1434"/>
                </a:lnTo>
                <a:lnTo>
                  <a:pt x="1195" y="1433"/>
                </a:lnTo>
                <a:lnTo>
                  <a:pt x="1197" y="1431"/>
                </a:lnTo>
                <a:lnTo>
                  <a:pt x="1199" y="1431"/>
                </a:lnTo>
                <a:lnTo>
                  <a:pt x="1200" y="1429"/>
                </a:lnTo>
                <a:lnTo>
                  <a:pt x="1200" y="1428"/>
                </a:lnTo>
                <a:lnTo>
                  <a:pt x="1202" y="1428"/>
                </a:lnTo>
                <a:lnTo>
                  <a:pt x="1204" y="1426"/>
                </a:lnTo>
                <a:lnTo>
                  <a:pt x="1204" y="1423"/>
                </a:lnTo>
                <a:lnTo>
                  <a:pt x="1206" y="1424"/>
                </a:lnTo>
                <a:lnTo>
                  <a:pt x="1206" y="1423"/>
                </a:lnTo>
                <a:lnTo>
                  <a:pt x="1204" y="1423"/>
                </a:lnTo>
                <a:lnTo>
                  <a:pt x="1204" y="1424"/>
                </a:lnTo>
                <a:lnTo>
                  <a:pt x="1202" y="1424"/>
                </a:lnTo>
                <a:lnTo>
                  <a:pt x="1202" y="1426"/>
                </a:lnTo>
                <a:lnTo>
                  <a:pt x="1199" y="1426"/>
                </a:lnTo>
                <a:lnTo>
                  <a:pt x="1197" y="1428"/>
                </a:lnTo>
                <a:lnTo>
                  <a:pt x="1195" y="1428"/>
                </a:lnTo>
                <a:lnTo>
                  <a:pt x="1194" y="1429"/>
                </a:lnTo>
                <a:lnTo>
                  <a:pt x="1194" y="1428"/>
                </a:lnTo>
                <a:lnTo>
                  <a:pt x="1192" y="1428"/>
                </a:lnTo>
                <a:lnTo>
                  <a:pt x="1194" y="1429"/>
                </a:lnTo>
                <a:lnTo>
                  <a:pt x="1192" y="1429"/>
                </a:lnTo>
                <a:lnTo>
                  <a:pt x="1190" y="1431"/>
                </a:lnTo>
                <a:lnTo>
                  <a:pt x="1189" y="1429"/>
                </a:lnTo>
                <a:lnTo>
                  <a:pt x="1190" y="1428"/>
                </a:lnTo>
                <a:lnTo>
                  <a:pt x="1189" y="1428"/>
                </a:lnTo>
                <a:lnTo>
                  <a:pt x="1189" y="1429"/>
                </a:lnTo>
                <a:lnTo>
                  <a:pt x="1185" y="1431"/>
                </a:lnTo>
                <a:lnTo>
                  <a:pt x="1183" y="1431"/>
                </a:lnTo>
                <a:lnTo>
                  <a:pt x="1182" y="1431"/>
                </a:lnTo>
                <a:lnTo>
                  <a:pt x="1178" y="1433"/>
                </a:lnTo>
                <a:lnTo>
                  <a:pt x="1177" y="1434"/>
                </a:lnTo>
                <a:lnTo>
                  <a:pt x="1175" y="1436"/>
                </a:lnTo>
                <a:lnTo>
                  <a:pt x="1173" y="1436"/>
                </a:lnTo>
                <a:lnTo>
                  <a:pt x="1172" y="1436"/>
                </a:lnTo>
                <a:lnTo>
                  <a:pt x="1172" y="1434"/>
                </a:lnTo>
                <a:lnTo>
                  <a:pt x="1173" y="1434"/>
                </a:lnTo>
                <a:lnTo>
                  <a:pt x="1175" y="1433"/>
                </a:lnTo>
                <a:lnTo>
                  <a:pt x="1175" y="1431"/>
                </a:lnTo>
                <a:lnTo>
                  <a:pt x="1177" y="1431"/>
                </a:lnTo>
                <a:lnTo>
                  <a:pt x="1177" y="1429"/>
                </a:lnTo>
                <a:lnTo>
                  <a:pt x="1175" y="1431"/>
                </a:lnTo>
                <a:lnTo>
                  <a:pt x="1177" y="1429"/>
                </a:lnTo>
                <a:lnTo>
                  <a:pt x="1178" y="1428"/>
                </a:lnTo>
                <a:lnTo>
                  <a:pt x="1180" y="1428"/>
                </a:lnTo>
                <a:lnTo>
                  <a:pt x="1183" y="1426"/>
                </a:lnTo>
                <a:lnTo>
                  <a:pt x="1185" y="1428"/>
                </a:lnTo>
                <a:lnTo>
                  <a:pt x="1189" y="1426"/>
                </a:lnTo>
                <a:lnTo>
                  <a:pt x="1187" y="1426"/>
                </a:lnTo>
                <a:lnTo>
                  <a:pt x="1185" y="1426"/>
                </a:lnTo>
                <a:lnTo>
                  <a:pt x="1183" y="1424"/>
                </a:lnTo>
                <a:lnTo>
                  <a:pt x="1185" y="1424"/>
                </a:lnTo>
                <a:lnTo>
                  <a:pt x="1183" y="1424"/>
                </a:lnTo>
                <a:lnTo>
                  <a:pt x="1182" y="1424"/>
                </a:lnTo>
                <a:lnTo>
                  <a:pt x="1180" y="1426"/>
                </a:lnTo>
                <a:lnTo>
                  <a:pt x="1178" y="1426"/>
                </a:lnTo>
                <a:lnTo>
                  <a:pt x="1177" y="1428"/>
                </a:lnTo>
                <a:lnTo>
                  <a:pt x="1175" y="1428"/>
                </a:lnTo>
                <a:lnTo>
                  <a:pt x="1177" y="1424"/>
                </a:lnTo>
                <a:lnTo>
                  <a:pt x="1175" y="1426"/>
                </a:lnTo>
                <a:lnTo>
                  <a:pt x="1172" y="1424"/>
                </a:lnTo>
                <a:lnTo>
                  <a:pt x="1172" y="1426"/>
                </a:lnTo>
                <a:lnTo>
                  <a:pt x="1172" y="1424"/>
                </a:lnTo>
                <a:lnTo>
                  <a:pt x="1173" y="1423"/>
                </a:lnTo>
                <a:lnTo>
                  <a:pt x="1177" y="1419"/>
                </a:lnTo>
                <a:lnTo>
                  <a:pt x="1175" y="1417"/>
                </a:lnTo>
                <a:lnTo>
                  <a:pt x="1173" y="1416"/>
                </a:lnTo>
                <a:lnTo>
                  <a:pt x="1177" y="1416"/>
                </a:lnTo>
                <a:lnTo>
                  <a:pt x="1175" y="1414"/>
                </a:lnTo>
                <a:lnTo>
                  <a:pt x="1173" y="1412"/>
                </a:lnTo>
                <a:lnTo>
                  <a:pt x="1172" y="1414"/>
                </a:lnTo>
                <a:lnTo>
                  <a:pt x="1170" y="1411"/>
                </a:lnTo>
                <a:lnTo>
                  <a:pt x="1172" y="1411"/>
                </a:lnTo>
                <a:lnTo>
                  <a:pt x="1173" y="1411"/>
                </a:lnTo>
                <a:lnTo>
                  <a:pt x="1173" y="1409"/>
                </a:lnTo>
                <a:lnTo>
                  <a:pt x="1175" y="1409"/>
                </a:lnTo>
                <a:lnTo>
                  <a:pt x="1175" y="1411"/>
                </a:lnTo>
                <a:lnTo>
                  <a:pt x="1177" y="1411"/>
                </a:lnTo>
                <a:lnTo>
                  <a:pt x="1178" y="1414"/>
                </a:lnTo>
                <a:lnTo>
                  <a:pt x="1177" y="1416"/>
                </a:lnTo>
                <a:lnTo>
                  <a:pt x="1178" y="1417"/>
                </a:lnTo>
                <a:lnTo>
                  <a:pt x="1178" y="1416"/>
                </a:lnTo>
                <a:lnTo>
                  <a:pt x="1180" y="1416"/>
                </a:lnTo>
                <a:lnTo>
                  <a:pt x="1183" y="1414"/>
                </a:lnTo>
                <a:lnTo>
                  <a:pt x="1180" y="1414"/>
                </a:lnTo>
                <a:lnTo>
                  <a:pt x="1178" y="1416"/>
                </a:lnTo>
                <a:lnTo>
                  <a:pt x="1180" y="1412"/>
                </a:lnTo>
                <a:lnTo>
                  <a:pt x="1178" y="1411"/>
                </a:lnTo>
                <a:lnTo>
                  <a:pt x="1180" y="1411"/>
                </a:lnTo>
                <a:lnTo>
                  <a:pt x="1182" y="1409"/>
                </a:lnTo>
                <a:lnTo>
                  <a:pt x="1183" y="1409"/>
                </a:lnTo>
                <a:lnTo>
                  <a:pt x="1185" y="1409"/>
                </a:lnTo>
                <a:lnTo>
                  <a:pt x="1189" y="1409"/>
                </a:lnTo>
                <a:lnTo>
                  <a:pt x="1190" y="1411"/>
                </a:lnTo>
                <a:lnTo>
                  <a:pt x="1190" y="1409"/>
                </a:lnTo>
                <a:lnTo>
                  <a:pt x="1187" y="1409"/>
                </a:lnTo>
                <a:lnTo>
                  <a:pt x="1185" y="1407"/>
                </a:lnTo>
                <a:lnTo>
                  <a:pt x="1185" y="1406"/>
                </a:lnTo>
                <a:lnTo>
                  <a:pt x="1187" y="1406"/>
                </a:lnTo>
                <a:lnTo>
                  <a:pt x="1189" y="1404"/>
                </a:lnTo>
                <a:lnTo>
                  <a:pt x="1190" y="1406"/>
                </a:lnTo>
                <a:lnTo>
                  <a:pt x="1192" y="1404"/>
                </a:lnTo>
                <a:lnTo>
                  <a:pt x="1189" y="1404"/>
                </a:lnTo>
                <a:lnTo>
                  <a:pt x="1187" y="1404"/>
                </a:lnTo>
                <a:lnTo>
                  <a:pt x="1185" y="1406"/>
                </a:lnTo>
                <a:lnTo>
                  <a:pt x="1183" y="1407"/>
                </a:lnTo>
                <a:lnTo>
                  <a:pt x="1180" y="1409"/>
                </a:lnTo>
                <a:lnTo>
                  <a:pt x="1177" y="1409"/>
                </a:lnTo>
                <a:lnTo>
                  <a:pt x="1177" y="1407"/>
                </a:lnTo>
                <a:lnTo>
                  <a:pt x="1178" y="1406"/>
                </a:lnTo>
                <a:lnTo>
                  <a:pt x="1177" y="1406"/>
                </a:lnTo>
                <a:lnTo>
                  <a:pt x="1178" y="1404"/>
                </a:lnTo>
                <a:lnTo>
                  <a:pt x="1180" y="1404"/>
                </a:lnTo>
                <a:lnTo>
                  <a:pt x="1180" y="1402"/>
                </a:lnTo>
                <a:lnTo>
                  <a:pt x="1182" y="1404"/>
                </a:lnTo>
                <a:lnTo>
                  <a:pt x="1180" y="1402"/>
                </a:lnTo>
                <a:lnTo>
                  <a:pt x="1177" y="1404"/>
                </a:lnTo>
                <a:lnTo>
                  <a:pt x="1177" y="1402"/>
                </a:lnTo>
                <a:lnTo>
                  <a:pt x="1175" y="1402"/>
                </a:lnTo>
                <a:lnTo>
                  <a:pt x="1177" y="1400"/>
                </a:lnTo>
                <a:lnTo>
                  <a:pt x="1178" y="1400"/>
                </a:lnTo>
                <a:lnTo>
                  <a:pt x="1180" y="1400"/>
                </a:lnTo>
                <a:lnTo>
                  <a:pt x="1182" y="1400"/>
                </a:lnTo>
                <a:lnTo>
                  <a:pt x="1182" y="1402"/>
                </a:lnTo>
                <a:lnTo>
                  <a:pt x="1182" y="1400"/>
                </a:lnTo>
                <a:lnTo>
                  <a:pt x="1185" y="1400"/>
                </a:lnTo>
                <a:lnTo>
                  <a:pt x="1187" y="1402"/>
                </a:lnTo>
                <a:lnTo>
                  <a:pt x="1185" y="1400"/>
                </a:lnTo>
                <a:lnTo>
                  <a:pt x="1183" y="1399"/>
                </a:lnTo>
                <a:lnTo>
                  <a:pt x="1182" y="1399"/>
                </a:lnTo>
                <a:lnTo>
                  <a:pt x="1178" y="1399"/>
                </a:lnTo>
                <a:lnTo>
                  <a:pt x="1178" y="1397"/>
                </a:lnTo>
                <a:lnTo>
                  <a:pt x="1177" y="1397"/>
                </a:lnTo>
                <a:lnTo>
                  <a:pt x="1178" y="1395"/>
                </a:lnTo>
                <a:lnTo>
                  <a:pt x="1180" y="1395"/>
                </a:lnTo>
                <a:lnTo>
                  <a:pt x="1182" y="1395"/>
                </a:lnTo>
                <a:lnTo>
                  <a:pt x="1183" y="1395"/>
                </a:lnTo>
                <a:lnTo>
                  <a:pt x="1183" y="1397"/>
                </a:lnTo>
                <a:lnTo>
                  <a:pt x="1185" y="1395"/>
                </a:lnTo>
                <a:lnTo>
                  <a:pt x="1187" y="1399"/>
                </a:lnTo>
                <a:lnTo>
                  <a:pt x="1189" y="1397"/>
                </a:lnTo>
                <a:lnTo>
                  <a:pt x="1190" y="1397"/>
                </a:lnTo>
                <a:lnTo>
                  <a:pt x="1192" y="1395"/>
                </a:lnTo>
                <a:lnTo>
                  <a:pt x="1194" y="1395"/>
                </a:lnTo>
                <a:lnTo>
                  <a:pt x="1195" y="1395"/>
                </a:lnTo>
                <a:lnTo>
                  <a:pt x="1194" y="1395"/>
                </a:lnTo>
                <a:lnTo>
                  <a:pt x="1192" y="1395"/>
                </a:lnTo>
                <a:lnTo>
                  <a:pt x="1190" y="1395"/>
                </a:lnTo>
                <a:lnTo>
                  <a:pt x="1189" y="1397"/>
                </a:lnTo>
                <a:lnTo>
                  <a:pt x="1187" y="1397"/>
                </a:lnTo>
                <a:lnTo>
                  <a:pt x="1187" y="1395"/>
                </a:lnTo>
                <a:lnTo>
                  <a:pt x="1185" y="1394"/>
                </a:lnTo>
                <a:lnTo>
                  <a:pt x="1187" y="1394"/>
                </a:lnTo>
                <a:lnTo>
                  <a:pt x="1190" y="1394"/>
                </a:lnTo>
                <a:lnTo>
                  <a:pt x="1192" y="1394"/>
                </a:lnTo>
                <a:lnTo>
                  <a:pt x="1190" y="1394"/>
                </a:lnTo>
                <a:lnTo>
                  <a:pt x="1189" y="1392"/>
                </a:lnTo>
                <a:lnTo>
                  <a:pt x="1185" y="1394"/>
                </a:lnTo>
                <a:lnTo>
                  <a:pt x="1185" y="1392"/>
                </a:lnTo>
                <a:lnTo>
                  <a:pt x="1185" y="1390"/>
                </a:lnTo>
                <a:lnTo>
                  <a:pt x="1189" y="1390"/>
                </a:lnTo>
                <a:lnTo>
                  <a:pt x="1190" y="1390"/>
                </a:lnTo>
                <a:lnTo>
                  <a:pt x="1194" y="1390"/>
                </a:lnTo>
                <a:lnTo>
                  <a:pt x="1195" y="1390"/>
                </a:lnTo>
                <a:lnTo>
                  <a:pt x="1199" y="1390"/>
                </a:lnTo>
                <a:lnTo>
                  <a:pt x="1197" y="1389"/>
                </a:lnTo>
                <a:lnTo>
                  <a:pt x="1197" y="1390"/>
                </a:lnTo>
                <a:lnTo>
                  <a:pt x="1194" y="1390"/>
                </a:lnTo>
                <a:lnTo>
                  <a:pt x="1194" y="1389"/>
                </a:lnTo>
                <a:lnTo>
                  <a:pt x="1192" y="1387"/>
                </a:lnTo>
                <a:lnTo>
                  <a:pt x="1189" y="1389"/>
                </a:lnTo>
                <a:lnTo>
                  <a:pt x="1190" y="1387"/>
                </a:lnTo>
                <a:lnTo>
                  <a:pt x="1189" y="1385"/>
                </a:lnTo>
                <a:lnTo>
                  <a:pt x="1189" y="1383"/>
                </a:lnTo>
                <a:lnTo>
                  <a:pt x="1185" y="1383"/>
                </a:lnTo>
                <a:lnTo>
                  <a:pt x="1185" y="1382"/>
                </a:lnTo>
                <a:lnTo>
                  <a:pt x="1183" y="1382"/>
                </a:lnTo>
                <a:lnTo>
                  <a:pt x="1183" y="1380"/>
                </a:lnTo>
                <a:lnTo>
                  <a:pt x="1185" y="1380"/>
                </a:lnTo>
                <a:lnTo>
                  <a:pt x="1187" y="1380"/>
                </a:lnTo>
                <a:lnTo>
                  <a:pt x="1190" y="1380"/>
                </a:lnTo>
                <a:lnTo>
                  <a:pt x="1192" y="1378"/>
                </a:lnTo>
                <a:lnTo>
                  <a:pt x="1190" y="1378"/>
                </a:lnTo>
                <a:lnTo>
                  <a:pt x="1192" y="1377"/>
                </a:lnTo>
                <a:lnTo>
                  <a:pt x="1194" y="1377"/>
                </a:lnTo>
                <a:lnTo>
                  <a:pt x="1194" y="1375"/>
                </a:lnTo>
                <a:lnTo>
                  <a:pt x="1195" y="1375"/>
                </a:lnTo>
                <a:lnTo>
                  <a:pt x="1197" y="1375"/>
                </a:lnTo>
                <a:lnTo>
                  <a:pt x="1197" y="1378"/>
                </a:lnTo>
                <a:lnTo>
                  <a:pt x="1195" y="1378"/>
                </a:lnTo>
                <a:lnTo>
                  <a:pt x="1195" y="1380"/>
                </a:lnTo>
                <a:lnTo>
                  <a:pt x="1197" y="1378"/>
                </a:lnTo>
                <a:lnTo>
                  <a:pt x="1197" y="1377"/>
                </a:lnTo>
                <a:lnTo>
                  <a:pt x="1199" y="1377"/>
                </a:lnTo>
                <a:lnTo>
                  <a:pt x="1199" y="1378"/>
                </a:lnTo>
                <a:lnTo>
                  <a:pt x="1199" y="1377"/>
                </a:lnTo>
                <a:lnTo>
                  <a:pt x="1199" y="1378"/>
                </a:lnTo>
                <a:lnTo>
                  <a:pt x="1199" y="1377"/>
                </a:lnTo>
                <a:lnTo>
                  <a:pt x="1200" y="1377"/>
                </a:lnTo>
                <a:lnTo>
                  <a:pt x="1199" y="1373"/>
                </a:lnTo>
                <a:lnTo>
                  <a:pt x="1199" y="1372"/>
                </a:lnTo>
                <a:lnTo>
                  <a:pt x="1199" y="1370"/>
                </a:lnTo>
                <a:lnTo>
                  <a:pt x="1200" y="1372"/>
                </a:lnTo>
                <a:lnTo>
                  <a:pt x="1200" y="1373"/>
                </a:lnTo>
                <a:lnTo>
                  <a:pt x="1202" y="1375"/>
                </a:lnTo>
                <a:lnTo>
                  <a:pt x="1202" y="1377"/>
                </a:lnTo>
                <a:lnTo>
                  <a:pt x="1202" y="1375"/>
                </a:lnTo>
                <a:lnTo>
                  <a:pt x="1204" y="1375"/>
                </a:lnTo>
                <a:lnTo>
                  <a:pt x="1206" y="1373"/>
                </a:lnTo>
                <a:lnTo>
                  <a:pt x="1206" y="1372"/>
                </a:lnTo>
                <a:lnTo>
                  <a:pt x="1204" y="1370"/>
                </a:lnTo>
                <a:lnTo>
                  <a:pt x="1206" y="1370"/>
                </a:lnTo>
                <a:lnTo>
                  <a:pt x="1209" y="1368"/>
                </a:lnTo>
                <a:lnTo>
                  <a:pt x="1209" y="1370"/>
                </a:lnTo>
                <a:lnTo>
                  <a:pt x="1209" y="1368"/>
                </a:lnTo>
                <a:lnTo>
                  <a:pt x="1212" y="1372"/>
                </a:lnTo>
                <a:lnTo>
                  <a:pt x="1212" y="1370"/>
                </a:lnTo>
                <a:lnTo>
                  <a:pt x="1214" y="1372"/>
                </a:lnTo>
                <a:lnTo>
                  <a:pt x="1214" y="1370"/>
                </a:lnTo>
                <a:lnTo>
                  <a:pt x="1211" y="1370"/>
                </a:lnTo>
                <a:lnTo>
                  <a:pt x="1209" y="1368"/>
                </a:lnTo>
                <a:lnTo>
                  <a:pt x="1207" y="1370"/>
                </a:lnTo>
                <a:lnTo>
                  <a:pt x="1206" y="1368"/>
                </a:lnTo>
                <a:lnTo>
                  <a:pt x="1204" y="1368"/>
                </a:lnTo>
                <a:lnTo>
                  <a:pt x="1206" y="1366"/>
                </a:lnTo>
                <a:lnTo>
                  <a:pt x="1206" y="1368"/>
                </a:lnTo>
                <a:lnTo>
                  <a:pt x="1206" y="1366"/>
                </a:lnTo>
                <a:lnTo>
                  <a:pt x="1207" y="1365"/>
                </a:lnTo>
                <a:lnTo>
                  <a:pt x="1207" y="1363"/>
                </a:lnTo>
                <a:lnTo>
                  <a:pt x="1209" y="1361"/>
                </a:lnTo>
                <a:lnTo>
                  <a:pt x="1211" y="1360"/>
                </a:lnTo>
                <a:lnTo>
                  <a:pt x="1211" y="1361"/>
                </a:lnTo>
                <a:lnTo>
                  <a:pt x="1214" y="1361"/>
                </a:lnTo>
                <a:lnTo>
                  <a:pt x="1214" y="1360"/>
                </a:lnTo>
                <a:lnTo>
                  <a:pt x="1216" y="1361"/>
                </a:lnTo>
                <a:lnTo>
                  <a:pt x="1217" y="1361"/>
                </a:lnTo>
                <a:lnTo>
                  <a:pt x="1216" y="1361"/>
                </a:lnTo>
                <a:lnTo>
                  <a:pt x="1214" y="1360"/>
                </a:lnTo>
                <a:lnTo>
                  <a:pt x="1212" y="1360"/>
                </a:lnTo>
                <a:lnTo>
                  <a:pt x="1211" y="1360"/>
                </a:lnTo>
                <a:lnTo>
                  <a:pt x="1214" y="1358"/>
                </a:lnTo>
                <a:lnTo>
                  <a:pt x="1217" y="1360"/>
                </a:lnTo>
                <a:lnTo>
                  <a:pt x="1217" y="1358"/>
                </a:lnTo>
                <a:lnTo>
                  <a:pt x="1219" y="1356"/>
                </a:lnTo>
                <a:lnTo>
                  <a:pt x="1221" y="1358"/>
                </a:lnTo>
                <a:lnTo>
                  <a:pt x="1223" y="1358"/>
                </a:lnTo>
                <a:lnTo>
                  <a:pt x="1224" y="1356"/>
                </a:lnTo>
                <a:lnTo>
                  <a:pt x="1223" y="1358"/>
                </a:lnTo>
                <a:lnTo>
                  <a:pt x="1224" y="1360"/>
                </a:lnTo>
                <a:lnTo>
                  <a:pt x="1224" y="1358"/>
                </a:lnTo>
                <a:lnTo>
                  <a:pt x="1224" y="1360"/>
                </a:lnTo>
                <a:lnTo>
                  <a:pt x="1223" y="1361"/>
                </a:lnTo>
                <a:lnTo>
                  <a:pt x="1224" y="1363"/>
                </a:lnTo>
                <a:lnTo>
                  <a:pt x="1224" y="1365"/>
                </a:lnTo>
                <a:lnTo>
                  <a:pt x="1226" y="1365"/>
                </a:lnTo>
                <a:lnTo>
                  <a:pt x="1226" y="1363"/>
                </a:lnTo>
                <a:lnTo>
                  <a:pt x="1223" y="1361"/>
                </a:lnTo>
                <a:lnTo>
                  <a:pt x="1224" y="1360"/>
                </a:lnTo>
                <a:lnTo>
                  <a:pt x="1226" y="1358"/>
                </a:lnTo>
                <a:lnTo>
                  <a:pt x="1224" y="1356"/>
                </a:lnTo>
                <a:lnTo>
                  <a:pt x="1228" y="1356"/>
                </a:lnTo>
                <a:lnTo>
                  <a:pt x="1229" y="1358"/>
                </a:lnTo>
                <a:lnTo>
                  <a:pt x="1231" y="1358"/>
                </a:lnTo>
                <a:lnTo>
                  <a:pt x="1233" y="1360"/>
                </a:lnTo>
                <a:lnTo>
                  <a:pt x="1236" y="1360"/>
                </a:lnTo>
                <a:lnTo>
                  <a:pt x="1236" y="1361"/>
                </a:lnTo>
                <a:lnTo>
                  <a:pt x="1236" y="1365"/>
                </a:lnTo>
                <a:lnTo>
                  <a:pt x="1238" y="1363"/>
                </a:lnTo>
                <a:lnTo>
                  <a:pt x="1236" y="1365"/>
                </a:lnTo>
                <a:lnTo>
                  <a:pt x="1240" y="1366"/>
                </a:lnTo>
                <a:lnTo>
                  <a:pt x="1238" y="1365"/>
                </a:lnTo>
                <a:lnTo>
                  <a:pt x="1238" y="1363"/>
                </a:lnTo>
                <a:lnTo>
                  <a:pt x="1240" y="1361"/>
                </a:lnTo>
                <a:lnTo>
                  <a:pt x="1238" y="1360"/>
                </a:lnTo>
                <a:lnTo>
                  <a:pt x="1238" y="1358"/>
                </a:lnTo>
                <a:lnTo>
                  <a:pt x="1236" y="1358"/>
                </a:lnTo>
                <a:lnTo>
                  <a:pt x="1236" y="1356"/>
                </a:lnTo>
                <a:lnTo>
                  <a:pt x="1234" y="1356"/>
                </a:lnTo>
                <a:lnTo>
                  <a:pt x="1236" y="1356"/>
                </a:lnTo>
                <a:lnTo>
                  <a:pt x="1236" y="1354"/>
                </a:lnTo>
                <a:lnTo>
                  <a:pt x="1233" y="1356"/>
                </a:lnTo>
                <a:lnTo>
                  <a:pt x="1231" y="1356"/>
                </a:lnTo>
                <a:lnTo>
                  <a:pt x="1234" y="1354"/>
                </a:lnTo>
                <a:lnTo>
                  <a:pt x="1231" y="1354"/>
                </a:lnTo>
                <a:lnTo>
                  <a:pt x="1229" y="1354"/>
                </a:lnTo>
                <a:lnTo>
                  <a:pt x="1228" y="1354"/>
                </a:lnTo>
                <a:lnTo>
                  <a:pt x="1226" y="1354"/>
                </a:lnTo>
                <a:lnTo>
                  <a:pt x="1228" y="1353"/>
                </a:lnTo>
                <a:lnTo>
                  <a:pt x="1229" y="1353"/>
                </a:lnTo>
                <a:lnTo>
                  <a:pt x="1231" y="1351"/>
                </a:lnTo>
                <a:lnTo>
                  <a:pt x="1231" y="1349"/>
                </a:lnTo>
                <a:lnTo>
                  <a:pt x="1231" y="1348"/>
                </a:lnTo>
                <a:lnTo>
                  <a:pt x="1229" y="1351"/>
                </a:lnTo>
                <a:lnTo>
                  <a:pt x="1229" y="1353"/>
                </a:lnTo>
                <a:lnTo>
                  <a:pt x="1229" y="1349"/>
                </a:lnTo>
                <a:lnTo>
                  <a:pt x="1228" y="1351"/>
                </a:lnTo>
                <a:lnTo>
                  <a:pt x="1226" y="1351"/>
                </a:lnTo>
                <a:lnTo>
                  <a:pt x="1224" y="1353"/>
                </a:lnTo>
                <a:lnTo>
                  <a:pt x="1226" y="1353"/>
                </a:lnTo>
                <a:lnTo>
                  <a:pt x="1223" y="1353"/>
                </a:lnTo>
                <a:lnTo>
                  <a:pt x="1221" y="1353"/>
                </a:lnTo>
                <a:lnTo>
                  <a:pt x="1219" y="1353"/>
                </a:lnTo>
                <a:lnTo>
                  <a:pt x="1221" y="1353"/>
                </a:lnTo>
                <a:lnTo>
                  <a:pt x="1221" y="1354"/>
                </a:lnTo>
                <a:lnTo>
                  <a:pt x="1219" y="1354"/>
                </a:lnTo>
                <a:lnTo>
                  <a:pt x="1217" y="1356"/>
                </a:lnTo>
                <a:lnTo>
                  <a:pt x="1216" y="1356"/>
                </a:lnTo>
                <a:lnTo>
                  <a:pt x="1217" y="1354"/>
                </a:lnTo>
                <a:lnTo>
                  <a:pt x="1216" y="1353"/>
                </a:lnTo>
                <a:lnTo>
                  <a:pt x="1217" y="1351"/>
                </a:lnTo>
                <a:lnTo>
                  <a:pt x="1216" y="1353"/>
                </a:lnTo>
                <a:lnTo>
                  <a:pt x="1214" y="1353"/>
                </a:lnTo>
                <a:lnTo>
                  <a:pt x="1214" y="1354"/>
                </a:lnTo>
                <a:lnTo>
                  <a:pt x="1211" y="1354"/>
                </a:lnTo>
                <a:lnTo>
                  <a:pt x="1209" y="1356"/>
                </a:lnTo>
                <a:lnTo>
                  <a:pt x="1209" y="1354"/>
                </a:lnTo>
                <a:lnTo>
                  <a:pt x="1206" y="1356"/>
                </a:lnTo>
                <a:lnTo>
                  <a:pt x="1207" y="1354"/>
                </a:lnTo>
                <a:lnTo>
                  <a:pt x="1207" y="1353"/>
                </a:lnTo>
                <a:lnTo>
                  <a:pt x="1211" y="1351"/>
                </a:lnTo>
                <a:lnTo>
                  <a:pt x="1212" y="1349"/>
                </a:lnTo>
                <a:lnTo>
                  <a:pt x="1212" y="1348"/>
                </a:lnTo>
                <a:lnTo>
                  <a:pt x="1214" y="1346"/>
                </a:lnTo>
                <a:lnTo>
                  <a:pt x="1212" y="1346"/>
                </a:lnTo>
                <a:lnTo>
                  <a:pt x="1214" y="1344"/>
                </a:lnTo>
                <a:lnTo>
                  <a:pt x="1214" y="1343"/>
                </a:lnTo>
                <a:lnTo>
                  <a:pt x="1217" y="1343"/>
                </a:lnTo>
                <a:lnTo>
                  <a:pt x="1219" y="1343"/>
                </a:lnTo>
                <a:lnTo>
                  <a:pt x="1219" y="1344"/>
                </a:lnTo>
                <a:lnTo>
                  <a:pt x="1219" y="1346"/>
                </a:lnTo>
                <a:lnTo>
                  <a:pt x="1221" y="1346"/>
                </a:lnTo>
                <a:lnTo>
                  <a:pt x="1221" y="1344"/>
                </a:lnTo>
                <a:lnTo>
                  <a:pt x="1221" y="1343"/>
                </a:lnTo>
                <a:lnTo>
                  <a:pt x="1223" y="1343"/>
                </a:lnTo>
                <a:lnTo>
                  <a:pt x="1223" y="1341"/>
                </a:lnTo>
                <a:lnTo>
                  <a:pt x="1226" y="1341"/>
                </a:lnTo>
                <a:lnTo>
                  <a:pt x="1223" y="1341"/>
                </a:lnTo>
                <a:lnTo>
                  <a:pt x="1219" y="1341"/>
                </a:lnTo>
                <a:lnTo>
                  <a:pt x="1216" y="1341"/>
                </a:lnTo>
                <a:lnTo>
                  <a:pt x="1214" y="1341"/>
                </a:lnTo>
                <a:lnTo>
                  <a:pt x="1214" y="1339"/>
                </a:lnTo>
                <a:lnTo>
                  <a:pt x="1216" y="1337"/>
                </a:lnTo>
                <a:lnTo>
                  <a:pt x="1217" y="1336"/>
                </a:lnTo>
                <a:lnTo>
                  <a:pt x="1219" y="1336"/>
                </a:lnTo>
                <a:lnTo>
                  <a:pt x="1219" y="1334"/>
                </a:lnTo>
                <a:lnTo>
                  <a:pt x="1221" y="1332"/>
                </a:lnTo>
                <a:lnTo>
                  <a:pt x="1224" y="1331"/>
                </a:lnTo>
                <a:lnTo>
                  <a:pt x="1226" y="1332"/>
                </a:lnTo>
                <a:lnTo>
                  <a:pt x="1228" y="1332"/>
                </a:lnTo>
                <a:lnTo>
                  <a:pt x="1228" y="1334"/>
                </a:lnTo>
                <a:lnTo>
                  <a:pt x="1226" y="1334"/>
                </a:lnTo>
                <a:lnTo>
                  <a:pt x="1224" y="1332"/>
                </a:lnTo>
                <a:lnTo>
                  <a:pt x="1223" y="1332"/>
                </a:lnTo>
                <a:lnTo>
                  <a:pt x="1223" y="1334"/>
                </a:lnTo>
                <a:lnTo>
                  <a:pt x="1226" y="1336"/>
                </a:lnTo>
                <a:lnTo>
                  <a:pt x="1224" y="1337"/>
                </a:lnTo>
                <a:lnTo>
                  <a:pt x="1223" y="1337"/>
                </a:lnTo>
                <a:lnTo>
                  <a:pt x="1221" y="1339"/>
                </a:lnTo>
                <a:lnTo>
                  <a:pt x="1224" y="1339"/>
                </a:lnTo>
                <a:lnTo>
                  <a:pt x="1224" y="1337"/>
                </a:lnTo>
                <a:lnTo>
                  <a:pt x="1226" y="1337"/>
                </a:lnTo>
                <a:lnTo>
                  <a:pt x="1228" y="1334"/>
                </a:lnTo>
                <a:lnTo>
                  <a:pt x="1229" y="1336"/>
                </a:lnTo>
                <a:lnTo>
                  <a:pt x="1228" y="1337"/>
                </a:lnTo>
                <a:lnTo>
                  <a:pt x="1229" y="1339"/>
                </a:lnTo>
                <a:lnTo>
                  <a:pt x="1228" y="1341"/>
                </a:lnTo>
                <a:lnTo>
                  <a:pt x="1228" y="1343"/>
                </a:lnTo>
                <a:lnTo>
                  <a:pt x="1228" y="1341"/>
                </a:lnTo>
                <a:lnTo>
                  <a:pt x="1229" y="1339"/>
                </a:lnTo>
                <a:lnTo>
                  <a:pt x="1229" y="1337"/>
                </a:lnTo>
                <a:lnTo>
                  <a:pt x="1231" y="1336"/>
                </a:lnTo>
                <a:lnTo>
                  <a:pt x="1231" y="1337"/>
                </a:lnTo>
                <a:lnTo>
                  <a:pt x="1231" y="1336"/>
                </a:lnTo>
                <a:lnTo>
                  <a:pt x="1234" y="1336"/>
                </a:lnTo>
                <a:lnTo>
                  <a:pt x="1236" y="1337"/>
                </a:lnTo>
                <a:lnTo>
                  <a:pt x="1238" y="1341"/>
                </a:lnTo>
                <a:lnTo>
                  <a:pt x="1240" y="1343"/>
                </a:lnTo>
                <a:lnTo>
                  <a:pt x="1240" y="1346"/>
                </a:lnTo>
                <a:lnTo>
                  <a:pt x="1241" y="1348"/>
                </a:lnTo>
                <a:lnTo>
                  <a:pt x="1241" y="1346"/>
                </a:lnTo>
                <a:lnTo>
                  <a:pt x="1241" y="1344"/>
                </a:lnTo>
                <a:lnTo>
                  <a:pt x="1243" y="1344"/>
                </a:lnTo>
                <a:lnTo>
                  <a:pt x="1241" y="1343"/>
                </a:lnTo>
                <a:lnTo>
                  <a:pt x="1243" y="1341"/>
                </a:lnTo>
                <a:lnTo>
                  <a:pt x="1241" y="1343"/>
                </a:lnTo>
                <a:lnTo>
                  <a:pt x="1240" y="1343"/>
                </a:lnTo>
                <a:lnTo>
                  <a:pt x="1240" y="1341"/>
                </a:lnTo>
                <a:lnTo>
                  <a:pt x="1238" y="1341"/>
                </a:lnTo>
                <a:lnTo>
                  <a:pt x="1240" y="1337"/>
                </a:lnTo>
                <a:lnTo>
                  <a:pt x="1238" y="1337"/>
                </a:lnTo>
                <a:lnTo>
                  <a:pt x="1240" y="1336"/>
                </a:lnTo>
                <a:lnTo>
                  <a:pt x="1241" y="1334"/>
                </a:lnTo>
                <a:lnTo>
                  <a:pt x="1241" y="1332"/>
                </a:lnTo>
                <a:lnTo>
                  <a:pt x="1245" y="1331"/>
                </a:lnTo>
                <a:lnTo>
                  <a:pt x="1248" y="1331"/>
                </a:lnTo>
                <a:lnTo>
                  <a:pt x="1246" y="1329"/>
                </a:lnTo>
                <a:lnTo>
                  <a:pt x="1245" y="1331"/>
                </a:lnTo>
                <a:lnTo>
                  <a:pt x="1243" y="1331"/>
                </a:lnTo>
                <a:lnTo>
                  <a:pt x="1241" y="1332"/>
                </a:lnTo>
                <a:lnTo>
                  <a:pt x="1240" y="1332"/>
                </a:lnTo>
                <a:lnTo>
                  <a:pt x="1238" y="1334"/>
                </a:lnTo>
                <a:lnTo>
                  <a:pt x="1238" y="1336"/>
                </a:lnTo>
                <a:lnTo>
                  <a:pt x="1236" y="1334"/>
                </a:lnTo>
                <a:lnTo>
                  <a:pt x="1234" y="1334"/>
                </a:lnTo>
                <a:lnTo>
                  <a:pt x="1231" y="1334"/>
                </a:lnTo>
                <a:lnTo>
                  <a:pt x="1229" y="1332"/>
                </a:lnTo>
                <a:lnTo>
                  <a:pt x="1229" y="1331"/>
                </a:lnTo>
                <a:lnTo>
                  <a:pt x="1231" y="1331"/>
                </a:lnTo>
                <a:lnTo>
                  <a:pt x="1229" y="1331"/>
                </a:lnTo>
                <a:lnTo>
                  <a:pt x="1229" y="1329"/>
                </a:lnTo>
                <a:lnTo>
                  <a:pt x="1231" y="1329"/>
                </a:lnTo>
                <a:lnTo>
                  <a:pt x="1233" y="1329"/>
                </a:lnTo>
                <a:lnTo>
                  <a:pt x="1234" y="1329"/>
                </a:lnTo>
                <a:lnTo>
                  <a:pt x="1236" y="1331"/>
                </a:lnTo>
                <a:lnTo>
                  <a:pt x="1236" y="1329"/>
                </a:lnTo>
                <a:lnTo>
                  <a:pt x="1234" y="1329"/>
                </a:lnTo>
                <a:lnTo>
                  <a:pt x="1233" y="1329"/>
                </a:lnTo>
                <a:lnTo>
                  <a:pt x="1231" y="1327"/>
                </a:lnTo>
                <a:lnTo>
                  <a:pt x="1229" y="1327"/>
                </a:lnTo>
                <a:lnTo>
                  <a:pt x="1228" y="1327"/>
                </a:lnTo>
                <a:lnTo>
                  <a:pt x="1228" y="1326"/>
                </a:lnTo>
                <a:lnTo>
                  <a:pt x="1229" y="1324"/>
                </a:lnTo>
                <a:lnTo>
                  <a:pt x="1231" y="1322"/>
                </a:lnTo>
                <a:lnTo>
                  <a:pt x="1229" y="1322"/>
                </a:lnTo>
                <a:lnTo>
                  <a:pt x="1231" y="1320"/>
                </a:lnTo>
                <a:lnTo>
                  <a:pt x="1233" y="1320"/>
                </a:lnTo>
                <a:lnTo>
                  <a:pt x="1233" y="1322"/>
                </a:lnTo>
                <a:lnTo>
                  <a:pt x="1236" y="1322"/>
                </a:lnTo>
                <a:lnTo>
                  <a:pt x="1238" y="1324"/>
                </a:lnTo>
                <a:lnTo>
                  <a:pt x="1236" y="1322"/>
                </a:lnTo>
                <a:lnTo>
                  <a:pt x="1238" y="1320"/>
                </a:lnTo>
                <a:lnTo>
                  <a:pt x="1240" y="1322"/>
                </a:lnTo>
                <a:lnTo>
                  <a:pt x="1241" y="1322"/>
                </a:lnTo>
                <a:lnTo>
                  <a:pt x="1240" y="1322"/>
                </a:lnTo>
                <a:lnTo>
                  <a:pt x="1238" y="1320"/>
                </a:lnTo>
                <a:lnTo>
                  <a:pt x="1236" y="1320"/>
                </a:lnTo>
                <a:lnTo>
                  <a:pt x="1233" y="1319"/>
                </a:lnTo>
                <a:lnTo>
                  <a:pt x="1234" y="1319"/>
                </a:lnTo>
                <a:lnTo>
                  <a:pt x="1236" y="1317"/>
                </a:lnTo>
                <a:lnTo>
                  <a:pt x="1240" y="1317"/>
                </a:lnTo>
                <a:lnTo>
                  <a:pt x="1240" y="1319"/>
                </a:lnTo>
                <a:lnTo>
                  <a:pt x="1241" y="1319"/>
                </a:lnTo>
                <a:lnTo>
                  <a:pt x="1243" y="1319"/>
                </a:lnTo>
                <a:lnTo>
                  <a:pt x="1243" y="1320"/>
                </a:lnTo>
                <a:lnTo>
                  <a:pt x="1245" y="1322"/>
                </a:lnTo>
                <a:lnTo>
                  <a:pt x="1246" y="1320"/>
                </a:lnTo>
                <a:lnTo>
                  <a:pt x="1245" y="1320"/>
                </a:lnTo>
                <a:lnTo>
                  <a:pt x="1245" y="1319"/>
                </a:lnTo>
                <a:lnTo>
                  <a:pt x="1243" y="1319"/>
                </a:lnTo>
                <a:lnTo>
                  <a:pt x="1240" y="1317"/>
                </a:lnTo>
                <a:lnTo>
                  <a:pt x="1240" y="1315"/>
                </a:lnTo>
                <a:lnTo>
                  <a:pt x="1238" y="1315"/>
                </a:lnTo>
                <a:lnTo>
                  <a:pt x="1236" y="1315"/>
                </a:lnTo>
                <a:lnTo>
                  <a:pt x="1234" y="1315"/>
                </a:lnTo>
                <a:lnTo>
                  <a:pt x="1234" y="1314"/>
                </a:lnTo>
                <a:lnTo>
                  <a:pt x="1233" y="1314"/>
                </a:lnTo>
                <a:lnTo>
                  <a:pt x="1234" y="1312"/>
                </a:lnTo>
                <a:lnTo>
                  <a:pt x="1233" y="1310"/>
                </a:lnTo>
                <a:lnTo>
                  <a:pt x="1234" y="1312"/>
                </a:lnTo>
                <a:lnTo>
                  <a:pt x="1233" y="1312"/>
                </a:lnTo>
                <a:lnTo>
                  <a:pt x="1231" y="1309"/>
                </a:lnTo>
                <a:lnTo>
                  <a:pt x="1233" y="1312"/>
                </a:lnTo>
                <a:lnTo>
                  <a:pt x="1233" y="1315"/>
                </a:lnTo>
                <a:lnTo>
                  <a:pt x="1231" y="1315"/>
                </a:lnTo>
                <a:lnTo>
                  <a:pt x="1229" y="1317"/>
                </a:lnTo>
                <a:lnTo>
                  <a:pt x="1228" y="1319"/>
                </a:lnTo>
                <a:lnTo>
                  <a:pt x="1228" y="1322"/>
                </a:lnTo>
                <a:lnTo>
                  <a:pt x="1226" y="1322"/>
                </a:lnTo>
                <a:lnTo>
                  <a:pt x="1224" y="1324"/>
                </a:lnTo>
                <a:lnTo>
                  <a:pt x="1223" y="1326"/>
                </a:lnTo>
                <a:lnTo>
                  <a:pt x="1221" y="1326"/>
                </a:lnTo>
                <a:lnTo>
                  <a:pt x="1217" y="1327"/>
                </a:lnTo>
                <a:lnTo>
                  <a:pt x="1216" y="1327"/>
                </a:lnTo>
                <a:lnTo>
                  <a:pt x="1217" y="1326"/>
                </a:lnTo>
                <a:lnTo>
                  <a:pt x="1216" y="1326"/>
                </a:lnTo>
                <a:lnTo>
                  <a:pt x="1217" y="1324"/>
                </a:lnTo>
                <a:lnTo>
                  <a:pt x="1219" y="1322"/>
                </a:lnTo>
                <a:lnTo>
                  <a:pt x="1217" y="1322"/>
                </a:lnTo>
                <a:lnTo>
                  <a:pt x="1216" y="1322"/>
                </a:lnTo>
                <a:lnTo>
                  <a:pt x="1216" y="1320"/>
                </a:lnTo>
                <a:lnTo>
                  <a:pt x="1216" y="1322"/>
                </a:lnTo>
                <a:lnTo>
                  <a:pt x="1216" y="1320"/>
                </a:lnTo>
                <a:lnTo>
                  <a:pt x="1219" y="1320"/>
                </a:lnTo>
                <a:lnTo>
                  <a:pt x="1221" y="1319"/>
                </a:lnTo>
                <a:lnTo>
                  <a:pt x="1223" y="1320"/>
                </a:lnTo>
                <a:lnTo>
                  <a:pt x="1224" y="1319"/>
                </a:lnTo>
                <a:lnTo>
                  <a:pt x="1226" y="1319"/>
                </a:lnTo>
                <a:lnTo>
                  <a:pt x="1224" y="1319"/>
                </a:lnTo>
                <a:lnTo>
                  <a:pt x="1223" y="1319"/>
                </a:lnTo>
                <a:lnTo>
                  <a:pt x="1223" y="1317"/>
                </a:lnTo>
                <a:lnTo>
                  <a:pt x="1223" y="1319"/>
                </a:lnTo>
                <a:lnTo>
                  <a:pt x="1224" y="1315"/>
                </a:lnTo>
                <a:lnTo>
                  <a:pt x="1221" y="1317"/>
                </a:lnTo>
                <a:lnTo>
                  <a:pt x="1219" y="1317"/>
                </a:lnTo>
                <a:lnTo>
                  <a:pt x="1217" y="1319"/>
                </a:lnTo>
                <a:lnTo>
                  <a:pt x="1219" y="1317"/>
                </a:lnTo>
                <a:lnTo>
                  <a:pt x="1217" y="1317"/>
                </a:lnTo>
                <a:lnTo>
                  <a:pt x="1217" y="1315"/>
                </a:lnTo>
                <a:lnTo>
                  <a:pt x="1216" y="1317"/>
                </a:lnTo>
                <a:lnTo>
                  <a:pt x="1216" y="1315"/>
                </a:lnTo>
                <a:lnTo>
                  <a:pt x="1216" y="1314"/>
                </a:lnTo>
                <a:lnTo>
                  <a:pt x="1217" y="1312"/>
                </a:lnTo>
                <a:lnTo>
                  <a:pt x="1219" y="1314"/>
                </a:lnTo>
                <a:lnTo>
                  <a:pt x="1221" y="1312"/>
                </a:lnTo>
                <a:lnTo>
                  <a:pt x="1223" y="1312"/>
                </a:lnTo>
                <a:lnTo>
                  <a:pt x="1223" y="1310"/>
                </a:lnTo>
                <a:lnTo>
                  <a:pt x="1224" y="1312"/>
                </a:lnTo>
                <a:lnTo>
                  <a:pt x="1224" y="1310"/>
                </a:lnTo>
                <a:lnTo>
                  <a:pt x="1221" y="1312"/>
                </a:lnTo>
                <a:lnTo>
                  <a:pt x="1221" y="1310"/>
                </a:lnTo>
                <a:lnTo>
                  <a:pt x="1219" y="1312"/>
                </a:lnTo>
                <a:lnTo>
                  <a:pt x="1217" y="1312"/>
                </a:lnTo>
                <a:lnTo>
                  <a:pt x="1219" y="1310"/>
                </a:lnTo>
                <a:lnTo>
                  <a:pt x="1217" y="1310"/>
                </a:lnTo>
                <a:lnTo>
                  <a:pt x="1219" y="1310"/>
                </a:lnTo>
                <a:lnTo>
                  <a:pt x="1217" y="1310"/>
                </a:lnTo>
                <a:lnTo>
                  <a:pt x="1219" y="1310"/>
                </a:lnTo>
                <a:lnTo>
                  <a:pt x="1219" y="1309"/>
                </a:lnTo>
                <a:lnTo>
                  <a:pt x="1221" y="1309"/>
                </a:lnTo>
                <a:lnTo>
                  <a:pt x="1224" y="1309"/>
                </a:lnTo>
                <a:lnTo>
                  <a:pt x="1226" y="1309"/>
                </a:lnTo>
                <a:lnTo>
                  <a:pt x="1228" y="1309"/>
                </a:lnTo>
                <a:lnTo>
                  <a:pt x="1228" y="1310"/>
                </a:lnTo>
                <a:lnTo>
                  <a:pt x="1226" y="1312"/>
                </a:lnTo>
                <a:lnTo>
                  <a:pt x="1228" y="1312"/>
                </a:lnTo>
                <a:lnTo>
                  <a:pt x="1229" y="1309"/>
                </a:lnTo>
                <a:lnTo>
                  <a:pt x="1231" y="1307"/>
                </a:lnTo>
                <a:lnTo>
                  <a:pt x="1231" y="1309"/>
                </a:lnTo>
                <a:lnTo>
                  <a:pt x="1233" y="1307"/>
                </a:lnTo>
                <a:lnTo>
                  <a:pt x="1234" y="1305"/>
                </a:lnTo>
                <a:lnTo>
                  <a:pt x="1233" y="1305"/>
                </a:lnTo>
                <a:lnTo>
                  <a:pt x="1234" y="1305"/>
                </a:lnTo>
                <a:lnTo>
                  <a:pt x="1236" y="1305"/>
                </a:lnTo>
                <a:lnTo>
                  <a:pt x="1236" y="1307"/>
                </a:lnTo>
                <a:lnTo>
                  <a:pt x="1238" y="1305"/>
                </a:lnTo>
                <a:lnTo>
                  <a:pt x="1238" y="1303"/>
                </a:lnTo>
                <a:lnTo>
                  <a:pt x="1240" y="1303"/>
                </a:lnTo>
                <a:lnTo>
                  <a:pt x="1241" y="1302"/>
                </a:lnTo>
                <a:lnTo>
                  <a:pt x="1243" y="1302"/>
                </a:lnTo>
                <a:lnTo>
                  <a:pt x="1245" y="1303"/>
                </a:lnTo>
                <a:lnTo>
                  <a:pt x="1245" y="1305"/>
                </a:lnTo>
                <a:lnTo>
                  <a:pt x="1245" y="1307"/>
                </a:lnTo>
                <a:lnTo>
                  <a:pt x="1245" y="1303"/>
                </a:lnTo>
                <a:lnTo>
                  <a:pt x="1246" y="1302"/>
                </a:lnTo>
                <a:lnTo>
                  <a:pt x="1245" y="1302"/>
                </a:lnTo>
                <a:lnTo>
                  <a:pt x="1246" y="1302"/>
                </a:lnTo>
                <a:lnTo>
                  <a:pt x="1246" y="1300"/>
                </a:lnTo>
                <a:lnTo>
                  <a:pt x="1248" y="1302"/>
                </a:lnTo>
                <a:lnTo>
                  <a:pt x="1246" y="1300"/>
                </a:lnTo>
                <a:lnTo>
                  <a:pt x="1248" y="1300"/>
                </a:lnTo>
                <a:lnTo>
                  <a:pt x="1246" y="1300"/>
                </a:lnTo>
                <a:lnTo>
                  <a:pt x="1248" y="1298"/>
                </a:lnTo>
                <a:lnTo>
                  <a:pt x="1246" y="1297"/>
                </a:lnTo>
                <a:lnTo>
                  <a:pt x="1245" y="1297"/>
                </a:lnTo>
                <a:lnTo>
                  <a:pt x="1243" y="1295"/>
                </a:lnTo>
                <a:lnTo>
                  <a:pt x="1241" y="1297"/>
                </a:lnTo>
                <a:lnTo>
                  <a:pt x="1243" y="1297"/>
                </a:lnTo>
                <a:lnTo>
                  <a:pt x="1240" y="1297"/>
                </a:lnTo>
                <a:lnTo>
                  <a:pt x="1238" y="1297"/>
                </a:lnTo>
                <a:lnTo>
                  <a:pt x="1236" y="1297"/>
                </a:lnTo>
                <a:lnTo>
                  <a:pt x="1236" y="1295"/>
                </a:lnTo>
                <a:lnTo>
                  <a:pt x="1234" y="1293"/>
                </a:lnTo>
                <a:lnTo>
                  <a:pt x="1234" y="1295"/>
                </a:lnTo>
                <a:lnTo>
                  <a:pt x="1234" y="1297"/>
                </a:lnTo>
                <a:lnTo>
                  <a:pt x="1234" y="1295"/>
                </a:lnTo>
                <a:lnTo>
                  <a:pt x="1234" y="1297"/>
                </a:lnTo>
                <a:lnTo>
                  <a:pt x="1231" y="1298"/>
                </a:lnTo>
                <a:lnTo>
                  <a:pt x="1233" y="1298"/>
                </a:lnTo>
                <a:lnTo>
                  <a:pt x="1233" y="1300"/>
                </a:lnTo>
                <a:lnTo>
                  <a:pt x="1231" y="1298"/>
                </a:lnTo>
                <a:lnTo>
                  <a:pt x="1229" y="1300"/>
                </a:lnTo>
                <a:lnTo>
                  <a:pt x="1228" y="1297"/>
                </a:lnTo>
                <a:lnTo>
                  <a:pt x="1231" y="1297"/>
                </a:lnTo>
                <a:lnTo>
                  <a:pt x="1229" y="1295"/>
                </a:lnTo>
                <a:lnTo>
                  <a:pt x="1229" y="1293"/>
                </a:lnTo>
                <a:lnTo>
                  <a:pt x="1231" y="1293"/>
                </a:lnTo>
                <a:lnTo>
                  <a:pt x="1231" y="1292"/>
                </a:lnTo>
                <a:lnTo>
                  <a:pt x="1231" y="1290"/>
                </a:lnTo>
                <a:lnTo>
                  <a:pt x="1233" y="1290"/>
                </a:lnTo>
                <a:lnTo>
                  <a:pt x="1231" y="1290"/>
                </a:lnTo>
                <a:lnTo>
                  <a:pt x="1233" y="1290"/>
                </a:lnTo>
                <a:lnTo>
                  <a:pt x="1233" y="1288"/>
                </a:lnTo>
                <a:lnTo>
                  <a:pt x="1234" y="1288"/>
                </a:lnTo>
                <a:lnTo>
                  <a:pt x="1233" y="1290"/>
                </a:lnTo>
                <a:lnTo>
                  <a:pt x="1234" y="1290"/>
                </a:lnTo>
                <a:lnTo>
                  <a:pt x="1234" y="1292"/>
                </a:lnTo>
                <a:lnTo>
                  <a:pt x="1233" y="1292"/>
                </a:lnTo>
                <a:lnTo>
                  <a:pt x="1234" y="1292"/>
                </a:lnTo>
                <a:lnTo>
                  <a:pt x="1234" y="1290"/>
                </a:lnTo>
                <a:lnTo>
                  <a:pt x="1236" y="1292"/>
                </a:lnTo>
                <a:lnTo>
                  <a:pt x="1236" y="1290"/>
                </a:lnTo>
                <a:lnTo>
                  <a:pt x="1238" y="1290"/>
                </a:lnTo>
                <a:lnTo>
                  <a:pt x="1238" y="1286"/>
                </a:lnTo>
                <a:lnTo>
                  <a:pt x="1236" y="1286"/>
                </a:lnTo>
                <a:lnTo>
                  <a:pt x="1238" y="1286"/>
                </a:lnTo>
                <a:lnTo>
                  <a:pt x="1236" y="1286"/>
                </a:lnTo>
                <a:lnTo>
                  <a:pt x="1238" y="1286"/>
                </a:lnTo>
                <a:lnTo>
                  <a:pt x="1240" y="1288"/>
                </a:lnTo>
                <a:lnTo>
                  <a:pt x="1240" y="1286"/>
                </a:lnTo>
                <a:lnTo>
                  <a:pt x="1240" y="1288"/>
                </a:lnTo>
                <a:lnTo>
                  <a:pt x="1240" y="1290"/>
                </a:lnTo>
                <a:lnTo>
                  <a:pt x="1240" y="1292"/>
                </a:lnTo>
                <a:lnTo>
                  <a:pt x="1236" y="1292"/>
                </a:lnTo>
                <a:lnTo>
                  <a:pt x="1238" y="1293"/>
                </a:lnTo>
                <a:lnTo>
                  <a:pt x="1238" y="1295"/>
                </a:lnTo>
                <a:lnTo>
                  <a:pt x="1238" y="1293"/>
                </a:lnTo>
                <a:lnTo>
                  <a:pt x="1241" y="1293"/>
                </a:lnTo>
                <a:lnTo>
                  <a:pt x="1241" y="1292"/>
                </a:lnTo>
                <a:lnTo>
                  <a:pt x="1243" y="1293"/>
                </a:lnTo>
                <a:lnTo>
                  <a:pt x="1243" y="1292"/>
                </a:lnTo>
                <a:lnTo>
                  <a:pt x="1245" y="1290"/>
                </a:lnTo>
                <a:lnTo>
                  <a:pt x="1245" y="1288"/>
                </a:lnTo>
                <a:lnTo>
                  <a:pt x="1246" y="1288"/>
                </a:lnTo>
                <a:lnTo>
                  <a:pt x="1243" y="1288"/>
                </a:lnTo>
                <a:lnTo>
                  <a:pt x="1243" y="1285"/>
                </a:lnTo>
                <a:lnTo>
                  <a:pt x="1245" y="1285"/>
                </a:lnTo>
                <a:lnTo>
                  <a:pt x="1246" y="1285"/>
                </a:lnTo>
                <a:lnTo>
                  <a:pt x="1246" y="1281"/>
                </a:lnTo>
                <a:lnTo>
                  <a:pt x="1245" y="1281"/>
                </a:lnTo>
                <a:lnTo>
                  <a:pt x="1246" y="1280"/>
                </a:lnTo>
                <a:lnTo>
                  <a:pt x="1248" y="1280"/>
                </a:lnTo>
                <a:lnTo>
                  <a:pt x="1248" y="1283"/>
                </a:lnTo>
                <a:lnTo>
                  <a:pt x="1250" y="1285"/>
                </a:lnTo>
                <a:lnTo>
                  <a:pt x="1248" y="1285"/>
                </a:lnTo>
                <a:lnTo>
                  <a:pt x="1248" y="1286"/>
                </a:lnTo>
                <a:lnTo>
                  <a:pt x="1250" y="1286"/>
                </a:lnTo>
                <a:lnTo>
                  <a:pt x="1250" y="1285"/>
                </a:lnTo>
                <a:lnTo>
                  <a:pt x="1251" y="1285"/>
                </a:lnTo>
                <a:lnTo>
                  <a:pt x="1251" y="1286"/>
                </a:lnTo>
                <a:lnTo>
                  <a:pt x="1250" y="1290"/>
                </a:lnTo>
                <a:lnTo>
                  <a:pt x="1251" y="1293"/>
                </a:lnTo>
                <a:lnTo>
                  <a:pt x="1250" y="1295"/>
                </a:lnTo>
                <a:lnTo>
                  <a:pt x="1253" y="1297"/>
                </a:lnTo>
                <a:lnTo>
                  <a:pt x="1253" y="1298"/>
                </a:lnTo>
                <a:lnTo>
                  <a:pt x="1255" y="1300"/>
                </a:lnTo>
                <a:lnTo>
                  <a:pt x="1255" y="1302"/>
                </a:lnTo>
                <a:lnTo>
                  <a:pt x="1255" y="1305"/>
                </a:lnTo>
                <a:lnTo>
                  <a:pt x="1255" y="1307"/>
                </a:lnTo>
                <a:lnTo>
                  <a:pt x="1257" y="1307"/>
                </a:lnTo>
                <a:lnTo>
                  <a:pt x="1258" y="1309"/>
                </a:lnTo>
                <a:lnTo>
                  <a:pt x="1260" y="1309"/>
                </a:lnTo>
                <a:lnTo>
                  <a:pt x="1262" y="1310"/>
                </a:lnTo>
                <a:lnTo>
                  <a:pt x="1263" y="1312"/>
                </a:lnTo>
                <a:lnTo>
                  <a:pt x="1262" y="1310"/>
                </a:lnTo>
                <a:lnTo>
                  <a:pt x="1262" y="1309"/>
                </a:lnTo>
                <a:lnTo>
                  <a:pt x="1260" y="1309"/>
                </a:lnTo>
                <a:lnTo>
                  <a:pt x="1260" y="1307"/>
                </a:lnTo>
                <a:lnTo>
                  <a:pt x="1257" y="1307"/>
                </a:lnTo>
                <a:lnTo>
                  <a:pt x="1257" y="1305"/>
                </a:lnTo>
                <a:lnTo>
                  <a:pt x="1255" y="1305"/>
                </a:lnTo>
                <a:lnTo>
                  <a:pt x="1257" y="1302"/>
                </a:lnTo>
                <a:lnTo>
                  <a:pt x="1255" y="1300"/>
                </a:lnTo>
                <a:lnTo>
                  <a:pt x="1257" y="1300"/>
                </a:lnTo>
                <a:lnTo>
                  <a:pt x="1255" y="1298"/>
                </a:lnTo>
                <a:lnTo>
                  <a:pt x="1253" y="1297"/>
                </a:lnTo>
                <a:lnTo>
                  <a:pt x="1255" y="1297"/>
                </a:lnTo>
                <a:lnTo>
                  <a:pt x="1257" y="1297"/>
                </a:lnTo>
                <a:lnTo>
                  <a:pt x="1257" y="1298"/>
                </a:lnTo>
                <a:lnTo>
                  <a:pt x="1258" y="1300"/>
                </a:lnTo>
                <a:lnTo>
                  <a:pt x="1260" y="1302"/>
                </a:lnTo>
                <a:lnTo>
                  <a:pt x="1260" y="1303"/>
                </a:lnTo>
                <a:lnTo>
                  <a:pt x="1262" y="1303"/>
                </a:lnTo>
                <a:lnTo>
                  <a:pt x="1260" y="1303"/>
                </a:lnTo>
                <a:lnTo>
                  <a:pt x="1262" y="1302"/>
                </a:lnTo>
                <a:lnTo>
                  <a:pt x="1260" y="1302"/>
                </a:lnTo>
                <a:lnTo>
                  <a:pt x="1258" y="1298"/>
                </a:lnTo>
                <a:lnTo>
                  <a:pt x="1257" y="1297"/>
                </a:lnTo>
                <a:lnTo>
                  <a:pt x="1258" y="1297"/>
                </a:lnTo>
                <a:lnTo>
                  <a:pt x="1260" y="1297"/>
                </a:lnTo>
                <a:lnTo>
                  <a:pt x="1260" y="1298"/>
                </a:lnTo>
                <a:lnTo>
                  <a:pt x="1262" y="1300"/>
                </a:lnTo>
                <a:lnTo>
                  <a:pt x="1263" y="1300"/>
                </a:lnTo>
                <a:lnTo>
                  <a:pt x="1262" y="1300"/>
                </a:lnTo>
                <a:lnTo>
                  <a:pt x="1260" y="1298"/>
                </a:lnTo>
                <a:lnTo>
                  <a:pt x="1262" y="1297"/>
                </a:lnTo>
                <a:lnTo>
                  <a:pt x="1258" y="1295"/>
                </a:lnTo>
                <a:lnTo>
                  <a:pt x="1258" y="1293"/>
                </a:lnTo>
                <a:lnTo>
                  <a:pt x="1258" y="1292"/>
                </a:lnTo>
                <a:lnTo>
                  <a:pt x="1260" y="1292"/>
                </a:lnTo>
                <a:lnTo>
                  <a:pt x="1260" y="1290"/>
                </a:lnTo>
                <a:lnTo>
                  <a:pt x="1262" y="1292"/>
                </a:lnTo>
                <a:lnTo>
                  <a:pt x="1263" y="1292"/>
                </a:lnTo>
                <a:lnTo>
                  <a:pt x="1265" y="1292"/>
                </a:lnTo>
                <a:lnTo>
                  <a:pt x="1265" y="1293"/>
                </a:lnTo>
                <a:lnTo>
                  <a:pt x="1267" y="1292"/>
                </a:lnTo>
                <a:lnTo>
                  <a:pt x="1265" y="1292"/>
                </a:lnTo>
                <a:lnTo>
                  <a:pt x="1267" y="1292"/>
                </a:lnTo>
                <a:lnTo>
                  <a:pt x="1268" y="1292"/>
                </a:lnTo>
                <a:lnTo>
                  <a:pt x="1267" y="1292"/>
                </a:lnTo>
                <a:lnTo>
                  <a:pt x="1265" y="1292"/>
                </a:lnTo>
                <a:lnTo>
                  <a:pt x="1263" y="1292"/>
                </a:lnTo>
                <a:lnTo>
                  <a:pt x="1262" y="1290"/>
                </a:lnTo>
                <a:lnTo>
                  <a:pt x="1260" y="1288"/>
                </a:lnTo>
                <a:lnTo>
                  <a:pt x="1258" y="1290"/>
                </a:lnTo>
                <a:lnTo>
                  <a:pt x="1258" y="1292"/>
                </a:lnTo>
                <a:lnTo>
                  <a:pt x="1257" y="1292"/>
                </a:lnTo>
                <a:lnTo>
                  <a:pt x="1255" y="1290"/>
                </a:lnTo>
                <a:lnTo>
                  <a:pt x="1253" y="1288"/>
                </a:lnTo>
                <a:lnTo>
                  <a:pt x="1255" y="1288"/>
                </a:lnTo>
                <a:lnTo>
                  <a:pt x="1257" y="1288"/>
                </a:lnTo>
                <a:lnTo>
                  <a:pt x="1257" y="1286"/>
                </a:lnTo>
                <a:lnTo>
                  <a:pt x="1258" y="1288"/>
                </a:lnTo>
                <a:lnTo>
                  <a:pt x="1258" y="1285"/>
                </a:lnTo>
                <a:lnTo>
                  <a:pt x="1260" y="1286"/>
                </a:lnTo>
                <a:lnTo>
                  <a:pt x="1260" y="1285"/>
                </a:lnTo>
                <a:lnTo>
                  <a:pt x="1257" y="1283"/>
                </a:lnTo>
                <a:lnTo>
                  <a:pt x="1258" y="1283"/>
                </a:lnTo>
                <a:lnTo>
                  <a:pt x="1260" y="1285"/>
                </a:lnTo>
                <a:lnTo>
                  <a:pt x="1262" y="1285"/>
                </a:lnTo>
                <a:lnTo>
                  <a:pt x="1263" y="1285"/>
                </a:lnTo>
                <a:lnTo>
                  <a:pt x="1260" y="1283"/>
                </a:lnTo>
                <a:lnTo>
                  <a:pt x="1260" y="1280"/>
                </a:lnTo>
                <a:lnTo>
                  <a:pt x="1258" y="1281"/>
                </a:lnTo>
                <a:lnTo>
                  <a:pt x="1257" y="1281"/>
                </a:lnTo>
                <a:lnTo>
                  <a:pt x="1255" y="1283"/>
                </a:lnTo>
                <a:lnTo>
                  <a:pt x="1251" y="1283"/>
                </a:lnTo>
                <a:lnTo>
                  <a:pt x="1251" y="1281"/>
                </a:lnTo>
                <a:lnTo>
                  <a:pt x="1253" y="1281"/>
                </a:lnTo>
                <a:lnTo>
                  <a:pt x="1255" y="1280"/>
                </a:lnTo>
                <a:lnTo>
                  <a:pt x="1257" y="1281"/>
                </a:lnTo>
                <a:lnTo>
                  <a:pt x="1257" y="1280"/>
                </a:lnTo>
                <a:lnTo>
                  <a:pt x="1255" y="1280"/>
                </a:lnTo>
                <a:lnTo>
                  <a:pt x="1253" y="1278"/>
                </a:lnTo>
                <a:lnTo>
                  <a:pt x="1251" y="1278"/>
                </a:lnTo>
                <a:lnTo>
                  <a:pt x="1250" y="1278"/>
                </a:lnTo>
                <a:lnTo>
                  <a:pt x="1251" y="1276"/>
                </a:lnTo>
                <a:lnTo>
                  <a:pt x="1251" y="1275"/>
                </a:lnTo>
                <a:lnTo>
                  <a:pt x="1251" y="1276"/>
                </a:lnTo>
                <a:lnTo>
                  <a:pt x="1253" y="1275"/>
                </a:lnTo>
                <a:lnTo>
                  <a:pt x="1253" y="1276"/>
                </a:lnTo>
                <a:lnTo>
                  <a:pt x="1255" y="1275"/>
                </a:lnTo>
                <a:lnTo>
                  <a:pt x="1257" y="1276"/>
                </a:lnTo>
                <a:lnTo>
                  <a:pt x="1258" y="1276"/>
                </a:lnTo>
                <a:lnTo>
                  <a:pt x="1258" y="1278"/>
                </a:lnTo>
                <a:lnTo>
                  <a:pt x="1257" y="1278"/>
                </a:lnTo>
                <a:lnTo>
                  <a:pt x="1258" y="1278"/>
                </a:lnTo>
                <a:lnTo>
                  <a:pt x="1260" y="1278"/>
                </a:lnTo>
                <a:lnTo>
                  <a:pt x="1262" y="1278"/>
                </a:lnTo>
                <a:lnTo>
                  <a:pt x="1263" y="1281"/>
                </a:lnTo>
                <a:lnTo>
                  <a:pt x="1263" y="1283"/>
                </a:lnTo>
                <a:lnTo>
                  <a:pt x="1265" y="1285"/>
                </a:lnTo>
                <a:lnTo>
                  <a:pt x="1267" y="1286"/>
                </a:lnTo>
                <a:lnTo>
                  <a:pt x="1270" y="1286"/>
                </a:lnTo>
                <a:lnTo>
                  <a:pt x="1267" y="1285"/>
                </a:lnTo>
                <a:lnTo>
                  <a:pt x="1265" y="1283"/>
                </a:lnTo>
                <a:lnTo>
                  <a:pt x="1263" y="1281"/>
                </a:lnTo>
                <a:lnTo>
                  <a:pt x="1265" y="1281"/>
                </a:lnTo>
                <a:lnTo>
                  <a:pt x="1263" y="1280"/>
                </a:lnTo>
                <a:lnTo>
                  <a:pt x="1263" y="1278"/>
                </a:lnTo>
                <a:lnTo>
                  <a:pt x="1262" y="1276"/>
                </a:lnTo>
                <a:lnTo>
                  <a:pt x="1260" y="1276"/>
                </a:lnTo>
                <a:lnTo>
                  <a:pt x="1258" y="1276"/>
                </a:lnTo>
                <a:lnTo>
                  <a:pt x="1258" y="1275"/>
                </a:lnTo>
                <a:lnTo>
                  <a:pt x="1255" y="1275"/>
                </a:lnTo>
                <a:lnTo>
                  <a:pt x="1257" y="1275"/>
                </a:lnTo>
                <a:lnTo>
                  <a:pt x="1255" y="1275"/>
                </a:lnTo>
                <a:lnTo>
                  <a:pt x="1253" y="1275"/>
                </a:lnTo>
                <a:lnTo>
                  <a:pt x="1255" y="1273"/>
                </a:lnTo>
                <a:lnTo>
                  <a:pt x="1255" y="1271"/>
                </a:lnTo>
                <a:lnTo>
                  <a:pt x="1253" y="1273"/>
                </a:lnTo>
                <a:lnTo>
                  <a:pt x="1253" y="1271"/>
                </a:lnTo>
                <a:lnTo>
                  <a:pt x="1257" y="1269"/>
                </a:lnTo>
                <a:lnTo>
                  <a:pt x="1257" y="1271"/>
                </a:lnTo>
                <a:lnTo>
                  <a:pt x="1257" y="1269"/>
                </a:lnTo>
                <a:lnTo>
                  <a:pt x="1258" y="1268"/>
                </a:lnTo>
                <a:lnTo>
                  <a:pt x="1262" y="1268"/>
                </a:lnTo>
                <a:lnTo>
                  <a:pt x="1260" y="1269"/>
                </a:lnTo>
                <a:lnTo>
                  <a:pt x="1262" y="1268"/>
                </a:lnTo>
                <a:lnTo>
                  <a:pt x="1263" y="1268"/>
                </a:lnTo>
                <a:lnTo>
                  <a:pt x="1265" y="1266"/>
                </a:lnTo>
                <a:lnTo>
                  <a:pt x="1267" y="1268"/>
                </a:lnTo>
                <a:lnTo>
                  <a:pt x="1268" y="1268"/>
                </a:lnTo>
                <a:lnTo>
                  <a:pt x="1270" y="1269"/>
                </a:lnTo>
                <a:lnTo>
                  <a:pt x="1268" y="1273"/>
                </a:lnTo>
                <a:lnTo>
                  <a:pt x="1272" y="1271"/>
                </a:lnTo>
                <a:lnTo>
                  <a:pt x="1274" y="1271"/>
                </a:lnTo>
                <a:lnTo>
                  <a:pt x="1274" y="1269"/>
                </a:lnTo>
                <a:lnTo>
                  <a:pt x="1275" y="1269"/>
                </a:lnTo>
                <a:lnTo>
                  <a:pt x="1277" y="1268"/>
                </a:lnTo>
                <a:lnTo>
                  <a:pt x="1279" y="1269"/>
                </a:lnTo>
                <a:lnTo>
                  <a:pt x="1280" y="1271"/>
                </a:lnTo>
                <a:lnTo>
                  <a:pt x="1280" y="1273"/>
                </a:lnTo>
                <a:lnTo>
                  <a:pt x="1280" y="1275"/>
                </a:lnTo>
                <a:lnTo>
                  <a:pt x="1282" y="1276"/>
                </a:lnTo>
                <a:lnTo>
                  <a:pt x="1282" y="1278"/>
                </a:lnTo>
                <a:lnTo>
                  <a:pt x="1282" y="1280"/>
                </a:lnTo>
                <a:lnTo>
                  <a:pt x="1284" y="1281"/>
                </a:lnTo>
                <a:lnTo>
                  <a:pt x="1282" y="1281"/>
                </a:lnTo>
                <a:lnTo>
                  <a:pt x="1284" y="1281"/>
                </a:lnTo>
                <a:lnTo>
                  <a:pt x="1282" y="1280"/>
                </a:lnTo>
                <a:lnTo>
                  <a:pt x="1284" y="1276"/>
                </a:lnTo>
                <a:lnTo>
                  <a:pt x="1284" y="1278"/>
                </a:lnTo>
                <a:lnTo>
                  <a:pt x="1284" y="1276"/>
                </a:lnTo>
                <a:lnTo>
                  <a:pt x="1282" y="1275"/>
                </a:lnTo>
                <a:lnTo>
                  <a:pt x="1282" y="1273"/>
                </a:lnTo>
                <a:lnTo>
                  <a:pt x="1280" y="1273"/>
                </a:lnTo>
                <a:lnTo>
                  <a:pt x="1280" y="1271"/>
                </a:lnTo>
                <a:lnTo>
                  <a:pt x="1279" y="1269"/>
                </a:lnTo>
                <a:lnTo>
                  <a:pt x="1279" y="1268"/>
                </a:lnTo>
                <a:lnTo>
                  <a:pt x="1280" y="1266"/>
                </a:lnTo>
                <a:lnTo>
                  <a:pt x="1282" y="1264"/>
                </a:lnTo>
                <a:lnTo>
                  <a:pt x="1284" y="1266"/>
                </a:lnTo>
                <a:lnTo>
                  <a:pt x="1287" y="1268"/>
                </a:lnTo>
                <a:lnTo>
                  <a:pt x="1289" y="1268"/>
                </a:lnTo>
                <a:lnTo>
                  <a:pt x="1285" y="1266"/>
                </a:lnTo>
                <a:lnTo>
                  <a:pt x="1284" y="1266"/>
                </a:lnTo>
                <a:lnTo>
                  <a:pt x="1284" y="1264"/>
                </a:lnTo>
                <a:lnTo>
                  <a:pt x="1282" y="1264"/>
                </a:lnTo>
                <a:lnTo>
                  <a:pt x="1284" y="1263"/>
                </a:lnTo>
                <a:lnTo>
                  <a:pt x="1287" y="1263"/>
                </a:lnTo>
                <a:lnTo>
                  <a:pt x="1289" y="1263"/>
                </a:lnTo>
                <a:lnTo>
                  <a:pt x="1291" y="1263"/>
                </a:lnTo>
                <a:lnTo>
                  <a:pt x="1294" y="1264"/>
                </a:lnTo>
                <a:lnTo>
                  <a:pt x="1297" y="1264"/>
                </a:lnTo>
                <a:lnTo>
                  <a:pt x="1294" y="1264"/>
                </a:lnTo>
                <a:lnTo>
                  <a:pt x="1291" y="1263"/>
                </a:lnTo>
                <a:lnTo>
                  <a:pt x="1289" y="1261"/>
                </a:lnTo>
                <a:lnTo>
                  <a:pt x="1287" y="1261"/>
                </a:lnTo>
                <a:lnTo>
                  <a:pt x="1285" y="1261"/>
                </a:lnTo>
                <a:lnTo>
                  <a:pt x="1287" y="1259"/>
                </a:lnTo>
                <a:lnTo>
                  <a:pt x="1287" y="1258"/>
                </a:lnTo>
                <a:lnTo>
                  <a:pt x="1287" y="1256"/>
                </a:lnTo>
                <a:lnTo>
                  <a:pt x="1285" y="1256"/>
                </a:lnTo>
                <a:lnTo>
                  <a:pt x="1284" y="1258"/>
                </a:lnTo>
                <a:lnTo>
                  <a:pt x="1282" y="1259"/>
                </a:lnTo>
                <a:lnTo>
                  <a:pt x="1280" y="1261"/>
                </a:lnTo>
                <a:lnTo>
                  <a:pt x="1279" y="1263"/>
                </a:lnTo>
                <a:lnTo>
                  <a:pt x="1275" y="1263"/>
                </a:lnTo>
                <a:lnTo>
                  <a:pt x="1274" y="1264"/>
                </a:lnTo>
                <a:lnTo>
                  <a:pt x="1274" y="1263"/>
                </a:lnTo>
                <a:lnTo>
                  <a:pt x="1275" y="1261"/>
                </a:lnTo>
                <a:lnTo>
                  <a:pt x="1274" y="1259"/>
                </a:lnTo>
                <a:lnTo>
                  <a:pt x="1272" y="1259"/>
                </a:lnTo>
                <a:lnTo>
                  <a:pt x="1270" y="1259"/>
                </a:lnTo>
                <a:lnTo>
                  <a:pt x="1270" y="1261"/>
                </a:lnTo>
                <a:lnTo>
                  <a:pt x="1268" y="1263"/>
                </a:lnTo>
                <a:lnTo>
                  <a:pt x="1267" y="1263"/>
                </a:lnTo>
                <a:lnTo>
                  <a:pt x="1265" y="1264"/>
                </a:lnTo>
                <a:lnTo>
                  <a:pt x="1263" y="1264"/>
                </a:lnTo>
                <a:lnTo>
                  <a:pt x="1262" y="1264"/>
                </a:lnTo>
                <a:lnTo>
                  <a:pt x="1260" y="1266"/>
                </a:lnTo>
                <a:lnTo>
                  <a:pt x="1258" y="1266"/>
                </a:lnTo>
                <a:lnTo>
                  <a:pt x="1260" y="1263"/>
                </a:lnTo>
                <a:lnTo>
                  <a:pt x="1257" y="1261"/>
                </a:lnTo>
                <a:lnTo>
                  <a:pt x="1258" y="1259"/>
                </a:lnTo>
                <a:lnTo>
                  <a:pt x="1257" y="1259"/>
                </a:lnTo>
                <a:lnTo>
                  <a:pt x="1258" y="1259"/>
                </a:lnTo>
                <a:lnTo>
                  <a:pt x="1258" y="1258"/>
                </a:lnTo>
                <a:lnTo>
                  <a:pt x="1262" y="1259"/>
                </a:lnTo>
                <a:lnTo>
                  <a:pt x="1262" y="1256"/>
                </a:lnTo>
                <a:lnTo>
                  <a:pt x="1262" y="1258"/>
                </a:lnTo>
                <a:lnTo>
                  <a:pt x="1260" y="1256"/>
                </a:lnTo>
                <a:lnTo>
                  <a:pt x="1260" y="1254"/>
                </a:lnTo>
                <a:lnTo>
                  <a:pt x="1260" y="1252"/>
                </a:lnTo>
                <a:lnTo>
                  <a:pt x="1262" y="1251"/>
                </a:lnTo>
                <a:lnTo>
                  <a:pt x="1263" y="1251"/>
                </a:lnTo>
                <a:lnTo>
                  <a:pt x="1263" y="1249"/>
                </a:lnTo>
                <a:lnTo>
                  <a:pt x="1265" y="1247"/>
                </a:lnTo>
                <a:lnTo>
                  <a:pt x="1268" y="1247"/>
                </a:lnTo>
                <a:lnTo>
                  <a:pt x="1270" y="1246"/>
                </a:lnTo>
                <a:lnTo>
                  <a:pt x="1272" y="1244"/>
                </a:lnTo>
                <a:lnTo>
                  <a:pt x="1272" y="1247"/>
                </a:lnTo>
                <a:lnTo>
                  <a:pt x="1274" y="1247"/>
                </a:lnTo>
                <a:lnTo>
                  <a:pt x="1274" y="1249"/>
                </a:lnTo>
                <a:lnTo>
                  <a:pt x="1275" y="1249"/>
                </a:lnTo>
                <a:lnTo>
                  <a:pt x="1277" y="1249"/>
                </a:lnTo>
                <a:lnTo>
                  <a:pt x="1274" y="1247"/>
                </a:lnTo>
                <a:lnTo>
                  <a:pt x="1274" y="1244"/>
                </a:lnTo>
                <a:lnTo>
                  <a:pt x="1275" y="1244"/>
                </a:lnTo>
                <a:lnTo>
                  <a:pt x="1277" y="1242"/>
                </a:lnTo>
                <a:lnTo>
                  <a:pt x="1279" y="1244"/>
                </a:lnTo>
                <a:lnTo>
                  <a:pt x="1280" y="1242"/>
                </a:lnTo>
                <a:lnTo>
                  <a:pt x="1282" y="1244"/>
                </a:lnTo>
                <a:lnTo>
                  <a:pt x="1282" y="1246"/>
                </a:lnTo>
                <a:lnTo>
                  <a:pt x="1284" y="1246"/>
                </a:lnTo>
                <a:lnTo>
                  <a:pt x="1285" y="1246"/>
                </a:lnTo>
                <a:lnTo>
                  <a:pt x="1289" y="1246"/>
                </a:lnTo>
                <a:lnTo>
                  <a:pt x="1287" y="1246"/>
                </a:lnTo>
                <a:lnTo>
                  <a:pt x="1285" y="1246"/>
                </a:lnTo>
                <a:lnTo>
                  <a:pt x="1284" y="1244"/>
                </a:lnTo>
                <a:lnTo>
                  <a:pt x="1282" y="1242"/>
                </a:lnTo>
                <a:lnTo>
                  <a:pt x="1279" y="1242"/>
                </a:lnTo>
                <a:lnTo>
                  <a:pt x="1277" y="1241"/>
                </a:lnTo>
                <a:lnTo>
                  <a:pt x="1279" y="1239"/>
                </a:lnTo>
                <a:lnTo>
                  <a:pt x="1280" y="1237"/>
                </a:lnTo>
                <a:lnTo>
                  <a:pt x="1280" y="1235"/>
                </a:lnTo>
                <a:lnTo>
                  <a:pt x="1282" y="1235"/>
                </a:lnTo>
                <a:lnTo>
                  <a:pt x="1284" y="1235"/>
                </a:lnTo>
                <a:lnTo>
                  <a:pt x="1284" y="1237"/>
                </a:lnTo>
                <a:lnTo>
                  <a:pt x="1287" y="1239"/>
                </a:lnTo>
                <a:lnTo>
                  <a:pt x="1289" y="1239"/>
                </a:lnTo>
                <a:lnTo>
                  <a:pt x="1291" y="1241"/>
                </a:lnTo>
                <a:lnTo>
                  <a:pt x="1291" y="1237"/>
                </a:lnTo>
                <a:lnTo>
                  <a:pt x="1287" y="1237"/>
                </a:lnTo>
                <a:lnTo>
                  <a:pt x="1285" y="1235"/>
                </a:lnTo>
                <a:lnTo>
                  <a:pt x="1284" y="1235"/>
                </a:lnTo>
                <a:lnTo>
                  <a:pt x="1282" y="1235"/>
                </a:lnTo>
                <a:lnTo>
                  <a:pt x="1284" y="1232"/>
                </a:lnTo>
                <a:lnTo>
                  <a:pt x="1285" y="1230"/>
                </a:lnTo>
                <a:lnTo>
                  <a:pt x="1287" y="1229"/>
                </a:lnTo>
                <a:lnTo>
                  <a:pt x="1289" y="1230"/>
                </a:lnTo>
                <a:lnTo>
                  <a:pt x="1287" y="1230"/>
                </a:lnTo>
                <a:lnTo>
                  <a:pt x="1289" y="1232"/>
                </a:lnTo>
                <a:lnTo>
                  <a:pt x="1291" y="1232"/>
                </a:lnTo>
                <a:lnTo>
                  <a:pt x="1292" y="1232"/>
                </a:lnTo>
                <a:lnTo>
                  <a:pt x="1291" y="1230"/>
                </a:lnTo>
                <a:lnTo>
                  <a:pt x="1289" y="1229"/>
                </a:lnTo>
                <a:lnTo>
                  <a:pt x="1287" y="1229"/>
                </a:lnTo>
                <a:lnTo>
                  <a:pt x="1287" y="1227"/>
                </a:lnTo>
                <a:lnTo>
                  <a:pt x="1285" y="1229"/>
                </a:lnTo>
                <a:lnTo>
                  <a:pt x="1282" y="1229"/>
                </a:lnTo>
                <a:lnTo>
                  <a:pt x="1280" y="1230"/>
                </a:lnTo>
                <a:lnTo>
                  <a:pt x="1282" y="1227"/>
                </a:lnTo>
                <a:lnTo>
                  <a:pt x="1280" y="1227"/>
                </a:lnTo>
                <a:lnTo>
                  <a:pt x="1284" y="1225"/>
                </a:lnTo>
                <a:lnTo>
                  <a:pt x="1282" y="1224"/>
                </a:lnTo>
                <a:lnTo>
                  <a:pt x="1280" y="1224"/>
                </a:lnTo>
                <a:lnTo>
                  <a:pt x="1282" y="1222"/>
                </a:lnTo>
                <a:lnTo>
                  <a:pt x="1282" y="1220"/>
                </a:lnTo>
                <a:lnTo>
                  <a:pt x="1284" y="1220"/>
                </a:lnTo>
                <a:lnTo>
                  <a:pt x="1284" y="1218"/>
                </a:lnTo>
                <a:lnTo>
                  <a:pt x="1285" y="1215"/>
                </a:lnTo>
                <a:lnTo>
                  <a:pt x="1284" y="1215"/>
                </a:lnTo>
                <a:lnTo>
                  <a:pt x="1285" y="1213"/>
                </a:lnTo>
                <a:lnTo>
                  <a:pt x="1289" y="1213"/>
                </a:lnTo>
                <a:lnTo>
                  <a:pt x="1289" y="1212"/>
                </a:lnTo>
                <a:lnTo>
                  <a:pt x="1291" y="1212"/>
                </a:lnTo>
                <a:lnTo>
                  <a:pt x="1292" y="1210"/>
                </a:lnTo>
                <a:lnTo>
                  <a:pt x="1294" y="1210"/>
                </a:lnTo>
                <a:lnTo>
                  <a:pt x="1294" y="1212"/>
                </a:lnTo>
                <a:lnTo>
                  <a:pt x="1297" y="1210"/>
                </a:lnTo>
                <a:lnTo>
                  <a:pt x="1299" y="1212"/>
                </a:lnTo>
                <a:lnTo>
                  <a:pt x="1297" y="1210"/>
                </a:lnTo>
                <a:lnTo>
                  <a:pt x="1296" y="1208"/>
                </a:lnTo>
                <a:lnTo>
                  <a:pt x="1296" y="1210"/>
                </a:lnTo>
                <a:lnTo>
                  <a:pt x="1294" y="1208"/>
                </a:lnTo>
                <a:lnTo>
                  <a:pt x="1294" y="1206"/>
                </a:lnTo>
                <a:lnTo>
                  <a:pt x="1294" y="1205"/>
                </a:lnTo>
                <a:lnTo>
                  <a:pt x="1292" y="1205"/>
                </a:lnTo>
                <a:lnTo>
                  <a:pt x="1292" y="1203"/>
                </a:lnTo>
                <a:lnTo>
                  <a:pt x="1292" y="1200"/>
                </a:lnTo>
                <a:lnTo>
                  <a:pt x="1292" y="1198"/>
                </a:lnTo>
                <a:lnTo>
                  <a:pt x="1294" y="1198"/>
                </a:lnTo>
                <a:lnTo>
                  <a:pt x="1294" y="1196"/>
                </a:lnTo>
                <a:lnTo>
                  <a:pt x="1294" y="1193"/>
                </a:lnTo>
                <a:lnTo>
                  <a:pt x="1296" y="1193"/>
                </a:lnTo>
                <a:lnTo>
                  <a:pt x="1296" y="1191"/>
                </a:lnTo>
                <a:lnTo>
                  <a:pt x="1296" y="1189"/>
                </a:lnTo>
                <a:lnTo>
                  <a:pt x="1294" y="1188"/>
                </a:lnTo>
                <a:lnTo>
                  <a:pt x="1294" y="1186"/>
                </a:lnTo>
                <a:lnTo>
                  <a:pt x="1296" y="1188"/>
                </a:lnTo>
                <a:lnTo>
                  <a:pt x="1297" y="1184"/>
                </a:lnTo>
                <a:lnTo>
                  <a:pt x="1301" y="1186"/>
                </a:lnTo>
                <a:lnTo>
                  <a:pt x="1301" y="1188"/>
                </a:lnTo>
                <a:lnTo>
                  <a:pt x="1301" y="1189"/>
                </a:lnTo>
                <a:lnTo>
                  <a:pt x="1301" y="1191"/>
                </a:lnTo>
                <a:lnTo>
                  <a:pt x="1299" y="1193"/>
                </a:lnTo>
                <a:lnTo>
                  <a:pt x="1301" y="1191"/>
                </a:lnTo>
                <a:lnTo>
                  <a:pt x="1304" y="1193"/>
                </a:lnTo>
                <a:lnTo>
                  <a:pt x="1304" y="1195"/>
                </a:lnTo>
                <a:lnTo>
                  <a:pt x="1304" y="1198"/>
                </a:lnTo>
                <a:lnTo>
                  <a:pt x="1306" y="1201"/>
                </a:lnTo>
                <a:lnTo>
                  <a:pt x="1306" y="1200"/>
                </a:lnTo>
                <a:lnTo>
                  <a:pt x="1306" y="1196"/>
                </a:lnTo>
                <a:lnTo>
                  <a:pt x="1306" y="1195"/>
                </a:lnTo>
                <a:lnTo>
                  <a:pt x="1306" y="1193"/>
                </a:lnTo>
                <a:lnTo>
                  <a:pt x="1306" y="1196"/>
                </a:lnTo>
                <a:lnTo>
                  <a:pt x="1308" y="1198"/>
                </a:lnTo>
                <a:lnTo>
                  <a:pt x="1311" y="1200"/>
                </a:lnTo>
                <a:lnTo>
                  <a:pt x="1311" y="1201"/>
                </a:lnTo>
                <a:lnTo>
                  <a:pt x="1311" y="1198"/>
                </a:lnTo>
                <a:lnTo>
                  <a:pt x="1308" y="1196"/>
                </a:lnTo>
                <a:lnTo>
                  <a:pt x="1309" y="1196"/>
                </a:lnTo>
                <a:lnTo>
                  <a:pt x="1313" y="1195"/>
                </a:lnTo>
                <a:lnTo>
                  <a:pt x="1314" y="1195"/>
                </a:lnTo>
                <a:lnTo>
                  <a:pt x="1314" y="1196"/>
                </a:lnTo>
                <a:lnTo>
                  <a:pt x="1316" y="1198"/>
                </a:lnTo>
                <a:lnTo>
                  <a:pt x="1318" y="1198"/>
                </a:lnTo>
                <a:lnTo>
                  <a:pt x="1318" y="1196"/>
                </a:lnTo>
                <a:lnTo>
                  <a:pt x="1316" y="1195"/>
                </a:lnTo>
                <a:lnTo>
                  <a:pt x="1313" y="1195"/>
                </a:lnTo>
                <a:lnTo>
                  <a:pt x="1311" y="1193"/>
                </a:lnTo>
                <a:lnTo>
                  <a:pt x="1308" y="1193"/>
                </a:lnTo>
                <a:lnTo>
                  <a:pt x="1308" y="1191"/>
                </a:lnTo>
                <a:lnTo>
                  <a:pt x="1306" y="1189"/>
                </a:lnTo>
                <a:lnTo>
                  <a:pt x="1306" y="1188"/>
                </a:lnTo>
                <a:lnTo>
                  <a:pt x="1302" y="1188"/>
                </a:lnTo>
                <a:lnTo>
                  <a:pt x="1302" y="1184"/>
                </a:lnTo>
                <a:lnTo>
                  <a:pt x="1302" y="1183"/>
                </a:lnTo>
                <a:lnTo>
                  <a:pt x="1304" y="1181"/>
                </a:lnTo>
                <a:lnTo>
                  <a:pt x="1306" y="1181"/>
                </a:lnTo>
                <a:lnTo>
                  <a:pt x="1308" y="1181"/>
                </a:lnTo>
                <a:lnTo>
                  <a:pt x="1309" y="1179"/>
                </a:lnTo>
                <a:lnTo>
                  <a:pt x="1311" y="1178"/>
                </a:lnTo>
                <a:lnTo>
                  <a:pt x="1313" y="1181"/>
                </a:lnTo>
                <a:lnTo>
                  <a:pt x="1311" y="1183"/>
                </a:lnTo>
                <a:lnTo>
                  <a:pt x="1313" y="1183"/>
                </a:lnTo>
                <a:lnTo>
                  <a:pt x="1314" y="1186"/>
                </a:lnTo>
                <a:lnTo>
                  <a:pt x="1316" y="1188"/>
                </a:lnTo>
                <a:lnTo>
                  <a:pt x="1316" y="1189"/>
                </a:lnTo>
                <a:lnTo>
                  <a:pt x="1318" y="1191"/>
                </a:lnTo>
                <a:lnTo>
                  <a:pt x="1319" y="1193"/>
                </a:lnTo>
                <a:lnTo>
                  <a:pt x="1321" y="1193"/>
                </a:lnTo>
                <a:lnTo>
                  <a:pt x="1323" y="1193"/>
                </a:lnTo>
                <a:lnTo>
                  <a:pt x="1325" y="1191"/>
                </a:lnTo>
                <a:lnTo>
                  <a:pt x="1326" y="1193"/>
                </a:lnTo>
                <a:lnTo>
                  <a:pt x="1326" y="1195"/>
                </a:lnTo>
                <a:lnTo>
                  <a:pt x="1325" y="1198"/>
                </a:lnTo>
                <a:lnTo>
                  <a:pt x="1325" y="1200"/>
                </a:lnTo>
                <a:lnTo>
                  <a:pt x="1326" y="1201"/>
                </a:lnTo>
                <a:lnTo>
                  <a:pt x="1328" y="1200"/>
                </a:lnTo>
                <a:lnTo>
                  <a:pt x="1331" y="1200"/>
                </a:lnTo>
                <a:lnTo>
                  <a:pt x="1333" y="1201"/>
                </a:lnTo>
                <a:lnTo>
                  <a:pt x="1331" y="1200"/>
                </a:lnTo>
                <a:lnTo>
                  <a:pt x="1330" y="1198"/>
                </a:lnTo>
                <a:lnTo>
                  <a:pt x="1328" y="1196"/>
                </a:lnTo>
                <a:lnTo>
                  <a:pt x="1328" y="1193"/>
                </a:lnTo>
                <a:lnTo>
                  <a:pt x="1326" y="1191"/>
                </a:lnTo>
                <a:lnTo>
                  <a:pt x="1326" y="1189"/>
                </a:lnTo>
                <a:lnTo>
                  <a:pt x="1325" y="1189"/>
                </a:lnTo>
                <a:lnTo>
                  <a:pt x="1321" y="1189"/>
                </a:lnTo>
                <a:lnTo>
                  <a:pt x="1319" y="1191"/>
                </a:lnTo>
                <a:lnTo>
                  <a:pt x="1319" y="1189"/>
                </a:lnTo>
                <a:lnTo>
                  <a:pt x="1318" y="1186"/>
                </a:lnTo>
                <a:lnTo>
                  <a:pt x="1316" y="1184"/>
                </a:lnTo>
                <a:lnTo>
                  <a:pt x="1316" y="1183"/>
                </a:lnTo>
                <a:lnTo>
                  <a:pt x="1316" y="1181"/>
                </a:lnTo>
                <a:lnTo>
                  <a:pt x="1318" y="1178"/>
                </a:lnTo>
                <a:lnTo>
                  <a:pt x="1319" y="1178"/>
                </a:lnTo>
                <a:lnTo>
                  <a:pt x="1321" y="1179"/>
                </a:lnTo>
                <a:lnTo>
                  <a:pt x="1323" y="1179"/>
                </a:lnTo>
                <a:lnTo>
                  <a:pt x="1321" y="1179"/>
                </a:lnTo>
                <a:lnTo>
                  <a:pt x="1319" y="1178"/>
                </a:lnTo>
                <a:lnTo>
                  <a:pt x="1319" y="1176"/>
                </a:lnTo>
                <a:lnTo>
                  <a:pt x="1319" y="1178"/>
                </a:lnTo>
                <a:lnTo>
                  <a:pt x="1316" y="1178"/>
                </a:lnTo>
                <a:lnTo>
                  <a:pt x="1316" y="1179"/>
                </a:lnTo>
                <a:lnTo>
                  <a:pt x="1314" y="1178"/>
                </a:lnTo>
                <a:lnTo>
                  <a:pt x="1313" y="1174"/>
                </a:lnTo>
                <a:lnTo>
                  <a:pt x="1313" y="1172"/>
                </a:lnTo>
                <a:lnTo>
                  <a:pt x="1314" y="1171"/>
                </a:lnTo>
                <a:lnTo>
                  <a:pt x="1316" y="1167"/>
                </a:lnTo>
                <a:lnTo>
                  <a:pt x="1316" y="1166"/>
                </a:lnTo>
                <a:lnTo>
                  <a:pt x="1316" y="1164"/>
                </a:lnTo>
                <a:lnTo>
                  <a:pt x="1318" y="1164"/>
                </a:lnTo>
                <a:lnTo>
                  <a:pt x="1318" y="1162"/>
                </a:lnTo>
                <a:lnTo>
                  <a:pt x="1321" y="1161"/>
                </a:lnTo>
                <a:lnTo>
                  <a:pt x="1323" y="1161"/>
                </a:lnTo>
                <a:lnTo>
                  <a:pt x="1326" y="1159"/>
                </a:lnTo>
                <a:lnTo>
                  <a:pt x="1328" y="1159"/>
                </a:lnTo>
                <a:lnTo>
                  <a:pt x="1330" y="1157"/>
                </a:lnTo>
                <a:lnTo>
                  <a:pt x="1331" y="1157"/>
                </a:lnTo>
                <a:lnTo>
                  <a:pt x="1331" y="1159"/>
                </a:lnTo>
                <a:lnTo>
                  <a:pt x="1331" y="1161"/>
                </a:lnTo>
                <a:lnTo>
                  <a:pt x="1331" y="1162"/>
                </a:lnTo>
                <a:lnTo>
                  <a:pt x="1331" y="1164"/>
                </a:lnTo>
                <a:lnTo>
                  <a:pt x="1331" y="1167"/>
                </a:lnTo>
                <a:lnTo>
                  <a:pt x="1333" y="1169"/>
                </a:lnTo>
                <a:lnTo>
                  <a:pt x="1333" y="1171"/>
                </a:lnTo>
                <a:lnTo>
                  <a:pt x="1333" y="1174"/>
                </a:lnTo>
                <a:lnTo>
                  <a:pt x="1331" y="1176"/>
                </a:lnTo>
                <a:lnTo>
                  <a:pt x="1331" y="1179"/>
                </a:lnTo>
                <a:lnTo>
                  <a:pt x="1333" y="1181"/>
                </a:lnTo>
                <a:lnTo>
                  <a:pt x="1331" y="1183"/>
                </a:lnTo>
                <a:lnTo>
                  <a:pt x="1331" y="1184"/>
                </a:lnTo>
                <a:lnTo>
                  <a:pt x="1330" y="1188"/>
                </a:lnTo>
                <a:lnTo>
                  <a:pt x="1328" y="1188"/>
                </a:lnTo>
                <a:lnTo>
                  <a:pt x="1330" y="1188"/>
                </a:lnTo>
                <a:lnTo>
                  <a:pt x="1331" y="1184"/>
                </a:lnTo>
                <a:lnTo>
                  <a:pt x="1333" y="1186"/>
                </a:lnTo>
                <a:lnTo>
                  <a:pt x="1333" y="1184"/>
                </a:lnTo>
                <a:lnTo>
                  <a:pt x="1333" y="1183"/>
                </a:lnTo>
                <a:lnTo>
                  <a:pt x="1335" y="1181"/>
                </a:lnTo>
                <a:lnTo>
                  <a:pt x="1333" y="1179"/>
                </a:lnTo>
                <a:lnTo>
                  <a:pt x="1335" y="1178"/>
                </a:lnTo>
                <a:lnTo>
                  <a:pt x="1333" y="1176"/>
                </a:lnTo>
                <a:lnTo>
                  <a:pt x="1335" y="1172"/>
                </a:lnTo>
                <a:lnTo>
                  <a:pt x="1333" y="1171"/>
                </a:lnTo>
                <a:lnTo>
                  <a:pt x="1335" y="1171"/>
                </a:lnTo>
                <a:lnTo>
                  <a:pt x="1336" y="1171"/>
                </a:lnTo>
                <a:lnTo>
                  <a:pt x="1338" y="1171"/>
                </a:lnTo>
                <a:lnTo>
                  <a:pt x="1340" y="1172"/>
                </a:lnTo>
                <a:lnTo>
                  <a:pt x="1343" y="1172"/>
                </a:lnTo>
                <a:lnTo>
                  <a:pt x="1345" y="1172"/>
                </a:lnTo>
                <a:lnTo>
                  <a:pt x="1343" y="1171"/>
                </a:lnTo>
                <a:lnTo>
                  <a:pt x="1340" y="1172"/>
                </a:lnTo>
                <a:lnTo>
                  <a:pt x="1340" y="1171"/>
                </a:lnTo>
                <a:lnTo>
                  <a:pt x="1336" y="1171"/>
                </a:lnTo>
                <a:lnTo>
                  <a:pt x="1335" y="1167"/>
                </a:lnTo>
                <a:lnTo>
                  <a:pt x="1333" y="1166"/>
                </a:lnTo>
                <a:lnTo>
                  <a:pt x="1335" y="1164"/>
                </a:lnTo>
                <a:lnTo>
                  <a:pt x="1335" y="1162"/>
                </a:lnTo>
                <a:lnTo>
                  <a:pt x="1335" y="1159"/>
                </a:lnTo>
                <a:lnTo>
                  <a:pt x="1336" y="1157"/>
                </a:lnTo>
                <a:lnTo>
                  <a:pt x="1336" y="1155"/>
                </a:lnTo>
                <a:lnTo>
                  <a:pt x="1338" y="1154"/>
                </a:lnTo>
                <a:lnTo>
                  <a:pt x="1338" y="1155"/>
                </a:lnTo>
                <a:lnTo>
                  <a:pt x="1338" y="1159"/>
                </a:lnTo>
                <a:lnTo>
                  <a:pt x="1338" y="1157"/>
                </a:lnTo>
                <a:lnTo>
                  <a:pt x="1338" y="1155"/>
                </a:lnTo>
                <a:lnTo>
                  <a:pt x="1338" y="1154"/>
                </a:lnTo>
                <a:lnTo>
                  <a:pt x="1340" y="1152"/>
                </a:lnTo>
                <a:lnTo>
                  <a:pt x="1340" y="1149"/>
                </a:lnTo>
                <a:lnTo>
                  <a:pt x="1340" y="1145"/>
                </a:lnTo>
                <a:lnTo>
                  <a:pt x="1342" y="1145"/>
                </a:lnTo>
                <a:lnTo>
                  <a:pt x="1342" y="1149"/>
                </a:lnTo>
                <a:lnTo>
                  <a:pt x="1343" y="1152"/>
                </a:lnTo>
                <a:lnTo>
                  <a:pt x="1343" y="1150"/>
                </a:lnTo>
                <a:lnTo>
                  <a:pt x="1342" y="1149"/>
                </a:lnTo>
                <a:lnTo>
                  <a:pt x="1342" y="1145"/>
                </a:lnTo>
                <a:lnTo>
                  <a:pt x="1343" y="1142"/>
                </a:lnTo>
                <a:lnTo>
                  <a:pt x="1345" y="1144"/>
                </a:lnTo>
                <a:lnTo>
                  <a:pt x="1345" y="1145"/>
                </a:lnTo>
                <a:lnTo>
                  <a:pt x="1347" y="1147"/>
                </a:lnTo>
                <a:lnTo>
                  <a:pt x="1347" y="1149"/>
                </a:lnTo>
                <a:lnTo>
                  <a:pt x="1347" y="1152"/>
                </a:lnTo>
                <a:lnTo>
                  <a:pt x="1347" y="1154"/>
                </a:lnTo>
                <a:lnTo>
                  <a:pt x="1347" y="1155"/>
                </a:lnTo>
                <a:lnTo>
                  <a:pt x="1347" y="1159"/>
                </a:lnTo>
                <a:lnTo>
                  <a:pt x="1347" y="1161"/>
                </a:lnTo>
                <a:lnTo>
                  <a:pt x="1347" y="1162"/>
                </a:lnTo>
                <a:lnTo>
                  <a:pt x="1347" y="1164"/>
                </a:lnTo>
                <a:lnTo>
                  <a:pt x="1347" y="1166"/>
                </a:lnTo>
                <a:lnTo>
                  <a:pt x="1348" y="1167"/>
                </a:lnTo>
                <a:lnTo>
                  <a:pt x="1348" y="1169"/>
                </a:lnTo>
                <a:lnTo>
                  <a:pt x="1348" y="1171"/>
                </a:lnTo>
                <a:lnTo>
                  <a:pt x="1347" y="1172"/>
                </a:lnTo>
                <a:lnTo>
                  <a:pt x="1347" y="1174"/>
                </a:lnTo>
                <a:lnTo>
                  <a:pt x="1348" y="1174"/>
                </a:lnTo>
                <a:lnTo>
                  <a:pt x="1347" y="1176"/>
                </a:lnTo>
                <a:lnTo>
                  <a:pt x="1347" y="1178"/>
                </a:lnTo>
                <a:lnTo>
                  <a:pt x="1348" y="1178"/>
                </a:lnTo>
                <a:lnTo>
                  <a:pt x="1348" y="1179"/>
                </a:lnTo>
                <a:lnTo>
                  <a:pt x="1347" y="1181"/>
                </a:lnTo>
                <a:lnTo>
                  <a:pt x="1347" y="1179"/>
                </a:lnTo>
                <a:lnTo>
                  <a:pt x="1347" y="1181"/>
                </a:lnTo>
                <a:lnTo>
                  <a:pt x="1347" y="1183"/>
                </a:lnTo>
                <a:lnTo>
                  <a:pt x="1347" y="1186"/>
                </a:lnTo>
                <a:lnTo>
                  <a:pt x="1345" y="1186"/>
                </a:lnTo>
                <a:lnTo>
                  <a:pt x="1343" y="1188"/>
                </a:lnTo>
                <a:lnTo>
                  <a:pt x="1342" y="1189"/>
                </a:lnTo>
                <a:lnTo>
                  <a:pt x="1343" y="1189"/>
                </a:lnTo>
                <a:lnTo>
                  <a:pt x="1342" y="1191"/>
                </a:lnTo>
                <a:lnTo>
                  <a:pt x="1342" y="1193"/>
                </a:lnTo>
                <a:lnTo>
                  <a:pt x="1342" y="1195"/>
                </a:lnTo>
                <a:lnTo>
                  <a:pt x="1342" y="1196"/>
                </a:lnTo>
                <a:lnTo>
                  <a:pt x="1342" y="1195"/>
                </a:lnTo>
                <a:lnTo>
                  <a:pt x="1343" y="1195"/>
                </a:lnTo>
                <a:lnTo>
                  <a:pt x="1343" y="1193"/>
                </a:lnTo>
                <a:lnTo>
                  <a:pt x="1343" y="1189"/>
                </a:lnTo>
                <a:lnTo>
                  <a:pt x="1345" y="1189"/>
                </a:lnTo>
                <a:lnTo>
                  <a:pt x="1345" y="1188"/>
                </a:lnTo>
                <a:lnTo>
                  <a:pt x="1347" y="1186"/>
                </a:lnTo>
                <a:lnTo>
                  <a:pt x="1348" y="1186"/>
                </a:lnTo>
                <a:lnTo>
                  <a:pt x="1350" y="1186"/>
                </a:lnTo>
                <a:lnTo>
                  <a:pt x="1348" y="1183"/>
                </a:lnTo>
                <a:lnTo>
                  <a:pt x="1350" y="1181"/>
                </a:lnTo>
                <a:lnTo>
                  <a:pt x="1350" y="1178"/>
                </a:lnTo>
                <a:lnTo>
                  <a:pt x="1350" y="1176"/>
                </a:lnTo>
                <a:lnTo>
                  <a:pt x="1350" y="1172"/>
                </a:lnTo>
                <a:lnTo>
                  <a:pt x="1350" y="1171"/>
                </a:lnTo>
                <a:lnTo>
                  <a:pt x="1352" y="1171"/>
                </a:lnTo>
                <a:lnTo>
                  <a:pt x="1353" y="1171"/>
                </a:lnTo>
                <a:lnTo>
                  <a:pt x="1355" y="1172"/>
                </a:lnTo>
                <a:lnTo>
                  <a:pt x="1357" y="1174"/>
                </a:lnTo>
                <a:lnTo>
                  <a:pt x="1360" y="1174"/>
                </a:lnTo>
                <a:lnTo>
                  <a:pt x="1362" y="1176"/>
                </a:lnTo>
                <a:lnTo>
                  <a:pt x="1360" y="1174"/>
                </a:lnTo>
                <a:lnTo>
                  <a:pt x="1359" y="1174"/>
                </a:lnTo>
                <a:lnTo>
                  <a:pt x="1357" y="1172"/>
                </a:lnTo>
                <a:lnTo>
                  <a:pt x="1357" y="1171"/>
                </a:lnTo>
                <a:lnTo>
                  <a:pt x="1355" y="1169"/>
                </a:lnTo>
                <a:lnTo>
                  <a:pt x="1352" y="1167"/>
                </a:lnTo>
                <a:lnTo>
                  <a:pt x="1352" y="1166"/>
                </a:lnTo>
                <a:lnTo>
                  <a:pt x="1352" y="1164"/>
                </a:lnTo>
                <a:lnTo>
                  <a:pt x="1353" y="1161"/>
                </a:lnTo>
                <a:lnTo>
                  <a:pt x="1352" y="1159"/>
                </a:lnTo>
                <a:lnTo>
                  <a:pt x="1350" y="1157"/>
                </a:lnTo>
                <a:lnTo>
                  <a:pt x="1352" y="1157"/>
                </a:lnTo>
                <a:lnTo>
                  <a:pt x="1355" y="1155"/>
                </a:lnTo>
                <a:lnTo>
                  <a:pt x="1357" y="1154"/>
                </a:lnTo>
                <a:lnTo>
                  <a:pt x="1359" y="1152"/>
                </a:lnTo>
                <a:lnTo>
                  <a:pt x="1357" y="1149"/>
                </a:lnTo>
                <a:lnTo>
                  <a:pt x="1357" y="1147"/>
                </a:lnTo>
                <a:lnTo>
                  <a:pt x="1359" y="1147"/>
                </a:lnTo>
                <a:lnTo>
                  <a:pt x="1359" y="1145"/>
                </a:lnTo>
                <a:lnTo>
                  <a:pt x="1362" y="1144"/>
                </a:lnTo>
                <a:lnTo>
                  <a:pt x="1364" y="1140"/>
                </a:lnTo>
                <a:lnTo>
                  <a:pt x="1364" y="1142"/>
                </a:lnTo>
                <a:lnTo>
                  <a:pt x="1362" y="1144"/>
                </a:lnTo>
                <a:lnTo>
                  <a:pt x="1362" y="1145"/>
                </a:lnTo>
                <a:lnTo>
                  <a:pt x="1360" y="1145"/>
                </a:lnTo>
                <a:lnTo>
                  <a:pt x="1360" y="1149"/>
                </a:lnTo>
                <a:lnTo>
                  <a:pt x="1359" y="1149"/>
                </a:lnTo>
                <a:lnTo>
                  <a:pt x="1362" y="1149"/>
                </a:lnTo>
                <a:lnTo>
                  <a:pt x="1360" y="1152"/>
                </a:lnTo>
                <a:lnTo>
                  <a:pt x="1362" y="1154"/>
                </a:lnTo>
                <a:lnTo>
                  <a:pt x="1364" y="1154"/>
                </a:lnTo>
                <a:lnTo>
                  <a:pt x="1365" y="1154"/>
                </a:lnTo>
                <a:lnTo>
                  <a:pt x="1364" y="1152"/>
                </a:lnTo>
                <a:lnTo>
                  <a:pt x="1365" y="1150"/>
                </a:lnTo>
                <a:lnTo>
                  <a:pt x="1364" y="1147"/>
                </a:lnTo>
                <a:lnTo>
                  <a:pt x="1365" y="1147"/>
                </a:lnTo>
                <a:lnTo>
                  <a:pt x="1367" y="1145"/>
                </a:lnTo>
                <a:lnTo>
                  <a:pt x="1367" y="1147"/>
                </a:lnTo>
                <a:lnTo>
                  <a:pt x="1367" y="1150"/>
                </a:lnTo>
                <a:lnTo>
                  <a:pt x="1367" y="1152"/>
                </a:lnTo>
                <a:lnTo>
                  <a:pt x="1367" y="1150"/>
                </a:lnTo>
                <a:lnTo>
                  <a:pt x="1369" y="1149"/>
                </a:lnTo>
                <a:lnTo>
                  <a:pt x="1367" y="1145"/>
                </a:lnTo>
                <a:lnTo>
                  <a:pt x="1367" y="1144"/>
                </a:lnTo>
                <a:lnTo>
                  <a:pt x="1370" y="1144"/>
                </a:lnTo>
                <a:lnTo>
                  <a:pt x="1369" y="1144"/>
                </a:lnTo>
                <a:lnTo>
                  <a:pt x="1367" y="1142"/>
                </a:lnTo>
                <a:lnTo>
                  <a:pt x="1367" y="1138"/>
                </a:lnTo>
                <a:lnTo>
                  <a:pt x="1367" y="1137"/>
                </a:lnTo>
                <a:lnTo>
                  <a:pt x="1369" y="1135"/>
                </a:lnTo>
                <a:lnTo>
                  <a:pt x="1372" y="1135"/>
                </a:lnTo>
                <a:lnTo>
                  <a:pt x="1374" y="1137"/>
                </a:lnTo>
                <a:lnTo>
                  <a:pt x="1376" y="1138"/>
                </a:lnTo>
                <a:lnTo>
                  <a:pt x="1376" y="1140"/>
                </a:lnTo>
                <a:lnTo>
                  <a:pt x="1377" y="1142"/>
                </a:lnTo>
                <a:lnTo>
                  <a:pt x="1381" y="1144"/>
                </a:lnTo>
                <a:lnTo>
                  <a:pt x="1382" y="1144"/>
                </a:lnTo>
                <a:lnTo>
                  <a:pt x="1384" y="1145"/>
                </a:lnTo>
                <a:lnTo>
                  <a:pt x="1386" y="1145"/>
                </a:lnTo>
                <a:lnTo>
                  <a:pt x="1384" y="1147"/>
                </a:lnTo>
                <a:lnTo>
                  <a:pt x="1386" y="1149"/>
                </a:lnTo>
                <a:lnTo>
                  <a:pt x="1387" y="1150"/>
                </a:lnTo>
                <a:lnTo>
                  <a:pt x="1389" y="1150"/>
                </a:lnTo>
                <a:lnTo>
                  <a:pt x="1389" y="1152"/>
                </a:lnTo>
                <a:lnTo>
                  <a:pt x="1391" y="1152"/>
                </a:lnTo>
                <a:lnTo>
                  <a:pt x="1389" y="1154"/>
                </a:lnTo>
                <a:lnTo>
                  <a:pt x="1391" y="1154"/>
                </a:lnTo>
                <a:lnTo>
                  <a:pt x="1391" y="1152"/>
                </a:lnTo>
                <a:lnTo>
                  <a:pt x="1393" y="1152"/>
                </a:lnTo>
                <a:lnTo>
                  <a:pt x="1389" y="1150"/>
                </a:lnTo>
                <a:lnTo>
                  <a:pt x="1391" y="1150"/>
                </a:lnTo>
                <a:lnTo>
                  <a:pt x="1389" y="1149"/>
                </a:lnTo>
                <a:lnTo>
                  <a:pt x="1387" y="1147"/>
                </a:lnTo>
                <a:lnTo>
                  <a:pt x="1387" y="1149"/>
                </a:lnTo>
                <a:lnTo>
                  <a:pt x="1386" y="1147"/>
                </a:lnTo>
                <a:lnTo>
                  <a:pt x="1386" y="1145"/>
                </a:lnTo>
                <a:lnTo>
                  <a:pt x="1387" y="1145"/>
                </a:lnTo>
                <a:lnTo>
                  <a:pt x="1389" y="1145"/>
                </a:lnTo>
                <a:lnTo>
                  <a:pt x="1387" y="1144"/>
                </a:lnTo>
                <a:lnTo>
                  <a:pt x="1386" y="1144"/>
                </a:lnTo>
                <a:lnTo>
                  <a:pt x="1384" y="1142"/>
                </a:lnTo>
                <a:lnTo>
                  <a:pt x="1384" y="1140"/>
                </a:lnTo>
                <a:lnTo>
                  <a:pt x="1386" y="1138"/>
                </a:lnTo>
                <a:lnTo>
                  <a:pt x="1384" y="1137"/>
                </a:lnTo>
                <a:lnTo>
                  <a:pt x="1386" y="1135"/>
                </a:lnTo>
                <a:lnTo>
                  <a:pt x="1387" y="1135"/>
                </a:lnTo>
                <a:lnTo>
                  <a:pt x="1386" y="1138"/>
                </a:lnTo>
                <a:lnTo>
                  <a:pt x="1387" y="1138"/>
                </a:lnTo>
                <a:lnTo>
                  <a:pt x="1387" y="1137"/>
                </a:lnTo>
                <a:lnTo>
                  <a:pt x="1387" y="1135"/>
                </a:lnTo>
                <a:lnTo>
                  <a:pt x="1386" y="1133"/>
                </a:lnTo>
                <a:lnTo>
                  <a:pt x="1387" y="1132"/>
                </a:lnTo>
                <a:lnTo>
                  <a:pt x="1386" y="1133"/>
                </a:lnTo>
                <a:lnTo>
                  <a:pt x="1382" y="1133"/>
                </a:lnTo>
                <a:lnTo>
                  <a:pt x="1381" y="1132"/>
                </a:lnTo>
                <a:lnTo>
                  <a:pt x="1382" y="1130"/>
                </a:lnTo>
                <a:lnTo>
                  <a:pt x="1384" y="1130"/>
                </a:lnTo>
                <a:lnTo>
                  <a:pt x="1386" y="1128"/>
                </a:lnTo>
                <a:lnTo>
                  <a:pt x="1386" y="1127"/>
                </a:lnTo>
                <a:lnTo>
                  <a:pt x="1386" y="1125"/>
                </a:lnTo>
                <a:lnTo>
                  <a:pt x="1386" y="1127"/>
                </a:lnTo>
                <a:lnTo>
                  <a:pt x="1384" y="1127"/>
                </a:lnTo>
                <a:lnTo>
                  <a:pt x="1384" y="1128"/>
                </a:lnTo>
                <a:lnTo>
                  <a:pt x="1382" y="1130"/>
                </a:lnTo>
                <a:lnTo>
                  <a:pt x="1381" y="1128"/>
                </a:lnTo>
                <a:lnTo>
                  <a:pt x="1381" y="1130"/>
                </a:lnTo>
                <a:lnTo>
                  <a:pt x="1379" y="1132"/>
                </a:lnTo>
                <a:lnTo>
                  <a:pt x="1377" y="1130"/>
                </a:lnTo>
                <a:lnTo>
                  <a:pt x="1376" y="1130"/>
                </a:lnTo>
                <a:lnTo>
                  <a:pt x="1374" y="1128"/>
                </a:lnTo>
                <a:lnTo>
                  <a:pt x="1374" y="1130"/>
                </a:lnTo>
                <a:lnTo>
                  <a:pt x="1372" y="1128"/>
                </a:lnTo>
                <a:lnTo>
                  <a:pt x="1370" y="1128"/>
                </a:lnTo>
                <a:lnTo>
                  <a:pt x="1370" y="1127"/>
                </a:lnTo>
                <a:lnTo>
                  <a:pt x="1370" y="1123"/>
                </a:lnTo>
                <a:lnTo>
                  <a:pt x="1369" y="1125"/>
                </a:lnTo>
                <a:lnTo>
                  <a:pt x="1367" y="1125"/>
                </a:lnTo>
                <a:lnTo>
                  <a:pt x="1365" y="1125"/>
                </a:lnTo>
                <a:lnTo>
                  <a:pt x="1364" y="1121"/>
                </a:lnTo>
                <a:lnTo>
                  <a:pt x="1364" y="1123"/>
                </a:lnTo>
                <a:lnTo>
                  <a:pt x="1364" y="1120"/>
                </a:lnTo>
                <a:lnTo>
                  <a:pt x="1365" y="1118"/>
                </a:lnTo>
                <a:lnTo>
                  <a:pt x="1367" y="1118"/>
                </a:lnTo>
                <a:lnTo>
                  <a:pt x="1369" y="1116"/>
                </a:lnTo>
                <a:lnTo>
                  <a:pt x="1369" y="1118"/>
                </a:lnTo>
                <a:lnTo>
                  <a:pt x="1369" y="1120"/>
                </a:lnTo>
                <a:lnTo>
                  <a:pt x="1372" y="1121"/>
                </a:lnTo>
                <a:lnTo>
                  <a:pt x="1370" y="1120"/>
                </a:lnTo>
                <a:lnTo>
                  <a:pt x="1370" y="1118"/>
                </a:lnTo>
                <a:lnTo>
                  <a:pt x="1370" y="1115"/>
                </a:lnTo>
                <a:lnTo>
                  <a:pt x="1370" y="1113"/>
                </a:lnTo>
                <a:lnTo>
                  <a:pt x="1372" y="1113"/>
                </a:lnTo>
                <a:lnTo>
                  <a:pt x="1372" y="1115"/>
                </a:lnTo>
                <a:lnTo>
                  <a:pt x="1374" y="1116"/>
                </a:lnTo>
                <a:lnTo>
                  <a:pt x="1377" y="1118"/>
                </a:lnTo>
                <a:lnTo>
                  <a:pt x="1377" y="1120"/>
                </a:lnTo>
                <a:lnTo>
                  <a:pt x="1379" y="1121"/>
                </a:lnTo>
                <a:lnTo>
                  <a:pt x="1381" y="1123"/>
                </a:lnTo>
                <a:lnTo>
                  <a:pt x="1381" y="1125"/>
                </a:lnTo>
                <a:lnTo>
                  <a:pt x="1381" y="1121"/>
                </a:lnTo>
                <a:lnTo>
                  <a:pt x="1379" y="1120"/>
                </a:lnTo>
                <a:lnTo>
                  <a:pt x="1381" y="1118"/>
                </a:lnTo>
                <a:lnTo>
                  <a:pt x="1377" y="1116"/>
                </a:lnTo>
                <a:lnTo>
                  <a:pt x="1379" y="1115"/>
                </a:lnTo>
                <a:lnTo>
                  <a:pt x="1381" y="1111"/>
                </a:lnTo>
                <a:lnTo>
                  <a:pt x="1381" y="1110"/>
                </a:lnTo>
                <a:lnTo>
                  <a:pt x="1382" y="1111"/>
                </a:lnTo>
                <a:lnTo>
                  <a:pt x="1382" y="1113"/>
                </a:lnTo>
                <a:lnTo>
                  <a:pt x="1382" y="1115"/>
                </a:lnTo>
                <a:lnTo>
                  <a:pt x="1382" y="1113"/>
                </a:lnTo>
                <a:lnTo>
                  <a:pt x="1384" y="1111"/>
                </a:lnTo>
                <a:lnTo>
                  <a:pt x="1386" y="1115"/>
                </a:lnTo>
                <a:lnTo>
                  <a:pt x="1386" y="1116"/>
                </a:lnTo>
                <a:lnTo>
                  <a:pt x="1386" y="1113"/>
                </a:lnTo>
                <a:lnTo>
                  <a:pt x="1389" y="1111"/>
                </a:lnTo>
                <a:lnTo>
                  <a:pt x="1391" y="1113"/>
                </a:lnTo>
                <a:lnTo>
                  <a:pt x="1389" y="1115"/>
                </a:lnTo>
                <a:lnTo>
                  <a:pt x="1391" y="1116"/>
                </a:lnTo>
                <a:lnTo>
                  <a:pt x="1389" y="1116"/>
                </a:lnTo>
                <a:lnTo>
                  <a:pt x="1391" y="1118"/>
                </a:lnTo>
                <a:lnTo>
                  <a:pt x="1391" y="1121"/>
                </a:lnTo>
                <a:lnTo>
                  <a:pt x="1389" y="1123"/>
                </a:lnTo>
                <a:lnTo>
                  <a:pt x="1391" y="1123"/>
                </a:lnTo>
                <a:lnTo>
                  <a:pt x="1393" y="1123"/>
                </a:lnTo>
                <a:lnTo>
                  <a:pt x="1394" y="1121"/>
                </a:lnTo>
                <a:lnTo>
                  <a:pt x="1398" y="1123"/>
                </a:lnTo>
                <a:lnTo>
                  <a:pt x="1398" y="1121"/>
                </a:lnTo>
                <a:lnTo>
                  <a:pt x="1396" y="1121"/>
                </a:lnTo>
                <a:lnTo>
                  <a:pt x="1393" y="1121"/>
                </a:lnTo>
                <a:lnTo>
                  <a:pt x="1391" y="1121"/>
                </a:lnTo>
                <a:lnTo>
                  <a:pt x="1393" y="1120"/>
                </a:lnTo>
                <a:lnTo>
                  <a:pt x="1391" y="1116"/>
                </a:lnTo>
                <a:lnTo>
                  <a:pt x="1393" y="1116"/>
                </a:lnTo>
                <a:lnTo>
                  <a:pt x="1393" y="1113"/>
                </a:lnTo>
                <a:lnTo>
                  <a:pt x="1394" y="1115"/>
                </a:lnTo>
                <a:lnTo>
                  <a:pt x="1396" y="1115"/>
                </a:lnTo>
                <a:lnTo>
                  <a:pt x="1396" y="1116"/>
                </a:lnTo>
                <a:lnTo>
                  <a:pt x="1398" y="1115"/>
                </a:lnTo>
                <a:lnTo>
                  <a:pt x="1399" y="1115"/>
                </a:lnTo>
                <a:lnTo>
                  <a:pt x="1398" y="1116"/>
                </a:lnTo>
                <a:lnTo>
                  <a:pt x="1399" y="1115"/>
                </a:lnTo>
                <a:lnTo>
                  <a:pt x="1401" y="1115"/>
                </a:lnTo>
                <a:lnTo>
                  <a:pt x="1403" y="1115"/>
                </a:lnTo>
                <a:lnTo>
                  <a:pt x="1404" y="1116"/>
                </a:lnTo>
                <a:lnTo>
                  <a:pt x="1406" y="1115"/>
                </a:lnTo>
                <a:lnTo>
                  <a:pt x="1408" y="1116"/>
                </a:lnTo>
                <a:lnTo>
                  <a:pt x="1408" y="1118"/>
                </a:lnTo>
                <a:lnTo>
                  <a:pt x="1406" y="1118"/>
                </a:lnTo>
                <a:lnTo>
                  <a:pt x="1406" y="1121"/>
                </a:lnTo>
                <a:lnTo>
                  <a:pt x="1404" y="1121"/>
                </a:lnTo>
                <a:lnTo>
                  <a:pt x="1406" y="1121"/>
                </a:lnTo>
                <a:lnTo>
                  <a:pt x="1404" y="1123"/>
                </a:lnTo>
                <a:lnTo>
                  <a:pt x="1403" y="1125"/>
                </a:lnTo>
                <a:lnTo>
                  <a:pt x="1401" y="1125"/>
                </a:lnTo>
                <a:lnTo>
                  <a:pt x="1399" y="1127"/>
                </a:lnTo>
                <a:lnTo>
                  <a:pt x="1398" y="1127"/>
                </a:lnTo>
                <a:lnTo>
                  <a:pt x="1396" y="1127"/>
                </a:lnTo>
                <a:lnTo>
                  <a:pt x="1394" y="1128"/>
                </a:lnTo>
                <a:lnTo>
                  <a:pt x="1393" y="1130"/>
                </a:lnTo>
                <a:lnTo>
                  <a:pt x="1393" y="1132"/>
                </a:lnTo>
                <a:lnTo>
                  <a:pt x="1394" y="1132"/>
                </a:lnTo>
                <a:lnTo>
                  <a:pt x="1394" y="1130"/>
                </a:lnTo>
                <a:lnTo>
                  <a:pt x="1396" y="1128"/>
                </a:lnTo>
                <a:lnTo>
                  <a:pt x="1398" y="1128"/>
                </a:lnTo>
                <a:lnTo>
                  <a:pt x="1399" y="1127"/>
                </a:lnTo>
                <a:lnTo>
                  <a:pt x="1401" y="1127"/>
                </a:lnTo>
                <a:lnTo>
                  <a:pt x="1403" y="1125"/>
                </a:lnTo>
                <a:lnTo>
                  <a:pt x="1404" y="1125"/>
                </a:lnTo>
                <a:lnTo>
                  <a:pt x="1406" y="1123"/>
                </a:lnTo>
                <a:lnTo>
                  <a:pt x="1406" y="1121"/>
                </a:lnTo>
                <a:lnTo>
                  <a:pt x="1410" y="1120"/>
                </a:lnTo>
                <a:lnTo>
                  <a:pt x="1410" y="1121"/>
                </a:lnTo>
                <a:lnTo>
                  <a:pt x="1410" y="1125"/>
                </a:lnTo>
                <a:lnTo>
                  <a:pt x="1410" y="1127"/>
                </a:lnTo>
                <a:lnTo>
                  <a:pt x="1411" y="1128"/>
                </a:lnTo>
                <a:lnTo>
                  <a:pt x="1413" y="1127"/>
                </a:lnTo>
                <a:lnTo>
                  <a:pt x="1413" y="1130"/>
                </a:lnTo>
                <a:lnTo>
                  <a:pt x="1415" y="1132"/>
                </a:lnTo>
                <a:lnTo>
                  <a:pt x="1413" y="1133"/>
                </a:lnTo>
                <a:lnTo>
                  <a:pt x="1413" y="1135"/>
                </a:lnTo>
                <a:lnTo>
                  <a:pt x="1413" y="1133"/>
                </a:lnTo>
                <a:lnTo>
                  <a:pt x="1415" y="1133"/>
                </a:lnTo>
                <a:lnTo>
                  <a:pt x="1415" y="1135"/>
                </a:lnTo>
                <a:lnTo>
                  <a:pt x="1416" y="1132"/>
                </a:lnTo>
                <a:lnTo>
                  <a:pt x="1418" y="1132"/>
                </a:lnTo>
                <a:lnTo>
                  <a:pt x="1418" y="1130"/>
                </a:lnTo>
                <a:lnTo>
                  <a:pt x="1418" y="1128"/>
                </a:lnTo>
                <a:lnTo>
                  <a:pt x="1420" y="1130"/>
                </a:lnTo>
                <a:lnTo>
                  <a:pt x="1421" y="1130"/>
                </a:lnTo>
                <a:lnTo>
                  <a:pt x="1420" y="1130"/>
                </a:lnTo>
                <a:lnTo>
                  <a:pt x="1421" y="1130"/>
                </a:lnTo>
                <a:lnTo>
                  <a:pt x="1423" y="1128"/>
                </a:lnTo>
                <a:lnTo>
                  <a:pt x="1423" y="1125"/>
                </a:lnTo>
                <a:lnTo>
                  <a:pt x="1420" y="1127"/>
                </a:lnTo>
                <a:lnTo>
                  <a:pt x="1418" y="1127"/>
                </a:lnTo>
                <a:lnTo>
                  <a:pt x="1416" y="1125"/>
                </a:lnTo>
                <a:lnTo>
                  <a:pt x="1415" y="1123"/>
                </a:lnTo>
                <a:lnTo>
                  <a:pt x="1413" y="1123"/>
                </a:lnTo>
                <a:lnTo>
                  <a:pt x="1416" y="1121"/>
                </a:lnTo>
                <a:lnTo>
                  <a:pt x="1418" y="1121"/>
                </a:lnTo>
                <a:lnTo>
                  <a:pt x="1420" y="1120"/>
                </a:lnTo>
                <a:lnTo>
                  <a:pt x="1418" y="1118"/>
                </a:lnTo>
                <a:lnTo>
                  <a:pt x="1415" y="1116"/>
                </a:lnTo>
                <a:lnTo>
                  <a:pt x="1418" y="1115"/>
                </a:lnTo>
                <a:lnTo>
                  <a:pt x="1415" y="1115"/>
                </a:lnTo>
                <a:lnTo>
                  <a:pt x="1413" y="1113"/>
                </a:lnTo>
                <a:lnTo>
                  <a:pt x="1415" y="1113"/>
                </a:lnTo>
                <a:lnTo>
                  <a:pt x="1416" y="1111"/>
                </a:lnTo>
                <a:lnTo>
                  <a:pt x="1418" y="1111"/>
                </a:lnTo>
                <a:lnTo>
                  <a:pt x="1420" y="1110"/>
                </a:lnTo>
                <a:lnTo>
                  <a:pt x="1418" y="1110"/>
                </a:lnTo>
                <a:lnTo>
                  <a:pt x="1415" y="1111"/>
                </a:lnTo>
                <a:lnTo>
                  <a:pt x="1415" y="1110"/>
                </a:lnTo>
                <a:lnTo>
                  <a:pt x="1416" y="1108"/>
                </a:lnTo>
                <a:lnTo>
                  <a:pt x="1418" y="1110"/>
                </a:lnTo>
                <a:lnTo>
                  <a:pt x="1416" y="1108"/>
                </a:lnTo>
                <a:lnTo>
                  <a:pt x="1418" y="1108"/>
                </a:lnTo>
                <a:lnTo>
                  <a:pt x="1420" y="1106"/>
                </a:lnTo>
                <a:lnTo>
                  <a:pt x="1421" y="1106"/>
                </a:lnTo>
                <a:lnTo>
                  <a:pt x="1418" y="1106"/>
                </a:lnTo>
                <a:lnTo>
                  <a:pt x="1420" y="1104"/>
                </a:lnTo>
                <a:lnTo>
                  <a:pt x="1418" y="1104"/>
                </a:lnTo>
                <a:lnTo>
                  <a:pt x="1420" y="1101"/>
                </a:lnTo>
                <a:lnTo>
                  <a:pt x="1420" y="1099"/>
                </a:lnTo>
                <a:lnTo>
                  <a:pt x="1421" y="1098"/>
                </a:lnTo>
                <a:lnTo>
                  <a:pt x="1423" y="1094"/>
                </a:lnTo>
                <a:lnTo>
                  <a:pt x="1425" y="1094"/>
                </a:lnTo>
                <a:lnTo>
                  <a:pt x="1423" y="1093"/>
                </a:lnTo>
                <a:lnTo>
                  <a:pt x="1425" y="1089"/>
                </a:lnTo>
                <a:lnTo>
                  <a:pt x="1428" y="1087"/>
                </a:lnTo>
                <a:lnTo>
                  <a:pt x="1430" y="1087"/>
                </a:lnTo>
                <a:lnTo>
                  <a:pt x="1432" y="1089"/>
                </a:lnTo>
                <a:lnTo>
                  <a:pt x="1435" y="1089"/>
                </a:lnTo>
                <a:lnTo>
                  <a:pt x="1437" y="1091"/>
                </a:lnTo>
                <a:lnTo>
                  <a:pt x="1437" y="1089"/>
                </a:lnTo>
                <a:lnTo>
                  <a:pt x="1435" y="1087"/>
                </a:lnTo>
                <a:lnTo>
                  <a:pt x="1432" y="1086"/>
                </a:lnTo>
                <a:lnTo>
                  <a:pt x="1430" y="1086"/>
                </a:lnTo>
                <a:lnTo>
                  <a:pt x="1432" y="1082"/>
                </a:lnTo>
                <a:lnTo>
                  <a:pt x="1432" y="1081"/>
                </a:lnTo>
                <a:lnTo>
                  <a:pt x="1433" y="1081"/>
                </a:lnTo>
                <a:lnTo>
                  <a:pt x="1432" y="1077"/>
                </a:lnTo>
                <a:lnTo>
                  <a:pt x="1432" y="1076"/>
                </a:lnTo>
                <a:lnTo>
                  <a:pt x="1433" y="1076"/>
                </a:lnTo>
                <a:lnTo>
                  <a:pt x="1433" y="1074"/>
                </a:lnTo>
                <a:lnTo>
                  <a:pt x="1435" y="1074"/>
                </a:lnTo>
                <a:lnTo>
                  <a:pt x="1435" y="1072"/>
                </a:lnTo>
                <a:lnTo>
                  <a:pt x="1435" y="1074"/>
                </a:lnTo>
                <a:lnTo>
                  <a:pt x="1437" y="1074"/>
                </a:lnTo>
                <a:lnTo>
                  <a:pt x="1438" y="1074"/>
                </a:lnTo>
                <a:lnTo>
                  <a:pt x="1440" y="1076"/>
                </a:lnTo>
                <a:lnTo>
                  <a:pt x="1442" y="1077"/>
                </a:lnTo>
                <a:lnTo>
                  <a:pt x="1444" y="1076"/>
                </a:lnTo>
                <a:lnTo>
                  <a:pt x="1442" y="1072"/>
                </a:lnTo>
                <a:lnTo>
                  <a:pt x="1440" y="1072"/>
                </a:lnTo>
                <a:lnTo>
                  <a:pt x="1442" y="1072"/>
                </a:lnTo>
                <a:lnTo>
                  <a:pt x="1440" y="1070"/>
                </a:lnTo>
                <a:lnTo>
                  <a:pt x="1438" y="1070"/>
                </a:lnTo>
                <a:lnTo>
                  <a:pt x="1440" y="1070"/>
                </a:lnTo>
                <a:lnTo>
                  <a:pt x="1438" y="1070"/>
                </a:lnTo>
                <a:lnTo>
                  <a:pt x="1438" y="1069"/>
                </a:lnTo>
                <a:lnTo>
                  <a:pt x="1437" y="1069"/>
                </a:lnTo>
                <a:lnTo>
                  <a:pt x="1433" y="1069"/>
                </a:lnTo>
                <a:lnTo>
                  <a:pt x="1433" y="1067"/>
                </a:lnTo>
                <a:lnTo>
                  <a:pt x="1433" y="1069"/>
                </a:lnTo>
                <a:lnTo>
                  <a:pt x="1430" y="1067"/>
                </a:lnTo>
                <a:lnTo>
                  <a:pt x="1432" y="1065"/>
                </a:lnTo>
                <a:lnTo>
                  <a:pt x="1430" y="1062"/>
                </a:lnTo>
                <a:lnTo>
                  <a:pt x="1432" y="1060"/>
                </a:lnTo>
                <a:lnTo>
                  <a:pt x="1432" y="1062"/>
                </a:lnTo>
                <a:lnTo>
                  <a:pt x="1432" y="1060"/>
                </a:lnTo>
                <a:lnTo>
                  <a:pt x="1433" y="1060"/>
                </a:lnTo>
                <a:lnTo>
                  <a:pt x="1433" y="1062"/>
                </a:lnTo>
                <a:lnTo>
                  <a:pt x="1435" y="1062"/>
                </a:lnTo>
                <a:lnTo>
                  <a:pt x="1435" y="1064"/>
                </a:lnTo>
                <a:lnTo>
                  <a:pt x="1437" y="1064"/>
                </a:lnTo>
                <a:lnTo>
                  <a:pt x="1438" y="1065"/>
                </a:lnTo>
                <a:lnTo>
                  <a:pt x="1440" y="1064"/>
                </a:lnTo>
                <a:lnTo>
                  <a:pt x="1438" y="1062"/>
                </a:lnTo>
                <a:lnTo>
                  <a:pt x="1437" y="1059"/>
                </a:lnTo>
                <a:lnTo>
                  <a:pt x="1440" y="1059"/>
                </a:lnTo>
                <a:lnTo>
                  <a:pt x="1438" y="1057"/>
                </a:lnTo>
                <a:lnTo>
                  <a:pt x="1437" y="1057"/>
                </a:lnTo>
                <a:lnTo>
                  <a:pt x="1437" y="1055"/>
                </a:lnTo>
                <a:lnTo>
                  <a:pt x="1435" y="1055"/>
                </a:lnTo>
                <a:lnTo>
                  <a:pt x="1435" y="1053"/>
                </a:lnTo>
                <a:lnTo>
                  <a:pt x="1438" y="1052"/>
                </a:lnTo>
                <a:lnTo>
                  <a:pt x="1435" y="1052"/>
                </a:lnTo>
                <a:lnTo>
                  <a:pt x="1437" y="1050"/>
                </a:lnTo>
                <a:lnTo>
                  <a:pt x="1438" y="1050"/>
                </a:lnTo>
                <a:lnTo>
                  <a:pt x="1438" y="1052"/>
                </a:lnTo>
                <a:lnTo>
                  <a:pt x="1440" y="1050"/>
                </a:lnTo>
                <a:lnTo>
                  <a:pt x="1440" y="1052"/>
                </a:lnTo>
                <a:lnTo>
                  <a:pt x="1442" y="1052"/>
                </a:lnTo>
                <a:lnTo>
                  <a:pt x="1442" y="1053"/>
                </a:lnTo>
                <a:lnTo>
                  <a:pt x="1444" y="1053"/>
                </a:lnTo>
                <a:lnTo>
                  <a:pt x="1442" y="1055"/>
                </a:lnTo>
                <a:lnTo>
                  <a:pt x="1444" y="1053"/>
                </a:lnTo>
                <a:lnTo>
                  <a:pt x="1445" y="1053"/>
                </a:lnTo>
                <a:lnTo>
                  <a:pt x="1444" y="1053"/>
                </a:lnTo>
                <a:lnTo>
                  <a:pt x="1445" y="1050"/>
                </a:lnTo>
                <a:lnTo>
                  <a:pt x="1447" y="1050"/>
                </a:lnTo>
                <a:lnTo>
                  <a:pt x="1447" y="1052"/>
                </a:lnTo>
                <a:lnTo>
                  <a:pt x="1445" y="1055"/>
                </a:lnTo>
                <a:lnTo>
                  <a:pt x="1445" y="1057"/>
                </a:lnTo>
                <a:lnTo>
                  <a:pt x="1447" y="1057"/>
                </a:lnTo>
                <a:lnTo>
                  <a:pt x="1449" y="1057"/>
                </a:lnTo>
                <a:lnTo>
                  <a:pt x="1447" y="1055"/>
                </a:lnTo>
                <a:lnTo>
                  <a:pt x="1449" y="1053"/>
                </a:lnTo>
                <a:lnTo>
                  <a:pt x="1449" y="1052"/>
                </a:lnTo>
                <a:lnTo>
                  <a:pt x="1450" y="1053"/>
                </a:lnTo>
                <a:lnTo>
                  <a:pt x="1452" y="1053"/>
                </a:lnTo>
                <a:lnTo>
                  <a:pt x="1454" y="1055"/>
                </a:lnTo>
                <a:lnTo>
                  <a:pt x="1454" y="1059"/>
                </a:lnTo>
                <a:lnTo>
                  <a:pt x="1454" y="1060"/>
                </a:lnTo>
                <a:lnTo>
                  <a:pt x="1455" y="1059"/>
                </a:lnTo>
                <a:lnTo>
                  <a:pt x="1457" y="1060"/>
                </a:lnTo>
                <a:lnTo>
                  <a:pt x="1457" y="1057"/>
                </a:lnTo>
                <a:lnTo>
                  <a:pt x="1455" y="1055"/>
                </a:lnTo>
                <a:lnTo>
                  <a:pt x="1457" y="1053"/>
                </a:lnTo>
                <a:lnTo>
                  <a:pt x="1455" y="1052"/>
                </a:lnTo>
                <a:lnTo>
                  <a:pt x="1454" y="1050"/>
                </a:lnTo>
                <a:lnTo>
                  <a:pt x="1454" y="1047"/>
                </a:lnTo>
                <a:lnTo>
                  <a:pt x="1455" y="1048"/>
                </a:lnTo>
                <a:lnTo>
                  <a:pt x="1457" y="1048"/>
                </a:lnTo>
                <a:lnTo>
                  <a:pt x="1459" y="1050"/>
                </a:lnTo>
                <a:lnTo>
                  <a:pt x="1461" y="1050"/>
                </a:lnTo>
                <a:lnTo>
                  <a:pt x="1459" y="1052"/>
                </a:lnTo>
                <a:lnTo>
                  <a:pt x="1459" y="1053"/>
                </a:lnTo>
                <a:lnTo>
                  <a:pt x="1457" y="1055"/>
                </a:lnTo>
                <a:lnTo>
                  <a:pt x="1459" y="1055"/>
                </a:lnTo>
                <a:lnTo>
                  <a:pt x="1459" y="1057"/>
                </a:lnTo>
                <a:lnTo>
                  <a:pt x="1459" y="1053"/>
                </a:lnTo>
                <a:lnTo>
                  <a:pt x="1459" y="1055"/>
                </a:lnTo>
                <a:lnTo>
                  <a:pt x="1461" y="1052"/>
                </a:lnTo>
                <a:lnTo>
                  <a:pt x="1462" y="1052"/>
                </a:lnTo>
                <a:lnTo>
                  <a:pt x="1464" y="1050"/>
                </a:lnTo>
                <a:lnTo>
                  <a:pt x="1464" y="1052"/>
                </a:lnTo>
                <a:lnTo>
                  <a:pt x="1466" y="1053"/>
                </a:lnTo>
                <a:lnTo>
                  <a:pt x="1466" y="1052"/>
                </a:lnTo>
                <a:lnTo>
                  <a:pt x="1467" y="1050"/>
                </a:lnTo>
                <a:lnTo>
                  <a:pt x="1469" y="1050"/>
                </a:lnTo>
                <a:lnTo>
                  <a:pt x="1467" y="1053"/>
                </a:lnTo>
                <a:lnTo>
                  <a:pt x="1469" y="1052"/>
                </a:lnTo>
                <a:lnTo>
                  <a:pt x="1469" y="1053"/>
                </a:lnTo>
                <a:lnTo>
                  <a:pt x="1467" y="1055"/>
                </a:lnTo>
                <a:lnTo>
                  <a:pt x="1467" y="1059"/>
                </a:lnTo>
                <a:lnTo>
                  <a:pt x="1466" y="1059"/>
                </a:lnTo>
                <a:lnTo>
                  <a:pt x="1464" y="1060"/>
                </a:lnTo>
                <a:lnTo>
                  <a:pt x="1464" y="1064"/>
                </a:lnTo>
                <a:lnTo>
                  <a:pt x="1466" y="1062"/>
                </a:lnTo>
                <a:lnTo>
                  <a:pt x="1466" y="1064"/>
                </a:lnTo>
                <a:lnTo>
                  <a:pt x="1464" y="1064"/>
                </a:lnTo>
                <a:lnTo>
                  <a:pt x="1464" y="1065"/>
                </a:lnTo>
                <a:lnTo>
                  <a:pt x="1462" y="1065"/>
                </a:lnTo>
                <a:lnTo>
                  <a:pt x="1462" y="1069"/>
                </a:lnTo>
                <a:lnTo>
                  <a:pt x="1461" y="1069"/>
                </a:lnTo>
                <a:lnTo>
                  <a:pt x="1461" y="1070"/>
                </a:lnTo>
                <a:lnTo>
                  <a:pt x="1459" y="1070"/>
                </a:lnTo>
                <a:lnTo>
                  <a:pt x="1459" y="1074"/>
                </a:lnTo>
                <a:lnTo>
                  <a:pt x="1457" y="1076"/>
                </a:lnTo>
                <a:lnTo>
                  <a:pt x="1457" y="1077"/>
                </a:lnTo>
                <a:lnTo>
                  <a:pt x="1455" y="1081"/>
                </a:lnTo>
                <a:lnTo>
                  <a:pt x="1454" y="1082"/>
                </a:lnTo>
                <a:lnTo>
                  <a:pt x="1455" y="1082"/>
                </a:lnTo>
                <a:lnTo>
                  <a:pt x="1459" y="1081"/>
                </a:lnTo>
                <a:lnTo>
                  <a:pt x="1459" y="1082"/>
                </a:lnTo>
                <a:lnTo>
                  <a:pt x="1455" y="1084"/>
                </a:lnTo>
                <a:lnTo>
                  <a:pt x="1455" y="1086"/>
                </a:lnTo>
                <a:lnTo>
                  <a:pt x="1459" y="1084"/>
                </a:lnTo>
                <a:lnTo>
                  <a:pt x="1459" y="1086"/>
                </a:lnTo>
                <a:lnTo>
                  <a:pt x="1461" y="1084"/>
                </a:lnTo>
                <a:lnTo>
                  <a:pt x="1459" y="1086"/>
                </a:lnTo>
                <a:lnTo>
                  <a:pt x="1459" y="1087"/>
                </a:lnTo>
                <a:lnTo>
                  <a:pt x="1459" y="1089"/>
                </a:lnTo>
                <a:lnTo>
                  <a:pt x="1461" y="1089"/>
                </a:lnTo>
                <a:lnTo>
                  <a:pt x="1461" y="1091"/>
                </a:lnTo>
                <a:lnTo>
                  <a:pt x="1459" y="1091"/>
                </a:lnTo>
                <a:lnTo>
                  <a:pt x="1459" y="1089"/>
                </a:lnTo>
                <a:lnTo>
                  <a:pt x="1457" y="1093"/>
                </a:lnTo>
                <a:lnTo>
                  <a:pt x="1457" y="1094"/>
                </a:lnTo>
                <a:lnTo>
                  <a:pt x="1459" y="1093"/>
                </a:lnTo>
                <a:lnTo>
                  <a:pt x="1457" y="1094"/>
                </a:lnTo>
                <a:lnTo>
                  <a:pt x="1457" y="1096"/>
                </a:lnTo>
                <a:lnTo>
                  <a:pt x="1461" y="1096"/>
                </a:lnTo>
                <a:lnTo>
                  <a:pt x="1461" y="1098"/>
                </a:lnTo>
                <a:lnTo>
                  <a:pt x="1459" y="1098"/>
                </a:lnTo>
                <a:lnTo>
                  <a:pt x="1459" y="1101"/>
                </a:lnTo>
                <a:lnTo>
                  <a:pt x="1457" y="1101"/>
                </a:lnTo>
                <a:lnTo>
                  <a:pt x="1455" y="1103"/>
                </a:lnTo>
                <a:lnTo>
                  <a:pt x="1455" y="1106"/>
                </a:lnTo>
                <a:lnTo>
                  <a:pt x="1457" y="1108"/>
                </a:lnTo>
                <a:lnTo>
                  <a:pt x="1455" y="1110"/>
                </a:lnTo>
                <a:lnTo>
                  <a:pt x="1457" y="1111"/>
                </a:lnTo>
                <a:lnTo>
                  <a:pt x="1457" y="1115"/>
                </a:lnTo>
                <a:lnTo>
                  <a:pt x="1459" y="1115"/>
                </a:lnTo>
                <a:lnTo>
                  <a:pt x="1459" y="1116"/>
                </a:lnTo>
                <a:lnTo>
                  <a:pt x="1461" y="1115"/>
                </a:lnTo>
                <a:lnTo>
                  <a:pt x="1459" y="1113"/>
                </a:lnTo>
                <a:lnTo>
                  <a:pt x="1459" y="1111"/>
                </a:lnTo>
                <a:lnTo>
                  <a:pt x="1459" y="1110"/>
                </a:lnTo>
                <a:lnTo>
                  <a:pt x="1461" y="1110"/>
                </a:lnTo>
                <a:lnTo>
                  <a:pt x="1461" y="1108"/>
                </a:lnTo>
                <a:lnTo>
                  <a:pt x="1461" y="1111"/>
                </a:lnTo>
                <a:lnTo>
                  <a:pt x="1462" y="1110"/>
                </a:lnTo>
                <a:lnTo>
                  <a:pt x="1461" y="1111"/>
                </a:lnTo>
                <a:lnTo>
                  <a:pt x="1462" y="1115"/>
                </a:lnTo>
                <a:lnTo>
                  <a:pt x="1464" y="1115"/>
                </a:lnTo>
                <a:lnTo>
                  <a:pt x="1466" y="1113"/>
                </a:lnTo>
                <a:lnTo>
                  <a:pt x="1466" y="1110"/>
                </a:lnTo>
                <a:lnTo>
                  <a:pt x="1464" y="1110"/>
                </a:lnTo>
                <a:lnTo>
                  <a:pt x="1466" y="1108"/>
                </a:lnTo>
                <a:lnTo>
                  <a:pt x="1466" y="1106"/>
                </a:lnTo>
                <a:lnTo>
                  <a:pt x="1466" y="1104"/>
                </a:lnTo>
                <a:lnTo>
                  <a:pt x="1467" y="1101"/>
                </a:lnTo>
                <a:lnTo>
                  <a:pt x="1467" y="1099"/>
                </a:lnTo>
                <a:lnTo>
                  <a:pt x="1469" y="1098"/>
                </a:lnTo>
                <a:lnTo>
                  <a:pt x="1469" y="1094"/>
                </a:lnTo>
                <a:lnTo>
                  <a:pt x="1467" y="1096"/>
                </a:lnTo>
                <a:lnTo>
                  <a:pt x="1466" y="1094"/>
                </a:lnTo>
                <a:lnTo>
                  <a:pt x="1466" y="1093"/>
                </a:lnTo>
                <a:lnTo>
                  <a:pt x="1466" y="1091"/>
                </a:lnTo>
                <a:lnTo>
                  <a:pt x="1467" y="1089"/>
                </a:lnTo>
                <a:lnTo>
                  <a:pt x="1467" y="1087"/>
                </a:lnTo>
                <a:lnTo>
                  <a:pt x="1469" y="1084"/>
                </a:lnTo>
                <a:lnTo>
                  <a:pt x="1469" y="1082"/>
                </a:lnTo>
                <a:lnTo>
                  <a:pt x="1469" y="1081"/>
                </a:lnTo>
                <a:lnTo>
                  <a:pt x="1471" y="1079"/>
                </a:lnTo>
                <a:lnTo>
                  <a:pt x="1471" y="1077"/>
                </a:lnTo>
                <a:lnTo>
                  <a:pt x="1472" y="1074"/>
                </a:lnTo>
                <a:lnTo>
                  <a:pt x="1474" y="1074"/>
                </a:lnTo>
                <a:lnTo>
                  <a:pt x="1474" y="1070"/>
                </a:lnTo>
                <a:lnTo>
                  <a:pt x="1476" y="1070"/>
                </a:lnTo>
                <a:lnTo>
                  <a:pt x="1474" y="1069"/>
                </a:lnTo>
                <a:lnTo>
                  <a:pt x="1476" y="1067"/>
                </a:lnTo>
                <a:lnTo>
                  <a:pt x="1474" y="1065"/>
                </a:lnTo>
                <a:lnTo>
                  <a:pt x="1476" y="1064"/>
                </a:lnTo>
                <a:lnTo>
                  <a:pt x="1474" y="1062"/>
                </a:lnTo>
                <a:lnTo>
                  <a:pt x="1476" y="1062"/>
                </a:lnTo>
                <a:lnTo>
                  <a:pt x="1476" y="1059"/>
                </a:lnTo>
                <a:lnTo>
                  <a:pt x="1478" y="1057"/>
                </a:lnTo>
                <a:lnTo>
                  <a:pt x="1478" y="1055"/>
                </a:lnTo>
                <a:lnTo>
                  <a:pt x="1479" y="1053"/>
                </a:lnTo>
                <a:lnTo>
                  <a:pt x="1479" y="1052"/>
                </a:lnTo>
                <a:lnTo>
                  <a:pt x="1479" y="1050"/>
                </a:lnTo>
                <a:lnTo>
                  <a:pt x="1481" y="1048"/>
                </a:lnTo>
                <a:lnTo>
                  <a:pt x="1481" y="1047"/>
                </a:lnTo>
                <a:lnTo>
                  <a:pt x="1481" y="1045"/>
                </a:lnTo>
                <a:lnTo>
                  <a:pt x="1483" y="1043"/>
                </a:lnTo>
                <a:lnTo>
                  <a:pt x="1484" y="1041"/>
                </a:lnTo>
                <a:lnTo>
                  <a:pt x="1486" y="1041"/>
                </a:lnTo>
                <a:lnTo>
                  <a:pt x="1488" y="1043"/>
                </a:lnTo>
                <a:lnTo>
                  <a:pt x="1488" y="1045"/>
                </a:lnTo>
                <a:lnTo>
                  <a:pt x="1488" y="1047"/>
                </a:lnTo>
                <a:lnTo>
                  <a:pt x="1488" y="1050"/>
                </a:lnTo>
                <a:lnTo>
                  <a:pt x="1488" y="1052"/>
                </a:lnTo>
                <a:lnTo>
                  <a:pt x="1489" y="1050"/>
                </a:lnTo>
                <a:lnTo>
                  <a:pt x="1489" y="1052"/>
                </a:lnTo>
                <a:lnTo>
                  <a:pt x="1489" y="1055"/>
                </a:lnTo>
                <a:lnTo>
                  <a:pt x="1489" y="1057"/>
                </a:lnTo>
                <a:lnTo>
                  <a:pt x="1488" y="1060"/>
                </a:lnTo>
                <a:lnTo>
                  <a:pt x="1486" y="1062"/>
                </a:lnTo>
                <a:lnTo>
                  <a:pt x="1484" y="1064"/>
                </a:lnTo>
                <a:lnTo>
                  <a:pt x="1483" y="1065"/>
                </a:lnTo>
                <a:lnTo>
                  <a:pt x="1484" y="1065"/>
                </a:lnTo>
                <a:lnTo>
                  <a:pt x="1486" y="1064"/>
                </a:lnTo>
                <a:lnTo>
                  <a:pt x="1489" y="1064"/>
                </a:lnTo>
                <a:lnTo>
                  <a:pt x="1488" y="1064"/>
                </a:lnTo>
                <a:lnTo>
                  <a:pt x="1488" y="1062"/>
                </a:lnTo>
                <a:lnTo>
                  <a:pt x="1488" y="1064"/>
                </a:lnTo>
                <a:lnTo>
                  <a:pt x="1489" y="1062"/>
                </a:lnTo>
                <a:lnTo>
                  <a:pt x="1488" y="1064"/>
                </a:lnTo>
                <a:lnTo>
                  <a:pt x="1489" y="1064"/>
                </a:lnTo>
                <a:lnTo>
                  <a:pt x="1489" y="1065"/>
                </a:lnTo>
                <a:lnTo>
                  <a:pt x="1491" y="1067"/>
                </a:lnTo>
                <a:lnTo>
                  <a:pt x="1491" y="1070"/>
                </a:lnTo>
                <a:lnTo>
                  <a:pt x="1491" y="1072"/>
                </a:lnTo>
                <a:lnTo>
                  <a:pt x="1489" y="1074"/>
                </a:lnTo>
                <a:lnTo>
                  <a:pt x="1491" y="1077"/>
                </a:lnTo>
                <a:lnTo>
                  <a:pt x="1491" y="1079"/>
                </a:lnTo>
                <a:lnTo>
                  <a:pt x="1491" y="1081"/>
                </a:lnTo>
                <a:lnTo>
                  <a:pt x="1491" y="1082"/>
                </a:lnTo>
                <a:lnTo>
                  <a:pt x="1491" y="1086"/>
                </a:lnTo>
                <a:lnTo>
                  <a:pt x="1493" y="1087"/>
                </a:lnTo>
                <a:lnTo>
                  <a:pt x="1493" y="1084"/>
                </a:lnTo>
                <a:lnTo>
                  <a:pt x="1495" y="1084"/>
                </a:lnTo>
                <a:lnTo>
                  <a:pt x="1495" y="1082"/>
                </a:lnTo>
                <a:lnTo>
                  <a:pt x="1493" y="1082"/>
                </a:lnTo>
                <a:lnTo>
                  <a:pt x="1493" y="1081"/>
                </a:lnTo>
                <a:lnTo>
                  <a:pt x="1495" y="1081"/>
                </a:lnTo>
                <a:lnTo>
                  <a:pt x="1496" y="1081"/>
                </a:lnTo>
                <a:lnTo>
                  <a:pt x="1496" y="1079"/>
                </a:lnTo>
                <a:lnTo>
                  <a:pt x="1496" y="1077"/>
                </a:lnTo>
                <a:lnTo>
                  <a:pt x="1496" y="1076"/>
                </a:lnTo>
                <a:lnTo>
                  <a:pt x="1498" y="1074"/>
                </a:lnTo>
                <a:lnTo>
                  <a:pt x="1498" y="1076"/>
                </a:lnTo>
                <a:lnTo>
                  <a:pt x="1500" y="1074"/>
                </a:lnTo>
                <a:lnTo>
                  <a:pt x="1500" y="1076"/>
                </a:lnTo>
                <a:lnTo>
                  <a:pt x="1501" y="1076"/>
                </a:lnTo>
                <a:lnTo>
                  <a:pt x="1503" y="1074"/>
                </a:lnTo>
                <a:lnTo>
                  <a:pt x="1505" y="1076"/>
                </a:lnTo>
                <a:lnTo>
                  <a:pt x="1505" y="1074"/>
                </a:lnTo>
                <a:lnTo>
                  <a:pt x="1503" y="1074"/>
                </a:lnTo>
                <a:lnTo>
                  <a:pt x="1501" y="1072"/>
                </a:lnTo>
                <a:lnTo>
                  <a:pt x="1500" y="1070"/>
                </a:lnTo>
                <a:lnTo>
                  <a:pt x="1501" y="1069"/>
                </a:lnTo>
                <a:lnTo>
                  <a:pt x="1500" y="1067"/>
                </a:lnTo>
                <a:lnTo>
                  <a:pt x="1500" y="1064"/>
                </a:lnTo>
                <a:lnTo>
                  <a:pt x="1501" y="1065"/>
                </a:lnTo>
                <a:lnTo>
                  <a:pt x="1501" y="1064"/>
                </a:lnTo>
                <a:lnTo>
                  <a:pt x="1505" y="1065"/>
                </a:lnTo>
                <a:lnTo>
                  <a:pt x="1506" y="1065"/>
                </a:lnTo>
                <a:lnTo>
                  <a:pt x="1505" y="1064"/>
                </a:lnTo>
                <a:lnTo>
                  <a:pt x="1501" y="1062"/>
                </a:lnTo>
                <a:lnTo>
                  <a:pt x="1501" y="1060"/>
                </a:lnTo>
                <a:lnTo>
                  <a:pt x="1503" y="1060"/>
                </a:lnTo>
                <a:lnTo>
                  <a:pt x="1500" y="1059"/>
                </a:lnTo>
                <a:lnTo>
                  <a:pt x="1503" y="1060"/>
                </a:lnTo>
                <a:lnTo>
                  <a:pt x="1501" y="1059"/>
                </a:lnTo>
                <a:lnTo>
                  <a:pt x="1500" y="1059"/>
                </a:lnTo>
                <a:lnTo>
                  <a:pt x="1500" y="1055"/>
                </a:lnTo>
                <a:lnTo>
                  <a:pt x="1500" y="1053"/>
                </a:lnTo>
                <a:lnTo>
                  <a:pt x="1503" y="1053"/>
                </a:lnTo>
                <a:lnTo>
                  <a:pt x="1505" y="1055"/>
                </a:lnTo>
                <a:lnTo>
                  <a:pt x="1505" y="1053"/>
                </a:lnTo>
                <a:lnTo>
                  <a:pt x="1505" y="1052"/>
                </a:lnTo>
                <a:lnTo>
                  <a:pt x="1503" y="1052"/>
                </a:lnTo>
                <a:lnTo>
                  <a:pt x="1503" y="1050"/>
                </a:lnTo>
                <a:lnTo>
                  <a:pt x="1503" y="1047"/>
                </a:lnTo>
                <a:lnTo>
                  <a:pt x="1505" y="1047"/>
                </a:lnTo>
                <a:lnTo>
                  <a:pt x="1508" y="1047"/>
                </a:lnTo>
                <a:lnTo>
                  <a:pt x="1508" y="1048"/>
                </a:lnTo>
                <a:lnTo>
                  <a:pt x="1508" y="1047"/>
                </a:lnTo>
                <a:lnTo>
                  <a:pt x="1510" y="1047"/>
                </a:lnTo>
                <a:lnTo>
                  <a:pt x="1513" y="1047"/>
                </a:lnTo>
                <a:lnTo>
                  <a:pt x="1512" y="1047"/>
                </a:lnTo>
                <a:lnTo>
                  <a:pt x="1510" y="1047"/>
                </a:lnTo>
                <a:lnTo>
                  <a:pt x="1508" y="1047"/>
                </a:lnTo>
                <a:lnTo>
                  <a:pt x="1506" y="1045"/>
                </a:lnTo>
                <a:lnTo>
                  <a:pt x="1508" y="1043"/>
                </a:lnTo>
                <a:lnTo>
                  <a:pt x="1506" y="1043"/>
                </a:lnTo>
                <a:lnTo>
                  <a:pt x="1506" y="1041"/>
                </a:lnTo>
                <a:lnTo>
                  <a:pt x="1503" y="1043"/>
                </a:lnTo>
                <a:lnTo>
                  <a:pt x="1505" y="1041"/>
                </a:lnTo>
                <a:lnTo>
                  <a:pt x="1503" y="1040"/>
                </a:lnTo>
                <a:lnTo>
                  <a:pt x="1503" y="1041"/>
                </a:lnTo>
                <a:lnTo>
                  <a:pt x="1501" y="1043"/>
                </a:lnTo>
                <a:lnTo>
                  <a:pt x="1500" y="1041"/>
                </a:lnTo>
                <a:lnTo>
                  <a:pt x="1498" y="1043"/>
                </a:lnTo>
                <a:lnTo>
                  <a:pt x="1496" y="1041"/>
                </a:lnTo>
                <a:lnTo>
                  <a:pt x="1496" y="1040"/>
                </a:lnTo>
                <a:lnTo>
                  <a:pt x="1496" y="1036"/>
                </a:lnTo>
                <a:lnTo>
                  <a:pt x="1498" y="1038"/>
                </a:lnTo>
                <a:lnTo>
                  <a:pt x="1498" y="1036"/>
                </a:lnTo>
                <a:lnTo>
                  <a:pt x="1498" y="1038"/>
                </a:lnTo>
                <a:lnTo>
                  <a:pt x="1500" y="1038"/>
                </a:lnTo>
                <a:lnTo>
                  <a:pt x="1501" y="1038"/>
                </a:lnTo>
                <a:lnTo>
                  <a:pt x="1500" y="1036"/>
                </a:lnTo>
                <a:lnTo>
                  <a:pt x="1500" y="1035"/>
                </a:lnTo>
                <a:lnTo>
                  <a:pt x="1498" y="1035"/>
                </a:lnTo>
                <a:lnTo>
                  <a:pt x="1498" y="1031"/>
                </a:lnTo>
                <a:lnTo>
                  <a:pt x="1500" y="1033"/>
                </a:lnTo>
                <a:lnTo>
                  <a:pt x="1501" y="1033"/>
                </a:lnTo>
                <a:lnTo>
                  <a:pt x="1503" y="1033"/>
                </a:lnTo>
                <a:lnTo>
                  <a:pt x="1505" y="1033"/>
                </a:lnTo>
                <a:lnTo>
                  <a:pt x="1505" y="1035"/>
                </a:lnTo>
                <a:lnTo>
                  <a:pt x="1506" y="1036"/>
                </a:lnTo>
                <a:lnTo>
                  <a:pt x="1505" y="1036"/>
                </a:lnTo>
                <a:lnTo>
                  <a:pt x="1506" y="1036"/>
                </a:lnTo>
                <a:lnTo>
                  <a:pt x="1506" y="1033"/>
                </a:lnTo>
                <a:lnTo>
                  <a:pt x="1503" y="1031"/>
                </a:lnTo>
                <a:lnTo>
                  <a:pt x="1503" y="1028"/>
                </a:lnTo>
                <a:lnTo>
                  <a:pt x="1505" y="1026"/>
                </a:lnTo>
                <a:lnTo>
                  <a:pt x="1506" y="1026"/>
                </a:lnTo>
                <a:lnTo>
                  <a:pt x="1506" y="1023"/>
                </a:lnTo>
                <a:lnTo>
                  <a:pt x="1508" y="1024"/>
                </a:lnTo>
                <a:lnTo>
                  <a:pt x="1508" y="1026"/>
                </a:lnTo>
                <a:lnTo>
                  <a:pt x="1508" y="1028"/>
                </a:lnTo>
                <a:lnTo>
                  <a:pt x="1508" y="1030"/>
                </a:lnTo>
                <a:lnTo>
                  <a:pt x="1510" y="1030"/>
                </a:lnTo>
                <a:lnTo>
                  <a:pt x="1510" y="1026"/>
                </a:lnTo>
                <a:lnTo>
                  <a:pt x="1510" y="1030"/>
                </a:lnTo>
                <a:lnTo>
                  <a:pt x="1512" y="1028"/>
                </a:lnTo>
                <a:lnTo>
                  <a:pt x="1512" y="1030"/>
                </a:lnTo>
                <a:lnTo>
                  <a:pt x="1512" y="1028"/>
                </a:lnTo>
                <a:lnTo>
                  <a:pt x="1513" y="1030"/>
                </a:lnTo>
                <a:lnTo>
                  <a:pt x="1513" y="1026"/>
                </a:lnTo>
                <a:lnTo>
                  <a:pt x="1513" y="1024"/>
                </a:lnTo>
                <a:lnTo>
                  <a:pt x="1515" y="1026"/>
                </a:lnTo>
                <a:lnTo>
                  <a:pt x="1517" y="1024"/>
                </a:lnTo>
                <a:lnTo>
                  <a:pt x="1517" y="1028"/>
                </a:lnTo>
                <a:lnTo>
                  <a:pt x="1517" y="1026"/>
                </a:lnTo>
                <a:lnTo>
                  <a:pt x="1518" y="1024"/>
                </a:lnTo>
                <a:lnTo>
                  <a:pt x="1518" y="1023"/>
                </a:lnTo>
                <a:lnTo>
                  <a:pt x="1520" y="1023"/>
                </a:lnTo>
                <a:lnTo>
                  <a:pt x="1522" y="1026"/>
                </a:lnTo>
                <a:lnTo>
                  <a:pt x="1520" y="1028"/>
                </a:lnTo>
                <a:lnTo>
                  <a:pt x="1520" y="1031"/>
                </a:lnTo>
                <a:lnTo>
                  <a:pt x="1522" y="1030"/>
                </a:lnTo>
                <a:lnTo>
                  <a:pt x="1522" y="1031"/>
                </a:lnTo>
                <a:lnTo>
                  <a:pt x="1522" y="1033"/>
                </a:lnTo>
                <a:lnTo>
                  <a:pt x="1522" y="1031"/>
                </a:lnTo>
                <a:lnTo>
                  <a:pt x="1523" y="1031"/>
                </a:lnTo>
                <a:lnTo>
                  <a:pt x="1523" y="1028"/>
                </a:lnTo>
                <a:lnTo>
                  <a:pt x="1523" y="1030"/>
                </a:lnTo>
                <a:lnTo>
                  <a:pt x="1525" y="1028"/>
                </a:lnTo>
                <a:lnTo>
                  <a:pt x="1529" y="1028"/>
                </a:lnTo>
                <a:lnTo>
                  <a:pt x="1530" y="1030"/>
                </a:lnTo>
                <a:lnTo>
                  <a:pt x="1530" y="1033"/>
                </a:lnTo>
                <a:lnTo>
                  <a:pt x="1529" y="1033"/>
                </a:lnTo>
                <a:lnTo>
                  <a:pt x="1530" y="1035"/>
                </a:lnTo>
                <a:lnTo>
                  <a:pt x="1529" y="1035"/>
                </a:lnTo>
                <a:lnTo>
                  <a:pt x="1529" y="1036"/>
                </a:lnTo>
                <a:lnTo>
                  <a:pt x="1527" y="1036"/>
                </a:lnTo>
                <a:lnTo>
                  <a:pt x="1529" y="1036"/>
                </a:lnTo>
                <a:lnTo>
                  <a:pt x="1529" y="1040"/>
                </a:lnTo>
                <a:lnTo>
                  <a:pt x="1527" y="1040"/>
                </a:lnTo>
                <a:lnTo>
                  <a:pt x="1529" y="1040"/>
                </a:lnTo>
                <a:lnTo>
                  <a:pt x="1527" y="1041"/>
                </a:lnTo>
                <a:lnTo>
                  <a:pt x="1523" y="1041"/>
                </a:lnTo>
                <a:lnTo>
                  <a:pt x="1527" y="1043"/>
                </a:lnTo>
                <a:lnTo>
                  <a:pt x="1525" y="1045"/>
                </a:lnTo>
                <a:lnTo>
                  <a:pt x="1522" y="1045"/>
                </a:lnTo>
                <a:lnTo>
                  <a:pt x="1520" y="1045"/>
                </a:lnTo>
                <a:lnTo>
                  <a:pt x="1520" y="1043"/>
                </a:lnTo>
                <a:lnTo>
                  <a:pt x="1518" y="1047"/>
                </a:lnTo>
                <a:lnTo>
                  <a:pt x="1517" y="1045"/>
                </a:lnTo>
                <a:lnTo>
                  <a:pt x="1515" y="1047"/>
                </a:lnTo>
                <a:lnTo>
                  <a:pt x="1513" y="1047"/>
                </a:lnTo>
                <a:lnTo>
                  <a:pt x="1517" y="1048"/>
                </a:lnTo>
                <a:lnTo>
                  <a:pt x="1515" y="1050"/>
                </a:lnTo>
                <a:lnTo>
                  <a:pt x="1517" y="1048"/>
                </a:lnTo>
                <a:lnTo>
                  <a:pt x="1518" y="1048"/>
                </a:lnTo>
                <a:lnTo>
                  <a:pt x="1522" y="1048"/>
                </a:lnTo>
                <a:lnTo>
                  <a:pt x="1522" y="1050"/>
                </a:lnTo>
                <a:lnTo>
                  <a:pt x="1522" y="1048"/>
                </a:lnTo>
                <a:lnTo>
                  <a:pt x="1525" y="1048"/>
                </a:lnTo>
                <a:lnTo>
                  <a:pt x="1523" y="1050"/>
                </a:lnTo>
                <a:lnTo>
                  <a:pt x="1522" y="1053"/>
                </a:lnTo>
                <a:lnTo>
                  <a:pt x="1520" y="1053"/>
                </a:lnTo>
                <a:lnTo>
                  <a:pt x="1518" y="1055"/>
                </a:lnTo>
                <a:lnTo>
                  <a:pt x="1520" y="1057"/>
                </a:lnTo>
                <a:lnTo>
                  <a:pt x="1518" y="1059"/>
                </a:lnTo>
                <a:lnTo>
                  <a:pt x="1517" y="1059"/>
                </a:lnTo>
                <a:lnTo>
                  <a:pt x="1515" y="1060"/>
                </a:lnTo>
                <a:lnTo>
                  <a:pt x="1517" y="1060"/>
                </a:lnTo>
                <a:lnTo>
                  <a:pt x="1518" y="1059"/>
                </a:lnTo>
                <a:lnTo>
                  <a:pt x="1520" y="1057"/>
                </a:lnTo>
                <a:lnTo>
                  <a:pt x="1522" y="1057"/>
                </a:lnTo>
                <a:lnTo>
                  <a:pt x="1523" y="1055"/>
                </a:lnTo>
                <a:lnTo>
                  <a:pt x="1525" y="1053"/>
                </a:lnTo>
                <a:lnTo>
                  <a:pt x="1527" y="1050"/>
                </a:lnTo>
                <a:lnTo>
                  <a:pt x="1529" y="1052"/>
                </a:lnTo>
                <a:lnTo>
                  <a:pt x="1530" y="1053"/>
                </a:lnTo>
                <a:lnTo>
                  <a:pt x="1529" y="1055"/>
                </a:lnTo>
                <a:lnTo>
                  <a:pt x="1529" y="1059"/>
                </a:lnTo>
                <a:lnTo>
                  <a:pt x="1529" y="1060"/>
                </a:lnTo>
                <a:lnTo>
                  <a:pt x="1527" y="1062"/>
                </a:lnTo>
                <a:lnTo>
                  <a:pt x="1525" y="1064"/>
                </a:lnTo>
                <a:lnTo>
                  <a:pt x="1525" y="1065"/>
                </a:lnTo>
                <a:lnTo>
                  <a:pt x="1523" y="1067"/>
                </a:lnTo>
                <a:lnTo>
                  <a:pt x="1522" y="1067"/>
                </a:lnTo>
                <a:lnTo>
                  <a:pt x="1522" y="1069"/>
                </a:lnTo>
                <a:lnTo>
                  <a:pt x="1522" y="1072"/>
                </a:lnTo>
                <a:lnTo>
                  <a:pt x="1523" y="1072"/>
                </a:lnTo>
                <a:lnTo>
                  <a:pt x="1523" y="1070"/>
                </a:lnTo>
                <a:lnTo>
                  <a:pt x="1523" y="1069"/>
                </a:lnTo>
                <a:lnTo>
                  <a:pt x="1523" y="1067"/>
                </a:lnTo>
                <a:lnTo>
                  <a:pt x="1525" y="1067"/>
                </a:lnTo>
                <a:lnTo>
                  <a:pt x="1523" y="1069"/>
                </a:lnTo>
                <a:lnTo>
                  <a:pt x="1523" y="1070"/>
                </a:lnTo>
                <a:lnTo>
                  <a:pt x="1525" y="1067"/>
                </a:lnTo>
                <a:lnTo>
                  <a:pt x="1525" y="1069"/>
                </a:lnTo>
                <a:lnTo>
                  <a:pt x="1527" y="1067"/>
                </a:lnTo>
                <a:lnTo>
                  <a:pt x="1529" y="1065"/>
                </a:lnTo>
                <a:lnTo>
                  <a:pt x="1530" y="1065"/>
                </a:lnTo>
                <a:lnTo>
                  <a:pt x="1529" y="1067"/>
                </a:lnTo>
                <a:lnTo>
                  <a:pt x="1529" y="1069"/>
                </a:lnTo>
                <a:lnTo>
                  <a:pt x="1527" y="1070"/>
                </a:lnTo>
                <a:lnTo>
                  <a:pt x="1529" y="1072"/>
                </a:lnTo>
                <a:lnTo>
                  <a:pt x="1529" y="1070"/>
                </a:lnTo>
                <a:lnTo>
                  <a:pt x="1529" y="1069"/>
                </a:lnTo>
                <a:lnTo>
                  <a:pt x="1530" y="1067"/>
                </a:lnTo>
                <a:lnTo>
                  <a:pt x="1530" y="1065"/>
                </a:lnTo>
                <a:lnTo>
                  <a:pt x="1532" y="1065"/>
                </a:lnTo>
                <a:lnTo>
                  <a:pt x="1534" y="1064"/>
                </a:lnTo>
                <a:lnTo>
                  <a:pt x="1534" y="1065"/>
                </a:lnTo>
                <a:lnTo>
                  <a:pt x="1534" y="1067"/>
                </a:lnTo>
                <a:lnTo>
                  <a:pt x="1532" y="1069"/>
                </a:lnTo>
                <a:lnTo>
                  <a:pt x="1534" y="1070"/>
                </a:lnTo>
                <a:lnTo>
                  <a:pt x="1532" y="1072"/>
                </a:lnTo>
                <a:lnTo>
                  <a:pt x="1534" y="1072"/>
                </a:lnTo>
                <a:lnTo>
                  <a:pt x="1534" y="1069"/>
                </a:lnTo>
                <a:lnTo>
                  <a:pt x="1534" y="1067"/>
                </a:lnTo>
                <a:lnTo>
                  <a:pt x="1535" y="1065"/>
                </a:lnTo>
                <a:lnTo>
                  <a:pt x="1535" y="1064"/>
                </a:lnTo>
                <a:lnTo>
                  <a:pt x="1537" y="1065"/>
                </a:lnTo>
                <a:lnTo>
                  <a:pt x="1537" y="1067"/>
                </a:lnTo>
                <a:lnTo>
                  <a:pt x="1539" y="1067"/>
                </a:lnTo>
                <a:lnTo>
                  <a:pt x="1537" y="1065"/>
                </a:lnTo>
                <a:lnTo>
                  <a:pt x="1539" y="1062"/>
                </a:lnTo>
                <a:lnTo>
                  <a:pt x="1537" y="1064"/>
                </a:lnTo>
                <a:lnTo>
                  <a:pt x="1534" y="1062"/>
                </a:lnTo>
                <a:lnTo>
                  <a:pt x="1534" y="1060"/>
                </a:lnTo>
                <a:lnTo>
                  <a:pt x="1534" y="1059"/>
                </a:lnTo>
                <a:lnTo>
                  <a:pt x="1535" y="1057"/>
                </a:lnTo>
                <a:lnTo>
                  <a:pt x="1534" y="1055"/>
                </a:lnTo>
                <a:lnTo>
                  <a:pt x="1535" y="1052"/>
                </a:lnTo>
                <a:lnTo>
                  <a:pt x="1534" y="1050"/>
                </a:lnTo>
                <a:lnTo>
                  <a:pt x="1537" y="1050"/>
                </a:lnTo>
                <a:lnTo>
                  <a:pt x="1535" y="1050"/>
                </a:lnTo>
                <a:lnTo>
                  <a:pt x="1534" y="1047"/>
                </a:lnTo>
                <a:lnTo>
                  <a:pt x="1534" y="1045"/>
                </a:lnTo>
                <a:lnTo>
                  <a:pt x="1535" y="1043"/>
                </a:lnTo>
                <a:lnTo>
                  <a:pt x="1535" y="1040"/>
                </a:lnTo>
                <a:lnTo>
                  <a:pt x="1537" y="1038"/>
                </a:lnTo>
                <a:lnTo>
                  <a:pt x="1537" y="1036"/>
                </a:lnTo>
                <a:lnTo>
                  <a:pt x="1539" y="1035"/>
                </a:lnTo>
                <a:lnTo>
                  <a:pt x="1540" y="1033"/>
                </a:lnTo>
                <a:lnTo>
                  <a:pt x="1542" y="1035"/>
                </a:lnTo>
                <a:lnTo>
                  <a:pt x="1544" y="1033"/>
                </a:lnTo>
                <a:lnTo>
                  <a:pt x="1546" y="1035"/>
                </a:lnTo>
                <a:lnTo>
                  <a:pt x="1547" y="1033"/>
                </a:lnTo>
                <a:lnTo>
                  <a:pt x="1549" y="1035"/>
                </a:lnTo>
                <a:lnTo>
                  <a:pt x="1549" y="1038"/>
                </a:lnTo>
                <a:lnTo>
                  <a:pt x="1551" y="1038"/>
                </a:lnTo>
                <a:lnTo>
                  <a:pt x="1552" y="1038"/>
                </a:lnTo>
                <a:lnTo>
                  <a:pt x="1552" y="1040"/>
                </a:lnTo>
                <a:lnTo>
                  <a:pt x="1551" y="1041"/>
                </a:lnTo>
                <a:lnTo>
                  <a:pt x="1551" y="1043"/>
                </a:lnTo>
                <a:lnTo>
                  <a:pt x="1552" y="1041"/>
                </a:lnTo>
                <a:lnTo>
                  <a:pt x="1554" y="1041"/>
                </a:lnTo>
                <a:lnTo>
                  <a:pt x="1552" y="1043"/>
                </a:lnTo>
                <a:lnTo>
                  <a:pt x="1552" y="1045"/>
                </a:lnTo>
                <a:lnTo>
                  <a:pt x="1554" y="1043"/>
                </a:lnTo>
                <a:lnTo>
                  <a:pt x="1554" y="1045"/>
                </a:lnTo>
                <a:lnTo>
                  <a:pt x="1552" y="1047"/>
                </a:lnTo>
                <a:lnTo>
                  <a:pt x="1554" y="1047"/>
                </a:lnTo>
                <a:lnTo>
                  <a:pt x="1552" y="1047"/>
                </a:lnTo>
                <a:lnTo>
                  <a:pt x="1552" y="1048"/>
                </a:lnTo>
                <a:lnTo>
                  <a:pt x="1554" y="1047"/>
                </a:lnTo>
                <a:lnTo>
                  <a:pt x="1554" y="1045"/>
                </a:lnTo>
                <a:lnTo>
                  <a:pt x="1554" y="1043"/>
                </a:lnTo>
                <a:lnTo>
                  <a:pt x="1556" y="1045"/>
                </a:lnTo>
                <a:lnTo>
                  <a:pt x="1556" y="1043"/>
                </a:lnTo>
                <a:lnTo>
                  <a:pt x="1559" y="1041"/>
                </a:lnTo>
                <a:lnTo>
                  <a:pt x="1561" y="1041"/>
                </a:lnTo>
                <a:lnTo>
                  <a:pt x="1561" y="1040"/>
                </a:lnTo>
                <a:lnTo>
                  <a:pt x="1563" y="1038"/>
                </a:lnTo>
                <a:lnTo>
                  <a:pt x="1564" y="1041"/>
                </a:lnTo>
                <a:lnTo>
                  <a:pt x="1564" y="1045"/>
                </a:lnTo>
                <a:lnTo>
                  <a:pt x="1563" y="1047"/>
                </a:lnTo>
                <a:lnTo>
                  <a:pt x="1563" y="1048"/>
                </a:lnTo>
                <a:lnTo>
                  <a:pt x="1564" y="1048"/>
                </a:lnTo>
                <a:lnTo>
                  <a:pt x="1564" y="1047"/>
                </a:lnTo>
                <a:lnTo>
                  <a:pt x="1566" y="1045"/>
                </a:lnTo>
                <a:lnTo>
                  <a:pt x="1568" y="1041"/>
                </a:lnTo>
                <a:lnTo>
                  <a:pt x="1568" y="1040"/>
                </a:lnTo>
                <a:lnTo>
                  <a:pt x="1569" y="1038"/>
                </a:lnTo>
                <a:lnTo>
                  <a:pt x="1571" y="1038"/>
                </a:lnTo>
                <a:lnTo>
                  <a:pt x="1571" y="1040"/>
                </a:lnTo>
                <a:lnTo>
                  <a:pt x="1574" y="1040"/>
                </a:lnTo>
                <a:lnTo>
                  <a:pt x="1573" y="1043"/>
                </a:lnTo>
                <a:lnTo>
                  <a:pt x="1574" y="1041"/>
                </a:lnTo>
                <a:lnTo>
                  <a:pt x="1576" y="1041"/>
                </a:lnTo>
                <a:lnTo>
                  <a:pt x="1580" y="1043"/>
                </a:lnTo>
                <a:lnTo>
                  <a:pt x="1580" y="1047"/>
                </a:lnTo>
                <a:lnTo>
                  <a:pt x="1578" y="1047"/>
                </a:lnTo>
                <a:lnTo>
                  <a:pt x="1578" y="1048"/>
                </a:lnTo>
                <a:lnTo>
                  <a:pt x="1574" y="1050"/>
                </a:lnTo>
                <a:lnTo>
                  <a:pt x="1576" y="1050"/>
                </a:lnTo>
                <a:lnTo>
                  <a:pt x="1574" y="1052"/>
                </a:lnTo>
                <a:lnTo>
                  <a:pt x="1573" y="1052"/>
                </a:lnTo>
                <a:lnTo>
                  <a:pt x="1576" y="1052"/>
                </a:lnTo>
                <a:lnTo>
                  <a:pt x="1576" y="1053"/>
                </a:lnTo>
                <a:lnTo>
                  <a:pt x="1578" y="1050"/>
                </a:lnTo>
                <a:lnTo>
                  <a:pt x="1581" y="1048"/>
                </a:lnTo>
                <a:lnTo>
                  <a:pt x="1583" y="1047"/>
                </a:lnTo>
                <a:lnTo>
                  <a:pt x="1586" y="1047"/>
                </a:lnTo>
                <a:lnTo>
                  <a:pt x="1588" y="1047"/>
                </a:lnTo>
                <a:lnTo>
                  <a:pt x="1586" y="1047"/>
                </a:lnTo>
                <a:lnTo>
                  <a:pt x="1586" y="1050"/>
                </a:lnTo>
                <a:lnTo>
                  <a:pt x="1590" y="1050"/>
                </a:lnTo>
                <a:lnTo>
                  <a:pt x="1590" y="1052"/>
                </a:lnTo>
                <a:lnTo>
                  <a:pt x="1591" y="1052"/>
                </a:lnTo>
                <a:lnTo>
                  <a:pt x="1591" y="1053"/>
                </a:lnTo>
                <a:lnTo>
                  <a:pt x="1593" y="1053"/>
                </a:lnTo>
                <a:lnTo>
                  <a:pt x="1595" y="1052"/>
                </a:lnTo>
                <a:lnTo>
                  <a:pt x="1597" y="1052"/>
                </a:lnTo>
                <a:lnTo>
                  <a:pt x="1598" y="1052"/>
                </a:lnTo>
                <a:lnTo>
                  <a:pt x="1600" y="1053"/>
                </a:lnTo>
                <a:lnTo>
                  <a:pt x="1602" y="1057"/>
                </a:lnTo>
                <a:lnTo>
                  <a:pt x="1600" y="1057"/>
                </a:lnTo>
                <a:lnTo>
                  <a:pt x="1602" y="1057"/>
                </a:lnTo>
                <a:lnTo>
                  <a:pt x="1602" y="1059"/>
                </a:lnTo>
                <a:lnTo>
                  <a:pt x="1602" y="1060"/>
                </a:lnTo>
                <a:lnTo>
                  <a:pt x="1603" y="1062"/>
                </a:lnTo>
                <a:lnTo>
                  <a:pt x="1602" y="1062"/>
                </a:lnTo>
                <a:lnTo>
                  <a:pt x="1600" y="1064"/>
                </a:lnTo>
                <a:lnTo>
                  <a:pt x="1598" y="1065"/>
                </a:lnTo>
                <a:lnTo>
                  <a:pt x="1597" y="1065"/>
                </a:lnTo>
                <a:lnTo>
                  <a:pt x="1595" y="1067"/>
                </a:lnTo>
                <a:lnTo>
                  <a:pt x="1591" y="1069"/>
                </a:lnTo>
                <a:lnTo>
                  <a:pt x="1591" y="1072"/>
                </a:lnTo>
                <a:lnTo>
                  <a:pt x="1588" y="1072"/>
                </a:lnTo>
                <a:lnTo>
                  <a:pt x="1588" y="1074"/>
                </a:lnTo>
                <a:lnTo>
                  <a:pt x="1588" y="1076"/>
                </a:lnTo>
                <a:lnTo>
                  <a:pt x="1590" y="1077"/>
                </a:lnTo>
                <a:lnTo>
                  <a:pt x="1588" y="1079"/>
                </a:lnTo>
                <a:lnTo>
                  <a:pt x="1586" y="1081"/>
                </a:lnTo>
                <a:lnTo>
                  <a:pt x="1585" y="1082"/>
                </a:lnTo>
                <a:lnTo>
                  <a:pt x="1586" y="1084"/>
                </a:lnTo>
                <a:lnTo>
                  <a:pt x="1583" y="1084"/>
                </a:lnTo>
                <a:lnTo>
                  <a:pt x="1581" y="1084"/>
                </a:lnTo>
                <a:lnTo>
                  <a:pt x="1580" y="1086"/>
                </a:lnTo>
                <a:lnTo>
                  <a:pt x="1578" y="1086"/>
                </a:lnTo>
                <a:lnTo>
                  <a:pt x="1576" y="1086"/>
                </a:lnTo>
                <a:lnTo>
                  <a:pt x="1574" y="1086"/>
                </a:lnTo>
                <a:lnTo>
                  <a:pt x="1573" y="1086"/>
                </a:lnTo>
                <a:lnTo>
                  <a:pt x="1569" y="1086"/>
                </a:lnTo>
                <a:lnTo>
                  <a:pt x="1568" y="1086"/>
                </a:lnTo>
                <a:lnTo>
                  <a:pt x="1568" y="1087"/>
                </a:lnTo>
                <a:lnTo>
                  <a:pt x="1564" y="1087"/>
                </a:lnTo>
                <a:lnTo>
                  <a:pt x="1564" y="1086"/>
                </a:lnTo>
                <a:lnTo>
                  <a:pt x="1561" y="1087"/>
                </a:lnTo>
                <a:lnTo>
                  <a:pt x="1559" y="1086"/>
                </a:lnTo>
                <a:lnTo>
                  <a:pt x="1557" y="1087"/>
                </a:lnTo>
                <a:lnTo>
                  <a:pt x="1554" y="1087"/>
                </a:lnTo>
                <a:lnTo>
                  <a:pt x="1554" y="1086"/>
                </a:lnTo>
                <a:lnTo>
                  <a:pt x="1552" y="1087"/>
                </a:lnTo>
                <a:lnTo>
                  <a:pt x="1552" y="1086"/>
                </a:lnTo>
                <a:lnTo>
                  <a:pt x="1551" y="1086"/>
                </a:lnTo>
                <a:lnTo>
                  <a:pt x="1549" y="1086"/>
                </a:lnTo>
                <a:lnTo>
                  <a:pt x="1547" y="1086"/>
                </a:lnTo>
                <a:lnTo>
                  <a:pt x="1546" y="1087"/>
                </a:lnTo>
                <a:lnTo>
                  <a:pt x="1547" y="1087"/>
                </a:lnTo>
                <a:lnTo>
                  <a:pt x="1549" y="1086"/>
                </a:lnTo>
                <a:lnTo>
                  <a:pt x="1551" y="1086"/>
                </a:lnTo>
                <a:lnTo>
                  <a:pt x="1549" y="1089"/>
                </a:lnTo>
                <a:lnTo>
                  <a:pt x="1546" y="1091"/>
                </a:lnTo>
                <a:lnTo>
                  <a:pt x="1547" y="1091"/>
                </a:lnTo>
                <a:lnTo>
                  <a:pt x="1549" y="1091"/>
                </a:lnTo>
                <a:lnTo>
                  <a:pt x="1552" y="1089"/>
                </a:lnTo>
                <a:lnTo>
                  <a:pt x="1554" y="1091"/>
                </a:lnTo>
                <a:lnTo>
                  <a:pt x="1551" y="1091"/>
                </a:lnTo>
                <a:lnTo>
                  <a:pt x="1552" y="1093"/>
                </a:lnTo>
                <a:lnTo>
                  <a:pt x="1554" y="1093"/>
                </a:lnTo>
                <a:lnTo>
                  <a:pt x="1556" y="1091"/>
                </a:lnTo>
                <a:lnTo>
                  <a:pt x="1557" y="1093"/>
                </a:lnTo>
                <a:lnTo>
                  <a:pt x="1559" y="1093"/>
                </a:lnTo>
                <a:lnTo>
                  <a:pt x="1561" y="1091"/>
                </a:lnTo>
                <a:lnTo>
                  <a:pt x="1561" y="1093"/>
                </a:lnTo>
                <a:lnTo>
                  <a:pt x="1563" y="1093"/>
                </a:lnTo>
                <a:lnTo>
                  <a:pt x="1563" y="1094"/>
                </a:lnTo>
                <a:lnTo>
                  <a:pt x="1566" y="1094"/>
                </a:lnTo>
                <a:lnTo>
                  <a:pt x="1566" y="1093"/>
                </a:lnTo>
                <a:lnTo>
                  <a:pt x="1568" y="1094"/>
                </a:lnTo>
                <a:lnTo>
                  <a:pt x="1571" y="1093"/>
                </a:lnTo>
                <a:lnTo>
                  <a:pt x="1571" y="1094"/>
                </a:lnTo>
                <a:lnTo>
                  <a:pt x="1573" y="1094"/>
                </a:lnTo>
                <a:lnTo>
                  <a:pt x="1574" y="1094"/>
                </a:lnTo>
                <a:lnTo>
                  <a:pt x="1576" y="1096"/>
                </a:lnTo>
                <a:lnTo>
                  <a:pt x="1574" y="1098"/>
                </a:lnTo>
                <a:lnTo>
                  <a:pt x="1573" y="1099"/>
                </a:lnTo>
                <a:lnTo>
                  <a:pt x="1571" y="1101"/>
                </a:lnTo>
                <a:lnTo>
                  <a:pt x="1571" y="1103"/>
                </a:lnTo>
                <a:lnTo>
                  <a:pt x="1569" y="1103"/>
                </a:lnTo>
                <a:lnTo>
                  <a:pt x="1573" y="1104"/>
                </a:lnTo>
                <a:lnTo>
                  <a:pt x="1573" y="1103"/>
                </a:lnTo>
                <a:lnTo>
                  <a:pt x="1573" y="1099"/>
                </a:lnTo>
                <a:lnTo>
                  <a:pt x="1574" y="1098"/>
                </a:lnTo>
                <a:lnTo>
                  <a:pt x="1574" y="1099"/>
                </a:lnTo>
                <a:lnTo>
                  <a:pt x="1576" y="1098"/>
                </a:lnTo>
                <a:lnTo>
                  <a:pt x="1578" y="1099"/>
                </a:lnTo>
                <a:lnTo>
                  <a:pt x="1578" y="1098"/>
                </a:lnTo>
                <a:lnTo>
                  <a:pt x="1580" y="1099"/>
                </a:lnTo>
                <a:lnTo>
                  <a:pt x="1580" y="1101"/>
                </a:lnTo>
                <a:lnTo>
                  <a:pt x="1581" y="1103"/>
                </a:lnTo>
                <a:lnTo>
                  <a:pt x="1580" y="1104"/>
                </a:lnTo>
                <a:lnTo>
                  <a:pt x="1581" y="1104"/>
                </a:lnTo>
                <a:lnTo>
                  <a:pt x="1580" y="1106"/>
                </a:lnTo>
                <a:lnTo>
                  <a:pt x="1580" y="1108"/>
                </a:lnTo>
                <a:lnTo>
                  <a:pt x="1578" y="1110"/>
                </a:lnTo>
                <a:lnTo>
                  <a:pt x="1580" y="1110"/>
                </a:lnTo>
                <a:lnTo>
                  <a:pt x="1578" y="1110"/>
                </a:lnTo>
                <a:lnTo>
                  <a:pt x="1580" y="1110"/>
                </a:lnTo>
                <a:lnTo>
                  <a:pt x="1578" y="1113"/>
                </a:lnTo>
                <a:lnTo>
                  <a:pt x="1578" y="1115"/>
                </a:lnTo>
                <a:lnTo>
                  <a:pt x="1578" y="1113"/>
                </a:lnTo>
                <a:lnTo>
                  <a:pt x="1578" y="1115"/>
                </a:lnTo>
                <a:lnTo>
                  <a:pt x="1574" y="1115"/>
                </a:lnTo>
                <a:lnTo>
                  <a:pt x="1576" y="1115"/>
                </a:lnTo>
                <a:lnTo>
                  <a:pt x="1578" y="1115"/>
                </a:lnTo>
                <a:lnTo>
                  <a:pt x="1578" y="1118"/>
                </a:lnTo>
                <a:lnTo>
                  <a:pt x="1578" y="1116"/>
                </a:lnTo>
                <a:lnTo>
                  <a:pt x="1580" y="1115"/>
                </a:lnTo>
                <a:lnTo>
                  <a:pt x="1580" y="1113"/>
                </a:lnTo>
                <a:lnTo>
                  <a:pt x="1581" y="1110"/>
                </a:lnTo>
                <a:lnTo>
                  <a:pt x="1583" y="1110"/>
                </a:lnTo>
                <a:lnTo>
                  <a:pt x="1586" y="1110"/>
                </a:lnTo>
                <a:lnTo>
                  <a:pt x="1586" y="1108"/>
                </a:lnTo>
                <a:lnTo>
                  <a:pt x="1586" y="1106"/>
                </a:lnTo>
                <a:lnTo>
                  <a:pt x="1590" y="1104"/>
                </a:lnTo>
                <a:lnTo>
                  <a:pt x="1590" y="1106"/>
                </a:lnTo>
                <a:lnTo>
                  <a:pt x="1590" y="1108"/>
                </a:lnTo>
                <a:lnTo>
                  <a:pt x="1588" y="1110"/>
                </a:lnTo>
                <a:lnTo>
                  <a:pt x="1588" y="1111"/>
                </a:lnTo>
                <a:lnTo>
                  <a:pt x="1586" y="1111"/>
                </a:lnTo>
                <a:lnTo>
                  <a:pt x="1588" y="1113"/>
                </a:lnTo>
                <a:lnTo>
                  <a:pt x="1588" y="1115"/>
                </a:lnTo>
                <a:lnTo>
                  <a:pt x="1588" y="1116"/>
                </a:lnTo>
                <a:lnTo>
                  <a:pt x="1590" y="1116"/>
                </a:lnTo>
                <a:lnTo>
                  <a:pt x="1590" y="1120"/>
                </a:lnTo>
                <a:lnTo>
                  <a:pt x="1590" y="1116"/>
                </a:lnTo>
                <a:lnTo>
                  <a:pt x="1588" y="1113"/>
                </a:lnTo>
                <a:lnTo>
                  <a:pt x="1588" y="1111"/>
                </a:lnTo>
                <a:lnTo>
                  <a:pt x="1588" y="1110"/>
                </a:lnTo>
                <a:lnTo>
                  <a:pt x="1590" y="1108"/>
                </a:lnTo>
                <a:lnTo>
                  <a:pt x="1591" y="1108"/>
                </a:lnTo>
                <a:lnTo>
                  <a:pt x="1591" y="1110"/>
                </a:lnTo>
                <a:lnTo>
                  <a:pt x="1593" y="1111"/>
                </a:lnTo>
                <a:lnTo>
                  <a:pt x="1591" y="1110"/>
                </a:lnTo>
                <a:lnTo>
                  <a:pt x="1591" y="1108"/>
                </a:lnTo>
                <a:lnTo>
                  <a:pt x="1591" y="1106"/>
                </a:lnTo>
                <a:lnTo>
                  <a:pt x="1593" y="1104"/>
                </a:lnTo>
                <a:lnTo>
                  <a:pt x="1591" y="1103"/>
                </a:lnTo>
                <a:lnTo>
                  <a:pt x="1590" y="1099"/>
                </a:lnTo>
                <a:lnTo>
                  <a:pt x="1590" y="1098"/>
                </a:lnTo>
                <a:lnTo>
                  <a:pt x="1591" y="1098"/>
                </a:lnTo>
                <a:lnTo>
                  <a:pt x="1593" y="1096"/>
                </a:lnTo>
                <a:lnTo>
                  <a:pt x="1595" y="1096"/>
                </a:lnTo>
                <a:lnTo>
                  <a:pt x="1591" y="1099"/>
                </a:lnTo>
                <a:lnTo>
                  <a:pt x="1593" y="1099"/>
                </a:lnTo>
                <a:lnTo>
                  <a:pt x="1595" y="1099"/>
                </a:lnTo>
                <a:lnTo>
                  <a:pt x="1595" y="1098"/>
                </a:lnTo>
                <a:lnTo>
                  <a:pt x="1597" y="1099"/>
                </a:lnTo>
                <a:lnTo>
                  <a:pt x="1597" y="1103"/>
                </a:lnTo>
                <a:lnTo>
                  <a:pt x="1598" y="1103"/>
                </a:lnTo>
                <a:lnTo>
                  <a:pt x="1598" y="1106"/>
                </a:lnTo>
                <a:lnTo>
                  <a:pt x="1600" y="1108"/>
                </a:lnTo>
                <a:lnTo>
                  <a:pt x="1598" y="1111"/>
                </a:lnTo>
                <a:lnTo>
                  <a:pt x="1597" y="1111"/>
                </a:lnTo>
                <a:lnTo>
                  <a:pt x="1600" y="1111"/>
                </a:lnTo>
                <a:lnTo>
                  <a:pt x="1602" y="1110"/>
                </a:lnTo>
                <a:lnTo>
                  <a:pt x="1600" y="1106"/>
                </a:lnTo>
                <a:lnTo>
                  <a:pt x="1600" y="1104"/>
                </a:lnTo>
                <a:lnTo>
                  <a:pt x="1598" y="1103"/>
                </a:lnTo>
                <a:lnTo>
                  <a:pt x="1598" y="1101"/>
                </a:lnTo>
                <a:lnTo>
                  <a:pt x="1597" y="1101"/>
                </a:lnTo>
                <a:lnTo>
                  <a:pt x="1598" y="1099"/>
                </a:lnTo>
                <a:lnTo>
                  <a:pt x="1598" y="1098"/>
                </a:lnTo>
                <a:lnTo>
                  <a:pt x="1600" y="1099"/>
                </a:lnTo>
                <a:lnTo>
                  <a:pt x="1602" y="1099"/>
                </a:lnTo>
                <a:lnTo>
                  <a:pt x="1602" y="1098"/>
                </a:lnTo>
                <a:lnTo>
                  <a:pt x="1603" y="1099"/>
                </a:lnTo>
                <a:lnTo>
                  <a:pt x="1603" y="1098"/>
                </a:lnTo>
                <a:lnTo>
                  <a:pt x="1603" y="1099"/>
                </a:lnTo>
                <a:lnTo>
                  <a:pt x="1603" y="1098"/>
                </a:lnTo>
                <a:lnTo>
                  <a:pt x="1605" y="1099"/>
                </a:lnTo>
                <a:lnTo>
                  <a:pt x="1605" y="1098"/>
                </a:lnTo>
                <a:lnTo>
                  <a:pt x="1605" y="1101"/>
                </a:lnTo>
                <a:lnTo>
                  <a:pt x="1607" y="1099"/>
                </a:lnTo>
                <a:lnTo>
                  <a:pt x="1608" y="1099"/>
                </a:lnTo>
                <a:lnTo>
                  <a:pt x="1610" y="1099"/>
                </a:lnTo>
                <a:lnTo>
                  <a:pt x="1612" y="1098"/>
                </a:lnTo>
                <a:lnTo>
                  <a:pt x="1615" y="1098"/>
                </a:lnTo>
                <a:lnTo>
                  <a:pt x="1617" y="1099"/>
                </a:lnTo>
                <a:lnTo>
                  <a:pt x="1619" y="1099"/>
                </a:lnTo>
                <a:lnTo>
                  <a:pt x="1622" y="1099"/>
                </a:lnTo>
                <a:lnTo>
                  <a:pt x="1622" y="1101"/>
                </a:lnTo>
                <a:lnTo>
                  <a:pt x="1624" y="1099"/>
                </a:lnTo>
                <a:lnTo>
                  <a:pt x="1625" y="1103"/>
                </a:lnTo>
                <a:lnTo>
                  <a:pt x="1624" y="1106"/>
                </a:lnTo>
                <a:lnTo>
                  <a:pt x="1625" y="1104"/>
                </a:lnTo>
                <a:lnTo>
                  <a:pt x="1625" y="1101"/>
                </a:lnTo>
                <a:lnTo>
                  <a:pt x="1627" y="1103"/>
                </a:lnTo>
                <a:lnTo>
                  <a:pt x="1629" y="1104"/>
                </a:lnTo>
                <a:lnTo>
                  <a:pt x="1627" y="1101"/>
                </a:lnTo>
                <a:lnTo>
                  <a:pt x="1629" y="1101"/>
                </a:lnTo>
                <a:lnTo>
                  <a:pt x="1631" y="1101"/>
                </a:lnTo>
                <a:lnTo>
                  <a:pt x="1632" y="1101"/>
                </a:lnTo>
                <a:lnTo>
                  <a:pt x="1634" y="1101"/>
                </a:lnTo>
                <a:lnTo>
                  <a:pt x="1634" y="1099"/>
                </a:lnTo>
                <a:lnTo>
                  <a:pt x="1632" y="1099"/>
                </a:lnTo>
                <a:lnTo>
                  <a:pt x="1631" y="1098"/>
                </a:lnTo>
                <a:lnTo>
                  <a:pt x="1631" y="1096"/>
                </a:lnTo>
                <a:lnTo>
                  <a:pt x="1631" y="1094"/>
                </a:lnTo>
                <a:lnTo>
                  <a:pt x="1629" y="1091"/>
                </a:lnTo>
                <a:lnTo>
                  <a:pt x="1631" y="1089"/>
                </a:lnTo>
                <a:lnTo>
                  <a:pt x="1632" y="1089"/>
                </a:lnTo>
                <a:lnTo>
                  <a:pt x="1636" y="1091"/>
                </a:lnTo>
                <a:lnTo>
                  <a:pt x="1637" y="1093"/>
                </a:lnTo>
                <a:lnTo>
                  <a:pt x="1637" y="1091"/>
                </a:lnTo>
                <a:lnTo>
                  <a:pt x="1639" y="1091"/>
                </a:lnTo>
                <a:lnTo>
                  <a:pt x="1639" y="1089"/>
                </a:lnTo>
                <a:lnTo>
                  <a:pt x="1637" y="1089"/>
                </a:lnTo>
                <a:lnTo>
                  <a:pt x="1636" y="1087"/>
                </a:lnTo>
                <a:lnTo>
                  <a:pt x="1634" y="1086"/>
                </a:lnTo>
                <a:lnTo>
                  <a:pt x="1634" y="1084"/>
                </a:lnTo>
                <a:lnTo>
                  <a:pt x="1632" y="1082"/>
                </a:lnTo>
                <a:lnTo>
                  <a:pt x="1631" y="1082"/>
                </a:lnTo>
                <a:lnTo>
                  <a:pt x="1631" y="1079"/>
                </a:lnTo>
                <a:lnTo>
                  <a:pt x="1632" y="1079"/>
                </a:lnTo>
                <a:lnTo>
                  <a:pt x="1632" y="1081"/>
                </a:lnTo>
                <a:lnTo>
                  <a:pt x="1636" y="1079"/>
                </a:lnTo>
                <a:lnTo>
                  <a:pt x="1637" y="1079"/>
                </a:lnTo>
                <a:lnTo>
                  <a:pt x="1639" y="1081"/>
                </a:lnTo>
                <a:lnTo>
                  <a:pt x="1641" y="1081"/>
                </a:lnTo>
                <a:lnTo>
                  <a:pt x="1642" y="1081"/>
                </a:lnTo>
                <a:lnTo>
                  <a:pt x="1644" y="1082"/>
                </a:lnTo>
                <a:lnTo>
                  <a:pt x="1646" y="1082"/>
                </a:lnTo>
                <a:lnTo>
                  <a:pt x="1648" y="1084"/>
                </a:lnTo>
                <a:lnTo>
                  <a:pt x="1649" y="1086"/>
                </a:lnTo>
                <a:lnTo>
                  <a:pt x="1653" y="1086"/>
                </a:lnTo>
                <a:lnTo>
                  <a:pt x="1653" y="1084"/>
                </a:lnTo>
                <a:lnTo>
                  <a:pt x="1656" y="1084"/>
                </a:lnTo>
                <a:lnTo>
                  <a:pt x="1658" y="1084"/>
                </a:lnTo>
                <a:lnTo>
                  <a:pt x="1659" y="1084"/>
                </a:lnTo>
                <a:lnTo>
                  <a:pt x="1661" y="1084"/>
                </a:lnTo>
                <a:lnTo>
                  <a:pt x="1663" y="1086"/>
                </a:lnTo>
                <a:lnTo>
                  <a:pt x="1663" y="1084"/>
                </a:lnTo>
                <a:lnTo>
                  <a:pt x="1665" y="1086"/>
                </a:lnTo>
                <a:lnTo>
                  <a:pt x="1665" y="1087"/>
                </a:lnTo>
                <a:lnTo>
                  <a:pt x="1666" y="1089"/>
                </a:lnTo>
                <a:lnTo>
                  <a:pt x="1666" y="1091"/>
                </a:lnTo>
                <a:lnTo>
                  <a:pt x="1665" y="1094"/>
                </a:lnTo>
                <a:lnTo>
                  <a:pt x="1665" y="1098"/>
                </a:lnTo>
                <a:lnTo>
                  <a:pt x="1663" y="1099"/>
                </a:lnTo>
                <a:lnTo>
                  <a:pt x="1659" y="1099"/>
                </a:lnTo>
                <a:lnTo>
                  <a:pt x="1658" y="1099"/>
                </a:lnTo>
                <a:lnTo>
                  <a:pt x="1656" y="1099"/>
                </a:lnTo>
                <a:lnTo>
                  <a:pt x="1653" y="1099"/>
                </a:lnTo>
                <a:lnTo>
                  <a:pt x="1651" y="1098"/>
                </a:lnTo>
                <a:lnTo>
                  <a:pt x="1649" y="1099"/>
                </a:lnTo>
                <a:lnTo>
                  <a:pt x="1648" y="1099"/>
                </a:lnTo>
                <a:lnTo>
                  <a:pt x="1646" y="1099"/>
                </a:lnTo>
                <a:lnTo>
                  <a:pt x="1644" y="1099"/>
                </a:lnTo>
                <a:lnTo>
                  <a:pt x="1642" y="1098"/>
                </a:lnTo>
                <a:lnTo>
                  <a:pt x="1644" y="1096"/>
                </a:lnTo>
                <a:lnTo>
                  <a:pt x="1642" y="1093"/>
                </a:lnTo>
                <a:lnTo>
                  <a:pt x="1641" y="1093"/>
                </a:lnTo>
                <a:lnTo>
                  <a:pt x="1642" y="1094"/>
                </a:lnTo>
                <a:lnTo>
                  <a:pt x="1642" y="1096"/>
                </a:lnTo>
                <a:lnTo>
                  <a:pt x="1642" y="1099"/>
                </a:lnTo>
                <a:lnTo>
                  <a:pt x="1641" y="1101"/>
                </a:lnTo>
                <a:lnTo>
                  <a:pt x="1639" y="1101"/>
                </a:lnTo>
                <a:lnTo>
                  <a:pt x="1641" y="1103"/>
                </a:lnTo>
                <a:lnTo>
                  <a:pt x="1642" y="1103"/>
                </a:lnTo>
                <a:lnTo>
                  <a:pt x="1642" y="1106"/>
                </a:lnTo>
                <a:lnTo>
                  <a:pt x="1642" y="1104"/>
                </a:lnTo>
                <a:lnTo>
                  <a:pt x="1644" y="1104"/>
                </a:lnTo>
                <a:lnTo>
                  <a:pt x="1644" y="1103"/>
                </a:lnTo>
                <a:lnTo>
                  <a:pt x="1646" y="1103"/>
                </a:lnTo>
                <a:lnTo>
                  <a:pt x="1649" y="1103"/>
                </a:lnTo>
                <a:lnTo>
                  <a:pt x="1651" y="1103"/>
                </a:lnTo>
                <a:lnTo>
                  <a:pt x="1653" y="1103"/>
                </a:lnTo>
                <a:lnTo>
                  <a:pt x="1653" y="1106"/>
                </a:lnTo>
                <a:lnTo>
                  <a:pt x="1654" y="1106"/>
                </a:lnTo>
                <a:lnTo>
                  <a:pt x="1656" y="1108"/>
                </a:lnTo>
                <a:lnTo>
                  <a:pt x="1654" y="1108"/>
                </a:lnTo>
                <a:lnTo>
                  <a:pt x="1654" y="1110"/>
                </a:lnTo>
                <a:lnTo>
                  <a:pt x="1653" y="1110"/>
                </a:lnTo>
                <a:lnTo>
                  <a:pt x="1653" y="1111"/>
                </a:lnTo>
                <a:lnTo>
                  <a:pt x="1651" y="1113"/>
                </a:lnTo>
                <a:lnTo>
                  <a:pt x="1653" y="1113"/>
                </a:lnTo>
                <a:lnTo>
                  <a:pt x="1653" y="1111"/>
                </a:lnTo>
                <a:lnTo>
                  <a:pt x="1654" y="1111"/>
                </a:lnTo>
                <a:lnTo>
                  <a:pt x="1654" y="1110"/>
                </a:lnTo>
                <a:lnTo>
                  <a:pt x="1656" y="1110"/>
                </a:lnTo>
                <a:lnTo>
                  <a:pt x="1656" y="1106"/>
                </a:lnTo>
                <a:lnTo>
                  <a:pt x="1656" y="1108"/>
                </a:lnTo>
                <a:lnTo>
                  <a:pt x="1658" y="1106"/>
                </a:lnTo>
                <a:lnTo>
                  <a:pt x="1658" y="1110"/>
                </a:lnTo>
                <a:lnTo>
                  <a:pt x="1658" y="1108"/>
                </a:lnTo>
                <a:lnTo>
                  <a:pt x="1659" y="1110"/>
                </a:lnTo>
                <a:lnTo>
                  <a:pt x="1661" y="1110"/>
                </a:lnTo>
                <a:lnTo>
                  <a:pt x="1659" y="1108"/>
                </a:lnTo>
                <a:lnTo>
                  <a:pt x="1659" y="1106"/>
                </a:lnTo>
                <a:lnTo>
                  <a:pt x="1659" y="1108"/>
                </a:lnTo>
                <a:lnTo>
                  <a:pt x="1661" y="1106"/>
                </a:lnTo>
                <a:lnTo>
                  <a:pt x="1663" y="1106"/>
                </a:lnTo>
                <a:lnTo>
                  <a:pt x="1666" y="1106"/>
                </a:lnTo>
                <a:lnTo>
                  <a:pt x="1665" y="1108"/>
                </a:lnTo>
                <a:lnTo>
                  <a:pt x="1665" y="1110"/>
                </a:lnTo>
                <a:lnTo>
                  <a:pt x="1666" y="1108"/>
                </a:lnTo>
                <a:lnTo>
                  <a:pt x="1668" y="1106"/>
                </a:lnTo>
                <a:lnTo>
                  <a:pt x="1670" y="1104"/>
                </a:lnTo>
                <a:lnTo>
                  <a:pt x="1670" y="1106"/>
                </a:lnTo>
                <a:lnTo>
                  <a:pt x="1670" y="1108"/>
                </a:lnTo>
                <a:lnTo>
                  <a:pt x="1668" y="1111"/>
                </a:lnTo>
                <a:lnTo>
                  <a:pt x="1668" y="1115"/>
                </a:lnTo>
                <a:lnTo>
                  <a:pt x="1666" y="1116"/>
                </a:lnTo>
                <a:lnTo>
                  <a:pt x="1668" y="1116"/>
                </a:lnTo>
                <a:lnTo>
                  <a:pt x="1668" y="1118"/>
                </a:lnTo>
                <a:lnTo>
                  <a:pt x="1670" y="1118"/>
                </a:lnTo>
                <a:lnTo>
                  <a:pt x="1670" y="1116"/>
                </a:lnTo>
                <a:lnTo>
                  <a:pt x="1670" y="1113"/>
                </a:lnTo>
                <a:lnTo>
                  <a:pt x="1671" y="1110"/>
                </a:lnTo>
                <a:lnTo>
                  <a:pt x="1671" y="1113"/>
                </a:lnTo>
                <a:lnTo>
                  <a:pt x="1671" y="1110"/>
                </a:lnTo>
                <a:lnTo>
                  <a:pt x="1673" y="1110"/>
                </a:lnTo>
                <a:lnTo>
                  <a:pt x="1675" y="1108"/>
                </a:lnTo>
                <a:lnTo>
                  <a:pt x="1676" y="1106"/>
                </a:lnTo>
                <a:lnTo>
                  <a:pt x="1676" y="1104"/>
                </a:lnTo>
                <a:lnTo>
                  <a:pt x="1678" y="1106"/>
                </a:lnTo>
                <a:lnTo>
                  <a:pt x="1680" y="1104"/>
                </a:lnTo>
                <a:lnTo>
                  <a:pt x="1682" y="1104"/>
                </a:lnTo>
                <a:lnTo>
                  <a:pt x="1682" y="1106"/>
                </a:lnTo>
                <a:lnTo>
                  <a:pt x="1680" y="1110"/>
                </a:lnTo>
                <a:lnTo>
                  <a:pt x="1683" y="1108"/>
                </a:lnTo>
                <a:lnTo>
                  <a:pt x="1683" y="1111"/>
                </a:lnTo>
                <a:lnTo>
                  <a:pt x="1682" y="1113"/>
                </a:lnTo>
                <a:lnTo>
                  <a:pt x="1682" y="1115"/>
                </a:lnTo>
                <a:lnTo>
                  <a:pt x="1682" y="1113"/>
                </a:lnTo>
                <a:lnTo>
                  <a:pt x="1682" y="1115"/>
                </a:lnTo>
                <a:lnTo>
                  <a:pt x="1678" y="1115"/>
                </a:lnTo>
                <a:lnTo>
                  <a:pt x="1680" y="1116"/>
                </a:lnTo>
                <a:lnTo>
                  <a:pt x="1678" y="1118"/>
                </a:lnTo>
                <a:lnTo>
                  <a:pt x="1680" y="1118"/>
                </a:lnTo>
                <a:lnTo>
                  <a:pt x="1680" y="1116"/>
                </a:lnTo>
                <a:lnTo>
                  <a:pt x="1682" y="1116"/>
                </a:lnTo>
                <a:lnTo>
                  <a:pt x="1682" y="1115"/>
                </a:lnTo>
                <a:lnTo>
                  <a:pt x="1683" y="1115"/>
                </a:lnTo>
                <a:lnTo>
                  <a:pt x="1683" y="1118"/>
                </a:lnTo>
                <a:lnTo>
                  <a:pt x="1682" y="1118"/>
                </a:lnTo>
                <a:lnTo>
                  <a:pt x="1680" y="1120"/>
                </a:lnTo>
                <a:lnTo>
                  <a:pt x="1682" y="1120"/>
                </a:lnTo>
                <a:lnTo>
                  <a:pt x="1683" y="1118"/>
                </a:lnTo>
                <a:lnTo>
                  <a:pt x="1683" y="1121"/>
                </a:lnTo>
                <a:lnTo>
                  <a:pt x="1685" y="1118"/>
                </a:lnTo>
                <a:lnTo>
                  <a:pt x="1685" y="1120"/>
                </a:lnTo>
                <a:lnTo>
                  <a:pt x="1687" y="1120"/>
                </a:lnTo>
                <a:lnTo>
                  <a:pt x="1687" y="1121"/>
                </a:lnTo>
                <a:lnTo>
                  <a:pt x="1687" y="1123"/>
                </a:lnTo>
                <a:lnTo>
                  <a:pt x="1685" y="1123"/>
                </a:lnTo>
                <a:lnTo>
                  <a:pt x="1687" y="1127"/>
                </a:lnTo>
                <a:lnTo>
                  <a:pt x="1685" y="1127"/>
                </a:lnTo>
                <a:lnTo>
                  <a:pt x="1683" y="1128"/>
                </a:lnTo>
                <a:lnTo>
                  <a:pt x="1682" y="1130"/>
                </a:lnTo>
                <a:lnTo>
                  <a:pt x="1680" y="1130"/>
                </a:lnTo>
                <a:lnTo>
                  <a:pt x="1678" y="1132"/>
                </a:lnTo>
                <a:lnTo>
                  <a:pt x="1678" y="1135"/>
                </a:lnTo>
                <a:lnTo>
                  <a:pt x="1676" y="1135"/>
                </a:lnTo>
                <a:lnTo>
                  <a:pt x="1678" y="1135"/>
                </a:lnTo>
                <a:lnTo>
                  <a:pt x="1680" y="1138"/>
                </a:lnTo>
                <a:lnTo>
                  <a:pt x="1680" y="1140"/>
                </a:lnTo>
                <a:lnTo>
                  <a:pt x="1682" y="1142"/>
                </a:lnTo>
                <a:lnTo>
                  <a:pt x="1682" y="1144"/>
                </a:lnTo>
                <a:lnTo>
                  <a:pt x="1682" y="1145"/>
                </a:lnTo>
                <a:lnTo>
                  <a:pt x="1680" y="1147"/>
                </a:lnTo>
                <a:lnTo>
                  <a:pt x="1680" y="1149"/>
                </a:lnTo>
                <a:lnTo>
                  <a:pt x="1678" y="1150"/>
                </a:lnTo>
                <a:lnTo>
                  <a:pt x="1680" y="1149"/>
                </a:lnTo>
                <a:lnTo>
                  <a:pt x="1682" y="1147"/>
                </a:lnTo>
                <a:lnTo>
                  <a:pt x="1682" y="1145"/>
                </a:lnTo>
                <a:lnTo>
                  <a:pt x="1683" y="1144"/>
                </a:lnTo>
                <a:lnTo>
                  <a:pt x="1682" y="1142"/>
                </a:lnTo>
                <a:lnTo>
                  <a:pt x="1682" y="1138"/>
                </a:lnTo>
                <a:lnTo>
                  <a:pt x="1680" y="1137"/>
                </a:lnTo>
                <a:lnTo>
                  <a:pt x="1680" y="1135"/>
                </a:lnTo>
                <a:lnTo>
                  <a:pt x="1680" y="1133"/>
                </a:lnTo>
                <a:lnTo>
                  <a:pt x="1682" y="1132"/>
                </a:lnTo>
                <a:lnTo>
                  <a:pt x="1683" y="1132"/>
                </a:lnTo>
                <a:lnTo>
                  <a:pt x="1683" y="1130"/>
                </a:lnTo>
                <a:lnTo>
                  <a:pt x="1683" y="1132"/>
                </a:lnTo>
                <a:lnTo>
                  <a:pt x="1685" y="1128"/>
                </a:lnTo>
                <a:lnTo>
                  <a:pt x="1687" y="1130"/>
                </a:lnTo>
                <a:lnTo>
                  <a:pt x="1687" y="1128"/>
                </a:lnTo>
                <a:lnTo>
                  <a:pt x="1688" y="1128"/>
                </a:lnTo>
                <a:lnTo>
                  <a:pt x="1687" y="1125"/>
                </a:lnTo>
                <a:lnTo>
                  <a:pt x="1688" y="1125"/>
                </a:lnTo>
                <a:lnTo>
                  <a:pt x="1688" y="1121"/>
                </a:lnTo>
                <a:lnTo>
                  <a:pt x="1690" y="1123"/>
                </a:lnTo>
                <a:lnTo>
                  <a:pt x="1690" y="1121"/>
                </a:lnTo>
                <a:lnTo>
                  <a:pt x="1688" y="1118"/>
                </a:lnTo>
                <a:lnTo>
                  <a:pt x="1690" y="1120"/>
                </a:lnTo>
                <a:lnTo>
                  <a:pt x="1688" y="1118"/>
                </a:lnTo>
                <a:lnTo>
                  <a:pt x="1687" y="1116"/>
                </a:lnTo>
                <a:lnTo>
                  <a:pt x="1688" y="1113"/>
                </a:lnTo>
                <a:lnTo>
                  <a:pt x="1687" y="1115"/>
                </a:lnTo>
                <a:lnTo>
                  <a:pt x="1687" y="1111"/>
                </a:lnTo>
                <a:lnTo>
                  <a:pt x="1688" y="1111"/>
                </a:lnTo>
                <a:lnTo>
                  <a:pt x="1690" y="1110"/>
                </a:lnTo>
                <a:lnTo>
                  <a:pt x="1690" y="1111"/>
                </a:lnTo>
                <a:lnTo>
                  <a:pt x="1690" y="1113"/>
                </a:lnTo>
                <a:lnTo>
                  <a:pt x="1690" y="1111"/>
                </a:lnTo>
                <a:lnTo>
                  <a:pt x="1690" y="1113"/>
                </a:lnTo>
                <a:lnTo>
                  <a:pt x="1692" y="1110"/>
                </a:lnTo>
                <a:lnTo>
                  <a:pt x="1693" y="1111"/>
                </a:lnTo>
                <a:lnTo>
                  <a:pt x="1695" y="1111"/>
                </a:lnTo>
                <a:lnTo>
                  <a:pt x="1693" y="1111"/>
                </a:lnTo>
                <a:lnTo>
                  <a:pt x="1692" y="1110"/>
                </a:lnTo>
                <a:lnTo>
                  <a:pt x="1693" y="1110"/>
                </a:lnTo>
                <a:lnTo>
                  <a:pt x="1695" y="1108"/>
                </a:lnTo>
                <a:lnTo>
                  <a:pt x="1697" y="1106"/>
                </a:lnTo>
                <a:lnTo>
                  <a:pt x="1699" y="1108"/>
                </a:lnTo>
                <a:lnTo>
                  <a:pt x="1699" y="1106"/>
                </a:lnTo>
                <a:lnTo>
                  <a:pt x="1702" y="1106"/>
                </a:lnTo>
                <a:lnTo>
                  <a:pt x="1704" y="1104"/>
                </a:lnTo>
                <a:lnTo>
                  <a:pt x="1707" y="1104"/>
                </a:lnTo>
                <a:lnTo>
                  <a:pt x="1707" y="1108"/>
                </a:lnTo>
                <a:lnTo>
                  <a:pt x="1707" y="1106"/>
                </a:lnTo>
                <a:lnTo>
                  <a:pt x="1709" y="1108"/>
                </a:lnTo>
                <a:lnTo>
                  <a:pt x="1710" y="1106"/>
                </a:lnTo>
                <a:lnTo>
                  <a:pt x="1712" y="1106"/>
                </a:lnTo>
                <a:lnTo>
                  <a:pt x="1714" y="1108"/>
                </a:lnTo>
                <a:lnTo>
                  <a:pt x="1714" y="1106"/>
                </a:lnTo>
                <a:lnTo>
                  <a:pt x="1717" y="1106"/>
                </a:lnTo>
                <a:lnTo>
                  <a:pt x="1717" y="1108"/>
                </a:lnTo>
                <a:lnTo>
                  <a:pt x="1719" y="1106"/>
                </a:lnTo>
                <a:lnTo>
                  <a:pt x="1721" y="1106"/>
                </a:lnTo>
                <a:lnTo>
                  <a:pt x="1721" y="1108"/>
                </a:lnTo>
                <a:lnTo>
                  <a:pt x="1721" y="1106"/>
                </a:lnTo>
                <a:lnTo>
                  <a:pt x="1722" y="1106"/>
                </a:lnTo>
                <a:lnTo>
                  <a:pt x="1722" y="1104"/>
                </a:lnTo>
                <a:lnTo>
                  <a:pt x="1722" y="1106"/>
                </a:lnTo>
                <a:lnTo>
                  <a:pt x="1722" y="1108"/>
                </a:lnTo>
                <a:lnTo>
                  <a:pt x="1722" y="1110"/>
                </a:lnTo>
                <a:lnTo>
                  <a:pt x="1722" y="1108"/>
                </a:lnTo>
                <a:lnTo>
                  <a:pt x="1722" y="1104"/>
                </a:lnTo>
                <a:lnTo>
                  <a:pt x="1724" y="1104"/>
                </a:lnTo>
                <a:lnTo>
                  <a:pt x="1726" y="1104"/>
                </a:lnTo>
                <a:lnTo>
                  <a:pt x="1727" y="1108"/>
                </a:lnTo>
                <a:lnTo>
                  <a:pt x="1729" y="1110"/>
                </a:lnTo>
                <a:lnTo>
                  <a:pt x="1727" y="1108"/>
                </a:lnTo>
                <a:lnTo>
                  <a:pt x="1729" y="1106"/>
                </a:lnTo>
                <a:lnTo>
                  <a:pt x="1727" y="1106"/>
                </a:lnTo>
                <a:lnTo>
                  <a:pt x="1729" y="1104"/>
                </a:lnTo>
                <a:lnTo>
                  <a:pt x="1731" y="1106"/>
                </a:lnTo>
                <a:lnTo>
                  <a:pt x="1731" y="1104"/>
                </a:lnTo>
                <a:lnTo>
                  <a:pt x="1729" y="1103"/>
                </a:lnTo>
                <a:lnTo>
                  <a:pt x="1726" y="1103"/>
                </a:lnTo>
                <a:lnTo>
                  <a:pt x="1726" y="1101"/>
                </a:lnTo>
                <a:lnTo>
                  <a:pt x="1727" y="1101"/>
                </a:lnTo>
                <a:lnTo>
                  <a:pt x="1729" y="1101"/>
                </a:lnTo>
                <a:lnTo>
                  <a:pt x="1733" y="1101"/>
                </a:lnTo>
                <a:lnTo>
                  <a:pt x="1736" y="1101"/>
                </a:lnTo>
                <a:lnTo>
                  <a:pt x="1738" y="1101"/>
                </a:lnTo>
                <a:lnTo>
                  <a:pt x="1741" y="1101"/>
                </a:lnTo>
                <a:lnTo>
                  <a:pt x="1743" y="1101"/>
                </a:lnTo>
                <a:lnTo>
                  <a:pt x="1744" y="1101"/>
                </a:lnTo>
                <a:lnTo>
                  <a:pt x="1744" y="1099"/>
                </a:lnTo>
                <a:lnTo>
                  <a:pt x="1746" y="1101"/>
                </a:lnTo>
                <a:lnTo>
                  <a:pt x="1748" y="1103"/>
                </a:lnTo>
                <a:lnTo>
                  <a:pt x="1751" y="1103"/>
                </a:lnTo>
                <a:lnTo>
                  <a:pt x="1751" y="1104"/>
                </a:lnTo>
                <a:lnTo>
                  <a:pt x="1753" y="1104"/>
                </a:lnTo>
                <a:lnTo>
                  <a:pt x="1751" y="1101"/>
                </a:lnTo>
                <a:lnTo>
                  <a:pt x="1753" y="1103"/>
                </a:lnTo>
                <a:lnTo>
                  <a:pt x="1755" y="1101"/>
                </a:lnTo>
                <a:lnTo>
                  <a:pt x="1756" y="1103"/>
                </a:lnTo>
                <a:lnTo>
                  <a:pt x="1758" y="1101"/>
                </a:lnTo>
                <a:lnTo>
                  <a:pt x="1760" y="1103"/>
                </a:lnTo>
                <a:lnTo>
                  <a:pt x="1756" y="1103"/>
                </a:lnTo>
                <a:lnTo>
                  <a:pt x="1758" y="1103"/>
                </a:lnTo>
                <a:lnTo>
                  <a:pt x="1761" y="1104"/>
                </a:lnTo>
                <a:lnTo>
                  <a:pt x="1763" y="1104"/>
                </a:lnTo>
                <a:lnTo>
                  <a:pt x="1765" y="1104"/>
                </a:lnTo>
                <a:lnTo>
                  <a:pt x="1767" y="1104"/>
                </a:lnTo>
                <a:lnTo>
                  <a:pt x="1767" y="1106"/>
                </a:lnTo>
                <a:lnTo>
                  <a:pt x="1767" y="1104"/>
                </a:lnTo>
                <a:lnTo>
                  <a:pt x="1770" y="1106"/>
                </a:lnTo>
                <a:lnTo>
                  <a:pt x="1772" y="1106"/>
                </a:lnTo>
                <a:lnTo>
                  <a:pt x="1772" y="1108"/>
                </a:lnTo>
                <a:lnTo>
                  <a:pt x="1775" y="1108"/>
                </a:lnTo>
                <a:lnTo>
                  <a:pt x="1775" y="1110"/>
                </a:lnTo>
                <a:lnTo>
                  <a:pt x="1777" y="1108"/>
                </a:lnTo>
                <a:lnTo>
                  <a:pt x="1777" y="1110"/>
                </a:lnTo>
                <a:lnTo>
                  <a:pt x="1778" y="1110"/>
                </a:lnTo>
                <a:lnTo>
                  <a:pt x="1782" y="1110"/>
                </a:lnTo>
                <a:lnTo>
                  <a:pt x="1785" y="1111"/>
                </a:lnTo>
                <a:lnTo>
                  <a:pt x="1787" y="1111"/>
                </a:lnTo>
                <a:lnTo>
                  <a:pt x="1789" y="1113"/>
                </a:lnTo>
                <a:lnTo>
                  <a:pt x="1790" y="1113"/>
                </a:lnTo>
                <a:lnTo>
                  <a:pt x="1790" y="1115"/>
                </a:lnTo>
                <a:lnTo>
                  <a:pt x="1792" y="1113"/>
                </a:lnTo>
                <a:lnTo>
                  <a:pt x="1794" y="1115"/>
                </a:lnTo>
                <a:lnTo>
                  <a:pt x="1795" y="1115"/>
                </a:lnTo>
                <a:lnTo>
                  <a:pt x="1797" y="1115"/>
                </a:lnTo>
                <a:lnTo>
                  <a:pt x="1799" y="1115"/>
                </a:lnTo>
                <a:lnTo>
                  <a:pt x="1801" y="1116"/>
                </a:lnTo>
                <a:lnTo>
                  <a:pt x="1801" y="1115"/>
                </a:lnTo>
                <a:lnTo>
                  <a:pt x="1802" y="1116"/>
                </a:lnTo>
                <a:lnTo>
                  <a:pt x="1806" y="1118"/>
                </a:lnTo>
                <a:lnTo>
                  <a:pt x="1807" y="1118"/>
                </a:lnTo>
                <a:lnTo>
                  <a:pt x="1806" y="1120"/>
                </a:lnTo>
                <a:lnTo>
                  <a:pt x="1807" y="1120"/>
                </a:lnTo>
                <a:lnTo>
                  <a:pt x="1809" y="1121"/>
                </a:lnTo>
                <a:lnTo>
                  <a:pt x="1809" y="1120"/>
                </a:lnTo>
                <a:lnTo>
                  <a:pt x="1811" y="1120"/>
                </a:lnTo>
                <a:lnTo>
                  <a:pt x="1812" y="1120"/>
                </a:lnTo>
                <a:lnTo>
                  <a:pt x="1814" y="1121"/>
                </a:lnTo>
                <a:lnTo>
                  <a:pt x="1816" y="1123"/>
                </a:lnTo>
                <a:lnTo>
                  <a:pt x="1818" y="1123"/>
                </a:lnTo>
                <a:lnTo>
                  <a:pt x="1819" y="1127"/>
                </a:lnTo>
                <a:lnTo>
                  <a:pt x="1821" y="1125"/>
                </a:lnTo>
                <a:lnTo>
                  <a:pt x="1823" y="1127"/>
                </a:lnTo>
                <a:lnTo>
                  <a:pt x="1823" y="1128"/>
                </a:lnTo>
                <a:lnTo>
                  <a:pt x="1824" y="1127"/>
                </a:lnTo>
                <a:lnTo>
                  <a:pt x="1826" y="1128"/>
                </a:lnTo>
                <a:lnTo>
                  <a:pt x="1828" y="1128"/>
                </a:lnTo>
                <a:lnTo>
                  <a:pt x="1829" y="1130"/>
                </a:lnTo>
                <a:lnTo>
                  <a:pt x="1831" y="1132"/>
                </a:lnTo>
                <a:lnTo>
                  <a:pt x="1831" y="1135"/>
                </a:lnTo>
                <a:lnTo>
                  <a:pt x="1833" y="1135"/>
                </a:lnTo>
                <a:lnTo>
                  <a:pt x="1831" y="1133"/>
                </a:lnTo>
                <a:lnTo>
                  <a:pt x="1831" y="1132"/>
                </a:lnTo>
                <a:lnTo>
                  <a:pt x="1835" y="1132"/>
                </a:lnTo>
                <a:lnTo>
                  <a:pt x="1833" y="1132"/>
                </a:lnTo>
                <a:lnTo>
                  <a:pt x="1835" y="1130"/>
                </a:lnTo>
                <a:lnTo>
                  <a:pt x="1835" y="1132"/>
                </a:lnTo>
                <a:lnTo>
                  <a:pt x="1835" y="1128"/>
                </a:lnTo>
                <a:lnTo>
                  <a:pt x="1836" y="1128"/>
                </a:lnTo>
                <a:lnTo>
                  <a:pt x="1838" y="1130"/>
                </a:lnTo>
                <a:lnTo>
                  <a:pt x="1841" y="1132"/>
                </a:lnTo>
                <a:lnTo>
                  <a:pt x="1843" y="1130"/>
                </a:lnTo>
                <a:lnTo>
                  <a:pt x="1846" y="1130"/>
                </a:lnTo>
                <a:lnTo>
                  <a:pt x="1845" y="1132"/>
                </a:lnTo>
                <a:lnTo>
                  <a:pt x="1848" y="1133"/>
                </a:lnTo>
                <a:lnTo>
                  <a:pt x="1850" y="1133"/>
                </a:lnTo>
                <a:lnTo>
                  <a:pt x="1852" y="1135"/>
                </a:lnTo>
                <a:lnTo>
                  <a:pt x="1852" y="1137"/>
                </a:lnTo>
                <a:lnTo>
                  <a:pt x="1853" y="1135"/>
                </a:lnTo>
                <a:lnTo>
                  <a:pt x="1855" y="1135"/>
                </a:lnTo>
                <a:lnTo>
                  <a:pt x="1857" y="1135"/>
                </a:lnTo>
                <a:lnTo>
                  <a:pt x="1860" y="1137"/>
                </a:lnTo>
                <a:lnTo>
                  <a:pt x="1862" y="1137"/>
                </a:lnTo>
                <a:lnTo>
                  <a:pt x="1863" y="1138"/>
                </a:lnTo>
                <a:lnTo>
                  <a:pt x="1865" y="1138"/>
                </a:lnTo>
                <a:lnTo>
                  <a:pt x="1869" y="1140"/>
                </a:lnTo>
                <a:lnTo>
                  <a:pt x="1870" y="1140"/>
                </a:lnTo>
                <a:lnTo>
                  <a:pt x="1869" y="1138"/>
                </a:lnTo>
                <a:lnTo>
                  <a:pt x="1870" y="1138"/>
                </a:lnTo>
                <a:lnTo>
                  <a:pt x="1872" y="1138"/>
                </a:lnTo>
                <a:lnTo>
                  <a:pt x="1875" y="1137"/>
                </a:lnTo>
                <a:lnTo>
                  <a:pt x="1874" y="1137"/>
                </a:lnTo>
                <a:lnTo>
                  <a:pt x="1874" y="1135"/>
                </a:lnTo>
                <a:lnTo>
                  <a:pt x="1872" y="1133"/>
                </a:lnTo>
                <a:lnTo>
                  <a:pt x="1870" y="1132"/>
                </a:lnTo>
                <a:lnTo>
                  <a:pt x="1869" y="1130"/>
                </a:lnTo>
                <a:lnTo>
                  <a:pt x="1872" y="1132"/>
                </a:lnTo>
                <a:lnTo>
                  <a:pt x="1874" y="1133"/>
                </a:lnTo>
                <a:lnTo>
                  <a:pt x="1875" y="1135"/>
                </a:lnTo>
                <a:lnTo>
                  <a:pt x="1877" y="1135"/>
                </a:lnTo>
                <a:lnTo>
                  <a:pt x="1877" y="1137"/>
                </a:lnTo>
                <a:lnTo>
                  <a:pt x="1879" y="1138"/>
                </a:lnTo>
                <a:lnTo>
                  <a:pt x="1880" y="1138"/>
                </a:lnTo>
                <a:lnTo>
                  <a:pt x="1882" y="1140"/>
                </a:lnTo>
                <a:lnTo>
                  <a:pt x="1886" y="1140"/>
                </a:lnTo>
                <a:lnTo>
                  <a:pt x="1887" y="1140"/>
                </a:lnTo>
                <a:lnTo>
                  <a:pt x="1889" y="1142"/>
                </a:lnTo>
                <a:lnTo>
                  <a:pt x="1889" y="1140"/>
                </a:lnTo>
                <a:lnTo>
                  <a:pt x="1889" y="1144"/>
                </a:lnTo>
                <a:lnTo>
                  <a:pt x="1891" y="1142"/>
                </a:lnTo>
                <a:lnTo>
                  <a:pt x="1894" y="1142"/>
                </a:lnTo>
                <a:lnTo>
                  <a:pt x="1894" y="1144"/>
                </a:lnTo>
                <a:lnTo>
                  <a:pt x="1894" y="1145"/>
                </a:lnTo>
                <a:lnTo>
                  <a:pt x="1892" y="1144"/>
                </a:lnTo>
                <a:lnTo>
                  <a:pt x="1892" y="1145"/>
                </a:lnTo>
                <a:lnTo>
                  <a:pt x="1894" y="1147"/>
                </a:lnTo>
                <a:lnTo>
                  <a:pt x="1896" y="1147"/>
                </a:lnTo>
                <a:lnTo>
                  <a:pt x="1897" y="1149"/>
                </a:lnTo>
                <a:lnTo>
                  <a:pt x="1901" y="1150"/>
                </a:lnTo>
                <a:lnTo>
                  <a:pt x="1901" y="1152"/>
                </a:lnTo>
                <a:lnTo>
                  <a:pt x="1901" y="1150"/>
                </a:lnTo>
                <a:lnTo>
                  <a:pt x="1903" y="1150"/>
                </a:lnTo>
                <a:lnTo>
                  <a:pt x="1901" y="1149"/>
                </a:lnTo>
                <a:lnTo>
                  <a:pt x="1901" y="1147"/>
                </a:lnTo>
                <a:lnTo>
                  <a:pt x="1899" y="1145"/>
                </a:lnTo>
                <a:lnTo>
                  <a:pt x="1897" y="1145"/>
                </a:lnTo>
                <a:lnTo>
                  <a:pt x="1897" y="1144"/>
                </a:lnTo>
                <a:lnTo>
                  <a:pt x="1899" y="1144"/>
                </a:lnTo>
                <a:lnTo>
                  <a:pt x="1897" y="1144"/>
                </a:lnTo>
                <a:lnTo>
                  <a:pt x="1901" y="1145"/>
                </a:lnTo>
                <a:lnTo>
                  <a:pt x="1903" y="1144"/>
                </a:lnTo>
                <a:lnTo>
                  <a:pt x="1904" y="1147"/>
                </a:lnTo>
                <a:lnTo>
                  <a:pt x="1908" y="1147"/>
                </a:lnTo>
                <a:lnTo>
                  <a:pt x="1909" y="1147"/>
                </a:lnTo>
                <a:lnTo>
                  <a:pt x="1911" y="1145"/>
                </a:lnTo>
                <a:lnTo>
                  <a:pt x="1911" y="1147"/>
                </a:lnTo>
                <a:lnTo>
                  <a:pt x="1913" y="1147"/>
                </a:lnTo>
                <a:lnTo>
                  <a:pt x="1914" y="1149"/>
                </a:lnTo>
                <a:lnTo>
                  <a:pt x="1916" y="1150"/>
                </a:lnTo>
                <a:lnTo>
                  <a:pt x="1918" y="1150"/>
                </a:lnTo>
                <a:lnTo>
                  <a:pt x="1918" y="1154"/>
                </a:lnTo>
                <a:lnTo>
                  <a:pt x="1918" y="1157"/>
                </a:lnTo>
                <a:lnTo>
                  <a:pt x="1920" y="1157"/>
                </a:lnTo>
                <a:lnTo>
                  <a:pt x="1920" y="1159"/>
                </a:lnTo>
                <a:lnTo>
                  <a:pt x="1920" y="1161"/>
                </a:lnTo>
                <a:lnTo>
                  <a:pt x="1921" y="1162"/>
                </a:lnTo>
                <a:lnTo>
                  <a:pt x="1921" y="1164"/>
                </a:lnTo>
                <a:lnTo>
                  <a:pt x="1921" y="1162"/>
                </a:lnTo>
                <a:lnTo>
                  <a:pt x="1925" y="1162"/>
                </a:lnTo>
                <a:lnTo>
                  <a:pt x="1926" y="1164"/>
                </a:lnTo>
                <a:lnTo>
                  <a:pt x="1926" y="1167"/>
                </a:lnTo>
                <a:lnTo>
                  <a:pt x="1928" y="1169"/>
                </a:lnTo>
                <a:lnTo>
                  <a:pt x="1928" y="1171"/>
                </a:lnTo>
                <a:lnTo>
                  <a:pt x="1928" y="1172"/>
                </a:lnTo>
                <a:lnTo>
                  <a:pt x="1930" y="1174"/>
                </a:lnTo>
                <a:lnTo>
                  <a:pt x="1931" y="1176"/>
                </a:lnTo>
                <a:lnTo>
                  <a:pt x="1935" y="1176"/>
                </a:lnTo>
                <a:lnTo>
                  <a:pt x="1935" y="1174"/>
                </a:lnTo>
                <a:lnTo>
                  <a:pt x="1937" y="1174"/>
                </a:lnTo>
                <a:lnTo>
                  <a:pt x="1938" y="1176"/>
                </a:lnTo>
                <a:lnTo>
                  <a:pt x="1938" y="1179"/>
                </a:lnTo>
                <a:lnTo>
                  <a:pt x="1940" y="1181"/>
                </a:lnTo>
                <a:lnTo>
                  <a:pt x="1942" y="1181"/>
                </a:lnTo>
                <a:lnTo>
                  <a:pt x="1942" y="1184"/>
                </a:lnTo>
                <a:lnTo>
                  <a:pt x="1942" y="1186"/>
                </a:lnTo>
                <a:lnTo>
                  <a:pt x="1943" y="1188"/>
                </a:lnTo>
                <a:lnTo>
                  <a:pt x="1945" y="1189"/>
                </a:lnTo>
                <a:lnTo>
                  <a:pt x="1942" y="1191"/>
                </a:lnTo>
                <a:lnTo>
                  <a:pt x="1943" y="1193"/>
                </a:lnTo>
                <a:lnTo>
                  <a:pt x="1943" y="1195"/>
                </a:lnTo>
                <a:lnTo>
                  <a:pt x="1945" y="1196"/>
                </a:lnTo>
                <a:lnTo>
                  <a:pt x="1945" y="1200"/>
                </a:lnTo>
                <a:lnTo>
                  <a:pt x="1945" y="1203"/>
                </a:lnTo>
                <a:lnTo>
                  <a:pt x="1945" y="1205"/>
                </a:lnTo>
                <a:lnTo>
                  <a:pt x="1945" y="1206"/>
                </a:lnTo>
                <a:lnTo>
                  <a:pt x="1945" y="1208"/>
                </a:lnTo>
                <a:lnTo>
                  <a:pt x="1943" y="1212"/>
                </a:lnTo>
                <a:lnTo>
                  <a:pt x="1943" y="1215"/>
                </a:lnTo>
                <a:lnTo>
                  <a:pt x="1942" y="1217"/>
                </a:lnTo>
                <a:lnTo>
                  <a:pt x="1942" y="1220"/>
                </a:lnTo>
                <a:lnTo>
                  <a:pt x="1942" y="1222"/>
                </a:lnTo>
                <a:lnTo>
                  <a:pt x="1940" y="1224"/>
                </a:lnTo>
                <a:lnTo>
                  <a:pt x="1940" y="1225"/>
                </a:lnTo>
                <a:lnTo>
                  <a:pt x="1942" y="1227"/>
                </a:lnTo>
                <a:lnTo>
                  <a:pt x="1940" y="1230"/>
                </a:lnTo>
                <a:lnTo>
                  <a:pt x="1940" y="1232"/>
                </a:lnTo>
                <a:lnTo>
                  <a:pt x="1940" y="1234"/>
                </a:lnTo>
                <a:lnTo>
                  <a:pt x="1940" y="1235"/>
                </a:lnTo>
                <a:lnTo>
                  <a:pt x="1938" y="1237"/>
                </a:lnTo>
                <a:lnTo>
                  <a:pt x="1938" y="1239"/>
                </a:lnTo>
                <a:lnTo>
                  <a:pt x="1937" y="1241"/>
                </a:lnTo>
                <a:lnTo>
                  <a:pt x="1937" y="1242"/>
                </a:lnTo>
                <a:lnTo>
                  <a:pt x="1935" y="1242"/>
                </a:lnTo>
                <a:lnTo>
                  <a:pt x="1935" y="1246"/>
                </a:lnTo>
                <a:lnTo>
                  <a:pt x="1933" y="1247"/>
                </a:lnTo>
                <a:lnTo>
                  <a:pt x="1933" y="1249"/>
                </a:lnTo>
                <a:lnTo>
                  <a:pt x="1933" y="1251"/>
                </a:lnTo>
                <a:lnTo>
                  <a:pt x="1931" y="1251"/>
                </a:lnTo>
                <a:lnTo>
                  <a:pt x="1931" y="1254"/>
                </a:lnTo>
                <a:lnTo>
                  <a:pt x="1930" y="1256"/>
                </a:lnTo>
                <a:lnTo>
                  <a:pt x="1928" y="1258"/>
                </a:lnTo>
                <a:lnTo>
                  <a:pt x="1926" y="1258"/>
                </a:lnTo>
                <a:lnTo>
                  <a:pt x="1925" y="1259"/>
                </a:lnTo>
                <a:lnTo>
                  <a:pt x="1923" y="1261"/>
                </a:lnTo>
                <a:lnTo>
                  <a:pt x="1921" y="1263"/>
                </a:lnTo>
                <a:lnTo>
                  <a:pt x="1921" y="1264"/>
                </a:lnTo>
                <a:lnTo>
                  <a:pt x="1920" y="1264"/>
                </a:lnTo>
                <a:lnTo>
                  <a:pt x="1918" y="1266"/>
                </a:lnTo>
                <a:lnTo>
                  <a:pt x="1916" y="1269"/>
                </a:lnTo>
                <a:lnTo>
                  <a:pt x="1913" y="1271"/>
                </a:lnTo>
                <a:lnTo>
                  <a:pt x="1913" y="1273"/>
                </a:lnTo>
                <a:lnTo>
                  <a:pt x="1911" y="1275"/>
                </a:lnTo>
                <a:lnTo>
                  <a:pt x="1909" y="1275"/>
                </a:lnTo>
                <a:lnTo>
                  <a:pt x="1906" y="1276"/>
                </a:lnTo>
                <a:lnTo>
                  <a:pt x="1904" y="1278"/>
                </a:lnTo>
                <a:lnTo>
                  <a:pt x="1904" y="1280"/>
                </a:lnTo>
                <a:lnTo>
                  <a:pt x="1901" y="1283"/>
                </a:lnTo>
                <a:lnTo>
                  <a:pt x="1901" y="1281"/>
                </a:lnTo>
                <a:lnTo>
                  <a:pt x="1901" y="1283"/>
                </a:lnTo>
                <a:lnTo>
                  <a:pt x="1897" y="1283"/>
                </a:lnTo>
                <a:lnTo>
                  <a:pt x="1897" y="1285"/>
                </a:lnTo>
                <a:lnTo>
                  <a:pt x="1894" y="1285"/>
                </a:lnTo>
                <a:lnTo>
                  <a:pt x="1892" y="1286"/>
                </a:lnTo>
                <a:lnTo>
                  <a:pt x="1891" y="1286"/>
                </a:lnTo>
                <a:lnTo>
                  <a:pt x="1889" y="1286"/>
                </a:lnTo>
                <a:lnTo>
                  <a:pt x="1886" y="1286"/>
                </a:lnTo>
                <a:lnTo>
                  <a:pt x="1886" y="1288"/>
                </a:lnTo>
                <a:lnTo>
                  <a:pt x="1884" y="1288"/>
                </a:lnTo>
                <a:lnTo>
                  <a:pt x="1882" y="1288"/>
                </a:lnTo>
                <a:lnTo>
                  <a:pt x="1880" y="1290"/>
                </a:lnTo>
                <a:lnTo>
                  <a:pt x="1877" y="1288"/>
                </a:lnTo>
                <a:lnTo>
                  <a:pt x="1875" y="1288"/>
                </a:lnTo>
                <a:lnTo>
                  <a:pt x="1875" y="1290"/>
                </a:lnTo>
                <a:lnTo>
                  <a:pt x="1874" y="1290"/>
                </a:lnTo>
                <a:lnTo>
                  <a:pt x="1870" y="1288"/>
                </a:lnTo>
                <a:lnTo>
                  <a:pt x="1869" y="1290"/>
                </a:lnTo>
                <a:lnTo>
                  <a:pt x="1867" y="1288"/>
                </a:lnTo>
                <a:lnTo>
                  <a:pt x="1863" y="1288"/>
                </a:lnTo>
                <a:lnTo>
                  <a:pt x="1862" y="1288"/>
                </a:lnTo>
                <a:lnTo>
                  <a:pt x="1860" y="1288"/>
                </a:lnTo>
                <a:lnTo>
                  <a:pt x="1858" y="1288"/>
                </a:lnTo>
                <a:lnTo>
                  <a:pt x="1855" y="1286"/>
                </a:lnTo>
                <a:lnTo>
                  <a:pt x="1853" y="1286"/>
                </a:lnTo>
                <a:lnTo>
                  <a:pt x="1848" y="1286"/>
                </a:lnTo>
                <a:lnTo>
                  <a:pt x="1846" y="1286"/>
                </a:lnTo>
                <a:lnTo>
                  <a:pt x="1845" y="1288"/>
                </a:lnTo>
                <a:lnTo>
                  <a:pt x="1841" y="1288"/>
                </a:lnTo>
                <a:lnTo>
                  <a:pt x="1840" y="1290"/>
                </a:lnTo>
                <a:lnTo>
                  <a:pt x="1838" y="1290"/>
                </a:lnTo>
                <a:lnTo>
                  <a:pt x="1836" y="1290"/>
                </a:lnTo>
                <a:lnTo>
                  <a:pt x="1835" y="1290"/>
                </a:lnTo>
                <a:lnTo>
                  <a:pt x="1833" y="1292"/>
                </a:lnTo>
                <a:lnTo>
                  <a:pt x="1826" y="1292"/>
                </a:lnTo>
                <a:lnTo>
                  <a:pt x="1824" y="1292"/>
                </a:lnTo>
                <a:lnTo>
                  <a:pt x="1823" y="1292"/>
                </a:lnTo>
                <a:lnTo>
                  <a:pt x="1819" y="1292"/>
                </a:lnTo>
                <a:lnTo>
                  <a:pt x="1816" y="1293"/>
                </a:lnTo>
                <a:lnTo>
                  <a:pt x="1814" y="1293"/>
                </a:lnTo>
                <a:lnTo>
                  <a:pt x="1811" y="1293"/>
                </a:lnTo>
                <a:lnTo>
                  <a:pt x="1809" y="1293"/>
                </a:lnTo>
                <a:lnTo>
                  <a:pt x="1807" y="1293"/>
                </a:lnTo>
                <a:lnTo>
                  <a:pt x="1804" y="1293"/>
                </a:lnTo>
                <a:lnTo>
                  <a:pt x="1802" y="1293"/>
                </a:lnTo>
                <a:lnTo>
                  <a:pt x="1801" y="1290"/>
                </a:lnTo>
                <a:lnTo>
                  <a:pt x="1797" y="1292"/>
                </a:lnTo>
                <a:lnTo>
                  <a:pt x="1795" y="1290"/>
                </a:lnTo>
                <a:lnTo>
                  <a:pt x="1792" y="1290"/>
                </a:lnTo>
                <a:lnTo>
                  <a:pt x="1792" y="1288"/>
                </a:lnTo>
                <a:lnTo>
                  <a:pt x="1790" y="1288"/>
                </a:lnTo>
                <a:lnTo>
                  <a:pt x="1789" y="1286"/>
                </a:lnTo>
                <a:lnTo>
                  <a:pt x="1787" y="1286"/>
                </a:lnTo>
                <a:lnTo>
                  <a:pt x="1784" y="1286"/>
                </a:lnTo>
                <a:lnTo>
                  <a:pt x="1782" y="1286"/>
                </a:lnTo>
                <a:lnTo>
                  <a:pt x="1780" y="1288"/>
                </a:lnTo>
                <a:lnTo>
                  <a:pt x="1780" y="1290"/>
                </a:lnTo>
                <a:lnTo>
                  <a:pt x="1778" y="1292"/>
                </a:lnTo>
                <a:lnTo>
                  <a:pt x="1777" y="1293"/>
                </a:lnTo>
                <a:lnTo>
                  <a:pt x="1775" y="1293"/>
                </a:lnTo>
                <a:lnTo>
                  <a:pt x="1772" y="1292"/>
                </a:lnTo>
                <a:lnTo>
                  <a:pt x="1772" y="1288"/>
                </a:lnTo>
                <a:lnTo>
                  <a:pt x="1770" y="1288"/>
                </a:lnTo>
                <a:lnTo>
                  <a:pt x="1773" y="1288"/>
                </a:lnTo>
                <a:lnTo>
                  <a:pt x="1773" y="1286"/>
                </a:lnTo>
                <a:lnTo>
                  <a:pt x="1772" y="1286"/>
                </a:lnTo>
                <a:lnTo>
                  <a:pt x="1770" y="1286"/>
                </a:lnTo>
                <a:lnTo>
                  <a:pt x="1768" y="1286"/>
                </a:lnTo>
                <a:lnTo>
                  <a:pt x="1767" y="1286"/>
                </a:lnTo>
                <a:lnTo>
                  <a:pt x="1767" y="1285"/>
                </a:lnTo>
                <a:lnTo>
                  <a:pt x="1765" y="1286"/>
                </a:lnTo>
                <a:lnTo>
                  <a:pt x="1763" y="1286"/>
                </a:lnTo>
                <a:lnTo>
                  <a:pt x="1763" y="1288"/>
                </a:lnTo>
                <a:lnTo>
                  <a:pt x="1761" y="1288"/>
                </a:lnTo>
                <a:lnTo>
                  <a:pt x="1763" y="1286"/>
                </a:lnTo>
                <a:lnTo>
                  <a:pt x="1761" y="1285"/>
                </a:lnTo>
                <a:lnTo>
                  <a:pt x="1761" y="1286"/>
                </a:lnTo>
                <a:lnTo>
                  <a:pt x="1761" y="1288"/>
                </a:lnTo>
                <a:lnTo>
                  <a:pt x="1760" y="1285"/>
                </a:lnTo>
                <a:lnTo>
                  <a:pt x="1760" y="1288"/>
                </a:lnTo>
                <a:lnTo>
                  <a:pt x="1758" y="1288"/>
                </a:lnTo>
                <a:lnTo>
                  <a:pt x="1756" y="1288"/>
                </a:lnTo>
                <a:lnTo>
                  <a:pt x="1756" y="1286"/>
                </a:lnTo>
                <a:lnTo>
                  <a:pt x="1755" y="1288"/>
                </a:lnTo>
                <a:lnTo>
                  <a:pt x="1753" y="1286"/>
                </a:lnTo>
                <a:lnTo>
                  <a:pt x="1753" y="1285"/>
                </a:lnTo>
                <a:lnTo>
                  <a:pt x="1751" y="1285"/>
                </a:lnTo>
                <a:lnTo>
                  <a:pt x="1750" y="1285"/>
                </a:lnTo>
                <a:lnTo>
                  <a:pt x="1748" y="1283"/>
                </a:lnTo>
                <a:lnTo>
                  <a:pt x="1748" y="1281"/>
                </a:lnTo>
                <a:lnTo>
                  <a:pt x="1748" y="1283"/>
                </a:lnTo>
                <a:lnTo>
                  <a:pt x="1746" y="1283"/>
                </a:lnTo>
                <a:lnTo>
                  <a:pt x="1746" y="1285"/>
                </a:lnTo>
                <a:lnTo>
                  <a:pt x="1744" y="1285"/>
                </a:lnTo>
                <a:lnTo>
                  <a:pt x="1746" y="1286"/>
                </a:lnTo>
                <a:lnTo>
                  <a:pt x="1748" y="1288"/>
                </a:lnTo>
                <a:lnTo>
                  <a:pt x="1744" y="1286"/>
                </a:lnTo>
                <a:lnTo>
                  <a:pt x="1748" y="1288"/>
                </a:lnTo>
                <a:lnTo>
                  <a:pt x="1744" y="1286"/>
                </a:lnTo>
                <a:lnTo>
                  <a:pt x="1746" y="1288"/>
                </a:lnTo>
                <a:lnTo>
                  <a:pt x="1748" y="1290"/>
                </a:lnTo>
                <a:lnTo>
                  <a:pt x="1746" y="1290"/>
                </a:lnTo>
                <a:lnTo>
                  <a:pt x="1744" y="1290"/>
                </a:lnTo>
                <a:lnTo>
                  <a:pt x="1743" y="1290"/>
                </a:lnTo>
                <a:lnTo>
                  <a:pt x="1741" y="1288"/>
                </a:lnTo>
                <a:lnTo>
                  <a:pt x="1738" y="1288"/>
                </a:lnTo>
                <a:lnTo>
                  <a:pt x="1736" y="1286"/>
                </a:lnTo>
                <a:lnTo>
                  <a:pt x="1734" y="1286"/>
                </a:lnTo>
                <a:lnTo>
                  <a:pt x="1733" y="1285"/>
                </a:lnTo>
                <a:lnTo>
                  <a:pt x="1731" y="1285"/>
                </a:lnTo>
                <a:lnTo>
                  <a:pt x="1731" y="1283"/>
                </a:lnTo>
                <a:lnTo>
                  <a:pt x="1729" y="1283"/>
                </a:lnTo>
                <a:lnTo>
                  <a:pt x="1726" y="1283"/>
                </a:lnTo>
                <a:lnTo>
                  <a:pt x="1722" y="1280"/>
                </a:lnTo>
                <a:lnTo>
                  <a:pt x="1719" y="1276"/>
                </a:lnTo>
                <a:lnTo>
                  <a:pt x="1719" y="1273"/>
                </a:lnTo>
                <a:lnTo>
                  <a:pt x="1717" y="1273"/>
                </a:lnTo>
                <a:lnTo>
                  <a:pt x="1712" y="1271"/>
                </a:lnTo>
                <a:lnTo>
                  <a:pt x="1709" y="1271"/>
                </a:lnTo>
                <a:lnTo>
                  <a:pt x="1709" y="1273"/>
                </a:lnTo>
                <a:lnTo>
                  <a:pt x="1705" y="1273"/>
                </a:lnTo>
                <a:lnTo>
                  <a:pt x="1704" y="1271"/>
                </a:lnTo>
                <a:lnTo>
                  <a:pt x="1702" y="1273"/>
                </a:lnTo>
                <a:lnTo>
                  <a:pt x="1699" y="1273"/>
                </a:lnTo>
                <a:lnTo>
                  <a:pt x="1699" y="1275"/>
                </a:lnTo>
                <a:lnTo>
                  <a:pt x="1702" y="1275"/>
                </a:lnTo>
                <a:lnTo>
                  <a:pt x="1705" y="1276"/>
                </a:lnTo>
                <a:lnTo>
                  <a:pt x="1704" y="1278"/>
                </a:lnTo>
                <a:lnTo>
                  <a:pt x="1705" y="1278"/>
                </a:lnTo>
                <a:lnTo>
                  <a:pt x="1707" y="1278"/>
                </a:lnTo>
                <a:lnTo>
                  <a:pt x="1709" y="1278"/>
                </a:lnTo>
                <a:lnTo>
                  <a:pt x="1710" y="1278"/>
                </a:lnTo>
                <a:lnTo>
                  <a:pt x="1712" y="1280"/>
                </a:lnTo>
                <a:lnTo>
                  <a:pt x="1714" y="1283"/>
                </a:lnTo>
                <a:lnTo>
                  <a:pt x="1712" y="1283"/>
                </a:lnTo>
                <a:lnTo>
                  <a:pt x="1712" y="1285"/>
                </a:lnTo>
                <a:lnTo>
                  <a:pt x="1710" y="1285"/>
                </a:lnTo>
                <a:lnTo>
                  <a:pt x="1714" y="1285"/>
                </a:lnTo>
                <a:lnTo>
                  <a:pt x="1712" y="1286"/>
                </a:lnTo>
                <a:lnTo>
                  <a:pt x="1714" y="1286"/>
                </a:lnTo>
                <a:lnTo>
                  <a:pt x="1712" y="1288"/>
                </a:lnTo>
                <a:lnTo>
                  <a:pt x="1716" y="1288"/>
                </a:lnTo>
                <a:lnTo>
                  <a:pt x="1717" y="1290"/>
                </a:lnTo>
                <a:lnTo>
                  <a:pt x="1719" y="1290"/>
                </a:lnTo>
                <a:lnTo>
                  <a:pt x="1721" y="1292"/>
                </a:lnTo>
                <a:lnTo>
                  <a:pt x="1721" y="1293"/>
                </a:lnTo>
                <a:lnTo>
                  <a:pt x="1724" y="1293"/>
                </a:lnTo>
                <a:lnTo>
                  <a:pt x="1726" y="1292"/>
                </a:lnTo>
                <a:lnTo>
                  <a:pt x="1727" y="1293"/>
                </a:lnTo>
                <a:lnTo>
                  <a:pt x="1729" y="1295"/>
                </a:lnTo>
                <a:lnTo>
                  <a:pt x="1727" y="1295"/>
                </a:lnTo>
                <a:lnTo>
                  <a:pt x="1727" y="1297"/>
                </a:lnTo>
                <a:lnTo>
                  <a:pt x="1726" y="1297"/>
                </a:lnTo>
                <a:lnTo>
                  <a:pt x="1724" y="1293"/>
                </a:lnTo>
                <a:lnTo>
                  <a:pt x="1722" y="1295"/>
                </a:lnTo>
                <a:lnTo>
                  <a:pt x="1722" y="1297"/>
                </a:lnTo>
                <a:lnTo>
                  <a:pt x="1724" y="1295"/>
                </a:lnTo>
                <a:lnTo>
                  <a:pt x="1726" y="1297"/>
                </a:lnTo>
                <a:lnTo>
                  <a:pt x="1729" y="1297"/>
                </a:lnTo>
                <a:lnTo>
                  <a:pt x="1731" y="1297"/>
                </a:lnTo>
                <a:lnTo>
                  <a:pt x="1733" y="1298"/>
                </a:lnTo>
                <a:lnTo>
                  <a:pt x="1736" y="1297"/>
                </a:lnTo>
                <a:lnTo>
                  <a:pt x="1739" y="1297"/>
                </a:lnTo>
                <a:lnTo>
                  <a:pt x="1739" y="1298"/>
                </a:lnTo>
                <a:lnTo>
                  <a:pt x="1741" y="1298"/>
                </a:lnTo>
                <a:lnTo>
                  <a:pt x="1741" y="1300"/>
                </a:lnTo>
                <a:lnTo>
                  <a:pt x="1743" y="1300"/>
                </a:lnTo>
                <a:lnTo>
                  <a:pt x="1744" y="1300"/>
                </a:lnTo>
                <a:lnTo>
                  <a:pt x="1744" y="1302"/>
                </a:lnTo>
                <a:lnTo>
                  <a:pt x="1746" y="1302"/>
                </a:lnTo>
                <a:lnTo>
                  <a:pt x="1746" y="1303"/>
                </a:lnTo>
                <a:lnTo>
                  <a:pt x="1750" y="1303"/>
                </a:lnTo>
                <a:lnTo>
                  <a:pt x="1748" y="1305"/>
                </a:lnTo>
                <a:lnTo>
                  <a:pt x="1746" y="1303"/>
                </a:lnTo>
                <a:lnTo>
                  <a:pt x="1741" y="1303"/>
                </a:lnTo>
                <a:lnTo>
                  <a:pt x="1739" y="1303"/>
                </a:lnTo>
                <a:lnTo>
                  <a:pt x="1738" y="1305"/>
                </a:lnTo>
                <a:lnTo>
                  <a:pt x="1739" y="1305"/>
                </a:lnTo>
                <a:lnTo>
                  <a:pt x="1738" y="1307"/>
                </a:lnTo>
                <a:lnTo>
                  <a:pt x="1739" y="1307"/>
                </a:lnTo>
                <a:lnTo>
                  <a:pt x="1741" y="1307"/>
                </a:lnTo>
                <a:lnTo>
                  <a:pt x="1744" y="1307"/>
                </a:lnTo>
                <a:lnTo>
                  <a:pt x="1743" y="1307"/>
                </a:lnTo>
                <a:lnTo>
                  <a:pt x="1744" y="1309"/>
                </a:lnTo>
                <a:lnTo>
                  <a:pt x="1748" y="1309"/>
                </a:lnTo>
                <a:lnTo>
                  <a:pt x="1751" y="1309"/>
                </a:lnTo>
                <a:lnTo>
                  <a:pt x="1751" y="1307"/>
                </a:lnTo>
                <a:lnTo>
                  <a:pt x="1753" y="1307"/>
                </a:lnTo>
                <a:lnTo>
                  <a:pt x="1751" y="1309"/>
                </a:lnTo>
                <a:lnTo>
                  <a:pt x="1753" y="1309"/>
                </a:lnTo>
                <a:lnTo>
                  <a:pt x="1753" y="1310"/>
                </a:lnTo>
                <a:lnTo>
                  <a:pt x="1755" y="1309"/>
                </a:lnTo>
                <a:lnTo>
                  <a:pt x="1758" y="1310"/>
                </a:lnTo>
                <a:lnTo>
                  <a:pt x="1755" y="1310"/>
                </a:lnTo>
                <a:lnTo>
                  <a:pt x="1753" y="1312"/>
                </a:lnTo>
                <a:lnTo>
                  <a:pt x="1751" y="1314"/>
                </a:lnTo>
                <a:lnTo>
                  <a:pt x="1753" y="1314"/>
                </a:lnTo>
                <a:lnTo>
                  <a:pt x="1755" y="1314"/>
                </a:lnTo>
                <a:lnTo>
                  <a:pt x="1756" y="1315"/>
                </a:lnTo>
                <a:lnTo>
                  <a:pt x="1758" y="1314"/>
                </a:lnTo>
                <a:lnTo>
                  <a:pt x="1758" y="1315"/>
                </a:lnTo>
                <a:lnTo>
                  <a:pt x="1756" y="1317"/>
                </a:lnTo>
                <a:lnTo>
                  <a:pt x="1753" y="1317"/>
                </a:lnTo>
                <a:lnTo>
                  <a:pt x="1751" y="1319"/>
                </a:lnTo>
                <a:lnTo>
                  <a:pt x="1755" y="1319"/>
                </a:lnTo>
                <a:lnTo>
                  <a:pt x="1758" y="1317"/>
                </a:lnTo>
                <a:lnTo>
                  <a:pt x="1756" y="1319"/>
                </a:lnTo>
                <a:lnTo>
                  <a:pt x="1760" y="1319"/>
                </a:lnTo>
                <a:lnTo>
                  <a:pt x="1761" y="1319"/>
                </a:lnTo>
                <a:lnTo>
                  <a:pt x="1763" y="1317"/>
                </a:lnTo>
                <a:lnTo>
                  <a:pt x="1767" y="1317"/>
                </a:lnTo>
                <a:lnTo>
                  <a:pt x="1768" y="1317"/>
                </a:lnTo>
                <a:lnTo>
                  <a:pt x="1765" y="1319"/>
                </a:lnTo>
                <a:lnTo>
                  <a:pt x="1767" y="1320"/>
                </a:lnTo>
                <a:lnTo>
                  <a:pt x="1767" y="1322"/>
                </a:lnTo>
                <a:lnTo>
                  <a:pt x="1768" y="1320"/>
                </a:lnTo>
                <a:lnTo>
                  <a:pt x="1770" y="1320"/>
                </a:lnTo>
                <a:lnTo>
                  <a:pt x="1773" y="1319"/>
                </a:lnTo>
                <a:lnTo>
                  <a:pt x="1775" y="1320"/>
                </a:lnTo>
                <a:lnTo>
                  <a:pt x="1778" y="1322"/>
                </a:lnTo>
                <a:lnTo>
                  <a:pt x="1780" y="1324"/>
                </a:lnTo>
                <a:lnTo>
                  <a:pt x="1782" y="1322"/>
                </a:lnTo>
                <a:lnTo>
                  <a:pt x="1785" y="1324"/>
                </a:lnTo>
                <a:lnTo>
                  <a:pt x="1787" y="1324"/>
                </a:lnTo>
                <a:lnTo>
                  <a:pt x="1789" y="1327"/>
                </a:lnTo>
                <a:lnTo>
                  <a:pt x="1790" y="1326"/>
                </a:lnTo>
                <a:lnTo>
                  <a:pt x="1790" y="1327"/>
                </a:lnTo>
                <a:lnTo>
                  <a:pt x="1792" y="1329"/>
                </a:lnTo>
                <a:lnTo>
                  <a:pt x="1794" y="1329"/>
                </a:lnTo>
                <a:lnTo>
                  <a:pt x="1795" y="1329"/>
                </a:lnTo>
                <a:lnTo>
                  <a:pt x="1795" y="1331"/>
                </a:lnTo>
                <a:lnTo>
                  <a:pt x="1794" y="1331"/>
                </a:lnTo>
                <a:lnTo>
                  <a:pt x="1795" y="1332"/>
                </a:lnTo>
                <a:lnTo>
                  <a:pt x="1795" y="1334"/>
                </a:lnTo>
                <a:lnTo>
                  <a:pt x="1795" y="1336"/>
                </a:lnTo>
                <a:lnTo>
                  <a:pt x="1797" y="1336"/>
                </a:lnTo>
                <a:lnTo>
                  <a:pt x="1797" y="1337"/>
                </a:lnTo>
                <a:lnTo>
                  <a:pt x="1797" y="1336"/>
                </a:lnTo>
                <a:lnTo>
                  <a:pt x="1799" y="1334"/>
                </a:lnTo>
                <a:lnTo>
                  <a:pt x="1801" y="1334"/>
                </a:lnTo>
                <a:lnTo>
                  <a:pt x="1802" y="1336"/>
                </a:lnTo>
                <a:lnTo>
                  <a:pt x="1801" y="1337"/>
                </a:lnTo>
                <a:lnTo>
                  <a:pt x="1802" y="1339"/>
                </a:lnTo>
                <a:lnTo>
                  <a:pt x="1801" y="1339"/>
                </a:lnTo>
                <a:lnTo>
                  <a:pt x="1801" y="1341"/>
                </a:lnTo>
                <a:lnTo>
                  <a:pt x="1804" y="1339"/>
                </a:lnTo>
                <a:lnTo>
                  <a:pt x="1804" y="1341"/>
                </a:lnTo>
                <a:lnTo>
                  <a:pt x="1806" y="1341"/>
                </a:lnTo>
                <a:lnTo>
                  <a:pt x="1807" y="1341"/>
                </a:lnTo>
                <a:lnTo>
                  <a:pt x="1809" y="1341"/>
                </a:lnTo>
                <a:lnTo>
                  <a:pt x="1809" y="1343"/>
                </a:lnTo>
                <a:lnTo>
                  <a:pt x="1807" y="1344"/>
                </a:lnTo>
                <a:lnTo>
                  <a:pt x="1809" y="1344"/>
                </a:lnTo>
                <a:lnTo>
                  <a:pt x="1809" y="1348"/>
                </a:lnTo>
                <a:lnTo>
                  <a:pt x="1806" y="1346"/>
                </a:lnTo>
                <a:lnTo>
                  <a:pt x="1804" y="1346"/>
                </a:lnTo>
                <a:lnTo>
                  <a:pt x="1804" y="1344"/>
                </a:lnTo>
                <a:lnTo>
                  <a:pt x="1801" y="1343"/>
                </a:lnTo>
                <a:lnTo>
                  <a:pt x="1799" y="1344"/>
                </a:lnTo>
                <a:lnTo>
                  <a:pt x="1801" y="1346"/>
                </a:lnTo>
                <a:lnTo>
                  <a:pt x="1801" y="1349"/>
                </a:lnTo>
                <a:lnTo>
                  <a:pt x="1802" y="1348"/>
                </a:lnTo>
                <a:lnTo>
                  <a:pt x="1804" y="1348"/>
                </a:lnTo>
                <a:lnTo>
                  <a:pt x="1802" y="1351"/>
                </a:lnTo>
                <a:lnTo>
                  <a:pt x="1804" y="1351"/>
                </a:lnTo>
                <a:lnTo>
                  <a:pt x="1804" y="1353"/>
                </a:lnTo>
                <a:lnTo>
                  <a:pt x="1806" y="1354"/>
                </a:lnTo>
                <a:lnTo>
                  <a:pt x="1807" y="1354"/>
                </a:lnTo>
                <a:lnTo>
                  <a:pt x="1807" y="1356"/>
                </a:lnTo>
                <a:lnTo>
                  <a:pt x="1806" y="1356"/>
                </a:lnTo>
                <a:lnTo>
                  <a:pt x="1806" y="1358"/>
                </a:lnTo>
                <a:lnTo>
                  <a:pt x="1807" y="1360"/>
                </a:lnTo>
                <a:lnTo>
                  <a:pt x="1807" y="1361"/>
                </a:lnTo>
                <a:lnTo>
                  <a:pt x="1806" y="1363"/>
                </a:lnTo>
                <a:lnTo>
                  <a:pt x="1806" y="1365"/>
                </a:lnTo>
                <a:lnTo>
                  <a:pt x="1807" y="1366"/>
                </a:lnTo>
                <a:lnTo>
                  <a:pt x="1806" y="1368"/>
                </a:lnTo>
                <a:lnTo>
                  <a:pt x="1804" y="1368"/>
                </a:lnTo>
                <a:lnTo>
                  <a:pt x="1802" y="1368"/>
                </a:lnTo>
                <a:lnTo>
                  <a:pt x="1802" y="1370"/>
                </a:lnTo>
                <a:lnTo>
                  <a:pt x="1804" y="1370"/>
                </a:lnTo>
                <a:lnTo>
                  <a:pt x="1801" y="1370"/>
                </a:lnTo>
                <a:lnTo>
                  <a:pt x="1801" y="1372"/>
                </a:lnTo>
                <a:lnTo>
                  <a:pt x="1799" y="1372"/>
                </a:lnTo>
                <a:lnTo>
                  <a:pt x="1801" y="1373"/>
                </a:lnTo>
                <a:lnTo>
                  <a:pt x="1802" y="1373"/>
                </a:lnTo>
                <a:lnTo>
                  <a:pt x="1801" y="1373"/>
                </a:lnTo>
                <a:lnTo>
                  <a:pt x="1797" y="1375"/>
                </a:lnTo>
                <a:lnTo>
                  <a:pt x="1799" y="1375"/>
                </a:lnTo>
                <a:lnTo>
                  <a:pt x="1801" y="1375"/>
                </a:lnTo>
                <a:lnTo>
                  <a:pt x="1804" y="1375"/>
                </a:lnTo>
                <a:lnTo>
                  <a:pt x="1804" y="1377"/>
                </a:lnTo>
                <a:lnTo>
                  <a:pt x="1806" y="1378"/>
                </a:lnTo>
                <a:lnTo>
                  <a:pt x="1806" y="1380"/>
                </a:lnTo>
                <a:lnTo>
                  <a:pt x="1806" y="1382"/>
                </a:lnTo>
                <a:lnTo>
                  <a:pt x="1807" y="1380"/>
                </a:lnTo>
                <a:lnTo>
                  <a:pt x="1809" y="1383"/>
                </a:lnTo>
                <a:lnTo>
                  <a:pt x="1811" y="1382"/>
                </a:lnTo>
                <a:lnTo>
                  <a:pt x="1812" y="1383"/>
                </a:lnTo>
                <a:lnTo>
                  <a:pt x="1811" y="1383"/>
                </a:lnTo>
                <a:lnTo>
                  <a:pt x="1812" y="1383"/>
                </a:lnTo>
                <a:lnTo>
                  <a:pt x="1814" y="1385"/>
                </a:lnTo>
                <a:lnTo>
                  <a:pt x="1814" y="1387"/>
                </a:lnTo>
                <a:lnTo>
                  <a:pt x="1816" y="1389"/>
                </a:lnTo>
                <a:lnTo>
                  <a:pt x="1814" y="1390"/>
                </a:lnTo>
                <a:lnTo>
                  <a:pt x="1816" y="1390"/>
                </a:lnTo>
                <a:lnTo>
                  <a:pt x="1819" y="1390"/>
                </a:lnTo>
                <a:lnTo>
                  <a:pt x="1819" y="1394"/>
                </a:lnTo>
                <a:lnTo>
                  <a:pt x="1821" y="1394"/>
                </a:lnTo>
                <a:lnTo>
                  <a:pt x="1821" y="1395"/>
                </a:lnTo>
                <a:lnTo>
                  <a:pt x="1821" y="1394"/>
                </a:lnTo>
                <a:lnTo>
                  <a:pt x="1821" y="1395"/>
                </a:lnTo>
                <a:lnTo>
                  <a:pt x="1821" y="1397"/>
                </a:lnTo>
                <a:lnTo>
                  <a:pt x="1819" y="1399"/>
                </a:lnTo>
                <a:lnTo>
                  <a:pt x="1821" y="1399"/>
                </a:lnTo>
                <a:lnTo>
                  <a:pt x="1823" y="1399"/>
                </a:lnTo>
                <a:lnTo>
                  <a:pt x="1824" y="1400"/>
                </a:lnTo>
                <a:lnTo>
                  <a:pt x="1826" y="1400"/>
                </a:lnTo>
                <a:lnTo>
                  <a:pt x="1826" y="1402"/>
                </a:lnTo>
                <a:lnTo>
                  <a:pt x="1828" y="1404"/>
                </a:lnTo>
                <a:lnTo>
                  <a:pt x="1829" y="1406"/>
                </a:lnTo>
                <a:lnTo>
                  <a:pt x="1829" y="1407"/>
                </a:lnTo>
                <a:lnTo>
                  <a:pt x="1829" y="1409"/>
                </a:lnTo>
                <a:lnTo>
                  <a:pt x="1828" y="1411"/>
                </a:lnTo>
                <a:lnTo>
                  <a:pt x="1828" y="1412"/>
                </a:lnTo>
                <a:lnTo>
                  <a:pt x="1829" y="1411"/>
                </a:lnTo>
                <a:lnTo>
                  <a:pt x="1831" y="1409"/>
                </a:lnTo>
                <a:lnTo>
                  <a:pt x="1833" y="1407"/>
                </a:lnTo>
                <a:lnTo>
                  <a:pt x="1833" y="1409"/>
                </a:lnTo>
                <a:lnTo>
                  <a:pt x="1833" y="1412"/>
                </a:lnTo>
                <a:lnTo>
                  <a:pt x="1829" y="1414"/>
                </a:lnTo>
                <a:lnTo>
                  <a:pt x="1829" y="1416"/>
                </a:lnTo>
                <a:lnTo>
                  <a:pt x="1831" y="1416"/>
                </a:lnTo>
                <a:lnTo>
                  <a:pt x="1833" y="1417"/>
                </a:lnTo>
                <a:lnTo>
                  <a:pt x="1835" y="1419"/>
                </a:lnTo>
                <a:lnTo>
                  <a:pt x="1836" y="1419"/>
                </a:lnTo>
                <a:lnTo>
                  <a:pt x="1833" y="1424"/>
                </a:lnTo>
                <a:lnTo>
                  <a:pt x="1833" y="1426"/>
                </a:lnTo>
                <a:lnTo>
                  <a:pt x="1833" y="1428"/>
                </a:lnTo>
                <a:lnTo>
                  <a:pt x="1835" y="1428"/>
                </a:lnTo>
                <a:lnTo>
                  <a:pt x="1836" y="1429"/>
                </a:lnTo>
                <a:lnTo>
                  <a:pt x="1838" y="1426"/>
                </a:lnTo>
                <a:lnTo>
                  <a:pt x="1840" y="1426"/>
                </a:lnTo>
                <a:lnTo>
                  <a:pt x="1840" y="1428"/>
                </a:lnTo>
                <a:lnTo>
                  <a:pt x="1838" y="1428"/>
                </a:lnTo>
                <a:lnTo>
                  <a:pt x="1840" y="1429"/>
                </a:lnTo>
                <a:lnTo>
                  <a:pt x="1840" y="1431"/>
                </a:lnTo>
                <a:lnTo>
                  <a:pt x="1843" y="1433"/>
                </a:lnTo>
                <a:lnTo>
                  <a:pt x="1845" y="1431"/>
                </a:lnTo>
                <a:lnTo>
                  <a:pt x="1846" y="1433"/>
                </a:lnTo>
                <a:lnTo>
                  <a:pt x="1846" y="1434"/>
                </a:lnTo>
                <a:lnTo>
                  <a:pt x="1848" y="1434"/>
                </a:lnTo>
                <a:lnTo>
                  <a:pt x="1850" y="1434"/>
                </a:lnTo>
                <a:lnTo>
                  <a:pt x="1850" y="1433"/>
                </a:lnTo>
                <a:lnTo>
                  <a:pt x="1848" y="1431"/>
                </a:lnTo>
                <a:lnTo>
                  <a:pt x="1850" y="1429"/>
                </a:lnTo>
                <a:lnTo>
                  <a:pt x="1852" y="1431"/>
                </a:lnTo>
                <a:lnTo>
                  <a:pt x="1852" y="1433"/>
                </a:lnTo>
                <a:lnTo>
                  <a:pt x="1853" y="1434"/>
                </a:lnTo>
                <a:lnTo>
                  <a:pt x="1853" y="1436"/>
                </a:lnTo>
                <a:lnTo>
                  <a:pt x="1855" y="1436"/>
                </a:lnTo>
                <a:lnTo>
                  <a:pt x="1857" y="1436"/>
                </a:lnTo>
                <a:lnTo>
                  <a:pt x="1858" y="1434"/>
                </a:lnTo>
                <a:lnTo>
                  <a:pt x="1858" y="1433"/>
                </a:lnTo>
                <a:lnTo>
                  <a:pt x="1862" y="1433"/>
                </a:lnTo>
                <a:lnTo>
                  <a:pt x="1862" y="1429"/>
                </a:lnTo>
                <a:lnTo>
                  <a:pt x="1860" y="1428"/>
                </a:lnTo>
                <a:lnTo>
                  <a:pt x="1862" y="1428"/>
                </a:lnTo>
                <a:lnTo>
                  <a:pt x="1863" y="1428"/>
                </a:lnTo>
                <a:lnTo>
                  <a:pt x="1865" y="1429"/>
                </a:lnTo>
                <a:lnTo>
                  <a:pt x="1867" y="1429"/>
                </a:lnTo>
                <a:lnTo>
                  <a:pt x="1869" y="1429"/>
                </a:lnTo>
                <a:lnTo>
                  <a:pt x="1869" y="1428"/>
                </a:lnTo>
                <a:lnTo>
                  <a:pt x="1869" y="1426"/>
                </a:lnTo>
                <a:lnTo>
                  <a:pt x="1869" y="1424"/>
                </a:lnTo>
                <a:lnTo>
                  <a:pt x="1870" y="1426"/>
                </a:lnTo>
                <a:lnTo>
                  <a:pt x="1872" y="1426"/>
                </a:lnTo>
                <a:lnTo>
                  <a:pt x="1872" y="1428"/>
                </a:lnTo>
                <a:lnTo>
                  <a:pt x="1872" y="1429"/>
                </a:lnTo>
                <a:lnTo>
                  <a:pt x="1870" y="1428"/>
                </a:lnTo>
                <a:lnTo>
                  <a:pt x="1870" y="1429"/>
                </a:lnTo>
                <a:lnTo>
                  <a:pt x="1870" y="1433"/>
                </a:lnTo>
                <a:lnTo>
                  <a:pt x="1872" y="1433"/>
                </a:lnTo>
                <a:lnTo>
                  <a:pt x="1872" y="1434"/>
                </a:lnTo>
                <a:lnTo>
                  <a:pt x="1874" y="1436"/>
                </a:lnTo>
                <a:lnTo>
                  <a:pt x="1875" y="1438"/>
                </a:lnTo>
                <a:lnTo>
                  <a:pt x="1877" y="1436"/>
                </a:lnTo>
                <a:lnTo>
                  <a:pt x="1877" y="1434"/>
                </a:lnTo>
                <a:lnTo>
                  <a:pt x="1879" y="1434"/>
                </a:lnTo>
                <a:lnTo>
                  <a:pt x="1879" y="1436"/>
                </a:lnTo>
                <a:lnTo>
                  <a:pt x="1882" y="1436"/>
                </a:lnTo>
                <a:lnTo>
                  <a:pt x="1884" y="1438"/>
                </a:lnTo>
                <a:lnTo>
                  <a:pt x="1884" y="1440"/>
                </a:lnTo>
                <a:lnTo>
                  <a:pt x="1886" y="1441"/>
                </a:lnTo>
                <a:lnTo>
                  <a:pt x="1887" y="1443"/>
                </a:lnTo>
                <a:lnTo>
                  <a:pt x="1889" y="1446"/>
                </a:lnTo>
                <a:lnTo>
                  <a:pt x="1889" y="1448"/>
                </a:lnTo>
                <a:lnTo>
                  <a:pt x="1891" y="1446"/>
                </a:lnTo>
                <a:lnTo>
                  <a:pt x="1894" y="1446"/>
                </a:lnTo>
                <a:lnTo>
                  <a:pt x="1896" y="1446"/>
                </a:lnTo>
                <a:lnTo>
                  <a:pt x="1897" y="1446"/>
                </a:lnTo>
                <a:lnTo>
                  <a:pt x="1899" y="1446"/>
                </a:lnTo>
                <a:lnTo>
                  <a:pt x="1901" y="1446"/>
                </a:lnTo>
                <a:lnTo>
                  <a:pt x="1903" y="1448"/>
                </a:lnTo>
                <a:lnTo>
                  <a:pt x="1904" y="1448"/>
                </a:lnTo>
                <a:lnTo>
                  <a:pt x="1906" y="1448"/>
                </a:lnTo>
                <a:lnTo>
                  <a:pt x="1906" y="1446"/>
                </a:lnTo>
                <a:lnTo>
                  <a:pt x="1908" y="1446"/>
                </a:lnTo>
                <a:lnTo>
                  <a:pt x="1909" y="1446"/>
                </a:lnTo>
                <a:lnTo>
                  <a:pt x="1911" y="1445"/>
                </a:lnTo>
                <a:lnTo>
                  <a:pt x="1913" y="1446"/>
                </a:lnTo>
                <a:lnTo>
                  <a:pt x="1914" y="1445"/>
                </a:lnTo>
                <a:lnTo>
                  <a:pt x="1916" y="1445"/>
                </a:lnTo>
                <a:lnTo>
                  <a:pt x="1920" y="1443"/>
                </a:lnTo>
                <a:lnTo>
                  <a:pt x="1920" y="1445"/>
                </a:lnTo>
                <a:lnTo>
                  <a:pt x="1921" y="1446"/>
                </a:lnTo>
                <a:lnTo>
                  <a:pt x="1923" y="1446"/>
                </a:lnTo>
                <a:lnTo>
                  <a:pt x="1923" y="1448"/>
                </a:lnTo>
                <a:lnTo>
                  <a:pt x="1926" y="1448"/>
                </a:lnTo>
                <a:lnTo>
                  <a:pt x="1928" y="1446"/>
                </a:lnTo>
                <a:lnTo>
                  <a:pt x="1930" y="1446"/>
                </a:lnTo>
                <a:lnTo>
                  <a:pt x="1931" y="1445"/>
                </a:lnTo>
                <a:lnTo>
                  <a:pt x="1933" y="1443"/>
                </a:lnTo>
                <a:lnTo>
                  <a:pt x="1933" y="1440"/>
                </a:lnTo>
                <a:lnTo>
                  <a:pt x="1931" y="1438"/>
                </a:lnTo>
                <a:lnTo>
                  <a:pt x="1933" y="1436"/>
                </a:lnTo>
                <a:lnTo>
                  <a:pt x="1937" y="1436"/>
                </a:lnTo>
                <a:lnTo>
                  <a:pt x="1938" y="1434"/>
                </a:lnTo>
                <a:lnTo>
                  <a:pt x="1940" y="1433"/>
                </a:lnTo>
                <a:lnTo>
                  <a:pt x="1940" y="1431"/>
                </a:lnTo>
                <a:lnTo>
                  <a:pt x="1940" y="1429"/>
                </a:lnTo>
                <a:lnTo>
                  <a:pt x="1942" y="1426"/>
                </a:lnTo>
                <a:lnTo>
                  <a:pt x="1940" y="1424"/>
                </a:lnTo>
                <a:lnTo>
                  <a:pt x="1940" y="1421"/>
                </a:lnTo>
                <a:lnTo>
                  <a:pt x="1937" y="1419"/>
                </a:lnTo>
                <a:lnTo>
                  <a:pt x="1935" y="1417"/>
                </a:lnTo>
                <a:lnTo>
                  <a:pt x="1933" y="1416"/>
                </a:lnTo>
                <a:lnTo>
                  <a:pt x="1931" y="1416"/>
                </a:lnTo>
                <a:lnTo>
                  <a:pt x="1930" y="1414"/>
                </a:lnTo>
                <a:lnTo>
                  <a:pt x="1930" y="1412"/>
                </a:lnTo>
                <a:lnTo>
                  <a:pt x="1931" y="1409"/>
                </a:lnTo>
                <a:lnTo>
                  <a:pt x="1933" y="1407"/>
                </a:lnTo>
                <a:lnTo>
                  <a:pt x="1931" y="1407"/>
                </a:lnTo>
                <a:lnTo>
                  <a:pt x="1930" y="1406"/>
                </a:lnTo>
                <a:lnTo>
                  <a:pt x="1928" y="1407"/>
                </a:lnTo>
                <a:lnTo>
                  <a:pt x="1928" y="1406"/>
                </a:lnTo>
                <a:lnTo>
                  <a:pt x="1930" y="1406"/>
                </a:lnTo>
                <a:lnTo>
                  <a:pt x="1931" y="1404"/>
                </a:lnTo>
                <a:lnTo>
                  <a:pt x="1930" y="1404"/>
                </a:lnTo>
                <a:lnTo>
                  <a:pt x="1928" y="1404"/>
                </a:lnTo>
                <a:lnTo>
                  <a:pt x="1925" y="1404"/>
                </a:lnTo>
                <a:lnTo>
                  <a:pt x="1925" y="1406"/>
                </a:lnTo>
                <a:lnTo>
                  <a:pt x="1923" y="1404"/>
                </a:lnTo>
                <a:lnTo>
                  <a:pt x="1923" y="1400"/>
                </a:lnTo>
                <a:lnTo>
                  <a:pt x="1921" y="1400"/>
                </a:lnTo>
                <a:lnTo>
                  <a:pt x="1923" y="1399"/>
                </a:lnTo>
                <a:lnTo>
                  <a:pt x="1921" y="1399"/>
                </a:lnTo>
                <a:lnTo>
                  <a:pt x="1918" y="1400"/>
                </a:lnTo>
                <a:lnTo>
                  <a:pt x="1918" y="1402"/>
                </a:lnTo>
                <a:lnTo>
                  <a:pt x="1918" y="1404"/>
                </a:lnTo>
                <a:lnTo>
                  <a:pt x="1918" y="1406"/>
                </a:lnTo>
                <a:lnTo>
                  <a:pt x="1918" y="1407"/>
                </a:lnTo>
                <a:lnTo>
                  <a:pt x="1916" y="1406"/>
                </a:lnTo>
                <a:lnTo>
                  <a:pt x="1914" y="1407"/>
                </a:lnTo>
                <a:lnTo>
                  <a:pt x="1913" y="1409"/>
                </a:lnTo>
                <a:lnTo>
                  <a:pt x="1911" y="1411"/>
                </a:lnTo>
                <a:lnTo>
                  <a:pt x="1909" y="1411"/>
                </a:lnTo>
                <a:lnTo>
                  <a:pt x="1906" y="1411"/>
                </a:lnTo>
                <a:lnTo>
                  <a:pt x="1904" y="1411"/>
                </a:lnTo>
                <a:lnTo>
                  <a:pt x="1903" y="1409"/>
                </a:lnTo>
                <a:lnTo>
                  <a:pt x="1901" y="1407"/>
                </a:lnTo>
                <a:lnTo>
                  <a:pt x="1899" y="1407"/>
                </a:lnTo>
                <a:lnTo>
                  <a:pt x="1896" y="1406"/>
                </a:lnTo>
                <a:lnTo>
                  <a:pt x="1896" y="1404"/>
                </a:lnTo>
                <a:lnTo>
                  <a:pt x="1892" y="1402"/>
                </a:lnTo>
                <a:lnTo>
                  <a:pt x="1891" y="1400"/>
                </a:lnTo>
                <a:lnTo>
                  <a:pt x="1889" y="1399"/>
                </a:lnTo>
                <a:lnTo>
                  <a:pt x="1887" y="1399"/>
                </a:lnTo>
                <a:lnTo>
                  <a:pt x="1886" y="1397"/>
                </a:lnTo>
                <a:lnTo>
                  <a:pt x="1884" y="1395"/>
                </a:lnTo>
                <a:lnTo>
                  <a:pt x="1884" y="1394"/>
                </a:lnTo>
                <a:lnTo>
                  <a:pt x="1880" y="1394"/>
                </a:lnTo>
                <a:lnTo>
                  <a:pt x="1879" y="1395"/>
                </a:lnTo>
                <a:lnTo>
                  <a:pt x="1877" y="1394"/>
                </a:lnTo>
                <a:lnTo>
                  <a:pt x="1875" y="1392"/>
                </a:lnTo>
                <a:lnTo>
                  <a:pt x="1875" y="1390"/>
                </a:lnTo>
                <a:lnTo>
                  <a:pt x="1874" y="1389"/>
                </a:lnTo>
                <a:lnTo>
                  <a:pt x="1875" y="1389"/>
                </a:lnTo>
                <a:lnTo>
                  <a:pt x="1874" y="1389"/>
                </a:lnTo>
                <a:lnTo>
                  <a:pt x="1872" y="1387"/>
                </a:lnTo>
                <a:lnTo>
                  <a:pt x="1870" y="1385"/>
                </a:lnTo>
                <a:lnTo>
                  <a:pt x="1870" y="1383"/>
                </a:lnTo>
                <a:lnTo>
                  <a:pt x="1872" y="1382"/>
                </a:lnTo>
                <a:lnTo>
                  <a:pt x="1874" y="1383"/>
                </a:lnTo>
                <a:lnTo>
                  <a:pt x="1875" y="1382"/>
                </a:lnTo>
                <a:lnTo>
                  <a:pt x="1875" y="1380"/>
                </a:lnTo>
                <a:lnTo>
                  <a:pt x="1877" y="1378"/>
                </a:lnTo>
                <a:lnTo>
                  <a:pt x="1879" y="1377"/>
                </a:lnTo>
                <a:lnTo>
                  <a:pt x="1879" y="1373"/>
                </a:lnTo>
                <a:lnTo>
                  <a:pt x="1877" y="1368"/>
                </a:lnTo>
                <a:lnTo>
                  <a:pt x="1877" y="1366"/>
                </a:lnTo>
                <a:lnTo>
                  <a:pt x="1875" y="1365"/>
                </a:lnTo>
                <a:lnTo>
                  <a:pt x="1875" y="1363"/>
                </a:lnTo>
                <a:lnTo>
                  <a:pt x="1877" y="1363"/>
                </a:lnTo>
                <a:lnTo>
                  <a:pt x="1879" y="1361"/>
                </a:lnTo>
                <a:lnTo>
                  <a:pt x="1879" y="1360"/>
                </a:lnTo>
                <a:lnTo>
                  <a:pt x="1882" y="1360"/>
                </a:lnTo>
                <a:lnTo>
                  <a:pt x="1884" y="1360"/>
                </a:lnTo>
                <a:lnTo>
                  <a:pt x="1887" y="1361"/>
                </a:lnTo>
                <a:lnTo>
                  <a:pt x="1889" y="1361"/>
                </a:lnTo>
                <a:lnTo>
                  <a:pt x="1892" y="1360"/>
                </a:lnTo>
                <a:lnTo>
                  <a:pt x="1897" y="1361"/>
                </a:lnTo>
                <a:lnTo>
                  <a:pt x="1899" y="1361"/>
                </a:lnTo>
                <a:lnTo>
                  <a:pt x="1903" y="1361"/>
                </a:lnTo>
                <a:lnTo>
                  <a:pt x="1904" y="1363"/>
                </a:lnTo>
                <a:lnTo>
                  <a:pt x="1904" y="1365"/>
                </a:lnTo>
                <a:lnTo>
                  <a:pt x="1908" y="1366"/>
                </a:lnTo>
                <a:lnTo>
                  <a:pt x="1911" y="1368"/>
                </a:lnTo>
                <a:lnTo>
                  <a:pt x="1913" y="1368"/>
                </a:lnTo>
                <a:lnTo>
                  <a:pt x="1914" y="1368"/>
                </a:lnTo>
                <a:lnTo>
                  <a:pt x="1918" y="1370"/>
                </a:lnTo>
                <a:lnTo>
                  <a:pt x="1921" y="1368"/>
                </a:lnTo>
                <a:lnTo>
                  <a:pt x="1925" y="1366"/>
                </a:lnTo>
                <a:lnTo>
                  <a:pt x="1926" y="1366"/>
                </a:lnTo>
                <a:lnTo>
                  <a:pt x="1926" y="1370"/>
                </a:lnTo>
                <a:lnTo>
                  <a:pt x="1928" y="1372"/>
                </a:lnTo>
                <a:lnTo>
                  <a:pt x="1926" y="1370"/>
                </a:lnTo>
                <a:lnTo>
                  <a:pt x="1925" y="1370"/>
                </a:lnTo>
                <a:lnTo>
                  <a:pt x="1925" y="1372"/>
                </a:lnTo>
                <a:lnTo>
                  <a:pt x="1925" y="1373"/>
                </a:lnTo>
                <a:lnTo>
                  <a:pt x="1921" y="1372"/>
                </a:lnTo>
                <a:lnTo>
                  <a:pt x="1920" y="1373"/>
                </a:lnTo>
                <a:lnTo>
                  <a:pt x="1920" y="1377"/>
                </a:lnTo>
                <a:lnTo>
                  <a:pt x="1920" y="1378"/>
                </a:lnTo>
                <a:lnTo>
                  <a:pt x="1921" y="1378"/>
                </a:lnTo>
                <a:lnTo>
                  <a:pt x="1925" y="1380"/>
                </a:lnTo>
                <a:lnTo>
                  <a:pt x="1923" y="1383"/>
                </a:lnTo>
                <a:lnTo>
                  <a:pt x="1923" y="1385"/>
                </a:lnTo>
                <a:lnTo>
                  <a:pt x="1923" y="1387"/>
                </a:lnTo>
                <a:lnTo>
                  <a:pt x="1925" y="1387"/>
                </a:lnTo>
                <a:lnTo>
                  <a:pt x="1923" y="1383"/>
                </a:lnTo>
                <a:lnTo>
                  <a:pt x="1926" y="1382"/>
                </a:lnTo>
                <a:lnTo>
                  <a:pt x="1925" y="1378"/>
                </a:lnTo>
                <a:lnTo>
                  <a:pt x="1925" y="1377"/>
                </a:lnTo>
                <a:lnTo>
                  <a:pt x="1926" y="1377"/>
                </a:lnTo>
                <a:lnTo>
                  <a:pt x="1926" y="1375"/>
                </a:lnTo>
                <a:lnTo>
                  <a:pt x="1928" y="1373"/>
                </a:lnTo>
                <a:lnTo>
                  <a:pt x="1931" y="1372"/>
                </a:lnTo>
                <a:lnTo>
                  <a:pt x="1931" y="1373"/>
                </a:lnTo>
                <a:lnTo>
                  <a:pt x="1933" y="1372"/>
                </a:lnTo>
                <a:lnTo>
                  <a:pt x="1931" y="1370"/>
                </a:lnTo>
                <a:lnTo>
                  <a:pt x="1928" y="1368"/>
                </a:lnTo>
                <a:lnTo>
                  <a:pt x="1930" y="1368"/>
                </a:lnTo>
                <a:lnTo>
                  <a:pt x="1931" y="1368"/>
                </a:lnTo>
                <a:lnTo>
                  <a:pt x="1935" y="1368"/>
                </a:lnTo>
                <a:lnTo>
                  <a:pt x="1937" y="1368"/>
                </a:lnTo>
                <a:lnTo>
                  <a:pt x="1938" y="1368"/>
                </a:lnTo>
                <a:lnTo>
                  <a:pt x="1940" y="1368"/>
                </a:lnTo>
                <a:lnTo>
                  <a:pt x="1943" y="1366"/>
                </a:lnTo>
                <a:lnTo>
                  <a:pt x="1945" y="1366"/>
                </a:lnTo>
                <a:lnTo>
                  <a:pt x="1947" y="1366"/>
                </a:lnTo>
                <a:lnTo>
                  <a:pt x="1947" y="1368"/>
                </a:lnTo>
                <a:lnTo>
                  <a:pt x="1948" y="1368"/>
                </a:lnTo>
                <a:lnTo>
                  <a:pt x="1952" y="1368"/>
                </a:lnTo>
                <a:lnTo>
                  <a:pt x="1954" y="1370"/>
                </a:lnTo>
                <a:lnTo>
                  <a:pt x="1955" y="1368"/>
                </a:lnTo>
                <a:lnTo>
                  <a:pt x="1957" y="1368"/>
                </a:lnTo>
                <a:lnTo>
                  <a:pt x="1959" y="1368"/>
                </a:lnTo>
                <a:lnTo>
                  <a:pt x="1962" y="1370"/>
                </a:lnTo>
                <a:lnTo>
                  <a:pt x="1964" y="1370"/>
                </a:lnTo>
                <a:lnTo>
                  <a:pt x="1967" y="1372"/>
                </a:lnTo>
                <a:lnTo>
                  <a:pt x="1969" y="1372"/>
                </a:lnTo>
                <a:lnTo>
                  <a:pt x="1971" y="1370"/>
                </a:lnTo>
                <a:lnTo>
                  <a:pt x="1972" y="1370"/>
                </a:lnTo>
                <a:lnTo>
                  <a:pt x="1972" y="1368"/>
                </a:lnTo>
                <a:lnTo>
                  <a:pt x="1972" y="1370"/>
                </a:lnTo>
                <a:lnTo>
                  <a:pt x="1974" y="1370"/>
                </a:lnTo>
                <a:lnTo>
                  <a:pt x="1972" y="1368"/>
                </a:lnTo>
                <a:lnTo>
                  <a:pt x="1974" y="1366"/>
                </a:lnTo>
                <a:lnTo>
                  <a:pt x="1972" y="1366"/>
                </a:lnTo>
                <a:lnTo>
                  <a:pt x="1974" y="1365"/>
                </a:lnTo>
                <a:lnTo>
                  <a:pt x="1974" y="1361"/>
                </a:lnTo>
                <a:lnTo>
                  <a:pt x="1972" y="1361"/>
                </a:lnTo>
                <a:lnTo>
                  <a:pt x="1976" y="1361"/>
                </a:lnTo>
                <a:lnTo>
                  <a:pt x="1977" y="1361"/>
                </a:lnTo>
                <a:lnTo>
                  <a:pt x="1979" y="1361"/>
                </a:lnTo>
                <a:lnTo>
                  <a:pt x="1981" y="1361"/>
                </a:lnTo>
                <a:lnTo>
                  <a:pt x="1981" y="1360"/>
                </a:lnTo>
                <a:lnTo>
                  <a:pt x="1982" y="1360"/>
                </a:lnTo>
                <a:lnTo>
                  <a:pt x="1981" y="1358"/>
                </a:lnTo>
                <a:lnTo>
                  <a:pt x="1979" y="1358"/>
                </a:lnTo>
                <a:lnTo>
                  <a:pt x="1976" y="1360"/>
                </a:lnTo>
                <a:lnTo>
                  <a:pt x="1974" y="1358"/>
                </a:lnTo>
                <a:lnTo>
                  <a:pt x="1976" y="1358"/>
                </a:lnTo>
                <a:lnTo>
                  <a:pt x="1977" y="1356"/>
                </a:lnTo>
                <a:lnTo>
                  <a:pt x="1979" y="1354"/>
                </a:lnTo>
                <a:lnTo>
                  <a:pt x="1981" y="1356"/>
                </a:lnTo>
                <a:lnTo>
                  <a:pt x="1981" y="1353"/>
                </a:lnTo>
                <a:lnTo>
                  <a:pt x="1982" y="1354"/>
                </a:lnTo>
                <a:lnTo>
                  <a:pt x="1984" y="1353"/>
                </a:lnTo>
                <a:lnTo>
                  <a:pt x="1984" y="1354"/>
                </a:lnTo>
                <a:lnTo>
                  <a:pt x="1986" y="1356"/>
                </a:lnTo>
                <a:lnTo>
                  <a:pt x="1988" y="1356"/>
                </a:lnTo>
                <a:lnTo>
                  <a:pt x="1989" y="1356"/>
                </a:lnTo>
                <a:lnTo>
                  <a:pt x="1991" y="1356"/>
                </a:lnTo>
                <a:lnTo>
                  <a:pt x="1991" y="1354"/>
                </a:lnTo>
                <a:lnTo>
                  <a:pt x="1989" y="1353"/>
                </a:lnTo>
                <a:lnTo>
                  <a:pt x="1988" y="1351"/>
                </a:lnTo>
                <a:lnTo>
                  <a:pt x="1988" y="1349"/>
                </a:lnTo>
                <a:lnTo>
                  <a:pt x="1986" y="1348"/>
                </a:lnTo>
                <a:lnTo>
                  <a:pt x="1988" y="1348"/>
                </a:lnTo>
                <a:lnTo>
                  <a:pt x="1988" y="1346"/>
                </a:lnTo>
                <a:lnTo>
                  <a:pt x="1989" y="1346"/>
                </a:lnTo>
                <a:lnTo>
                  <a:pt x="1988" y="1346"/>
                </a:lnTo>
                <a:lnTo>
                  <a:pt x="1984" y="1344"/>
                </a:lnTo>
                <a:lnTo>
                  <a:pt x="1982" y="1344"/>
                </a:lnTo>
                <a:lnTo>
                  <a:pt x="1984" y="1343"/>
                </a:lnTo>
                <a:lnTo>
                  <a:pt x="1984" y="1341"/>
                </a:lnTo>
                <a:lnTo>
                  <a:pt x="1982" y="1339"/>
                </a:lnTo>
                <a:lnTo>
                  <a:pt x="1981" y="1339"/>
                </a:lnTo>
                <a:lnTo>
                  <a:pt x="1979" y="1336"/>
                </a:lnTo>
                <a:lnTo>
                  <a:pt x="1977" y="1336"/>
                </a:lnTo>
                <a:lnTo>
                  <a:pt x="1976" y="1334"/>
                </a:lnTo>
                <a:lnTo>
                  <a:pt x="1976" y="1332"/>
                </a:lnTo>
                <a:lnTo>
                  <a:pt x="1969" y="1331"/>
                </a:lnTo>
                <a:lnTo>
                  <a:pt x="1965" y="1329"/>
                </a:lnTo>
                <a:lnTo>
                  <a:pt x="1964" y="1327"/>
                </a:lnTo>
                <a:lnTo>
                  <a:pt x="1960" y="1324"/>
                </a:lnTo>
                <a:lnTo>
                  <a:pt x="1959" y="1322"/>
                </a:lnTo>
                <a:lnTo>
                  <a:pt x="1950" y="1317"/>
                </a:lnTo>
                <a:lnTo>
                  <a:pt x="1947" y="1310"/>
                </a:lnTo>
                <a:lnTo>
                  <a:pt x="1945" y="1307"/>
                </a:lnTo>
                <a:lnTo>
                  <a:pt x="1945" y="1303"/>
                </a:lnTo>
                <a:lnTo>
                  <a:pt x="1945" y="1300"/>
                </a:lnTo>
                <a:lnTo>
                  <a:pt x="1945" y="1298"/>
                </a:lnTo>
                <a:lnTo>
                  <a:pt x="1947" y="1295"/>
                </a:lnTo>
                <a:lnTo>
                  <a:pt x="1948" y="1293"/>
                </a:lnTo>
                <a:lnTo>
                  <a:pt x="1952" y="1288"/>
                </a:lnTo>
                <a:lnTo>
                  <a:pt x="1954" y="1286"/>
                </a:lnTo>
                <a:lnTo>
                  <a:pt x="1954" y="1285"/>
                </a:lnTo>
                <a:lnTo>
                  <a:pt x="1957" y="1278"/>
                </a:lnTo>
                <a:lnTo>
                  <a:pt x="1957" y="1276"/>
                </a:lnTo>
                <a:lnTo>
                  <a:pt x="1957" y="1273"/>
                </a:lnTo>
                <a:lnTo>
                  <a:pt x="1957" y="1271"/>
                </a:lnTo>
                <a:lnTo>
                  <a:pt x="1959" y="1263"/>
                </a:lnTo>
                <a:lnTo>
                  <a:pt x="1965" y="1258"/>
                </a:lnTo>
                <a:lnTo>
                  <a:pt x="1971" y="1252"/>
                </a:lnTo>
                <a:lnTo>
                  <a:pt x="1974" y="1247"/>
                </a:lnTo>
                <a:lnTo>
                  <a:pt x="1977" y="1242"/>
                </a:lnTo>
                <a:lnTo>
                  <a:pt x="1979" y="1234"/>
                </a:lnTo>
                <a:lnTo>
                  <a:pt x="1979" y="1227"/>
                </a:lnTo>
                <a:lnTo>
                  <a:pt x="1979" y="1225"/>
                </a:lnTo>
                <a:lnTo>
                  <a:pt x="1981" y="1222"/>
                </a:lnTo>
                <a:lnTo>
                  <a:pt x="1981" y="1215"/>
                </a:lnTo>
                <a:lnTo>
                  <a:pt x="1979" y="1213"/>
                </a:lnTo>
                <a:lnTo>
                  <a:pt x="1982" y="1208"/>
                </a:lnTo>
                <a:lnTo>
                  <a:pt x="1984" y="1208"/>
                </a:lnTo>
                <a:lnTo>
                  <a:pt x="1994" y="1210"/>
                </a:lnTo>
                <a:lnTo>
                  <a:pt x="1996" y="1212"/>
                </a:lnTo>
                <a:lnTo>
                  <a:pt x="1998" y="1212"/>
                </a:lnTo>
                <a:lnTo>
                  <a:pt x="2003" y="1210"/>
                </a:lnTo>
                <a:lnTo>
                  <a:pt x="2010" y="1203"/>
                </a:lnTo>
                <a:lnTo>
                  <a:pt x="2013" y="1203"/>
                </a:lnTo>
                <a:lnTo>
                  <a:pt x="2015" y="1205"/>
                </a:lnTo>
                <a:lnTo>
                  <a:pt x="2018" y="1206"/>
                </a:lnTo>
                <a:lnTo>
                  <a:pt x="2025" y="1206"/>
                </a:lnTo>
                <a:lnTo>
                  <a:pt x="2028" y="1208"/>
                </a:lnTo>
                <a:lnTo>
                  <a:pt x="2030" y="1212"/>
                </a:lnTo>
                <a:lnTo>
                  <a:pt x="2033" y="1210"/>
                </a:lnTo>
                <a:lnTo>
                  <a:pt x="2037" y="1210"/>
                </a:lnTo>
                <a:lnTo>
                  <a:pt x="2042" y="1215"/>
                </a:lnTo>
                <a:lnTo>
                  <a:pt x="2044" y="1215"/>
                </a:lnTo>
                <a:lnTo>
                  <a:pt x="2045" y="1213"/>
                </a:lnTo>
                <a:lnTo>
                  <a:pt x="2045" y="1212"/>
                </a:lnTo>
                <a:lnTo>
                  <a:pt x="2040" y="1208"/>
                </a:lnTo>
                <a:lnTo>
                  <a:pt x="2039" y="1205"/>
                </a:lnTo>
                <a:lnTo>
                  <a:pt x="2037" y="1196"/>
                </a:lnTo>
                <a:lnTo>
                  <a:pt x="2037" y="1189"/>
                </a:lnTo>
                <a:lnTo>
                  <a:pt x="2037" y="1184"/>
                </a:lnTo>
                <a:lnTo>
                  <a:pt x="2039" y="1183"/>
                </a:lnTo>
                <a:lnTo>
                  <a:pt x="2037" y="1181"/>
                </a:lnTo>
                <a:lnTo>
                  <a:pt x="2035" y="1179"/>
                </a:lnTo>
                <a:lnTo>
                  <a:pt x="2035" y="1176"/>
                </a:lnTo>
                <a:lnTo>
                  <a:pt x="2035" y="1172"/>
                </a:lnTo>
                <a:lnTo>
                  <a:pt x="2035" y="1171"/>
                </a:lnTo>
                <a:lnTo>
                  <a:pt x="2033" y="1169"/>
                </a:lnTo>
                <a:lnTo>
                  <a:pt x="2032" y="1169"/>
                </a:lnTo>
                <a:lnTo>
                  <a:pt x="2028" y="1166"/>
                </a:lnTo>
                <a:lnTo>
                  <a:pt x="2030" y="1162"/>
                </a:lnTo>
                <a:lnTo>
                  <a:pt x="2030" y="1161"/>
                </a:lnTo>
                <a:lnTo>
                  <a:pt x="2030" y="1159"/>
                </a:lnTo>
                <a:lnTo>
                  <a:pt x="2028" y="1159"/>
                </a:lnTo>
                <a:lnTo>
                  <a:pt x="2027" y="1157"/>
                </a:lnTo>
                <a:lnTo>
                  <a:pt x="2028" y="1155"/>
                </a:lnTo>
                <a:lnTo>
                  <a:pt x="2025" y="1154"/>
                </a:lnTo>
                <a:lnTo>
                  <a:pt x="2022" y="1150"/>
                </a:lnTo>
                <a:lnTo>
                  <a:pt x="2018" y="1150"/>
                </a:lnTo>
                <a:lnTo>
                  <a:pt x="2016" y="1147"/>
                </a:lnTo>
                <a:lnTo>
                  <a:pt x="2011" y="1145"/>
                </a:lnTo>
                <a:lnTo>
                  <a:pt x="2008" y="1145"/>
                </a:lnTo>
                <a:lnTo>
                  <a:pt x="2006" y="1145"/>
                </a:lnTo>
                <a:lnTo>
                  <a:pt x="2005" y="1145"/>
                </a:lnTo>
                <a:lnTo>
                  <a:pt x="2003" y="1147"/>
                </a:lnTo>
                <a:lnTo>
                  <a:pt x="2001" y="1147"/>
                </a:lnTo>
                <a:lnTo>
                  <a:pt x="1999" y="1145"/>
                </a:lnTo>
                <a:lnTo>
                  <a:pt x="1998" y="1144"/>
                </a:lnTo>
                <a:lnTo>
                  <a:pt x="1998" y="1142"/>
                </a:lnTo>
                <a:lnTo>
                  <a:pt x="1996" y="1137"/>
                </a:lnTo>
                <a:lnTo>
                  <a:pt x="1994" y="1135"/>
                </a:lnTo>
                <a:lnTo>
                  <a:pt x="1994" y="1133"/>
                </a:lnTo>
                <a:lnTo>
                  <a:pt x="1993" y="1127"/>
                </a:lnTo>
                <a:lnTo>
                  <a:pt x="1993" y="1125"/>
                </a:lnTo>
                <a:lnTo>
                  <a:pt x="1993" y="1121"/>
                </a:lnTo>
                <a:lnTo>
                  <a:pt x="1993" y="1120"/>
                </a:lnTo>
                <a:lnTo>
                  <a:pt x="1993" y="1116"/>
                </a:lnTo>
                <a:lnTo>
                  <a:pt x="1993" y="1113"/>
                </a:lnTo>
                <a:lnTo>
                  <a:pt x="1991" y="1110"/>
                </a:lnTo>
                <a:lnTo>
                  <a:pt x="1991" y="1108"/>
                </a:lnTo>
                <a:lnTo>
                  <a:pt x="1991" y="1106"/>
                </a:lnTo>
                <a:lnTo>
                  <a:pt x="1991" y="1104"/>
                </a:lnTo>
                <a:lnTo>
                  <a:pt x="1989" y="1103"/>
                </a:lnTo>
                <a:lnTo>
                  <a:pt x="1988" y="1101"/>
                </a:lnTo>
                <a:lnTo>
                  <a:pt x="1986" y="1099"/>
                </a:lnTo>
                <a:lnTo>
                  <a:pt x="1986" y="1096"/>
                </a:lnTo>
                <a:lnTo>
                  <a:pt x="1988" y="1096"/>
                </a:lnTo>
                <a:lnTo>
                  <a:pt x="1986" y="1096"/>
                </a:lnTo>
                <a:lnTo>
                  <a:pt x="1988" y="1094"/>
                </a:lnTo>
                <a:lnTo>
                  <a:pt x="1986" y="1093"/>
                </a:lnTo>
                <a:lnTo>
                  <a:pt x="1986" y="1094"/>
                </a:lnTo>
                <a:lnTo>
                  <a:pt x="1984" y="1094"/>
                </a:lnTo>
                <a:lnTo>
                  <a:pt x="1984" y="1091"/>
                </a:lnTo>
                <a:lnTo>
                  <a:pt x="1984" y="1089"/>
                </a:lnTo>
                <a:lnTo>
                  <a:pt x="1984" y="1087"/>
                </a:lnTo>
                <a:lnTo>
                  <a:pt x="1982" y="1084"/>
                </a:lnTo>
                <a:lnTo>
                  <a:pt x="1979" y="1081"/>
                </a:lnTo>
                <a:lnTo>
                  <a:pt x="1977" y="1074"/>
                </a:lnTo>
                <a:lnTo>
                  <a:pt x="1974" y="1070"/>
                </a:lnTo>
                <a:lnTo>
                  <a:pt x="1972" y="1069"/>
                </a:lnTo>
                <a:lnTo>
                  <a:pt x="1971" y="1067"/>
                </a:lnTo>
                <a:lnTo>
                  <a:pt x="1967" y="1067"/>
                </a:lnTo>
                <a:lnTo>
                  <a:pt x="1965" y="1065"/>
                </a:lnTo>
                <a:lnTo>
                  <a:pt x="1962" y="1065"/>
                </a:lnTo>
                <a:lnTo>
                  <a:pt x="1959" y="1065"/>
                </a:lnTo>
                <a:lnTo>
                  <a:pt x="1945" y="1060"/>
                </a:lnTo>
                <a:lnTo>
                  <a:pt x="1940" y="1059"/>
                </a:lnTo>
                <a:lnTo>
                  <a:pt x="1938" y="1057"/>
                </a:lnTo>
                <a:lnTo>
                  <a:pt x="1940" y="1055"/>
                </a:lnTo>
                <a:lnTo>
                  <a:pt x="1942" y="1053"/>
                </a:lnTo>
                <a:lnTo>
                  <a:pt x="1943" y="1053"/>
                </a:lnTo>
                <a:lnTo>
                  <a:pt x="1945" y="1053"/>
                </a:lnTo>
                <a:lnTo>
                  <a:pt x="1947" y="1053"/>
                </a:lnTo>
                <a:lnTo>
                  <a:pt x="1950" y="1053"/>
                </a:lnTo>
                <a:lnTo>
                  <a:pt x="1952" y="1053"/>
                </a:lnTo>
                <a:lnTo>
                  <a:pt x="1955" y="1055"/>
                </a:lnTo>
                <a:lnTo>
                  <a:pt x="1957" y="1055"/>
                </a:lnTo>
                <a:lnTo>
                  <a:pt x="1959" y="1055"/>
                </a:lnTo>
                <a:lnTo>
                  <a:pt x="1962" y="1055"/>
                </a:lnTo>
                <a:lnTo>
                  <a:pt x="1964" y="1055"/>
                </a:lnTo>
                <a:lnTo>
                  <a:pt x="1971" y="1052"/>
                </a:lnTo>
                <a:lnTo>
                  <a:pt x="1971" y="1050"/>
                </a:lnTo>
                <a:lnTo>
                  <a:pt x="1976" y="1048"/>
                </a:lnTo>
                <a:lnTo>
                  <a:pt x="1977" y="1047"/>
                </a:lnTo>
                <a:lnTo>
                  <a:pt x="1979" y="1047"/>
                </a:lnTo>
                <a:lnTo>
                  <a:pt x="1982" y="1045"/>
                </a:lnTo>
                <a:lnTo>
                  <a:pt x="1984" y="1045"/>
                </a:lnTo>
                <a:lnTo>
                  <a:pt x="1986" y="1043"/>
                </a:lnTo>
                <a:lnTo>
                  <a:pt x="1988" y="1043"/>
                </a:lnTo>
                <a:lnTo>
                  <a:pt x="1994" y="1040"/>
                </a:lnTo>
                <a:lnTo>
                  <a:pt x="1996" y="1040"/>
                </a:lnTo>
                <a:lnTo>
                  <a:pt x="1998" y="1040"/>
                </a:lnTo>
                <a:lnTo>
                  <a:pt x="1999" y="1040"/>
                </a:lnTo>
                <a:lnTo>
                  <a:pt x="2003" y="1038"/>
                </a:lnTo>
                <a:lnTo>
                  <a:pt x="2010" y="1038"/>
                </a:lnTo>
                <a:lnTo>
                  <a:pt x="2011" y="1038"/>
                </a:lnTo>
                <a:lnTo>
                  <a:pt x="2013" y="1038"/>
                </a:lnTo>
                <a:lnTo>
                  <a:pt x="2010" y="1038"/>
                </a:lnTo>
                <a:lnTo>
                  <a:pt x="2010" y="1040"/>
                </a:lnTo>
                <a:lnTo>
                  <a:pt x="2011" y="1041"/>
                </a:lnTo>
                <a:lnTo>
                  <a:pt x="2015" y="1043"/>
                </a:lnTo>
                <a:lnTo>
                  <a:pt x="2016" y="1045"/>
                </a:lnTo>
                <a:lnTo>
                  <a:pt x="2018" y="1045"/>
                </a:lnTo>
                <a:lnTo>
                  <a:pt x="2020" y="1045"/>
                </a:lnTo>
                <a:lnTo>
                  <a:pt x="2023" y="1047"/>
                </a:lnTo>
                <a:lnTo>
                  <a:pt x="2028" y="1050"/>
                </a:lnTo>
                <a:lnTo>
                  <a:pt x="2032" y="1050"/>
                </a:lnTo>
                <a:lnTo>
                  <a:pt x="2033" y="1050"/>
                </a:lnTo>
                <a:lnTo>
                  <a:pt x="2035" y="1052"/>
                </a:lnTo>
                <a:lnTo>
                  <a:pt x="2037" y="1053"/>
                </a:lnTo>
                <a:lnTo>
                  <a:pt x="2037" y="1055"/>
                </a:lnTo>
                <a:lnTo>
                  <a:pt x="2039" y="1055"/>
                </a:lnTo>
                <a:lnTo>
                  <a:pt x="2039" y="1057"/>
                </a:lnTo>
                <a:lnTo>
                  <a:pt x="2040" y="1059"/>
                </a:lnTo>
                <a:lnTo>
                  <a:pt x="2044" y="1060"/>
                </a:lnTo>
                <a:lnTo>
                  <a:pt x="2044" y="1062"/>
                </a:lnTo>
                <a:lnTo>
                  <a:pt x="2047" y="1064"/>
                </a:lnTo>
                <a:lnTo>
                  <a:pt x="2049" y="1065"/>
                </a:lnTo>
                <a:lnTo>
                  <a:pt x="2049" y="1069"/>
                </a:lnTo>
                <a:lnTo>
                  <a:pt x="2049" y="1070"/>
                </a:lnTo>
                <a:lnTo>
                  <a:pt x="2047" y="1070"/>
                </a:lnTo>
                <a:lnTo>
                  <a:pt x="2045" y="1070"/>
                </a:lnTo>
                <a:lnTo>
                  <a:pt x="2044" y="1072"/>
                </a:lnTo>
                <a:lnTo>
                  <a:pt x="2042" y="1072"/>
                </a:lnTo>
                <a:lnTo>
                  <a:pt x="2040" y="1074"/>
                </a:lnTo>
                <a:lnTo>
                  <a:pt x="2037" y="1077"/>
                </a:lnTo>
                <a:lnTo>
                  <a:pt x="2035" y="1079"/>
                </a:lnTo>
                <a:lnTo>
                  <a:pt x="2033" y="1079"/>
                </a:lnTo>
                <a:lnTo>
                  <a:pt x="2033" y="1081"/>
                </a:lnTo>
                <a:lnTo>
                  <a:pt x="2032" y="1082"/>
                </a:lnTo>
                <a:lnTo>
                  <a:pt x="2030" y="1084"/>
                </a:lnTo>
                <a:lnTo>
                  <a:pt x="2028" y="1086"/>
                </a:lnTo>
                <a:lnTo>
                  <a:pt x="2027" y="1086"/>
                </a:lnTo>
                <a:lnTo>
                  <a:pt x="2023" y="1087"/>
                </a:lnTo>
                <a:lnTo>
                  <a:pt x="2023" y="1089"/>
                </a:lnTo>
                <a:lnTo>
                  <a:pt x="2022" y="1091"/>
                </a:lnTo>
                <a:lnTo>
                  <a:pt x="2022" y="1094"/>
                </a:lnTo>
                <a:lnTo>
                  <a:pt x="2023" y="1096"/>
                </a:lnTo>
                <a:lnTo>
                  <a:pt x="2023" y="1098"/>
                </a:lnTo>
                <a:lnTo>
                  <a:pt x="2023" y="1099"/>
                </a:lnTo>
                <a:lnTo>
                  <a:pt x="2025" y="1101"/>
                </a:lnTo>
                <a:lnTo>
                  <a:pt x="2023" y="1101"/>
                </a:lnTo>
                <a:lnTo>
                  <a:pt x="2022" y="1103"/>
                </a:lnTo>
                <a:lnTo>
                  <a:pt x="2022" y="1104"/>
                </a:lnTo>
                <a:lnTo>
                  <a:pt x="2020" y="1111"/>
                </a:lnTo>
                <a:lnTo>
                  <a:pt x="2020" y="1115"/>
                </a:lnTo>
                <a:lnTo>
                  <a:pt x="2020" y="1116"/>
                </a:lnTo>
                <a:lnTo>
                  <a:pt x="2022" y="1120"/>
                </a:lnTo>
                <a:lnTo>
                  <a:pt x="2023" y="1121"/>
                </a:lnTo>
                <a:lnTo>
                  <a:pt x="2025" y="1123"/>
                </a:lnTo>
                <a:lnTo>
                  <a:pt x="2032" y="1125"/>
                </a:lnTo>
                <a:lnTo>
                  <a:pt x="2039" y="1125"/>
                </a:lnTo>
                <a:lnTo>
                  <a:pt x="2042" y="1125"/>
                </a:lnTo>
                <a:lnTo>
                  <a:pt x="2044" y="1125"/>
                </a:lnTo>
                <a:lnTo>
                  <a:pt x="2045" y="1125"/>
                </a:lnTo>
                <a:lnTo>
                  <a:pt x="2047" y="1125"/>
                </a:lnTo>
                <a:lnTo>
                  <a:pt x="2049" y="1128"/>
                </a:lnTo>
                <a:lnTo>
                  <a:pt x="2049" y="1130"/>
                </a:lnTo>
                <a:lnTo>
                  <a:pt x="2050" y="1130"/>
                </a:lnTo>
                <a:lnTo>
                  <a:pt x="2052" y="1132"/>
                </a:lnTo>
                <a:lnTo>
                  <a:pt x="2056" y="1133"/>
                </a:lnTo>
                <a:lnTo>
                  <a:pt x="2057" y="1135"/>
                </a:lnTo>
                <a:lnTo>
                  <a:pt x="2059" y="1137"/>
                </a:lnTo>
                <a:lnTo>
                  <a:pt x="2061" y="1138"/>
                </a:lnTo>
                <a:lnTo>
                  <a:pt x="2062" y="1138"/>
                </a:lnTo>
                <a:lnTo>
                  <a:pt x="2064" y="1140"/>
                </a:lnTo>
                <a:lnTo>
                  <a:pt x="2066" y="1138"/>
                </a:lnTo>
                <a:lnTo>
                  <a:pt x="2067" y="1140"/>
                </a:lnTo>
                <a:lnTo>
                  <a:pt x="2071" y="1138"/>
                </a:lnTo>
                <a:lnTo>
                  <a:pt x="2073" y="1137"/>
                </a:lnTo>
                <a:lnTo>
                  <a:pt x="2076" y="1135"/>
                </a:lnTo>
                <a:lnTo>
                  <a:pt x="2076" y="1132"/>
                </a:lnTo>
                <a:lnTo>
                  <a:pt x="2078" y="1132"/>
                </a:lnTo>
                <a:lnTo>
                  <a:pt x="2079" y="1130"/>
                </a:lnTo>
                <a:lnTo>
                  <a:pt x="2081" y="1132"/>
                </a:lnTo>
                <a:lnTo>
                  <a:pt x="2084" y="1130"/>
                </a:lnTo>
                <a:lnTo>
                  <a:pt x="2088" y="1128"/>
                </a:lnTo>
                <a:lnTo>
                  <a:pt x="2090" y="1127"/>
                </a:lnTo>
                <a:lnTo>
                  <a:pt x="2091" y="1125"/>
                </a:lnTo>
                <a:lnTo>
                  <a:pt x="2091" y="1123"/>
                </a:lnTo>
                <a:lnTo>
                  <a:pt x="2095" y="1121"/>
                </a:lnTo>
                <a:lnTo>
                  <a:pt x="2096" y="1118"/>
                </a:lnTo>
                <a:lnTo>
                  <a:pt x="2098" y="1115"/>
                </a:lnTo>
                <a:lnTo>
                  <a:pt x="2101" y="1115"/>
                </a:lnTo>
                <a:lnTo>
                  <a:pt x="2103" y="1115"/>
                </a:lnTo>
                <a:lnTo>
                  <a:pt x="2103" y="1113"/>
                </a:lnTo>
                <a:lnTo>
                  <a:pt x="2103" y="1111"/>
                </a:lnTo>
                <a:lnTo>
                  <a:pt x="2103" y="1110"/>
                </a:lnTo>
                <a:lnTo>
                  <a:pt x="2105" y="1108"/>
                </a:lnTo>
                <a:lnTo>
                  <a:pt x="2103" y="1106"/>
                </a:lnTo>
                <a:lnTo>
                  <a:pt x="2105" y="1104"/>
                </a:lnTo>
                <a:lnTo>
                  <a:pt x="2100" y="1096"/>
                </a:lnTo>
                <a:lnTo>
                  <a:pt x="2098" y="1094"/>
                </a:lnTo>
                <a:lnTo>
                  <a:pt x="2096" y="1094"/>
                </a:lnTo>
                <a:lnTo>
                  <a:pt x="2096" y="1093"/>
                </a:lnTo>
                <a:lnTo>
                  <a:pt x="2096" y="1089"/>
                </a:lnTo>
                <a:lnTo>
                  <a:pt x="2096" y="1087"/>
                </a:lnTo>
                <a:lnTo>
                  <a:pt x="2095" y="1087"/>
                </a:lnTo>
                <a:lnTo>
                  <a:pt x="2093" y="1084"/>
                </a:lnTo>
                <a:lnTo>
                  <a:pt x="2093" y="1081"/>
                </a:lnTo>
                <a:lnTo>
                  <a:pt x="2093" y="1079"/>
                </a:lnTo>
                <a:lnTo>
                  <a:pt x="2093" y="1077"/>
                </a:lnTo>
                <a:lnTo>
                  <a:pt x="2093" y="1074"/>
                </a:lnTo>
                <a:lnTo>
                  <a:pt x="2091" y="1072"/>
                </a:lnTo>
                <a:lnTo>
                  <a:pt x="2090" y="1072"/>
                </a:lnTo>
                <a:lnTo>
                  <a:pt x="2088" y="1070"/>
                </a:lnTo>
                <a:lnTo>
                  <a:pt x="2088" y="1069"/>
                </a:lnTo>
                <a:lnTo>
                  <a:pt x="2086" y="1067"/>
                </a:lnTo>
                <a:lnTo>
                  <a:pt x="2086" y="1065"/>
                </a:lnTo>
                <a:lnTo>
                  <a:pt x="2088" y="1064"/>
                </a:lnTo>
                <a:lnTo>
                  <a:pt x="2088" y="1062"/>
                </a:lnTo>
                <a:lnTo>
                  <a:pt x="2088" y="1060"/>
                </a:lnTo>
                <a:lnTo>
                  <a:pt x="2091" y="1062"/>
                </a:lnTo>
                <a:lnTo>
                  <a:pt x="2090" y="1062"/>
                </a:lnTo>
                <a:lnTo>
                  <a:pt x="2091" y="1064"/>
                </a:lnTo>
                <a:lnTo>
                  <a:pt x="2091" y="1060"/>
                </a:lnTo>
                <a:lnTo>
                  <a:pt x="2093" y="1059"/>
                </a:lnTo>
                <a:lnTo>
                  <a:pt x="2093" y="1057"/>
                </a:lnTo>
                <a:lnTo>
                  <a:pt x="2095" y="1055"/>
                </a:lnTo>
                <a:lnTo>
                  <a:pt x="2096" y="1055"/>
                </a:lnTo>
                <a:lnTo>
                  <a:pt x="2098" y="1055"/>
                </a:lnTo>
                <a:lnTo>
                  <a:pt x="2100" y="1053"/>
                </a:lnTo>
                <a:lnTo>
                  <a:pt x="2100" y="1050"/>
                </a:lnTo>
                <a:lnTo>
                  <a:pt x="2101" y="1048"/>
                </a:lnTo>
                <a:lnTo>
                  <a:pt x="2103" y="1048"/>
                </a:lnTo>
                <a:lnTo>
                  <a:pt x="2101" y="1048"/>
                </a:lnTo>
                <a:lnTo>
                  <a:pt x="2101" y="1050"/>
                </a:lnTo>
                <a:lnTo>
                  <a:pt x="2105" y="1048"/>
                </a:lnTo>
                <a:lnTo>
                  <a:pt x="2107" y="1047"/>
                </a:lnTo>
                <a:lnTo>
                  <a:pt x="2108" y="1047"/>
                </a:lnTo>
                <a:lnTo>
                  <a:pt x="2107" y="1045"/>
                </a:lnTo>
                <a:lnTo>
                  <a:pt x="2105" y="1045"/>
                </a:lnTo>
                <a:lnTo>
                  <a:pt x="2103" y="1047"/>
                </a:lnTo>
                <a:lnTo>
                  <a:pt x="2101" y="1047"/>
                </a:lnTo>
                <a:lnTo>
                  <a:pt x="2101" y="1045"/>
                </a:lnTo>
                <a:lnTo>
                  <a:pt x="2101" y="1043"/>
                </a:lnTo>
                <a:lnTo>
                  <a:pt x="2101" y="1041"/>
                </a:lnTo>
                <a:lnTo>
                  <a:pt x="2100" y="1041"/>
                </a:lnTo>
                <a:lnTo>
                  <a:pt x="2098" y="1038"/>
                </a:lnTo>
                <a:lnTo>
                  <a:pt x="2096" y="1036"/>
                </a:lnTo>
                <a:lnTo>
                  <a:pt x="2095" y="1036"/>
                </a:lnTo>
                <a:lnTo>
                  <a:pt x="2093" y="1036"/>
                </a:lnTo>
                <a:lnTo>
                  <a:pt x="2091" y="1036"/>
                </a:lnTo>
                <a:lnTo>
                  <a:pt x="2093" y="1035"/>
                </a:lnTo>
                <a:lnTo>
                  <a:pt x="2095" y="1036"/>
                </a:lnTo>
                <a:lnTo>
                  <a:pt x="2096" y="1036"/>
                </a:lnTo>
                <a:lnTo>
                  <a:pt x="2098" y="1036"/>
                </a:lnTo>
                <a:lnTo>
                  <a:pt x="2100" y="1036"/>
                </a:lnTo>
                <a:lnTo>
                  <a:pt x="2101" y="1036"/>
                </a:lnTo>
                <a:lnTo>
                  <a:pt x="2103" y="1035"/>
                </a:lnTo>
                <a:lnTo>
                  <a:pt x="2107" y="1033"/>
                </a:lnTo>
                <a:lnTo>
                  <a:pt x="2107" y="1031"/>
                </a:lnTo>
                <a:lnTo>
                  <a:pt x="2112" y="1021"/>
                </a:lnTo>
                <a:lnTo>
                  <a:pt x="2113" y="1019"/>
                </a:lnTo>
                <a:lnTo>
                  <a:pt x="2113" y="1016"/>
                </a:lnTo>
                <a:lnTo>
                  <a:pt x="2118" y="1004"/>
                </a:lnTo>
                <a:lnTo>
                  <a:pt x="2122" y="994"/>
                </a:lnTo>
                <a:lnTo>
                  <a:pt x="2122" y="992"/>
                </a:lnTo>
                <a:lnTo>
                  <a:pt x="2122" y="989"/>
                </a:lnTo>
                <a:lnTo>
                  <a:pt x="2124" y="984"/>
                </a:lnTo>
                <a:lnTo>
                  <a:pt x="2124" y="982"/>
                </a:lnTo>
                <a:lnTo>
                  <a:pt x="2124" y="980"/>
                </a:lnTo>
                <a:lnTo>
                  <a:pt x="2125" y="977"/>
                </a:lnTo>
                <a:lnTo>
                  <a:pt x="2125" y="975"/>
                </a:lnTo>
                <a:lnTo>
                  <a:pt x="2125" y="972"/>
                </a:lnTo>
                <a:lnTo>
                  <a:pt x="2125" y="970"/>
                </a:lnTo>
                <a:lnTo>
                  <a:pt x="2125" y="968"/>
                </a:lnTo>
                <a:lnTo>
                  <a:pt x="2127" y="965"/>
                </a:lnTo>
                <a:lnTo>
                  <a:pt x="2129" y="963"/>
                </a:lnTo>
                <a:lnTo>
                  <a:pt x="2132" y="962"/>
                </a:lnTo>
                <a:lnTo>
                  <a:pt x="2134" y="962"/>
                </a:lnTo>
                <a:lnTo>
                  <a:pt x="2135" y="960"/>
                </a:lnTo>
                <a:lnTo>
                  <a:pt x="2137" y="958"/>
                </a:lnTo>
                <a:lnTo>
                  <a:pt x="2139" y="958"/>
                </a:lnTo>
                <a:lnTo>
                  <a:pt x="2141" y="956"/>
                </a:lnTo>
                <a:lnTo>
                  <a:pt x="2144" y="951"/>
                </a:lnTo>
                <a:lnTo>
                  <a:pt x="2146" y="950"/>
                </a:lnTo>
                <a:lnTo>
                  <a:pt x="2147" y="948"/>
                </a:lnTo>
                <a:lnTo>
                  <a:pt x="2147" y="945"/>
                </a:lnTo>
                <a:lnTo>
                  <a:pt x="2149" y="943"/>
                </a:lnTo>
                <a:lnTo>
                  <a:pt x="2151" y="943"/>
                </a:lnTo>
                <a:lnTo>
                  <a:pt x="2149" y="946"/>
                </a:lnTo>
                <a:lnTo>
                  <a:pt x="2151" y="948"/>
                </a:lnTo>
                <a:lnTo>
                  <a:pt x="2147" y="950"/>
                </a:lnTo>
                <a:lnTo>
                  <a:pt x="2149" y="951"/>
                </a:lnTo>
                <a:lnTo>
                  <a:pt x="2151" y="951"/>
                </a:lnTo>
                <a:lnTo>
                  <a:pt x="2151" y="948"/>
                </a:lnTo>
                <a:lnTo>
                  <a:pt x="2152" y="948"/>
                </a:lnTo>
                <a:lnTo>
                  <a:pt x="2154" y="950"/>
                </a:lnTo>
                <a:lnTo>
                  <a:pt x="2154" y="948"/>
                </a:lnTo>
                <a:lnTo>
                  <a:pt x="2156" y="948"/>
                </a:lnTo>
                <a:lnTo>
                  <a:pt x="2158" y="950"/>
                </a:lnTo>
                <a:lnTo>
                  <a:pt x="2158" y="951"/>
                </a:lnTo>
                <a:lnTo>
                  <a:pt x="2156" y="953"/>
                </a:lnTo>
                <a:lnTo>
                  <a:pt x="2156" y="955"/>
                </a:lnTo>
                <a:lnTo>
                  <a:pt x="2156" y="956"/>
                </a:lnTo>
                <a:lnTo>
                  <a:pt x="2158" y="956"/>
                </a:lnTo>
                <a:lnTo>
                  <a:pt x="2161" y="958"/>
                </a:lnTo>
                <a:lnTo>
                  <a:pt x="2163" y="956"/>
                </a:lnTo>
                <a:lnTo>
                  <a:pt x="2163" y="955"/>
                </a:lnTo>
                <a:lnTo>
                  <a:pt x="2164" y="953"/>
                </a:lnTo>
                <a:lnTo>
                  <a:pt x="2164" y="951"/>
                </a:lnTo>
                <a:lnTo>
                  <a:pt x="2164" y="948"/>
                </a:lnTo>
                <a:lnTo>
                  <a:pt x="2166" y="945"/>
                </a:lnTo>
                <a:lnTo>
                  <a:pt x="2166" y="943"/>
                </a:lnTo>
                <a:lnTo>
                  <a:pt x="2164" y="941"/>
                </a:lnTo>
                <a:lnTo>
                  <a:pt x="2163" y="941"/>
                </a:lnTo>
                <a:lnTo>
                  <a:pt x="2161" y="941"/>
                </a:lnTo>
                <a:lnTo>
                  <a:pt x="2159" y="941"/>
                </a:lnTo>
                <a:lnTo>
                  <a:pt x="2158" y="939"/>
                </a:lnTo>
                <a:lnTo>
                  <a:pt x="2156" y="938"/>
                </a:lnTo>
                <a:lnTo>
                  <a:pt x="2154" y="939"/>
                </a:lnTo>
                <a:lnTo>
                  <a:pt x="2154" y="936"/>
                </a:lnTo>
                <a:lnTo>
                  <a:pt x="2154" y="938"/>
                </a:lnTo>
                <a:lnTo>
                  <a:pt x="2152" y="939"/>
                </a:lnTo>
                <a:lnTo>
                  <a:pt x="2152" y="941"/>
                </a:lnTo>
                <a:lnTo>
                  <a:pt x="2149" y="941"/>
                </a:lnTo>
                <a:lnTo>
                  <a:pt x="2151" y="938"/>
                </a:lnTo>
                <a:lnTo>
                  <a:pt x="2151" y="934"/>
                </a:lnTo>
                <a:lnTo>
                  <a:pt x="2152" y="931"/>
                </a:lnTo>
                <a:lnTo>
                  <a:pt x="2154" y="928"/>
                </a:lnTo>
                <a:lnTo>
                  <a:pt x="2156" y="924"/>
                </a:lnTo>
                <a:lnTo>
                  <a:pt x="2156" y="922"/>
                </a:lnTo>
                <a:lnTo>
                  <a:pt x="2158" y="917"/>
                </a:lnTo>
                <a:lnTo>
                  <a:pt x="2159" y="914"/>
                </a:lnTo>
                <a:lnTo>
                  <a:pt x="2159" y="912"/>
                </a:lnTo>
                <a:lnTo>
                  <a:pt x="2161" y="907"/>
                </a:lnTo>
                <a:lnTo>
                  <a:pt x="2163" y="905"/>
                </a:lnTo>
                <a:lnTo>
                  <a:pt x="2163" y="904"/>
                </a:lnTo>
                <a:lnTo>
                  <a:pt x="2166" y="900"/>
                </a:lnTo>
                <a:lnTo>
                  <a:pt x="2168" y="897"/>
                </a:lnTo>
                <a:lnTo>
                  <a:pt x="2169" y="895"/>
                </a:lnTo>
                <a:lnTo>
                  <a:pt x="2171" y="892"/>
                </a:lnTo>
                <a:lnTo>
                  <a:pt x="2173" y="890"/>
                </a:lnTo>
                <a:lnTo>
                  <a:pt x="2176" y="887"/>
                </a:lnTo>
                <a:lnTo>
                  <a:pt x="2178" y="887"/>
                </a:lnTo>
                <a:lnTo>
                  <a:pt x="2180" y="885"/>
                </a:lnTo>
                <a:lnTo>
                  <a:pt x="2180" y="883"/>
                </a:lnTo>
                <a:lnTo>
                  <a:pt x="2181" y="883"/>
                </a:lnTo>
                <a:lnTo>
                  <a:pt x="2183" y="883"/>
                </a:lnTo>
                <a:lnTo>
                  <a:pt x="2183" y="885"/>
                </a:lnTo>
                <a:lnTo>
                  <a:pt x="2181" y="885"/>
                </a:lnTo>
                <a:lnTo>
                  <a:pt x="2180" y="888"/>
                </a:lnTo>
                <a:lnTo>
                  <a:pt x="2178" y="890"/>
                </a:lnTo>
                <a:lnTo>
                  <a:pt x="2176" y="892"/>
                </a:lnTo>
                <a:lnTo>
                  <a:pt x="2173" y="895"/>
                </a:lnTo>
                <a:lnTo>
                  <a:pt x="2173" y="897"/>
                </a:lnTo>
                <a:lnTo>
                  <a:pt x="2171" y="897"/>
                </a:lnTo>
                <a:lnTo>
                  <a:pt x="2169" y="899"/>
                </a:lnTo>
                <a:lnTo>
                  <a:pt x="2168" y="902"/>
                </a:lnTo>
                <a:lnTo>
                  <a:pt x="2166" y="902"/>
                </a:lnTo>
                <a:lnTo>
                  <a:pt x="2168" y="902"/>
                </a:lnTo>
                <a:lnTo>
                  <a:pt x="2166" y="905"/>
                </a:lnTo>
                <a:lnTo>
                  <a:pt x="2169" y="905"/>
                </a:lnTo>
                <a:lnTo>
                  <a:pt x="2171" y="904"/>
                </a:lnTo>
                <a:lnTo>
                  <a:pt x="2171" y="905"/>
                </a:lnTo>
                <a:lnTo>
                  <a:pt x="2171" y="904"/>
                </a:lnTo>
                <a:lnTo>
                  <a:pt x="2169" y="904"/>
                </a:lnTo>
                <a:lnTo>
                  <a:pt x="2169" y="902"/>
                </a:lnTo>
                <a:lnTo>
                  <a:pt x="2171" y="902"/>
                </a:lnTo>
                <a:lnTo>
                  <a:pt x="2173" y="902"/>
                </a:lnTo>
                <a:lnTo>
                  <a:pt x="2176" y="900"/>
                </a:lnTo>
                <a:lnTo>
                  <a:pt x="2178" y="900"/>
                </a:lnTo>
                <a:lnTo>
                  <a:pt x="2178" y="904"/>
                </a:lnTo>
                <a:lnTo>
                  <a:pt x="2176" y="905"/>
                </a:lnTo>
                <a:lnTo>
                  <a:pt x="2178" y="907"/>
                </a:lnTo>
                <a:lnTo>
                  <a:pt x="2178" y="909"/>
                </a:lnTo>
                <a:lnTo>
                  <a:pt x="2180" y="911"/>
                </a:lnTo>
                <a:lnTo>
                  <a:pt x="2180" y="914"/>
                </a:lnTo>
                <a:lnTo>
                  <a:pt x="2180" y="916"/>
                </a:lnTo>
                <a:lnTo>
                  <a:pt x="2181" y="917"/>
                </a:lnTo>
                <a:lnTo>
                  <a:pt x="2181" y="919"/>
                </a:lnTo>
                <a:lnTo>
                  <a:pt x="2183" y="919"/>
                </a:lnTo>
                <a:lnTo>
                  <a:pt x="2185" y="919"/>
                </a:lnTo>
                <a:lnTo>
                  <a:pt x="2188" y="921"/>
                </a:lnTo>
                <a:lnTo>
                  <a:pt x="2192" y="922"/>
                </a:lnTo>
                <a:lnTo>
                  <a:pt x="2193" y="926"/>
                </a:lnTo>
                <a:lnTo>
                  <a:pt x="2195" y="928"/>
                </a:lnTo>
                <a:lnTo>
                  <a:pt x="2195" y="929"/>
                </a:lnTo>
                <a:lnTo>
                  <a:pt x="2193" y="931"/>
                </a:lnTo>
                <a:lnTo>
                  <a:pt x="2195" y="933"/>
                </a:lnTo>
                <a:lnTo>
                  <a:pt x="2193" y="934"/>
                </a:lnTo>
                <a:lnTo>
                  <a:pt x="2190" y="933"/>
                </a:lnTo>
                <a:lnTo>
                  <a:pt x="2188" y="933"/>
                </a:lnTo>
                <a:lnTo>
                  <a:pt x="2188" y="934"/>
                </a:lnTo>
                <a:lnTo>
                  <a:pt x="2186" y="933"/>
                </a:lnTo>
                <a:lnTo>
                  <a:pt x="2188" y="934"/>
                </a:lnTo>
                <a:lnTo>
                  <a:pt x="2190" y="934"/>
                </a:lnTo>
                <a:lnTo>
                  <a:pt x="2192" y="936"/>
                </a:lnTo>
                <a:lnTo>
                  <a:pt x="2188" y="936"/>
                </a:lnTo>
                <a:lnTo>
                  <a:pt x="2186" y="936"/>
                </a:lnTo>
                <a:lnTo>
                  <a:pt x="2185" y="936"/>
                </a:lnTo>
                <a:lnTo>
                  <a:pt x="2185" y="938"/>
                </a:lnTo>
                <a:lnTo>
                  <a:pt x="2183" y="941"/>
                </a:lnTo>
                <a:lnTo>
                  <a:pt x="2183" y="943"/>
                </a:lnTo>
                <a:lnTo>
                  <a:pt x="2183" y="945"/>
                </a:lnTo>
                <a:lnTo>
                  <a:pt x="2183" y="946"/>
                </a:lnTo>
                <a:lnTo>
                  <a:pt x="2185" y="948"/>
                </a:lnTo>
                <a:lnTo>
                  <a:pt x="2185" y="950"/>
                </a:lnTo>
                <a:lnTo>
                  <a:pt x="2186" y="950"/>
                </a:lnTo>
                <a:lnTo>
                  <a:pt x="2186" y="948"/>
                </a:lnTo>
                <a:lnTo>
                  <a:pt x="2188" y="946"/>
                </a:lnTo>
                <a:lnTo>
                  <a:pt x="2190" y="945"/>
                </a:lnTo>
                <a:lnTo>
                  <a:pt x="2193" y="943"/>
                </a:lnTo>
                <a:lnTo>
                  <a:pt x="2193" y="941"/>
                </a:lnTo>
                <a:lnTo>
                  <a:pt x="2195" y="941"/>
                </a:lnTo>
                <a:lnTo>
                  <a:pt x="2195" y="939"/>
                </a:lnTo>
                <a:lnTo>
                  <a:pt x="2197" y="939"/>
                </a:lnTo>
                <a:lnTo>
                  <a:pt x="2198" y="939"/>
                </a:lnTo>
                <a:lnTo>
                  <a:pt x="2200" y="939"/>
                </a:lnTo>
                <a:lnTo>
                  <a:pt x="2200" y="941"/>
                </a:lnTo>
                <a:lnTo>
                  <a:pt x="2202" y="941"/>
                </a:lnTo>
                <a:lnTo>
                  <a:pt x="2202" y="938"/>
                </a:lnTo>
                <a:lnTo>
                  <a:pt x="2203" y="938"/>
                </a:lnTo>
                <a:lnTo>
                  <a:pt x="2203" y="936"/>
                </a:lnTo>
                <a:lnTo>
                  <a:pt x="2205" y="938"/>
                </a:lnTo>
                <a:lnTo>
                  <a:pt x="2203" y="936"/>
                </a:lnTo>
                <a:lnTo>
                  <a:pt x="2205" y="936"/>
                </a:lnTo>
                <a:lnTo>
                  <a:pt x="2205" y="934"/>
                </a:lnTo>
                <a:lnTo>
                  <a:pt x="2207" y="934"/>
                </a:lnTo>
                <a:lnTo>
                  <a:pt x="2210" y="938"/>
                </a:lnTo>
                <a:lnTo>
                  <a:pt x="2209" y="933"/>
                </a:lnTo>
                <a:lnTo>
                  <a:pt x="2210" y="931"/>
                </a:lnTo>
                <a:lnTo>
                  <a:pt x="2210" y="928"/>
                </a:lnTo>
                <a:lnTo>
                  <a:pt x="2210" y="926"/>
                </a:lnTo>
                <a:lnTo>
                  <a:pt x="2210" y="924"/>
                </a:lnTo>
                <a:lnTo>
                  <a:pt x="2212" y="924"/>
                </a:lnTo>
                <a:lnTo>
                  <a:pt x="2214" y="926"/>
                </a:lnTo>
                <a:lnTo>
                  <a:pt x="2215" y="926"/>
                </a:lnTo>
                <a:lnTo>
                  <a:pt x="2217" y="928"/>
                </a:lnTo>
                <a:lnTo>
                  <a:pt x="2219" y="929"/>
                </a:lnTo>
                <a:lnTo>
                  <a:pt x="2222" y="929"/>
                </a:lnTo>
                <a:lnTo>
                  <a:pt x="2226" y="928"/>
                </a:lnTo>
                <a:lnTo>
                  <a:pt x="2226" y="929"/>
                </a:lnTo>
                <a:lnTo>
                  <a:pt x="2226" y="931"/>
                </a:lnTo>
                <a:lnTo>
                  <a:pt x="2226" y="929"/>
                </a:lnTo>
                <a:lnTo>
                  <a:pt x="2226" y="926"/>
                </a:lnTo>
                <a:lnTo>
                  <a:pt x="2224" y="924"/>
                </a:lnTo>
                <a:lnTo>
                  <a:pt x="2224" y="921"/>
                </a:lnTo>
                <a:lnTo>
                  <a:pt x="2220" y="919"/>
                </a:lnTo>
                <a:lnTo>
                  <a:pt x="2219" y="919"/>
                </a:lnTo>
                <a:lnTo>
                  <a:pt x="2219" y="917"/>
                </a:lnTo>
                <a:lnTo>
                  <a:pt x="2217" y="916"/>
                </a:lnTo>
                <a:lnTo>
                  <a:pt x="2217" y="914"/>
                </a:lnTo>
                <a:lnTo>
                  <a:pt x="2217" y="911"/>
                </a:lnTo>
                <a:lnTo>
                  <a:pt x="2217" y="909"/>
                </a:lnTo>
                <a:lnTo>
                  <a:pt x="2217" y="907"/>
                </a:lnTo>
                <a:lnTo>
                  <a:pt x="2219" y="907"/>
                </a:lnTo>
                <a:lnTo>
                  <a:pt x="2217" y="907"/>
                </a:lnTo>
                <a:lnTo>
                  <a:pt x="2217" y="905"/>
                </a:lnTo>
                <a:lnTo>
                  <a:pt x="2219" y="902"/>
                </a:lnTo>
                <a:lnTo>
                  <a:pt x="2219" y="900"/>
                </a:lnTo>
                <a:lnTo>
                  <a:pt x="2219" y="899"/>
                </a:lnTo>
                <a:lnTo>
                  <a:pt x="2219" y="897"/>
                </a:lnTo>
                <a:lnTo>
                  <a:pt x="2220" y="893"/>
                </a:lnTo>
                <a:lnTo>
                  <a:pt x="2224" y="892"/>
                </a:lnTo>
                <a:lnTo>
                  <a:pt x="2226" y="892"/>
                </a:lnTo>
                <a:lnTo>
                  <a:pt x="2226" y="890"/>
                </a:lnTo>
                <a:lnTo>
                  <a:pt x="2226" y="888"/>
                </a:lnTo>
                <a:lnTo>
                  <a:pt x="2227" y="888"/>
                </a:lnTo>
                <a:lnTo>
                  <a:pt x="2227" y="885"/>
                </a:lnTo>
                <a:lnTo>
                  <a:pt x="2227" y="882"/>
                </a:lnTo>
                <a:lnTo>
                  <a:pt x="2229" y="880"/>
                </a:lnTo>
                <a:lnTo>
                  <a:pt x="2232" y="880"/>
                </a:lnTo>
                <a:lnTo>
                  <a:pt x="2234" y="880"/>
                </a:lnTo>
                <a:lnTo>
                  <a:pt x="2236" y="880"/>
                </a:lnTo>
                <a:lnTo>
                  <a:pt x="2237" y="880"/>
                </a:lnTo>
                <a:lnTo>
                  <a:pt x="2237" y="878"/>
                </a:lnTo>
                <a:lnTo>
                  <a:pt x="2241" y="876"/>
                </a:lnTo>
                <a:lnTo>
                  <a:pt x="2241" y="875"/>
                </a:lnTo>
                <a:lnTo>
                  <a:pt x="2243" y="873"/>
                </a:lnTo>
                <a:lnTo>
                  <a:pt x="2243" y="871"/>
                </a:lnTo>
                <a:lnTo>
                  <a:pt x="2246" y="871"/>
                </a:lnTo>
                <a:lnTo>
                  <a:pt x="2249" y="871"/>
                </a:lnTo>
                <a:lnTo>
                  <a:pt x="2251" y="871"/>
                </a:lnTo>
                <a:lnTo>
                  <a:pt x="2253" y="871"/>
                </a:lnTo>
                <a:lnTo>
                  <a:pt x="2256" y="871"/>
                </a:lnTo>
                <a:lnTo>
                  <a:pt x="2260" y="868"/>
                </a:lnTo>
                <a:lnTo>
                  <a:pt x="2261" y="866"/>
                </a:lnTo>
                <a:lnTo>
                  <a:pt x="2261" y="865"/>
                </a:lnTo>
                <a:lnTo>
                  <a:pt x="2261" y="863"/>
                </a:lnTo>
                <a:lnTo>
                  <a:pt x="2261" y="859"/>
                </a:lnTo>
                <a:lnTo>
                  <a:pt x="2260" y="858"/>
                </a:lnTo>
                <a:lnTo>
                  <a:pt x="2260" y="856"/>
                </a:lnTo>
                <a:lnTo>
                  <a:pt x="2260" y="853"/>
                </a:lnTo>
                <a:lnTo>
                  <a:pt x="2260" y="851"/>
                </a:lnTo>
                <a:lnTo>
                  <a:pt x="2260" y="849"/>
                </a:lnTo>
                <a:lnTo>
                  <a:pt x="2260" y="848"/>
                </a:lnTo>
                <a:lnTo>
                  <a:pt x="2256" y="849"/>
                </a:lnTo>
                <a:lnTo>
                  <a:pt x="2256" y="851"/>
                </a:lnTo>
                <a:lnTo>
                  <a:pt x="2254" y="853"/>
                </a:lnTo>
                <a:lnTo>
                  <a:pt x="2254" y="854"/>
                </a:lnTo>
                <a:lnTo>
                  <a:pt x="2253" y="856"/>
                </a:lnTo>
                <a:lnTo>
                  <a:pt x="2251" y="858"/>
                </a:lnTo>
                <a:lnTo>
                  <a:pt x="2251" y="856"/>
                </a:lnTo>
                <a:lnTo>
                  <a:pt x="2253" y="854"/>
                </a:lnTo>
                <a:lnTo>
                  <a:pt x="2253" y="853"/>
                </a:lnTo>
                <a:lnTo>
                  <a:pt x="2256" y="849"/>
                </a:lnTo>
                <a:lnTo>
                  <a:pt x="2258" y="848"/>
                </a:lnTo>
                <a:lnTo>
                  <a:pt x="2260" y="846"/>
                </a:lnTo>
                <a:lnTo>
                  <a:pt x="2261" y="842"/>
                </a:lnTo>
                <a:lnTo>
                  <a:pt x="2261" y="841"/>
                </a:lnTo>
                <a:lnTo>
                  <a:pt x="2263" y="841"/>
                </a:lnTo>
                <a:lnTo>
                  <a:pt x="2263" y="839"/>
                </a:lnTo>
                <a:lnTo>
                  <a:pt x="2263" y="836"/>
                </a:lnTo>
                <a:lnTo>
                  <a:pt x="2265" y="834"/>
                </a:lnTo>
                <a:lnTo>
                  <a:pt x="2266" y="831"/>
                </a:lnTo>
                <a:lnTo>
                  <a:pt x="2268" y="827"/>
                </a:lnTo>
                <a:lnTo>
                  <a:pt x="2270" y="825"/>
                </a:lnTo>
                <a:lnTo>
                  <a:pt x="2270" y="822"/>
                </a:lnTo>
                <a:lnTo>
                  <a:pt x="2271" y="817"/>
                </a:lnTo>
                <a:lnTo>
                  <a:pt x="2273" y="815"/>
                </a:lnTo>
                <a:lnTo>
                  <a:pt x="2275" y="814"/>
                </a:lnTo>
                <a:lnTo>
                  <a:pt x="2277" y="812"/>
                </a:lnTo>
                <a:lnTo>
                  <a:pt x="2278" y="810"/>
                </a:lnTo>
                <a:lnTo>
                  <a:pt x="2280" y="808"/>
                </a:lnTo>
                <a:lnTo>
                  <a:pt x="2283" y="808"/>
                </a:lnTo>
                <a:lnTo>
                  <a:pt x="2282" y="810"/>
                </a:lnTo>
                <a:lnTo>
                  <a:pt x="2280" y="812"/>
                </a:lnTo>
                <a:lnTo>
                  <a:pt x="2280" y="815"/>
                </a:lnTo>
                <a:lnTo>
                  <a:pt x="2278" y="817"/>
                </a:lnTo>
                <a:lnTo>
                  <a:pt x="2282" y="815"/>
                </a:lnTo>
                <a:lnTo>
                  <a:pt x="2283" y="815"/>
                </a:lnTo>
                <a:lnTo>
                  <a:pt x="2287" y="815"/>
                </a:lnTo>
                <a:lnTo>
                  <a:pt x="2288" y="815"/>
                </a:lnTo>
                <a:lnTo>
                  <a:pt x="2292" y="815"/>
                </a:lnTo>
                <a:lnTo>
                  <a:pt x="2294" y="815"/>
                </a:lnTo>
                <a:lnTo>
                  <a:pt x="2295" y="817"/>
                </a:lnTo>
                <a:lnTo>
                  <a:pt x="2305" y="814"/>
                </a:lnTo>
                <a:lnTo>
                  <a:pt x="2311" y="812"/>
                </a:lnTo>
                <a:lnTo>
                  <a:pt x="2312" y="812"/>
                </a:lnTo>
                <a:lnTo>
                  <a:pt x="2314" y="810"/>
                </a:lnTo>
                <a:lnTo>
                  <a:pt x="2316" y="808"/>
                </a:lnTo>
                <a:lnTo>
                  <a:pt x="2317" y="807"/>
                </a:lnTo>
                <a:lnTo>
                  <a:pt x="2319" y="805"/>
                </a:lnTo>
                <a:lnTo>
                  <a:pt x="2319" y="803"/>
                </a:lnTo>
                <a:lnTo>
                  <a:pt x="2321" y="802"/>
                </a:lnTo>
                <a:lnTo>
                  <a:pt x="2321" y="798"/>
                </a:lnTo>
                <a:lnTo>
                  <a:pt x="2319" y="795"/>
                </a:lnTo>
                <a:lnTo>
                  <a:pt x="2319" y="793"/>
                </a:lnTo>
                <a:lnTo>
                  <a:pt x="2319" y="791"/>
                </a:lnTo>
                <a:lnTo>
                  <a:pt x="2319" y="790"/>
                </a:lnTo>
                <a:lnTo>
                  <a:pt x="2317" y="790"/>
                </a:lnTo>
                <a:lnTo>
                  <a:pt x="2317" y="788"/>
                </a:lnTo>
                <a:lnTo>
                  <a:pt x="2319" y="786"/>
                </a:lnTo>
                <a:lnTo>
                  <a:pt x="2321" y="785"/>
                </a:lnTo>
                <a:lnTo>
                  <a:pt x="2319" y="783"/>
                </a:lnTo>
                <a:lnTo>
                  <a:pt x="2317" y="783"/>
                </a:lnTo>
                <a:lnTo>
                  <a:pt x="2317" y="781"/>
                </a:lnTo>
                <a:lnTo>
                  <a:pt x="2316" y="780"/>
                </a:lnTo>
                <a:lnTo>
                  <a:pt x="2316" y="778"/>
                </a:lnTo>
                <a:lnTo>
                  <a:pt x="2314" y="778"/>
                </a:lnTo>
                <a:lnTo>
                  <a:pt x="2312" y="776"/>
                </a:lnTo>
                <a:lnTo>
                  <a:pt x="2311" y="774"/>
                </a:lnTo>
                <a:lnTo>
                  <a:pt x="2309" y="774"/>
                </a:lnTo>
                <a:lnTo>
                  <a:pt x="2307" y="773"/>
                </a:lnTo>
                <a:lnTo>
                  <a:pt x="2305" y="773"/>
                </a:lnTo>
                <a:lnTo>
                  <a:pt x="2304" y="773"/>
                </a:lnTo>
                <a:lnTo>
                  <a:pt x="2304" y="774"/>
                </a:lnTo>
                <a:lnTo>
                  <a:pt x="2307" y="776"/>
                </a:lnTo>
                <a:lnTo>
                  <a:pt x="2305" y="776"/>
                </a:lnTo>
                <a:lnTo>
                  <a:pt x="2304" y="776"/>
                </a:lnTo>
                <a:lnTo>
                  <a:pt x="2302" y="776"/>
                </a:lnTo>
                <a:lnTo>
                  <a:pt x="2299" y="771"/>
                </a:lnTo>
                <a:lnTo>
                  <a:pt x="2297" y="769"/>
                </a:lnTo>
                <a:lnTo>
                  <a:pt x="2295" y="769"/>
                </a:lnTo>
                <a:lnTo>
                  <a:pt x="2290" y="768"/>
                </a:lnTo>
                <a:lnTo>
                  <a:pt x="2287" y="766"/>
                </a:lnTo>
                <a:lnTo>
                  <a:pt x="2285" y="766"/>
                </a:lnTo>
                <a:lnTo>
                  <a:pt x="2283" y="764"/>
                </a:lnTo>
                <a:lnTo>
                  <a:pt x="2280" y="764"/>
                </a:lnTo>
                <a:lnTo>
                  <a:pt x="2278" y="763"/>
                </a:lnTo>
                <a:lnTo>
                  <a:pt x="2277" y="763"/>
                </a:lnTo>
                <a:lnTo>
                  <a:pt x="2275" y="761"/>
                </a:lnTo>
                <a:lnTo>
                  <a:pt x="2273" y="761"/>
                </a:lnTo>
                <a:lnTo>
                  <a:pt x="2273" y="759"/>
                </a:lnTo>
                <a:lnTo>
                  <a:pt x="2271" y="757"/>
                </a:lnTo>
                <a:lnTo>
                  <a:pt x="2270" y="756"/>
                </a:lnTo>
                <a:lnTo>
                  <a:pt x="2270" y="752"/>
                </a:lnTo>
                <a:lnTo>
                  <a:pt x="2271" y="752"/>
                </a:lnTo>
                <a:lnTo>
                  <a:pt x="2273" y="751"/>
                </a:lnTo>
                <a:lnTo>
                  <a:pt x="2277" y="749"/>
                </a:lnTo>
                <a:lnTo>
                  <a:pt x="2277" y="747"/>
                </a:lnTo>
                <a:lnTo>
                  <a:pt x="2278" y="746"/>
                </a:lnTo>
                <a:lnTo>
                  <a:pt x="2277" y="744"/>
                </a:lnTo>
                <a:lnTo>
                  <a:pt x="2275" y="742"/>
                </a:lnTo>
                <a:lnTo>
                  <a:pt x="2277" y="742"/>
                </a:lnTo>
                <a:lnTo>
                  <a:pt x="2277" y="740"/>
                </a:lnTo>
                <a:lnTo>
                  <a:pt x="2273" y="739"/>
                </a:lnTo>
                <a:lnTo>
                  <a:pt x="2271" y="737"/>
                </a:lnTo>
                <a:lnTo>
                  <a:pt x="2271" y="734"/>
                </a:lnTo>
                <a:lnTo>
                  <a:pt x="2271" y="732"/>
                </a:lnTo>
                <a:lnTo>
                  <a:pt x="2273" y="732"/>
                </a:lnTo>
                <a:lnTo>
                  <a:pt x="2275" y="730"/>
                </a:lnTo>
                <a:lnTo>
                  <a:pt x="2277" y="730"/>
                </a:lnTo>
                <a:lnTo>
                  <a:pt x="2277" y="727"/>
                </a:lnTo>
                <a:lnTo>
                  <a:pt x="2278" y="728"/>
                </a:lnTo>
                <a:lnTo>
                  <a:pt x="2280" y="728"/>
                </a:lnTo>
                <a:lnTo>
                  <a:pt x="2282" y="727"/>
                </a:lnTo>
                <a:lnTo>
                  <a:pt x="2285" y="728"/>
                </a:lnTo>
                <a:lnTo>
                  <a:pt x="2287" y="727"/>
                </a:lnTo>
                <a:lnTo>
                  <a:pt x="2288" y="727"/>
                </a:lnTo>
                <a:lnTo>
                  <a:pt x="2290" y="725"/>
                </a:lnTo>
                <a:lnTo>
                  <a:pt x="2292" y="723"/>
                </a:lnTo>
                <a:lnTo>
                  <a:pt x="2294" y="722"/>
                </a:lnTo>
                <a:lnTo>
                  <a:pt x="2295" y="722"/>
                </a:lnTo>
                <a:lnTo>
                  <a:pt x="2297" y="722"/>
                </a:lnTo>
                <a:lnTo>
                  <a:pt x="2299" y="720"/>
                </a:lnTo>
                <a:lnTo>
                  <a:pt x="2300" y="718"/>
                </a:lnTo>
                <a:lnTo>
                  <a:pt x="2302" y="718"/>
                </a:lnTo>
                <a:lnTo>
                  <a:pt x="2304" y="717"/>
                </a:lnTo>
                <a:lnTo>
                  <a:pt x="2305" y="715"/>
                </a:lnTo>
                <a:lnTo>
                  <a:pt x="2309" y="711"/>
                </a:lnTo>
                <a:lnTo>
                  <a:pt x="2312" y="710"/>
                </a:lnTo>
                <a:lnTo>
                  <a:pt x="2314" y="710"/>
                </a:lnTo>
                <a:lnTo>
                  <a:pt x="2314" y="708"/>
                </a:lnTo>
                <a:lnTo>
                  <a:pt x="2317" y="706"/>
                </a:lnTo>
                <a:lnTo>
                  <a:pt x="2319" y="705"/>
                </a:lnTo>
                <a:lnTo>
                  <a:pt x="2324" y="703"/>
                </a:lnTo>
                <a:lnTo>
                  <a:pt x="2326" y="703"/>
                </a:lnTo>
                <a:lnTo>
                  <a:pt x="2328" y="703"/>
                </a:lnTo>
                <a:lnTo>
                  <a:pt x="2329" y="701"/>
                </a:lnTo>
                <a:lnTo>
                  <a:pt x="2333" y="700"/>
                </a:lnTo>
                <a:lnTo>
                  <a:pt x="2334" y="700"/>
                </a:lnTo>
                <a:lnTo>
                  <a:pt x="2336" y="700"/>
                </a:lnTo>
                <a:lnTo>
                  <a:pt x="2341" y="698"/>
                </a:lnTo>
                <a:lnTo>
                  <a:pt x="2343" y="696"/>
                </a:lnTo>
                <a:lnTo>
                  <a:pt x="2346" y="696"/>
                </a:lnTo>
                <a:lnTo>
                  <a:pt x="2348" y="694"/>
                </a:lnTo>
                <a:lnTo>
                  <a:pt x="2353" y="694"/>
                </a:lnTo>
                <a:lnTo>
                  <a:pt x="2356" y="693"/>
                </a:lnTo>
                <a:lnTo>
                  <a:pt x="2362" y="693"/>
                </a:lnTo>
                <a:lnTo>
                  <a:pt x="2365" y="693"/>
                </a:lnTo>
                <a:lnTo>
                  <a:pt x="2375" y="693"/>
                </a:lnTo>
                <a:lnTo>
                  <a:pt x="2379" y="694"/>
                </a:lnTo>
                <a:lnTo>
                  <a:pt x="2377" y="694"/>
                </a:lnTo>
                <a:lnTo>
                  <a:pt x="2377" y="696"/>
                </a:lnTo>
                <a:lnTo>
                  <a:pt x="2375" y="696"/>
                </a:lnTo>
                <a:lnTo>
                  <a:pt x="2377" y="698"/>
                </a:lnTo>
                <a:lnTo>
                  <a:pt x="2375" y="700"/>
                </a:lnTo>
                <a:lnTo>
                  <a:pt x="2379" y="698"/>
                </a:lnTo>
                <a:lnTo>
                  <a:pt x="2380" y="700"/>
                </a:lnTo>
                <a:lnTo>
                  <a:pt x="2379" y="701"/>
                </a:lnTo>
                <a:lnTo>
                  <a:pt x="2380" y="703"/>
                </a:lnTo>
                <a:lnTo>
                  <a:pt x="2382" y="703"/>
                </a:lnTo>
                <a:lnTo>
                  <a:pt x="2380" y="705"/>
                </a:lnTo>
                <a:lnTo>
                  <a:pt x="2382" y="705"/>
                </a:lnTo>
                <a:lnTo>
                  <a:pt x="2384" y="708"/>
                </a:lnTo>
                <a:lnTo>
                  <a:pt x="2384" y="711"/>
                </a:lnTo>
                <a:lnTo>
                  <a:pt x="2384" y="713"/>
                </a:lnTo>
                <a:lnTo>
                  <a:pt x="2385" y="717"/>
                </a:lnTo>
                <a:lnTo>
                  <a:pt x="2389" y="717"/>
                </a:lnTo>
                <a:lnTo>
                  <a:pt x="2390" y="718"/>
                </a:lnTo>
                <a:lnTo>
                  <a:pt x="2390" y="720"/>
                </a:lnTo>
                <a:lnTo>
                  <a:pt x="2392" y="722"/>
                </a:lnTo>
                <a:lnTo>
                  <a:pt x="2394" y="720"/>
                </a:lnTo>
                <a:lnTo>
                  <a:pt x="2396" y="720"/>
                </a:lnTo>
                <a:lnTo>
                  <a:pt x="2396" y="717"/>
                </a:lnTo>
                <a:lnTo>
                  <a:pt x="2397" y="717"/>
                </a:lnTo>
                <a:lnTo>
                  <a:pt x="2399" y="715"/>
                </a:lnTo>
                <a:lnTo>
                  <a:pt x="2399" y="717"/>
                </a:lnTo>
                <a:lnTo>
                  <a:pt x="2401" y="717"/>
                </a:lnTo>
                <a:lnTo>
                  <a:pt x="2402" y="715"/>
                </a:lnTo>
                <a:lnTo>
                  <a:pt x="2404" y="715"/>
                </a:lnTo>
                <a:lnTo>
                  <a:pt x="2406" y="715"/>
                </a:lnTo>
                <a:lnTo>
                  <a:pt x="2406" y="713"/>
                </a:lnTo>
                <a:lnTo>
                  <a:pt x="2407" y="713"/>
                </a:lnTo>
                <a:lnTo>
                  <a:pt x="2409" y="711"/>
                </a:lnTo>
                <a:lnTo>
                  <a:pt x="2411" y="711"/>
                </a:lnTo>
                <a:lnTo>
                  <a:pt x="2413" y="711"/>
                </a:lnTo>
                <a:lnTo>
                  <a:pt x="2413" y="713"/>
                </a:lnTo>
                <a:lnTo>
                  <a:pt x="2414" y="715"/>
                </a:lnTo>
                <a:lnTo>
                  <a:pt x="2416" y="713"/>
                </a:lnTo>
                <a:lnTo>
                  <a:pt x="2418" y="713"/>
                </a:lnTo>
                <a:lnTo>
                  <a:pt x="2418" y="717"/>
                </a:lnTo>
                <a:lnTo>
                  <a:pt x="2419" y="718"/>
                </a:lnTo>
                <a:lnTo>
                  <a:pt x="2421" y="717"/>
                </a:lnTo>
                <a:lnTo>
                  <a:pt x="2424" y="717"/>
                </a:lnTo>
                <a:lnTo>
                  <a:pt x="2426" y="718"/>
                </a:lnTo>
                <a:lnTo>
                  <a:pt x="2428" y="717"/>
                </a:lnTo>
                <a:lnTo>
                  <a:pt x="2429" y="718"/>
                </a:lnTo>
                <a:lnTo>
                  <a:pt x="2429" y="722"/>
                </a:lnTo>
                <a:lnTo>
                  <a:pt x="2431" y="723"/>
                </a:lnTo>
                <a:lnTo>
                  <a:pt x="2429" y="725"/>
                </a:lnTo>
                <a:lnTo>
                  <a:pt x="2431" y="725"/>
                </a:lnTo>
                <a:lnTo>
                  <a:pt x="2433" y="727"/>
                </a:lnTo>
                <a:lnTo>
                  <a:pt x="2431" y="728"/>
                </a:lnTo>
                <a:lnTo>
                  <a:pt x="2433" y="730"/>
                </a:lnTo>
                <a:lnTo>
                  <a:pt x="2435" y="732"/>
                </a:lnTo>
                <a:lnTo>
                  <a:pt x="2435" y="734"/>
                </a:lnTo>
                <a:lnTo>
                  <a:pt x="2435" y="735"/>
                </a:lnTo>
                <a:lnTo>
                  <a:pt x="2436" y="737"/>
                </a:lnTo>
                <a:lnTo>
                  <a:pt x="2438" y="739"/>
                </a:lnTo>
                <a:lnTo>
                  <a:pt x="2436" y="740"/>
                </a:lnTo>
                <a:lnTo>
                  <a:pt x="2438" y="742"/>
                </a:lnTo>
                <a:lnTo>
                  <a:pt x="2440" y="744"/>
                </a:lnTo>
                <a:lnTo>
                  <a:pt x="2441" y="744"/>
                </a:lnTo>
                <a:lnTo>
                  <a:pt x="2441" y="746"/>
                </a:lnTo>
                <a:lnTo>
                  <a:pt x="2443" y="746"/>
                </a:lnTo>
                <a:lnTo>
                  <a:pt x="2445" y="747"/>
                </a:lnTo>
                <a:lnTo>
                  <a:pt x="2446" y="747"/>
                </a:lnTo>
                <a:lnTo>
                  <a:pt x="2446" y="749"/>
                </a:lnTo>
                <a:lnTo>
                  <a:pt x="2448" y="751"/>
                </a:lnTo>
                <a:lnTo>
                  <a:pt x="2448" y="752"/>
                </a:lnTo>
                <a:lnTo>
                  <a:pt x="2450" y="752"/>
                </a:lnTo>
                <a:lnTo>
                  <a:pt x="2452" y="754"/>
                </a:lnTo>
                <a:lnTo>
                  <a:pt x="2453" y="756"/>
                </a:lnTo>
                <a:lnTo>
                  <a:pt x="2457" y="756"/>
                </a:lnTo>
                <a:lnTo>
                  <a:pt x="2458" y="752"/>
                </a:lnTo>
                <a:lnTo>
                  <a:pt x="2462" y="751"/>
                </a:lnTo>
                <a:lnTo>
                  <a:pt x="2463" y="749"/>
                </a:lnTo>
                <a:lnTo>
                  <a:pt x="2463" y="747"/>
                </a:lnTo>
                <a:lnTo>
                  <a:pt x="2463" y="746"/>
                </a:lnTo>
                <a:lnTo>
                  <a:pt x="2463" y="744"/>
                </a:lnTo>
                <a:lnTo>
                  <a:pt x="2467" y="744"/>
                </a:lnTo>
                <a:lnTo>
                  <a:pt x="2467" y="742"/>
                </a:lnTo>
                <a:lnTo>
                  <a:pt x="2469" y="746"/>
                </a:lnTo>
                <a:lnTo>
                  <a:pt x="2472" y="747"/>
                </a:lnTo>
                <a:lnTo>
                  <a:pt x="2474" y="751"/>
                </a:lnTo>
                <a:lnTo>
                  <a:pt x="2475" y="751"/>
                </a:lnTo>
                <a:lnTo>
                  <a:pt x="2479" y="749"/>
                </a:lnTo>
                <a:lnTo>
                  <a:pt x="2480" y="749"/>
                </a:lnTo>
                <a:lnTo>
                  <a:pt x="2484" y="752"/>
                </a:lnTo>
                <a:lnTo>
                  <a:pt x="2484" y="756"/>
                </a:lnTo>
                <a:lnTo>
                  <a:pt x="2479" y="757"/>
                </a:lnTo>
                <a:lnTo>
                  <a:pt x="2480" y="759"/>
                </a:lnTo>
                <a:lnTo>
                  <a:pt x="2477" y="759"/>
                </a:lnTo>
                <a:lnTo>
                  <a:pt x="2477" y="763"/>
                </a:lnTo>
                <a:lnTo>
                  <a:pt x="2479" y="764"/>
                </a:lnTo>
                <a:lnTo>
                  <a:pt x="2480" y="766"/>
                </a:lnTo>
                <a:lnTo>
                  <a:pt x="2484" y="768"/>
                </a:lnTo>
                <a:lnTo>
                  <a:pt x="2486" y="763"/>
                </a:lnTo>
                <a:lnTo>
                  <a:pt x="2491" y="766"/>
                </a:lnTo>
                <a:lnTo>
                  <a:pt x="2494" y="771"/>
                </a:lnTo>
                <a:lnTo>
                  <a:pt x="2491" y="774"/>
                </a:lnTo>
                <a:lnTo>
                  <a:pt x="2491" y="776"/>
                </a:lnTo>
                <a:lnTo>
                  <a:pt x="2489" y="778"/>
                </a:lnTo>
                <a:lnTo>
                  <a:pt x="2489" y="780"/>
                </a:lnTo>
                <a:lnTo>
                  <a:pt x="2492" y="780"/>
                </a:lnTo>
                <a:lnTo>
                  <a:pt x="2491" y="781"/>
                </a:lnTo>
                <a:lnTo>
                  <a:pt x="2492" y="783"/>
                </a:lnTo>
                <a:lnTo>
                  <a:pt x="2491" y="786"/>
                </a:lnTo>
                <a:lnTo>
                  <a:pt x="2492" y="788"/>
                </a:lnTo>
                <a:lnTo>
                  <a:pt x="2491" y="793"/>
                </a:lnTo>
                <a:lnTo>
                  <a:pt x="2491" y="800"/>
                </a:lnTo>
                <a:lnTo>
                  <a:pt x="2491" y="802"/>
                </a:lnTo>
                <a:lnTo>
                  <a:pt x="2494" y="803"/>
                </a:lnTo>
                <a:lnTo>
                  <a:pt x="2494" y="807"/>
                </a:lnTo>
                <a:lnTo>
                  <a:pt x="2494" y="808"/>
                </a:lnTo>
                <a:lnTo>
                  <a:pt x="2496" y="810"/>
                </a:lnTo>
                <a:lnTo>
                  <a:pt x="2497" y="812"/>
                </a:lnTo>
                <a:lnTo>
                  <a:pt x="2501" y="814"/>
                </a:lnTo>
                <a:lnTo>
                  <a:pt x="2501" y="815"/>
                </a:lnTo>
                <a:lnTo>
                  <a:pt x="2501" y="820"/>
                </a:lnTo>
                <a:lnTo>
                  <a:pt x="2499" y="820"/>
                </a:lnTo>
                <a:lnTo>
                  <a:pt x="2501" y="822"/>
                </a:lnTo>
                <a:lnTo>
                  <a:pt x="2497" y="827"/>
                </a:lnTo>
                <a:lnTo>
                  <a:pt x="2496" y="829"/>
                </a:lnTo>
                <a:lnTo>
                  <a:pt x="2494" y="832"/>
                </a:lnTo>
                <a:lnTo>
                  <a:pt x="2496" y="832"/>
                </a:lnTo>
                <a:lnTo>
                  <a:pt x="2497" y="834"/>
                </a:lnTo>
                <a:lnTo>
                  <a:pt x="2496" y="837"/>
                </a:lnTo>
                <a:lnTo>
                  <a:pt x="2494" y="841"/>
                </a:lnTo>
                <a:lnTo>
                  <a:pt x="2496" y="844"/>
                </a:lnTo>
                <a:lnTo>
                  <a:pt x="2494" y="846"/>
                </a:lnTo>
                <a:lnTo>
                  <a:pt x="2492" y="848"/>
                </a:lnTo>
                <a:lnTo>
                  <a:pt x="2492" y="854"/>
                </a:lnTo>
                <a:lnTo>
                  <a:pt x="2492" y="856"/>
                </a:lnTo>
                <a:lnTo>
                  <a:pt x="2492" y="858"/>
                </a:lnTo>
                <a:lnTo>
                  <a:pt x="2491" y="865"/>
                </a:lnTo>
                <a:lnTo>
                  <a:pt x="2489" y="870"/>
                </a:lnTo>
                <a:lnTo>
                  <a:pt x="2487" y="870"/>
                </a:lnTo>
                <a:lnTo>
                  <a:pt x="2487" y="871"/>
                </a:lnTo>
                <a:lnTo>
                  <a:pt x="2487" y="875"/>
                </a:lnTo>
                <a:lnTo>
                  <a:pt x="2489" y="882"/>
                </a:lnTo>
                <a:lnTo>
                  <a:pt x="2492" y="883"/>
                </a:lnTo>
                <a:lnTo>
                  <a:pt x="2496" y="885"/>
                </a:lnTo>
                <a:lnTo>
                  <a:pt x="2496" y="887"/>
                </a:lnTo>
                <a:lnTo>
                  <a:pt x="2494" y="887"/>
                </a:lnTo>
                <a:lnTo>
                  <a:pt x="2491" y="888"/>
                </a:lnTo>
                <a:lnTo>
                  <a:pt x="2492" y="892"/>
                </a:lnTo>
                <a:lnTo>
                  <a:pt x="2496" y="902"/>
                </a:lnTo>
                <a:lnTo>
                  <a:pt x="2494" y="902"/>
                </a:lnTo>
                <a:lnTo>
                  <a:pt x="2496" y="905"/>
                </a:lnTo>
                <a:lnTo>
                  <a:pt x="2496" y="909"/>
                </a:lnTo>
                <a:lnTo>
                  <a:pt x="2499" y="907"/>
                </a:lnTo>
                <a:lnTo>
                  <a:pt x="2501" y="914"/>
                </a:lnTo>
                <a:lnTo>
                  <a:pt x="2503" y="914"/>
                </a:lnTo>
                <a:lnTo>
                  <a:pt x="2504" y="916"/>
                </a:lnTo>
                <a:lnTo>
                  <a:pt x="2499" y="919"/>
                </a:lnTo>
                <a:lnTo>
                  <a:pt x="2497" y="924"/>
                </a:lnTo>
                <a:lnTo>
                  <a:pt x="2496" y="931"/>
                </a:lnTo>
                <a:lnTo>
                  <a:pt x="2494" y="934"/>
                </a:lnTo>
                <a:lnTo>
                  <a:pt x="2492" y="939"/>
                </a:lnTo>
                <a:lnTo>
                  <a:pt x="2492" y="941"/>
                </a:lnTo>
                <a:lnTo>
                  <a:pt x="2491" y="945"/>
                </a:lnTo>
                <a:lnTo>
                  <a:pt x="2492" y="948"/>
                </a:lnTo>
                <a:lnTo>
                  <a:pt x="2491" y="951"/>
                </a:lnTo>
                <a:lnTo>
                  <a:pt x="2492" y="953"/>
                </a:lnTo>
                <a:lnTo>
                  <a:pt x="2492" y="960"/>
                </a:lnTo>
                <a:lnTo>
                  <a:pt x="2494" y="965"/>
                </a:lnTo>
                <a:lnTo>
                  <a:pt x="2496" y="968"/>
                </a:lnTo>
                <a:lnTo>
                  <a:pt x="2494" y="972"/>
                </a:lnTo>
                <a:lnTo>
                  <a:pt x="2496" y="975"/>
                </a:lnTo>
                <a:lnTo>
                  <a:pt x="2496" y="977"/>
                </a:lnTo>
                <a:lnTo>
                  <a:pt x="2499" y="975"/>
                </a:lnTo>
                <a:lnTo>
                  <a:pt x="2501" y="977"/>
                </a:lnTo>
                <a:lnTo>
                  <a:pt x="2501" y="980"/>
                </a:lnTo>
                <a:lnTo>
                  <a:pt x="2501" y="982"/>
                </a:lnTo>
                <a:lnTo>
                  <a:pt x="2501" y="984"/>
                </a:lnTo>
                <a:lnTo>
                  <a:pt x="2501" y="985"/>
                </a:lnTo>
                <a:lnTo>
                  <a:pt x="2499" y="985"/>
                </a:lnTo>
                <a:lnTo>
                  <a:pt x="2499" y="989"/>
                </a:lnTo>
                <a:lnTo>
                  <a:pt x="2501" y="992"/>
                </a:lnTo>
                <a:lnTo>
                  <a:pt x="2501" y="994"/>
                </a:lnTo>
                <a:lnTo>
                  <a:pt x="2501" y="997"/>
                </a:lnTo>
                <a:lnTo>
                  <a:pt x="2499" y="1001"/>
                </a:lnTo>
                <a:lnTo>
                  <a:pt x="2501" y="1007"/>
                </a:lnTo>
                <a:lnTo>
                  <a:pt x="2497" y="1011"/>
                </a:lnTo>
                <a:lnTo>
                  <a:pt x="2492" y="1009"/>
                </a:lnTo>
                <a:lnTo>
                  <a:pt x="2489" y="1009"/>
                </a:lnTo>
                <a:lnTo>
                  <a:pt x="2487" y="1009"/>
                </a:lnTo>
                <a:lnTo>
                  <a:pt x="2484" y="1006"/>
                </a:lnTo>
                <a:lnTo>
                  <a:pt x="2482" y="1007"/>
                </a:lnTo>
                <a:lnTo>
                  <a:pt x="2482" y="1009"/>
                </a:lnTo>
                <a:lnTo>
                  <a:pt x="2479" y="1013"/>
                </a:lnTo>
                <a:lnTo>
                  <a:pt x="2477" y="1014"/>
                </a:lnTo>
                <a:lnTo>
                  <a:pt x="2477" y="1016"/>
                </a:lnTo>
                <a:lnTo>
                  <a:pt x="2479" y="1019"/>
                </a:lnTo>
                <a:lnTo>
                  <a:pt x="2480" y="1021"/>
                </a:lnTo>
                <a:lnTo>
                  <a:pt x="2479" y="1023"/>
                </a:lnTo>
                <a:lnTo>
                  <a:pt x="2479" y="1024"/>
                </a:lnTo>
                <a:lnTo>
                  <a:pt x="2477" y="1028"/>
                </a:lnTo>
                <a:lnTo>
                  <a:pt x="2479" y="1031"/>
                </a:lnTo>
                <a:lnTo>
                  <a:pt x="2479" y="1035"/>
                </a:lnTo>
                <a:lnTo>
                  <a:pt x="2482" y="1041"/>
                </a:lnTo>
                <a:lnTo>
                  <a:pt x="2484" y="1040"/>
                </a:lnTo>
                <a:lnTo>
                  <a:pt x="2487" y="1040"/>
                </a:lnTo>
                <a:lnTo>
                  <a:pt x="2491" y="1043"/>
                </a:lnTo>
                <a:lnTo>
                  <a:pt x="2492" y="1053"/>
                </a:lnTo>
                <a:lnTo>
                  <a:pt x="2492" y="1055"/>
                </a:lnTo>
                <a:lnTo>
                  <a:pt x="2496" y="1055"/>
                </a:lnTo>
                <a:lnTo>
                  <a:pt x="2497" y="1059"/>
                </a:lnTo>
                <a:lnTo>
                  <a:pt x="2499" y="1064"/>
                </a:lnTo>
                <a:lnTo>
                  <a:pt x="2501" y="1067"/>
                </a:lnTo>
                <a:lnTo>
                  <a:pt x="2503" y="1069"/>
                </a:lnTo>
                <a:lnTo>
                  <a:pt x="2506" y="1069"/>
                </a:lnTo>
                <a:lnTo>
                  <a:pt x="2509" y="1070"/>
                </a:lnTo>
                <a:lnTo>
                  <a:pt x="2513" y="1069"/>
                </a:lnTo>
                <a:lnTo>
                  <a:pt x="2516" y="1070"/>
                </a:lnTo>
                <a:lnTo>
                  <a:pt x="2518" y="1077"/>
                </a:lnTo>
                <a:lnTo>
                  <a:pt x="2520" y="1081"/>
                </a:lnTo>
                <a:lnTo>
                  <a:pt x="2518" y="1086"/>
                </a:lnTo>
                <a:lnTo>
                  <a:pt x="2521" y="1089"/>
                </a:lnTo>
                <a:lnTo>
                  <a:pt x="2523" y="1094"/>
                </a:lnTo>
                <a:lnTo>
                  <a:pt x="2525" y="1098"/>
                </a:lnTo>
                <a:lnTo>
                  <a:pt x="2528" y="1101"/>
                </a:lnTo>
                <a:lnTo>
                  <a:pt x="2531" y="1108"/>
                </a:lnTo>
                <a:lnTo>
                  <a:pt x="2535" y="1116"/>
                </a:lnTo>
                <a:lnTo>
                  <a:pt x="2535" y="1120"/>
                </a:lnTo>
                <a:lnTo>
                  <a:pt x="2537" y="1120"/>
                </a:lnTo>
                <a:lnTo>
                  <a:pt x="2540" y="1123"/>
                </a:lnTo>
                <a:lnTo>
                  <a:pt x="2542" y="1125"/>
                </a:lnTo>
                <a:lnTo>
                  <a:pt x="2543" y="1132"/>
                </a:lnTo>
                <a:lnTo>
                  <a:pt x="2547" y="1133"/>
                </a:lnTo>
                <a:lnTo>
                  <a:pt x="2547" y="1135"/>
                </a:lnTo>
                <a:lnTo>
                  <a:pt x="2547" y="1137"/>
                </a:lnTo>
                <a:lnTo>
                  <a:pt x="2547" y="1138"/>
                </a:lnTo>
                <a:lnTo>
                  <a:pt x="2548" y="1140"/>
                </a:lnTo>
                <a:lnTo>
                  <a:pt x="2550" y="1144"/>
                </a:lnTo>
                <a:lnTo>
                  <a:pt x="2554" y="1144"/>
                </a:lnTo>
                <a:lnTo>
                  <a:pt x="2555" y="1144"/>
                </a:lnTo>
                <a:lnTo>
                  <a:pt x="2557" y="1142"/>
                </a:lnTo>
                <a:lnTo>
                  <a:pt x="2559" y="1142"/>
                </a:lnTo>
                <a:lnTo>
                  <a:pt x="2562" y="1144"/>
                </a:lnTo>
                <a:lnTo>
                  <a:pt x="2562" y="1145"/>
                </a:lnTo>
                <a:lnTo>
                  <a:pt x="2564" y="1149"/>
                </a:lnTo>
                <a:lnTo>
                  <a:pt x="2565" y="1152"/>
                </a:lnTo>
                <a:lnTo>
                  <a:pt x="2567" y="1155"/>
                </a:lnTo>
                <a:lnTo>
                  <a:pt x="2571" y="1157"/>
                </a:lnTo>
                <a:lnTo>
                  <a:pt x="2572" y="1159"/>
                </a:lnTo>
                <a:lnTo>
                  <a:pt x="2574" y="1159"/>
                </a:lnTo>
                <a:lnTo>
                  <a:pt x="2576" y="1162"/>
                </a:lnTo>
                <a:lnTo>
                  <a:pt x="2579" y="1161"/>
                </a:lnTo>
                <a:lnTo>
                  <a:pt x="2582" y="1159"/>
                </a:lnTo>
                <a:lnTo>
                  <a:pt x="2586" y="1167"/>
                </a:lnTo>
                <a:lnTo>
                  <a:pt x="2589" y="1174"/>
                </a:lnTo>
                <a:lnTo>
                  <a:pt x="2589" y="1176"/>
                </a:lnTo>
                <a:lnTo>
                  <a:pt x="2593" y="1181"/>
                </a:lnTo>
                <a:lnTo>
                  <a:pt x="2594" y="1186"/>
                </a:lnTo>
                <a:lnTo>
                  <a:pt x="2596" y="1188"/>
                </a:lnTo>
                <a:lnTo>
                  <a:pt x="2598" y="1189"/>
                </a:lnTo>
                <a:lnTo>
                  <a:pt x="2601" y="1193"/>
                </a:lnTo>
                <a:lnTo>
                  <a:pt x="2603" y="1193"/>
                </a:lnTo>
                <a:lnTo>
                  <a:pt x="2605" y="1195"/>
                </a:lnTo>
                <a:lnTo>
                  <a:pt x="2605" y="1198"/>
                </a:lnTo>
                <a:lnTo>
                  <a:pt x="2605" y="1200"/>
                </a:lnTo>
                <a:lnTo>
                  <a:pt x="2606" y="1205"/>
                </a:lnTo>
                <a:lnTo>
                  <a:pt x="2608" y="1206"/>
                </a:lnTo>
                <a:lnTo>
                  <a:pt x="2611" y="1206"/>
                </a:lnTo>
                <a:lnTo>
                  <a:pt x="2613" y="1208"/>
                </a:lnTo>
                <a:lnTo>
                  <a:pt x="2613" y="1212"/>
                </a:lnTo>
                <a:lnTo>
                  <a:pt x="2615" y="1213"/>
                </a:lnTo>
                <a:lnTo>
                  <a:pt x="2616" y="1215"/>
                </a:lnTo>
                <a:lnTo>
                  <a:pt x="2620" y="1215"/>
                </a:lnTo>
                <a:lnTo>
                  <a:pt x="2620" y="1217"/>
                </a:lnTo>
                <a:lnTo>
                  <a:pt x="2622" y="1218"/>
                </a:lnTo>
                <a:lnTo>
                  <a:pt x="2623" y="1220"/>
                </a:lnTo>
                <a:lnTo>
                  <a:pt x="2625" y="1220"/>
                </a:lnTo>
                <a:lnTo>
                  <a:pt x="2627" y="1222"/>
                </a:lnTo>
                <a:lnTo>
                  <a:pt x="2627" y="1224"/>
                </a:lnTo>
                <a:lnTo>
                  <a:pt x="2628" y="1225"/>
                </a:lnTo>
                <a:lnTo>
                  <a:pt x="2630" y="1227"/>
                </a:lnTo>
                <a:lnTo>
                  <a:pt x="2628" y="1229"/>
                </a:lnTo>
                <a:lnTo>
                  <a:pt x="2628" y="1230"/>
                </a:lnTo>
                <a:lnTo>
                  <a:pt x="2630" y="1232"/>
                </a:lnTo>
                <a:lnTo>
                  <a:pt x="2630" y="1234"/>
                </a:lnTo>
                <a:lnTo>
                  <a:pt x="2630" y="1235"/>
                </a:lnTo>
                <a:lnTo>
                  <a:pt x="2632" y="1237"/>
                </a:lnTo>
                <a:lnTo>
                  <a:pt x="2633" y="1239"/>
                </a:lnTo>
                <a:lnTo>
                  <a:pt x="2637" y="1242"/>
                </a:lnTo>
                <a:lnTo>
                  <a:pt x="2639" y="1244"/>
                </a:lnTo>
                <a:lnTo>
                  <a:pt x="2640" y="1244"/>
                </a:lnTo>
                <a:lnTo>
                  <a:pt x="2642" y="1246"/>
                </a:lnTo>
                <a:lnTo>
                  <a:pt x="2644" y="1246"/>
                </a:lnTo>
                <a:lnTo>
                  <a:pt x="2644" y="1247"/>
                </a:lnTo>
                <a:lnTo>
                  <a:pt x="2647" y="1249"/>
                </a:lnTo>
                <a:lnTo>
                  <a:pt x="2647" y="1251"/>
                </a:lnTo>
                <a:lnTo>
                  <a:pt x="2649" y="1252"/>
                </a:lnTo>
                <a:lnTo>
                  <a:pt x="2652" y="1251"/>
                </a:lnTo>
                <a:lnTo>
                  <a:pt x="2656" y="1256"/>
                </a:lnTo>
                <a:lnTo>
                  <a:pt x="2657" y="1258"/>
                </a:lnTo>
                <a:lnTo>
                  <a:pt x="2659" y="1263"/>
                </a:lnTo>
                <a:lnTo>
                  <a:pt x="2661" y="1263"/>
                </a:lnTo>
                <a:lnTo>
                  <a:pt x="2662" y="1266"/>
                </a:lnTo>
                <a:lnTo>
                  <a:pt x="2664" y="1269"/>
                </a:lnTo>
                <a:lnTo>
                  <a:pt x="2664" y="1271"/>
                </a:lnTo>
                <a:lnTo>
                  <a:pt x="2666" y="1273"/>
                </a:lnTo>
                <a:lnTo>
                  <a:pt x="2667" y="1275"/>
                </a:lnTo>
                <a:lnTo>
                  <a:pt x="2667" y="1276"/>
                </a:lnTo>
                <a:lnTo>
                  <a:pt x="2666" y="1280"/>
                </a:lnTo>
                <a:lnTo>
                  <a:pt x="2667" y="1283"/>
                </a:lnTo>
                <a:lnTo>
                  <a:pt x="2667" y="1285"/>
                </a:lnTo>
                <a:lnTo>
                  <a:pt x="2669" y="1286"/>
                </a:lnTo>
                <a:lnTo>
                  <a:pt x="2669" y="1290"/>
                </a:lnTo>
                <a:lnTo>
                  <a:pt x="2671" y="1292"/>
                </a:lnTo>
                <a:lnTo>
                  <a:pt x="2673" y="1293"/>
                </a:lnTo>
                <a:lnTo>
                  <a:pt x="2674" y="1295"/>
                </a:lnTo>
                <a:lnTo>
                  <a:pt x="2674" y="1297"/>
                </a:lnTo>
                <a:lnTo>
                  <a:pt x="2676" y="1298"/>
                </a:lnTo>
                <a:lnTo>
                  <a:pt x="2676" y="1300"/>
                </a:lnTo>
                <a:lnTo>
                  <a:pt x="2681" y="1312"/>
                </a:lnTo>
                <a:lnTo>
                  <a:pt x="2681" y="1314"/>
                </a:lnTo>
                <a:lnTo>
                  <a:pt x="2681" y="1315"/>
                </a:lnTo>
                <a:lnTo>
                  <a:pt x="2683" y="1315"/>
                </a:lnTo>
                <a:lnTo>
                  <a:pt x="2684" y="1319"/>
                </a:lnTo>
                <a:lnTo>
                  <a:pt x="2679" y="1320"/>
                </a:lnTo>
                <a:lnTo>
                  <a:pt x="2683" y="1326"/>
                </a:lnTo>
                <a:lnTo>
                  <a:pt x="2679" y="1327"/>
                </a:lnTo>
                <a:lnTo>
                  <a:pt x="2683" y="1339"/>
                </a:lnTo>
                <a:lnTo>
                  <a:pt x="2679" y="1341"/>
                </a:lnTo>
                <a:lnTo>
                  <a:pt x="2686" y="1356"/>
                </a:lnTo>
                <a:lnTo>
                  <a:pt x="2690" y="1354"/>
                </a:lnTo>
                <a:lnTo>
                  <a:pt x="2693" y="1354"/>
                </a:lnTo>
                <a:lnTo>
                  <a:pt x="2695" y="1356"/>
                </a:lnTo>
                <a:lnTo>
                  <a:pt x="2698" y="1358"/>
                </a:lnTo>
                <a:lnTo>
                  <a:pt x="2701" y="1360"/>
                </a:lnTo>
                <a:lnTo>
                  <a:pt x="2705" y="1360"/>
                </a:lnTo>
                <a:lnTo>
                  <a:pt x="2707" y="1360"/>
                </a:lnTo>
                <a:lnTo>
                  <a:pt x="2708" y="1360"/>
                </a:lnTo>
                <a:lnTo>
                  <a:pt x="2713" y="1356"/>
                </a:lnTo>
                <a:lnTo>
                  <a:pt x="2717" y="1356"/>
                </a:lnTo>
                <a:lnTo>
                  <a:pt x="2718" y="1356"/>
                </a:lnTo>
                <a:lnTo>
                  <a:pt x="2724" y="1354"/>
                </a:lnTo>
                <a:lnTo>
                  <a:pt x="2727" y="1365"/>
                </a:lnTo>
                <a:lnTo>
                  <a:pt x="2732" y="1365"/>
                </a:lnTo>
                <a:lnTo>
                  <a:pt x="2734" y="1370"/>
                </a:lnTo>
                <a:lnTo>
                  <a:pt x="2732" y="1372"/>
                </a:lnTo>
                <a:lnTo>
                  <a:pt x="2737" y="1378"/>
                </a:lnTo>
                <a:lnTo>
                  <a:pt x="2739" y="1377"/>
                </a:lnTo>
                <a:lnTo>
                  <a:pt x="2742" y="1380"/>
                </a:lnTo>
                <a:lnTo>
                  <a:pt x="2744" y="1377"/>
                </a:lnTo>
                <a:lnTo>
                  <a:pt x="2746" y="1377"/>
                </a:lnTo>
                <a:lnTo>
                  <a:pt x="2747" y="1377"/>
                </a:lnTo>
                <a:lnTo>
                  <a:pt x="2747" y="1375"/>
                </a:lnTo>
                <a:lnTo>
                  <a:pt x="2749" y="1373"/>
                </a:lnTo>
                <a:lnTo>
                  <a:pt x="2751" y="1377"/>
                </a:lnTo>
                <a:lnTo>
                  <a:pt x="2754" y="1382"/>
                </a:lnTo>
                <a:lnTo>
                  <a:pt x="2756" y="1382"/>
                </a:lnTo>
                <a:lnTo>
                  <a:pt x="2761" y="1385"/>
                </a:lnTo>
                <a:lnTo>
                  <a:pt x="2761" y="1390"/>
                </a:lnTo>
                <a:lnTo>
                  <a:pt x="2759" y="1392"/>
                </a:lnTo>
                <a:lnTo>
                  <a:pt x="2759" y="1394"/>
                </a:lnTo>
                <a:lnTo>
                  <a:pt x="2761" y="1395"/>
                </a:lnTo>
                <a:lnTo>
                  <a:pt x="2763" y="1397"/>
                </a:lnTo>
                <a:lnTo>
                  <a:pt x="2761" y="1399"/>
                </a:lnTo>
                <a:lnTo>
                  <a:pt x="2763" y="1402"/>
                </a:lnTo>
                <a:lnTo>
                  <a:pt x="2759" y="1404"/>
                </a:lnTo>
                <a:lnTo>
                  <a:pt x="2761" y="1406"/>
                </a:lnTo>
                <a:lnTo>
                  <a:pt x="2754" y="1409"/>
                </a:lnTo>
                <a:lnTo>
                  <a:pt x="2756" y="1411"/>
                </a:lnTo>
                <a:lnTo>
                  <a:pt x="2754" y="1412"/>
                </a:lnTo>
                <a:lnTo>
                  <a:pt x="2756" y="1414"/>
                </a:lnTo>
                <a:lnTo>
                  <a:pt x="2754" y="1414"/>
                </a:lnTo>
                <a:lnTo>
                  <a:pt x="2756" y="1417"/>
                </a:lnTo>
                <a:lnTo>
                  <a:pt x="2754" y="1417"/>
                </a:lnTo>
                <a:lnTo>
                  <a:pt x="2756" y="1419"/>
                </a:lnTo>
                <a:lnTo>
                  <a:pt x="2756" y="1421"/>
                </a:lnTo>
                <a:lnTo>
                  <a:pt x="2754" y="1424"/>
                </a:lnTo>
                <a:lnTo>
                  <a:pt x="2758" y="1426"/>
                </a:lnTo>
                <a:lnTo>
                  <a:pt x="2758" y="1428"/>
                </a:lnTo>
                <a:lnTo>
                  <a:pt x="2756" y="1428"/>
                </a:lnTo>
                <a:lnTo>
                  <a:pt x="2756" y="1429"/>
                </a:lnTo>
                <a:lnTo>
                  <a:pt x="2756" y="1431"/>
                </a:lnTo>
                <a:lnTo>
                  <a:pt x="2758" y="1431"/>
                </a:lnTo>
                <a:lnTo>
                  <a:pt x="2759" y="1431"/>
                </a:lnTo>
                <a:lnTo>
                  <a:pt x="2761" y="1433"/>
                </a:lnTo>
                <a:lnTo>
                  <a:pt x="2763" y="1434"/>
                </a:lnTo>
                <a:lnTo>
                  <a:pt x="2764" y="1434"/>
                </a:lnTo>
                <a:lnTo>
                  <a:pt x="2766" y="1434"/>
                </a:lnTo>
                <a:lnTo>
                  <a:pt x="2768" y="1436"/>
                </a:lnTo>
                <a:lnTo>
                  <a:pt x="2773" y="1434"/>
                </a:lnTo>
                <a:lnTo>
                  <a:pt x="2776" y="1440"/>
                </a:lnTo>
                <a:lnTo>
                  <a:pt x="2776" y="1441"/>
                </a:lnTo>
                <a:lnTo>
                  <a:pt x="2775" y="1441"/>
                </a:lnTo>
                <a:lnTo>
                  <a:pt x="2775" y="1448"/>
                </a:lnTo>
                <a:lnTo>
                  <a:pt x="2775" y="1457"/>
                </a:lnTo>
                <a:lnTo>
                  <a:pt x="2773" y="1458"/>
                </a:lnTo>
                <a:lnTo>
                  <a:pt x="2771" y="1457"/>
                </a:lnTo>
                <a:lnTo>
                  <a:pt x="2769" y="1455"/>
                </a:lnTo>
                <a:lnTo>
                  <a:pt x="2768" y="1453"/>
                </a:lnTo>
                <a:lnTo>
                  <a:pt x="2761" y="1458"/>
                </a:lnTo>
                <a:lnTo>
                  <a:pt x="2759" y="1460"/>
                </a:lnTo>
                <a:lnTo>
                  <a:pt x="2758" y="1460"/>
                </a:lnTo>
                <a:lnTo>
                  <a:pt x="2758" y="1462"/>
                </a:lnTo>
                <a:lnTo>
                  <a:pt x="2759" y="1463"/>
                </a:lnTo>
                <a:lnTo>
                  <a:pt x="2759" y="1465"/>
                </a:lnTo>
                <a:lnTo>
                  <a:pt x="2761" y="1465"/>
                </a:lnTo>
                <a:lnTo>
                  <a:pt x="2761" y="1467"/>
                </a:lnTo>
                <a:lnTo>
                  <a:pt x="2759" y="1465"/>
                </a:lnTo>
                <a:lnTo>
                  <a:pt x="2758" y="1467"/>
                </a:lnTo>
                <a:lnTo>
                  <a:pt x="2759" y="1468"/>
                </a:lnTo>
                <a:lnTo>
                  <a:pt x="2759" y="1470"/>
                </a:lnTo>
                <a:lnTo>
                  <a:pt x="2759" y="1472"/>
                </a:lnTo>
                <a:lnTo>
                  <a:pt x="2761" y="1475"/>
                </a:lnTo>
                <a:lnTo>
                  <a:pt x="2763" y="1474"/>
                </a:lnTo>
                <a:lnTo>
                  <a:pt x="2768" y="1484"/>
                </a:lnTo>
                <a:lnTo>
                  <a:pt x="2769" y="1484"/>
                </a:lnTo>
                <a:lnTo>
                  <a:pt x="2769" y="1485"/>
                </a:lnTo>
                <a:lnTo>
                  <a:pt x="2771" y="1485"/>
                </a:lnTo>
                <a:lnTo>
                  <a:pt x="2773" y="1487"/>
                </a:lnTo>
                <a:lnTo>
                  <a:pt x="2775" y="1485"/>
                </a:lnTo>
                <a:lnTo>
                  <a:pt x="2775" y="1487"/>
                </a:lnTo>
                <a:lnTo>
                  <a:pt x="2773" y="1489"/>
                </a:lnTo>
                <a:lnTo>
                  <a:pt x="2775" y="1491"/>
                </a:lnTo>
                <a:lnTo>
                  <a:pt x="2776" y="1489"/>
                </a:lnTo>
                <a:lnTo>
                  <a:pt x="2778" y="1492"/>
                </a:lnTo>
                <a:lnTo>
                  <a:pt x="2781" y="1491"/>
                </a:lnTo>
                <a:lnTo>
                  <a:pt x="2780" y="1494"/>
                </a:lnTo>
                <a:lnTo>
                  <a:pt x="2781" y="1492"/>
                </a:lnTo>
                <a:lnTo>
                  <a:pt x="2783" y="1496"/>
                </a:lnTo>
                <a:lnTo>
                  <a:pt x="2783" y="1497"/>
                </a:lnTo>
                <a:lnTo>
                  <a:pt x="2781" y="1499"/>
                </a:lnTo>
                <a:lnTo>
                  <a:pt x="2780" y="1499"/>
                </a:lnTo>
                <a:lnTo>
                  <a:pt x="2781" y="1497"/>
                </a:lnTo>
                <a:lnTo>
                  <a:pt x="2781" y="1496"/>
                </a:lnTo>
                <a:lnTo>
                  <a:pt x="2780" y="1497"/>
                </a:lnTo>
                <a:lnTo>
                  <a:pt x="2780" y="1499"/>
                </a:lnTo>
                <a:lnTo>
                  <a:pt x="2778" y="1499"/>
                </a:lnTo>
                <a:lnTo>
                  <a:pt x="2776" y="1499"/>
                </a:lnTo>
                <a:lnTo>
                  <a:pt x="2778" y="1501"/>
                </a:lnTo>
                <a:lnTo>
                  <a:pt x="2776" y="1502"/>
                </a:lnTo>
                <a:lnTo>
                  <a:pt x="2778" y="1504"/>
                </a:lnTo>
                <a:lnTo>
                  <a:pt x="2780" y="1506"/>
                </a:lnTo>
                <a:lnTo>
                  <a:pt x="2776" y="1506"/>
                </a:lnTo>
                <a:lnTo>
                  <a:pt x="2778" y="1508"/>
                </a:lnTo>
                <a:lnTo>
                  <a:pt x="2778" y="1509"/>
                </a:lnTo>
                <a:lnTo>
                  <a:pt x="2776" y="1509"/>
                </a:lnTo>
                <a:lnTo>
                  <a:pt x="2775" y="1511"/>
                </a:lnTo>
                <a:lnTo>
                  <a:pt x="2778" y="1513"/>
                </a:lnTo>
                <a:lnTo>
                  <a:pt x="2776" y="1514"/>
                </a:lnTo>
                <a:lnTo>
                  <a:pt x="2775" y="1514"/>
                </a:lnTo>
                <a:lnTo>
                  <a:pt x="2775" y="1516"/>
                </a:lnTo>
                <a:lnTo>
                  <a:pt x="2771" y="1518"/>
                </a:lnTo>
                <a:lnTo>
                  <a:pt x="2768" y="1516"/>
                </a:lnTo>
                <a:lnTo>
                  <a:pt x="2768" y="1518"/>
                </a:lnTo>
                <a:lnTo>
                  <a:pt x="2766" y="1518"/>
                </a:lnTo>
                <a:lnTo>
                  <a:pt x="2766" y="1519"/>
                </a:lnTo>
                <a:lnTo>
                  <a:pt x="2766" y="1521"/>
                </a:lnTo>
                <a:lnTo>
                  <a:pt x="2766" y="1523"/>
                </a:lnTo>
                <a:lnTo>
                  <a:pt x="2766" y="1525"/>
                </a:lnTo>
                <a:lnTo>
                  <a:pt x="2766" y="1526"/>
                </a:lnTo>
                <a:lnTo>
                  <a:pt x="2768" y="1526"/>
                </a:lnTo>
                <a:lnTo>
                  <a:pt x="2769" y="1528"/>
                </a:lnTo>
                <a:lnTo>
                  <a:pt x="2771" y="1530"/>
                </a:lnTo>
                <a:lnTo>
                  <a:pt x="2773" y="1530"/>
                </a:lnTo>
                <a:lnTo>
                  <a:pt x="2776" y="1531"/>
                </a:lnTo>
                <a:lnTo>
                  <a:pt x="2776" y="1533"/>
                </a:lnTo>
                <a:lnTo>
                  <a:pt x="2778" y="1533"/>
                </a:lnTo>
                <a:lnTo>
                  <a:pt x="2780" y="1531"/>
                </a:lnTo>
                <a:lnTo>
                  <a:pt x="2781" y="1535"/>
                </a:lnTo>
                <a:lnTo>
                  <a:pt x="2780" y="1537"/>
                </a:lnTo>
                <a:lnTo>
                  <a:pt x="2780" y="1538"/>
                </a:lnTo>
                <a:lnTo>
                  <a:pt x="2781" y="1537"/>
                </a:lnTo>
                <a:lnTo>
                  <a:pt x="2783" y="1537"/>
                </a:lnTo>
                <a:lnTo>
                  <a:pt x="2785" y="1538"/>
                </a:lnTo>
                <a:lnTo>
                  <a:pt x="2783" y="1538"/>
                </a:lnTo>
                <a:lnTo>
                  <a:pt x="2785" y="1542"/>
                </a:lnTo>
                <a:lnTo>
                  <a:pt x="2786" y="1545"/>
                </a:lnTo>
                <a:lnTo>
                  <a:pt x="2788" y="1547"/>
                </a:lnTo>
                <a:lnTo>
                  <a:pt x="2788" y="1550"/>
                </a:lnTo>
                <a:lnTo>
                  <a:pt x="2790" y="1552"/>
                </a:lnTo>
                <a:lnTo>
                  <a:pt x="2792" y="1550"/>
                </a:lnTo>
                <a:lnTo>
                  <a:pt x="2793" y="1550"/>
                </a:lnTo>
                <a:lnTo>
                  <a:pt x="2797" y="1552"/>
                </a:lnTo>
                <a:lnTo>
                  <a:pt x="2797" y="1555"/>
                </a:lnTo>
                <a:lnTo>
                  <a:pt x="2798" y="1555"/>
                </a:lnTo>
                <a:lnTo>
                  <a:pt x="2800" y="1557"/>
                </a:lnTo>
                <a:lnTo>
                  <a:pt x="2802" y="1557"/>
                </a:lnTo>
                <a:lnTo>
                  <a:pt x="2803" y="1559"/>
                </a:lnTo>
                <a:lnTo>
                  <a:pt x="2805" y="1562"/>
                </a:lnTo>
                <a:lnTo>
                  <a:pt x="2807" y="1562"/>
                </a:lnTo>
                <a:lnTo>
                  <a:pt x="2810" y="1560"/>
                </a:lnTo>
                <a:lnTo>
                  <a:pt x="2812" y="1559"/>
                </a:lnTo>
                <a:lnTo>
                  <a:pt x="2810" y="1555"/>
                </a:lnTo>
                <a:lnTo>
                  <a:pt x="2812" y="1555"/>
                </a:lnTo>
                <a:lnTo>
                  <a:pt x="2814" y="1554"/>
                </a:lnTo>
                <a:lnTo>
                  <a:pt x="2815" y="1554"/>
                </a:lnTo>
                <a:lnTo>
                  <a:pt x="2817" y="1550"/>
                </a:lnTo>
                <a:lnTo>
                  <a:pt x="2819" y="1550"/>
                </a:lnTo>
                <a:lnTo>
                  <a:pt x="2819" y="1552"/>
                </a:lnTo>
                <a:lnTo>
                  <a:pt x="2820" y="1552"/>
                </a:lnTo>
                <a:lnTo>
                  <a:pt x="2824" y="1548"/>
                </a:lnTo>
                <a:lnTo>
                  <a:pt x="2824" y="1545"/>
                </a:lnTo>
                <a:lnTo>
                  <a:pt x="2826" y="1543"/>
                </a:lnTo>
                <a:lnTo>
                  <a:pt x="2827" y="1545"/>
                </a:lnTo>
                <a:lnTo>
                  <a:pt x="2829" y="1543"/>
                </a:lnTo>
                <a:lnTo>
                  <a:pt x="2831" y="1543"/>
                </a:lnTo>
                <a:lnTo>
                  <a:pt x="2832" y="1543"/>
                </a:lnTo>
                <a:lnTo>
                  <a:pt x="2832" y="1540"/>
                </a:lnTo>
                <a:lnTo>
                  <a:pt x="2834" y="1543"/>
                </a:lnTo>
                <a:lnTo>
                  <a:pt x="2836" y="1542"/>
                </a:lnTo>
                <a:lnTo>
                  <a:pt x="2836" y="1540"/>
                </a:lnTo>
                <a:lnTo>
                  <a:pt x="2834" y="1538"/>
                </a:lnTo>
                <a:lnTo>
                  <a:pt x="2836" y="1538"/>
                </a:lnTo>
                <a:lnTo>
                  <a:pt x="2836" y="1537"/>
                </a:lnTo>
                <a:lnTo>
                  <a:pt x="2836" y="1533"/>
                </a:lnTo>
                <a:lnTo>
                  <a:pt x="2837" y="1533"/>
                </a:lnTo>
                <a:lnTo>
                  <a:pt x="2841" y="1533"/>
                </a:lnTo>
                <a:lnTo>
                  <a:pt x="2844" y="1531"/>
                </a:lnTo>
                <a:lnTo>
                  <a:pt x="2846" y="1533"/>
                </a:lnTo>
                <a:lnTo>
                  <a:pt x="2848" y="1531"/>
                </a:lnTo>
                <a:lnTo>
                  <a:pt x="2849" y="1531"/>
                </a:lnTo>
                <a:lnTo>
                  <a:pt x="2851" y="1530"/>
                </a:lnTo>
                <a:lnTo>
                  <a:pt x="2853" y="1531"/>
                </a:lnTo>
                <a:lnTo>
                  <a:pt x="2853" y="1530"/>
                </a:lnTo>
                <a:lnTo>
                  <a:pt x="2853" y="1528"/>
                </a:lnTo>
                <a:lnTo>
                  <a:pt x="2853" y="1525"/>
                </a:lnTo>
                <a:lnTo>
                  <a:pt x="2853" y="1523"/>
                </a:lnTo>
                <a:lnTo>
                  <a:pt x="2851" y="1523"/>
                </a:lnTo>
                <a:lnTo>
                  <a:pt x="2851" y="1521"/>
                </a:lnTo>
                <a:lnTo>
                  <a:pt x="2853" y="1521"/>
                </a:lnTo>
                <a:lnTo>
                  <a:pt x="2854" y="1519"/>
                </a:lnTo>
                <a:lnTo>
                  <a:pt x="2856" y="1519"/>
                </a:lnTo>
                <a:lnTo>
                  <a:pt x="2860" y="1518"/>
                </a:lnTo>
                <a:lnTo>
                  <a:pt x="2858" y="1516"/>
                </a:lnTo>
                <a:lnTo>
                  <a:pt x="2860" y="1514"/>
                </a:lnTo>
                <a:lnTo>
                  <a:pt x="2861" y="1516"/>
                </a:lnTo>
                <a:lnTo>
                  <a:pt x="2863" y="1516"/>
                </a:lnTo>
                <a:lnTo>
                  <a:pt x="2863" y="1518"/>
                </a:lnTo>
                <a:lnTo>
                  <a:pt x="2865" y="1521"/>
                </a:lnTo>
                <a:lnTo>
                  <a:pt x="2865" y="1523"/>
                </a:lnTo>
                <a:lnTo>
                  <a:pt x="2861" y="1525"/>
                </a:lnTo>
                <a:lnTo>
                  <a:pt x="2865" y="1526"/>
                </a:lnTo>
                <a:lnTo>
                  <a:pt x="2866" y="1528"/>
                </a:lnTo>
                <a:lnTo>
                  <a:pt x="2868" y="1530"/>
                </a:lnTo>
                <a:lnTo>
                  <a:pt x="2868" y="1531"/>
                </a:lnTo>
                <a:lnTo>
                  <a:pt x="2868" y="1533"/>
                </a:lnTo>
                <a:lnTo>
                  <a:pt x="2871" y="1533"/>
                </a:lnTo>
                <a:lnTo>
                  <a:pt x="2871" y="1537"/>
                </a:lnTo>
                <a:lnTo>
                  <a:pt x="2870" y="1538"/>
                </a:lnTo>
                <a:lnTo>
                  <a:pt x="2871" y="1540"/>
                </a:lnTo>
                <a:lnTo>
                  <a:pt x="2875" y="1537"/>
                </a:lnTo>
                <a:lnTo>
                  <a:pt x="2878" y="1537"/>
                </a:lnTo>
                <a:lnTo>
                  <a:pt x="2878" y="1540"/>
                </a:lnTo>
                <a:lnTo>
                  <a:pt x="2880" y="1540"/>
                </a:lnTo>
                <a:lnTo>
                  <a:pt x="2882" y="1542"/>
                </a:lnTo>
                <a:lnTo>
                  <a:pt x="2883" y="1543"/>
                </a:lnTo>
                <a:lnTo>
                  <a:pt x="2883" y="1545"/>
                </a:lnTo>
                <a:lnTo>
                  <a:pt x="2883" y="1547"/>
                </a:lnTo>
                <a:lnTo>
                  <a:pt x="2882" y="1547"/>
                </a:lnTo>
                <a:lnTo>
                  <a:pt x="2883" y="1548"/>
                </a:lnTo>
                <a:lnTo>
                  <a:pt x="2885" y="1547"/>
                </a:lnTo>
                <a:lnTo>
                  <a:pt x="2885" y="1543"/>
                </a:lnTo>
                <a:lnTo>
                  <a:pt x="2885" y="1542"/>
                </a:lnTo>
                <a:lnTo>
                  <a:pt x="2885" y="1540"/>
                </a:lnTo>
                <a:lnTo>
                  <a:pt x="2887" y="1538"/>
                </a:lnTo>
                <a:lnTo>
                  <a:pt x="2888" y="1540"/>
                </a:lnTo>
                <a:lnTo>
                  <a:pt x="2888" y="1542"/>
                </a:lnTo>
                <a:lnTo>
                  <a:pt x="2892" y="1540"/>
                </a:lnTo>
                <a:lnTo>
                  <a:pt x="2892" y="1537"/>
                </a:lnTo>
                <a:lnTo>
                  <a:pt x="2895" y="1537"/>
                </a:lnTo>
                <a:lnTo>
                  <a:pt x="2897" y="1538"/>
                </a:lnTo>
                <a:lnTo>
                  <a:pt x="2895" y="1542"/>
                </a:lnTo>
                <a:lnTo>
                  <a:pt x="2897" y="1543"/>
                </a:lnTo>
                <a:lnTo>
                  <a:pt x="2895" y="1545"/>
                </a:lnTo>
                <a:lnTo>
                  <a:pt x="2895" y="1547"/>
                </a:lnTo>
                <a:lnTo>
                  <a:pt x="2894" y="1547"/>
                </a:lnTo>
                <a:lnTo>
                  <a:pt x="2895" y="1548"/>
                </a:lnTo>
                <a:lnTo>
                  <a:pt x="2894" y="1548"/>
                </a:lnTo>
                <a:lnTo>
                  <a:pt x="2892" y="1548"/>
                </a:lnTo>
                <a:lnTo>
                  <a:pt x="2892" y="1550"/>
                </a:lnTo>
                <a:lnTo>
                  <a:pt x="2890" y="1550"/>
                </a:lnTo>
                <a:lnTo>
                  <a:pt x="2888" y="1554"/>
                </a:lnTo>
                <a:lnTo>
                  <a:pt x="2887" y="1555"/>
                </a:lnTo>
                <a:lnTo>
                  <a:pt x="2888" y="1557"/>
                </a:lnTo>
                <a:lnTo>
                  <a:pt x="2887" y="1560"/>
                </a:lnTo>
                <a:lnTo>
                  <a:pt x="2890" y="1560"/>
                </a:lnTo>
                <a:lnTo>
                  <a:pt x="2892" y="1562"/>
                </a:lnTo>
                <a:lnTo>
                  <a:pt x="2892" y="1564"/>
                </a:lnTo>
                <a:lnTo>
                  <a:pt x="2890" y="1564"/>
                </a:lnTo>
                <a:lnTo>
                  <a:pt x="2890" y="1565"/>
                </a:lnTo>
                <a:lnTo>
                  <a:pt x="2890" y="1567"/>
                </a:lnTo>
                <a:lnTo>
                  <a:pt x="2890" y="1569"/>
                </a:lnTo>
                <a:lnTo>
                  <a:pt x="2888" y="1571"/>
                </a:lnTo>
                <a:lnTo>
                  <a:pt x="2890" y="1571"/>
                </a:lnTo>
                <a:lnTo>
                  <a:pt x="2888" y="1572"/>
                </a:lnTo>
                <a:lnTo>
                  <a:pt x="2887" y="1569"/>
                </a:lnTo>
                <a:lnTo>
                  <a:pt x="2883" y="1571"/>
                </a:lnTo>
                <a:lnTo>
                  <a:pt x="2882" y="1572"/>
                </a:lnTo>
                <a:lnTo>
                  <a:pt x="2883" y="1574"/>
                </a:lnTo>
                <a:lnTo>
                  <a:pt x="2887" y="1571"/>
                </a:lnTo>
                <a:lnTo>
                  <a:pt x="2887" y="1572"/>
                </a:lnTo>
                <a:lnTo>
                  <a:pt x="2880" y="1577"/>
                </a:lnTo>
                <a:lnTo>
                  <a:pt x="2882" y="1581"/>
                </a:lnTo>
                <a:lnTo>
                  <a:pt x="2885" y="1579"/>
                </a:lnTo>
                <a:lnTo>
                  <a:pt x="2887" y="1582"/>
                </a:lnTo>
                <a:lnTo>
                  <a:pt x="2887" y="1586"/>
                </a:lnTo>
                <a:lnTo>
                  <a:pt x="2883" y="1584"/>
                </a:lnTo>
                <a:lnTo>
                  <a:pt x="2883" y="1586"/>
                </a:lnTo>
                <a:lnTo>
                  <a:pt x="2882" y="1584"/>
                </a:lnTo>
                <a:lnTo>
                  <a:pt x="2880" y="1586"/>
                </a:lnTo>
                <a:lnTo>
                  <a:pt x="2882" y="1588"/>
                </a:lnTo>
                <a:lnTo>
                  <a:pt x="2883" y="1588"/>
                </a:lnTo>
                <a:lnTo>
                  <a:pt x="2887" y="1586"/>
                </a:lnTo>
                <a:lnTo>
                  <a:pt x="2888" y="1586"/>
                </a:lnTo>
                <a:lnTo>
                  <a:pt x="2890" y="1588"/>
                </a:lnTo>
                <a:lnTo>
                  <a:pt x="2892" y="1588"/>
                </a:lnTo>
                <a:lnTo>
                  <a:pt x="2894" y="1588"/>
                </a:lnTo>
                <a:lnTo>
                  <a:pt x="2894" y="1589"/>
                </a:lnTo>
                <a:lnTo>
                  <a:pt x="2894" y="1591"/>
                </a:lnTo>
                <a:lnTo>
                  <a:pt x="2894" y="1593"/>
                </a:lnTo>
                <a:lnTo>
                  <a:pt x="2894" y="1594"/>
                </a:lnTo>
                <a:lnTo>
                  <a:pt x="2892" y="1596"/>
                </a:lnTo>
                <a:lnTo>
                  <a:pt x="2890" y="1598"/>
                </a:lnTo>
                <a:lnTo>
                  <a:pt x="2888" y="1598"/>
                </a:lnTo>
                <a:lnTo>
                  <a:pt x="2887" y="1599"/>
                </a:lnTo>
                <a:lnTo>
                  <a:pt x="2887" y="1598"/>
                </a:lnTo>
                <a:lnTo>
                  <a:pt x="2887" y="1596"/>
                </a:lnTo>
                <a:lnTo>
                  <a:pt x="2885" y="1598"/>
                </a:lnTo>
                <a:lnTo>
                  <a:pt x="2885" y="1599"/>
                </a:lnTo>
                <a:lnTo>
                  <a:pt x="2882" y="1599"/>
                </a:lnTo>
                <a:lnTo>
                  <a:pt x="2880" y="1596"/>
                </a:lnTo>
                <a:lnTo>
                  <a:pt x="2880" y="1598"/>
                </a:lnTo>
                <a:lnTo>
                  <a:pt x="2878" y="1596"/>
                </a:lnTo>
                <a:lnTo>
                  <a:pt x="2877" y="1596"/>
                </a:lnTo>
                <a:lnTo>
                  <a:pt x="2877" y="1594"/>
                </a:lnTo>
                <a:lnTo>
                  <a:pt x="2875" y="1594"/>
                </a:lnTo>
                <a:lnTo>
                  <a:pt x="2873" y="1594"/>
                </a:lnTo>
                <a:lnTo>
                  <a:pt x="2871" y="1594"/>
                </a:lnTo>
                <a:lnTo>
                  <a:pt x="2870" y="1596"/>
                </a:lnTo>
                <a:lnTo>
                  <a:pt x="2870" y="1598"/>
                </a:lnTo>
                <a:lnTo>
                  <a:pt x="2870" y="1599"/>
                </a:lnTo>
                <a:lnTo>
                  <a:pt x="2868" y="1599"/>
                </a:lnTo>
                <a:lnTo>
                  <a:pt x="2868" y="1601"/>
                </a:lnTo>
                <a:lnTo>
                  <a:pt x="2870" y="1603"/>
                </a:lnTo>
                <a:lnTo>
                  <a:pt x="2871" y="1603"/>
                </a:lnTo>
                <a:lnTo>
                  <a:pt x="2871" y="1601"/>
                </a:lnTo>
                <a:lnTo>
                  <a:pt x="2873" y="1601"/>
                </a:lnTo>
                <a:lnTo>
                  <a:pt x="2871" y="1603"/>
                </a:lnTo>
                <a:lnTo>
                  <a:pt x="2875" y="1605"/>
                </a:lnTo>
                <a:lnTo>
                  <a:pt x="2873" y="1606"/>
                </a:lnTo>
                <a:lnTo>
                  <a:pt x="2873" y="1608"/>
                </a:lnTo>
                <a:lnTo>
                  <a:pt x="2873" y="1610"/>
                </a:lnTo>
                <a:lnTo>
                  <a:pt x="2875" y="1608"/>
                </a:lnTo>
                <a:lnTo>
                  <a:pt x="2877" y="1610"/>
                </a:lnTo>
                <a:lnTo>
                  <a:pt x="2875" y="1613"/>
                </a:lnTo>
                <a:lnTo>
                  <a:pt x="2875" y="1615"/>
                </a:lnTo>
                <a:lnTo>
                  <a:pt x="2873" y="1615"/>
                </a:lnTo>
                <a:lnTo>
                  <a:pt x="2871" y="1616"/>
                </a:lnTo>
                <a:lnTo>
                  <a:pt x="2870" y="1615"/>
                </a:lnTo>
                <a:lnTo>
                  <a:pt x="2870" y="1613"/>
                </a:lnTo>
                <a:lnTo>
                  <a:pt x="2871" y="1611"/>
                </a:lnTo>
                <a:lnTo>
                  <a:pt x="2870" y="1610"/>
                </a:lnTo>
                <a:lnTo>
                  <a:pt x="2870" y="1608"/>
                </a:lnTo>
                <a:lnTo>
                  <a:pt x="2868" y="1606"/>
                </a:lnTo>
                <a:lnTo>
                  <a:pt x="2865" y="1605"/>
                </a:lnTo>
                <a:lnTo>
                  <a:pt x="2865" y="1603"/>
                </a:lnTo>
                <a:lnTo>
                  <a:pt x="2863" y="1603"/>
                </a:lnTo>
                <a:lnTo>
                  <a:pt x="2863" y="1601"/>
                </a:lnTo>
                <a:lnTo>
                  <a:pt x="2866" y="1596"/>
                </a:lnTo>
                <a:lnTo>
                  <a:pt x="2865" y="1596"/>
                </a:lnTo>
                <a:lnTo>
                  <a:pt x="2863" y="1596"/>
                </a:lnTo>
                <a:lnTo>
                  <a:pt x="2861" y="1596"/>
                </a:lnTo>
                <a:lnTo>
                  <a:pt x="2858" y="1594"/>
                </a:lnTo>
                <a:lnTo>
                  <a:pt x="2856" y="1596"/>
                </a:lnTo>
                <a:lnTo>
                  <a:pt x="2854" y="1596"/>
                </a:lnTo>
                <a:lnTo>
                  <a:pt x="2853" y="1598"/>
                </a:lnTo>
                <a:lnTo>
                  <a:pt x="2849" y="1601"/>
                </a:lnTo>
                <a:lnTo>
                  <a:pt x="2848" y="1601"/>
                </a:lnTo>
                <a:lnTo>
                  <a:pt x="2846" y="1603"/>
                </a:lnTo>
                <a:lnTo>
                  <a:pt x="2843" y="1605"/>
                </a:lnTo>
                <a:lnTo>
                  <a:pt x="2841" y="1603"/>
                </a:lnTo>
                <a:lnTo>
                  <a:pt x="2841" y="1605"/>
                </a:lnTo>
                <a:lnTo>
                  <a:pt x="2839" y="1606"/>
                </a:lnTo>
                <a:lnTo>
                  <a:pt x="2837" y="1608"/>
                </a:lnTo>
                <a:lnTo>
                  <a:pt x="2837" y="1610"/>
                </a:lnTo>
                <a:lnTo>
                  <a:pt x="2837" y="1611"/>
                </a:lnTo>
                <a:lnTo>
                  <a:pt x="2837" y="1613"/>
                </a:lnTo>
                <a:lnTo>
                  <a:pt x="2834" y="1615"/>
                </a:lnTo>
                <a:lnTo>
                  <a:pt x="2836" y="1616"/>
                </a:lnTo>
                <a:lnTo>
                  <a:pt x="2837" y="1616"/>
                </a:lnTo>
                <a:lnTo>
                  <a:pt x="2836" y="1616"/>
                </a:lnTo>
                <a:lnTo>
                  <a:pt x="2836" y="1618"/>
                </a:lnTo>
                <a:lnTo>
                  <a:pt x="2837" y="1620"/>
                </a:lnTo>
                <a:lnTo>
                  <a:pt x="2839" y="1620"/>
                </a:lnTo>
                <a:lnTo>
                  <a:pt x="2839" y="1622"/>
                </a:lnTo>
                <a:lnTo>
                  <a:pt x="2837" y="1625"/>
                </a:lnTo>
                <a:lnTo>
                  <a:pt x="2839" y="1627"/>
                </a:lnTo>
                <a:lnTo>
                  <a:pt x="2841" y="1628"/>
                </a:lnTo>
                <a:lnTo>
                  <a:pt x="2843" y="1628"/>
                </a:lnTo>
                <a:lnTo>
                  <a:pt x="2844" y="1630"/>
                </a:lnTo>
                <a:lnTo>
                  <a:pt x="2846" y="1632"/>
                </a:lnTo>
                <a:lnTo>
                  <a:pt x="2848" y="1632"/>
                </a:lnTo>
                <a:lnTo>
                  <a:pt x="2848" y="1633"/>
                </a:lnTo>
                <a:lnTo>
                  <a:pt x="2849" y="1640"/>
                </a:lnTo>
                <a:lnTo>
                  <a:pt x="2849" y="1639"/>
                </a:lnTo>
                <a:lnTo>
                  <a:pt x="2853" y="1640"/>
                </a:lnTo>
                <a:lnTo>
                  <a:pt x="2856" y="1642"/>
                </a:lnTo>
                <a:lnTo>
                  <a:pt x="2861" y="1640"/>
                </a:lnTo>
                <a:lnTo>
                  <a:pt x="2863" y="1640"/>
                </a:lnTo>
                <a:lnTo>
                  <a:pt x="2865" y="1640"/>
                </a:lnTo>
                <a:lnTo>
                  <a:pt x="2866" y="1639"/>
                </a:lnTo>
                <a:lnTo>
                  <a:pt x="2868" y="1640"/>
                </a:lnTo>
                <a:lnTo>
                  <a:pt x="2868" y="1642"/>
                </a:lnTo>
                <a:lnTo>
                  <a:pt x="2870" y="1642"/>
                </a:lnTo>
                <a:lnTo>
                  <a:pt x="2871" y="1639"/>
                </a:lnTo>
                <a:lnTo>
                  <a:pt x="2875" y="1640"/>
                </a:lnTo>
                <a:lnTo>
                  <a:pt x="2880" y="1640"/>
                </a:lnTo>
                <a:lnTo>
                  <a:pt x="2882" y="1640"/>
                </a:lnTo>
                <a:lnTo>
                  <a:pt x="2883" y="1644"/>
                </a:lnTo>
                <a:lnTo>
                  <a:pt x="2887" y="1644"/>
                </a:lnTo>
                <a:lnTo>
                  <a:pt x="2892" y="1645"/>
                </a:lnTo>
                <a:lnTo>
                  <a:pt x="2895" y="1644"/>
                </a:lnTo>
                <a:lnTo>
                  <a:pt x="2897" y="1644"/>
                </a:lnTo>
                <a:lnTo>
                  <a:pt x="2897" y="1633"/>
                </a:lnTo>
                <a:lnTo>
                  <a:pt x="2899" y="1630"/>
                </a:lnTo>
                <a:lnTo>
                  <a:pt x="2904" y="1623"/>
                </a:lnTo>
                <a:lnTo>
                  <a:pt x="2904" y="1625"/>
                </a:lnTo>
                <a:lnTo>
                  <a:pt x="2912" y="1625"/>
                </a:lnTo>
                <a:lnTo>
                  <a:pt x="2916" y="1622"/>
                </a:lnTo>
                <a:lnTo>
                  <a:pt x="2912" y="1618"/>
                </a:lnTo>
                <a:lnTo>
                  <a:pt x="2916" y="1615"/>
                </a:lnTo>
                <a:lnTo>
                  <a:pt x="2916" y="1613"/>
                </a:lnTo>
                <a:lnTo>
                  <a:pt x="2917" y="1611"/>
                </a:lnTo>
                <a:lnTo>
                  <a:pt x="2917" y="1610"/>
                </a:lnTo>
                <a:lnTo>
                  <a:pt x="2919" y="1610"/>
                </a:lnTo>
                <a:lnTo>
                  <a:pt x="2919" y="1606"/>
                </a:lnTo>
                <a:lnTo>
                  <a:pt x="2919" y="1603"/>
                </a:lnTo>
                <a:lnTo>
                  <a:pt x="2921" y="1603"/>
                </a:lnTo>
                <a:lnTo>
                  <a:pt x="2922" y="1601"/>
                </a:lnTo>
                <a:lnTo>
                  <a:pt x="2926" y="1599"/>
                </a:lnTo>
                <a:lnTo>
                  <a:pt x="2926" y="1598"/>
                </a:lnTo>
                <a:lnTo>
                  <a:pt x="2926" y="1596"/>
                </a:lnTo>
                <a:lnTo>
                  <a:pt x="2926" y="1593"/>
                </a:lnTo>
                <a:lnTo>
                  <a:pt x="2928" y="1589"/>
                </a:lnTo>
                <a:lnTo>
                  <a:pt x="2926" y="1589"/>
                </a:lnTo>
                <a:lnTo>
                  <a:pt x="2928" y="1586"/>
                </a:lnTo>
                <a:lnTo>
                  <a:pt x="2928" y="1584"/>
                </a:lnTo>
                <a:lnTo>
                  <a:pt x="2926" y="1582"/>
                </a:lnTo>
                <a:lnTo>
                  <a:pt x="2926" y="1581"/>
                </a:lnTo>
                <a:lnTo>
                  <a:pt x="2924" y="1581"/>
                </a:lnTo>
                <a:lnTo>
                  <a:pt x="2924" y="1579"/>
                </a:lnTo>
                <a:lnTo>
                  <a:pt x="2926" y="1577"/>
                </a:lnTo>
                <a:lnTo>
                  <a:pt x="2924" y="1576"/>
                </a:lnTo>
                <a:lnTo>
                  <a:pt x="2926" y="1574"/>
                </a:lnTo>
                <a:lnTo>
                  <a:pt x="2928" y="1574"/>
                </a:lnTo>
                <a:lnTo>
                  <a:pt x="2929" y="1574"/>
                </a:lnTo>
                <a:lnTo>
                  <a:pt x="2931" y="1574"/>
                </a:lnTo>
                <a:lnTo>
                  <a:pt x="2934" y="1572"/>
                </a:lnTo>
                <a:lnTo>
                  <a:pt x="2936" y="1569"/>
                </a:lnTo>
                <a:lnTo>
                  <a:pt x="2938" y="1567"/>
                </a:lnTo>
                <a:lnTo>
                  <a:pt x="2938" y="1572"/>
                </a:lnTo>
                <a:lnTo>
                  <a:pt x="2939" y="1574"/>
                </a:lnTo>
                <a:lnTo>
                  <a:pt x="2941" y="1576"/>
                </a:lnTo>
                <a:lnTo>
                  <a:pt x="2943" y="1579"/>
                </a:lnTo>
                <a:lnTo>
                  <a:pt x="2945" y="1582"/>
                </a:lnTo>
                <a:lnTo>
                  <a:pt x="2945" y="1584"/>
                </a:lnTo>
                <a:lnTo>
                  <a:pt x="2945" y="1591"/>
                </a:lnTo>
                <a:lnTo>
                  <a:pt x="2943" y="1591"/>
                </a:lnTo>
                <a:lnTo>
                  <a:pt x="2945" y="1594"/>
                </a:lnTo>
                <a:lnTo>
                  <a:pt x="2943" y="1594"/>
                </a:lnTo>
                <a:lnTo>
                  <a:pt x="2945" y="1596"/>
                </a:lnTo>
                <a:lnTo>
                  <a:pt x="2946" y="1598"/>
                </a:lnTo>
                <a:lnTo>
                  <a:pt x="2948" y="1596"/>
                </a:lnTo>
                <a:lnTo>
                  <a:pt x="2951" y="1599"/>
                </a:lnTo>
                <a:lnTo>
                  <a:pt x="2951" y="1605"/>
                </a:lnTo>
                <a:lnTo>
                  <a:pt x="2955" y="1603"/>
                </a:lnTo>
                <a:lnTo>
                  <a:pt x="2958" y="1605"/>
                </a:lnTo>
                <a:lnTo>
                  <a:pt x="2960" y="1606"/>
                </a:lnTo>
                <a:lnTo>
                  <a:pt x="2960" y="1608"/>
                </a:lnTo>
                <a:lnTo>
                  <a:pt x="2960" y="1611"/>
                </a:lnTo>
                <a:lnTo>
                  <a:pt x="2962" y="1613"/>
                </a:lnTo>
                <a:lnTo>
                  <a:pt x="2960" y="1615"/>
                </a:lnTo>
                <a:lnTo>
                  <a:pt x="2958" y="1616"/>
                </a:lnTo>
                <a:lnTo>
                  <a:pt x="2955" y="1616"/>
                </a:lnTo>
                <a:lnTo>
                  <a:pt x="2953" y="1618"/>
                </a:lnTo>
                <a:lnTo>
                  <a:pt x="2950" y="1620"/>
                </a:lnTo>
                <a:lnTo>
                  <a:pt x="2948" y="1622"/>
                </a:lnTo>
                <a:lnTo>
                  <a:pt x="2948" y="1623"/>
                </a:lnTo>
                <a:lnTo>
                  <a:pt x="2948" y="1625"/>
                </a:lnTo>
                <a:lnTo>
                  <a:pt x="2950" y="1628"/>
                </a:lnTo>
                <a:lnTo>
                  <a:pt x="2950" y="1630"/>
                </a:lnTo>
                <a:lnTo>
                  <a:pt x="2950" y="1633"/>
                </a:lnTo>
                <a:lnTo>
                  <a:pt x="2951" y="1635"/>
                </a:lnTo>
                <a:lnTo>
                  <a:pt x="2951" y="1639"/>
                </a:lnTo>
                <a:lnTo>
                  <a:pt x="2951" y="1640"/>
                </a:lnTo>
                <a:lnTo>
                  <a:pt x="2950" y="1639"/>
                </a:lnTo>
                <a:lnTo>
                  <a:pt x="2948" y="1640"/>
                </a:lnTo>
                <a:lnTo>
                  <a:pt x="2948" y="1642"/>
                </a:lnTo>
                <a:lnTo>
                  <a:pt x="2945" y="1644"/>
                </a:lnTo>
                <a:lnTo>
                  <a:pt x="2945" y="1645"/>
                </a:lnTo>
                <a:lnTo>
                  <a:pt x="2946" y="1645"/>
                </a:lnTo>
                <a:lnTo>
                  <a:pt x="2948" y="1645"/>
                </a:lnTo>
                <a:lnTo>
                  <a:pt x="2948" y="1647"/>
                </a:lnTo>
                <a:lnTo>
                  <a:pt x="2948" y="1649"/>
                </a:lnTo>
                <a:lnTo>
                  <a:pt x="2953" y="1654"/>
                </a:lnTo>
                <a:lnTo>
                  <a:pt x="2953" y="1656"/>
                </a:lnTo>
                <a:lnTo>
                  <a:pt x="2953" y="1657"/>
                </a:lnTo>
                <a:lnTo>
                  <a:pt x="2955" y="1657"/>
                </a:lnTo>
                <a:lnTo>
                  <a:pt x="2956" y="1659"/>
                </a:lnTo>
                <a:lnTo>
                  <a:pt x="2958" y="1662"/>
                </a:lnTo>
                <a:lnTo>
                  <a:pt x="2956" y="1667"/>
                </a:lnTo>
                <a:lnTo>
                  <a:pt x="2960" y="1669"/>
                </a:lnTo>
                <a:lnTo>
                  <a:pt x="2962" y="1667"/>
                </a:lnTo>
                <a:lnTo>
                  <a:pt x="2965" y="1669"/>
                </a:lnTo>
                <a:lnTo>
                  <a:pt x="2963" y="1671"/>
                </a:lnTo>
                <a:lnTo>
                  <a:pt x="2965" y="1671"/>
                </a:lnTo>
                <a:lnTo>
                  <a:pt x="2967" y="1674"/>
                </a:lnTo>
                <a:lnTo>
                  <a:pt x="2968" y="1676"/>
                </a:lnTo>
                <a:lnTo>
                  <a:pt x="2970" y="1678"/>
                </a:lnTo>
                <a:lnTo>
                  <a:pt x="2972" y="1679"/>
                </a:lnTo>
                <a:lnTo>
                  <a:pt x="2973" y="1681"/>
                </a:lnTo>
                <a:lnTo>
                  <a:pt x="2973" y="1683"/>
                </a:lnTo>
                <a:lnTo>
                  <a:pt x="2977" y="1686"/>
                </a:lnTo>
                <a:lnTo>
                  <a:pt x="2984" y="1693"/>
                </a:lnTo>
                <a:lnTo>
                  <a:pt x="2987" y="1691"/>
                </a:lnTo>
                <a:lnTo>
                  <a:pt x="2987" y="1693"/>
                </a:lnTo>
                <a:lnTo>
                  <a:pt x="2984" y="1696"/>
                </a:lnTo>
                <a:lnTo>
                  <a:pt x="2987" y="1702"/>
                </a:lnTo>
                <a:lnTo>
                  <a:pt x="2985" y="1702"/>
                </a:lnTo>
                <a:lnTo>
                  <a:pt x="2987" y="1703"/>
                </a:lnTo>
                <a:lnTo>
                  <a:pt x="2987" y="1708"/>
                </a:lnTo>
                <a:lnTo>
                  <a:pt x="2989" y="1708"/>
                </a:lnTo>
                <a:lnTo>
                  <a:pt x="2990" y="1712"/>
                </a:lnTo>
                <a:lnTo>
                  <a:pt x="2996" y="1717"/>
                </a:lnTo>
                <a:lnTo>
                  <a:pt x="2997" y="1719"/>
                </a:lnTo>
                <a:lnTo>
                  <a:pt x="2996" y="1720"/>
                </a:lnTo>
                <a:lnTo>
                  <a:pt x="2999" y="1722"/>
                </a:lnTo>
                <a:lnTo>
                  <a:pt x="3001" y="1722"/>
                </a:lnTo>
                <a:lnTo>
                  <a:pt x="3002" y="1722"/>
                </a:lnTo>
                <a:lnTo>
                  <a:pt x="3006" y="1725"/>
                </a:lnTo>
                <a:lnTo>
                  <a:pt x="3002" y="1725"/>
                </a:lnTo>
                <a:lnTo>
                  <a:pt x="3004" y="1729"/>
                </a:lnTo>
                <a:lnTo>
                  <a:pt x="3006" y="1729"/>
                </a:lnTo>
                <a:lnTo>
                  <a:pt x="3007" y="1730"/>
                </a:lnTo>
                <a:lnTo>
                  <a:pt x="3009" y="1729"/>
                </a:lnTo>
                <a:lnTo>
                  <a:pt x="3011" y="1727"/>
                </a:lnTo>
                <a:lnTo>
                  <a:pt x="3013" y="1727"/>
                </a:lnTo>
                <a:lnTo>
                  <a:pt x="3014" y="1725"/>
                </a:lnTo>
                <a:lnTo>
                  <a:pt x="3014" y="1727"/>
                </a:lnTo>
                <a:lnTo>
                  <a:pt x="3016" y="1727"/>
                </a:lnTo>
                <a:lnTo>
                  <a:pt x="3018" y="1729"/>
                </a:lnTo>
                <a:lnTo>
                  <a:pt x="3019" y="1729"/>
                </a:lnTo>
                <a:lnTo>
                  <a:pt x="3026" y="1729"/>
                </a:lnTo>
                <a:lnTo>
                  <a:pt x="3028" y="1727"/>
                </a:lnTo>
                <a:lnTo>
                  <a:pt x="3021" y="1720"/>
                </a:lnTo>
                <a:lnTo>
                  <a:pt x="3023" y="1719"/>
                </a:lnTo>
                <a:lnTo>
                  <a:pt x="3021" y="1717"/>
                </a:lnTo>
                <a:lnTo>
                  <a:pt x="3021" y="1715"/>
                </a:lnTo>
                <a:lnTo>
                  <a:pt x="3023" y="1715"/>
                </a:lnTo>
                <a:lnTo>
                  <a:pt x="3024" y="1713"/>
                </a:lnTo>
                <a:lnTo>
                  <a:pt x="3026" y="1712"/>
                </a:lnTo>
                <a:lnTo>
                  <a:pt x="3026" y="1713"/>
                </a:lnTo>
                <a:lnTo>
                  <a:pt x="3028" y="1712"/>
                </a:lnTo>
                <a:lnTo>
                  <a:pt x="3031" y="1712"/>
                </a:lnTo>
                <a:lnTo>
                  <a:pt x="3033" y="1713"/>
                </a:lnTo>
                <a:lnTo>
                  <a:pt x="3033" y="1712"/>
                </a:lnTo>
                <a:lnTo>
                  <a:pt x="3031" y="1710"/>
                </a:lnTo>
                <a:lnTo>
                  <a:pt x="3035" y="1707"/>
                </a:lnTo>
                <a:lnTo>
                  <a:pt x="3038" y="1708"/>
                </a:lnTo>
                <a:lnTo>
                  <a:pt x="3038" y="1705"/>
                </a:lnTo>
                <a:lnTo>
                  <a:pt x="3040" y="1700"/>
                </a:lnTo>
                <a:lnTo>
                  <a:pt x="3041" y="1700"/>
                </a:lnTo>
                <a:lnTo>
                  <a:pt x="3045" y="1702"/>
                </a:lnTo>
                <a:lnTo>
                  <a:pt x="3048" y="1698"/>
                </a:lnTo>
                <a:lnTo>
                  <a:pt x="3050" y="1696"/>
                </a:lnTo>
                <a:lnTo>
                  <a:pt x="3053" y="1695"/>
                </a:lnTo>
                <a:lnTo>
                  <a:pt x="3058" y="1702"/>
                </a:lnTo>
                <a:lnTo>
                  <a:pt x="3060" y="1703"/>
                </a:lnTo>
                <a:lnTo>
                  <a:pt x="3060" y="1705"/>
                </a:lnTo>
                <a:lnTo>
                  <a:pt x="3060" y="1707"/>
                </a:lnTo>
                <a:lnTo>
                  <a:pt x="3060" y="1708"/>
                </a:lnTo>
                <a:lnTo>
                  <a:pt x="3060" y="1710"/>
                </a:lnTo>
                <a:lnTo>
                  <a:pt x="3060" y="1712"/>
                </a:lnTo>
                <a:lnTo>
                  <a:pt x="3058" y="1715"/>
                </a:lnTo>
                <a:lnTo>
                  <a:pt x="3060" y="1719"/>
                </a:lnTo>
                <a:lnTo>
                  <a:pt x="3060" y="1720"/>
                </a:lnTo>
                <a:lnTo>
                  <a:pt x="3062" y="1722"/>
                </a:lnTo>
                <a:lnTo>
                  <a:pt x="3064" y="1720"/>
                </a:lnTo>
                <a:lnTo>
                  <a:pt x="3067" y="1722"/>
                </a:lnTo>
                <a:lnTo>
                  <a:pt x="3069" y="1724"/>
                </a:lnTo>
                <a:lnTo>
                  <a:pt x="3070" y="1724"/>
                </a:lnTo>
                <a:lnTo>
                  <a:pt x="3072" y="1725"/>
                </a:lnTo>
                <a:lnTo>
                  <a:pt x="3074" y="1725"/>
                </a:lnTo>
                <a:lnTo>
                  <a:pt x="3075" y="1725"/>
                </a:lnTo>
                <a:lnTo>
                  <a:pt x="3077" y="1725"/>
                </a:lnTo>
                <a:lnTo>
                  <a:pt x="3077" y="1724"/>
                </a:lnTo>
                <a:lnTo>
                  <a:pt x="3075" y="1722"/>
                </a:lnTo>
                <a:lnTo>
                  <a:pt x="3077" y="1722"/>
                </a:lnTo>
                <a:lnTo>
                  <a:pt x="3079" y="1722"/>
                </a:lnTo>
                <a:lnTo>
                  <a:pt x="3081" y="1722"/>
                </a:lnTo>
                <a:lnTo>
                  <a:pt x="3082" y="1722"/>
                </a:lnTo>
                <a:lnTo>
                  <a:pt x="3084" y="1722"/>
                </a:lnTo>
                <a:lnTo>
                  <a:pt x="3087" y="1720"/>
                </a:lnTo>
                <a:lnTo>
                  <a:pt x="3091" y="1720"/>
                </a:lnTo>
                <a:lnTo>
                  <a:pt x="3091" y="1719"/>
                </a:lnTo>
                <a:lnTo>
                  <a:pt x="3092" y="1719"/>
                </a:lnTo>
                <a:lnTo>
                  <a:pt x="3094" y="1719"/>
                </a:lnTo>
                <a:lnTo>
                  <a:pt x="3092" y="1722"/>
                </a:lnTo>
                <a:lnTo>
                  <a:pt x="3094" y="1724"/>
                </a:lnTo>
                <a:lnTo>
                  <a:pt x="3092" y="1725"/>
                </a:lnTo>
                <a:lnTo>
                  <a:pt x="3092" y="1729"/>
                </a:lnTo>
                <a:lnTo>
                  <a:pt x="3096" y="1729"/>
                </a:lnTo>
                <a:lnTo>
                  <a:pt x="3101" y="1725"/>
                </a:lnTo>
                <a:lnTo>
                  <a:pt x="3101" y="1727"/>
                </a:lnTo>
                <a:lnTo>
                  <a:pt x="3104" y="1725"/>
                </a:lnTo>
                <a:lnTo>
                  <a:pt x="3109" y="1720"/>
                </a:lnTo>
                <a:lnTo>
                  <a:pt x="3115" y="1715"/>
                </a:lnTo>
                <a:lnTo>
                  <a:pt x="3115" y="1717"/>
                </a:lnTo>
                <a:lnTo>
                  <a:pt x="3116" y="1719"/>
                </a:lnTo>
                <a:lnTo>
                  <a:pt x="3118" y="1720"/>
                </a:lnTo>
                <a:lnTo>
                  <a:pt x="3120" y="1722"/>
                </a:lnTo>
                <a:lnTo>
                  <a:pt x="3121" y="1722"/>
                </a:lnTo>
                <a:lnTo>
                  <a:pt x="3123" y="1720"/>
                </a:lnTo>
                <a:lnTo>
                  <a:pt x="3125" y="1722"/>
                </a:lnTo>
                <a:lnTo>
                  <a:pt x="3125" y="1720"/>
                </a:lnTo>
                <a:lnTo>
                  <a:pt x="3126" y="1719"/>
                </a:lnTo>
                <a:lnTo>
                  <a:pt x="3128" y="1720"/>
                </a:lnTo>
                <a:lnTo>
                  <a:pt x="3128" y="1719"/>
                </a:lnTo>
                <a:lnTo>
                  <a:pt x="3130" y="1719"/>
                </a:lnTo>
                <a:lnTo>
                  <a:pt x="3130" y="1717"/>
                </a:lnTo>
                <a:lnTo>
                  <a:pt x="3133" y="1717"/>
                </a:lnTo>
                <a:lnTo>
                  <a:pt x="3133" y="1715"/>
                </a:lnTo>
                <a:lnTo>
                  <a:pt x="3135" y="1713"/>
                </a:lnTo>
                <a:lnTo>
                  <a:pt x="3137" y="1713"/>
                </a:lnTo>
                <a:lnTo>
                  <a:pt x="3138" y="1713"/>
                </a:lnTo>
                <a:lnTo>
                  <a:pt x="3140" y="1712"/>
                </a:lnTo>
                <a:lnTo>
                  <a:pt x="3142" y="1712"/>
                </a:lnTo>
                <a:lnTo>
                  <a:pt x="3143" y="1710"/>
                </a:lnTo>
                <a:lnTo>
                  <a:pt x="3145" y="1712"/>
                </a:lnTo>
                <a:lnTo>
                  <a:pt x="3147" y="1713"/>
                </a:lnTo>
                <a:lnTo>
                  <a:pt x="3149" y="1713"/>
                </a:lnTo>
                <a:lnTo>
                  <a:pt x="3152" y="1713"/>
                </a:lnTo>
                <a:lnTo>
                  <a:pt x="3155" y="1713"/>
                </a:lnTo>
                <a:lnTo>
                  <a:pt x="3152" y="1719"/>
                </a:lnTo>
                <a:lnTo>
                  <a:pt x="3154" y="1719"/>
                </a:lnTo>
                <a:lnTo>
                  <a:pt x="3157" y="1725"/>
                </a:lnTo>
                <a:lnTo>
                  <a:pt x="3160" y="1732"/>
                </a:lnTo>
                <a:lnTo>
                  <a:pt x="3162" y="1734"/>
                </a:lnTo>
                <a:lnTo>
                  <a:pt x="3164" y="1736"/>
                </a:lnTo>
                <a:lnTo>
                  <a:pt x="3166" y="1739"/>
                </a:lnTo>
                <a:lnTo>
                  <a:pt x="3169" y="1744"/>
                </a:lnTo>
                <a:lnTo>
                  <a:pt x="3166" y="1749"/>
                </a:lnTo>
                <a:lnTo>
                  <a:pt x="3164" y="1753"/>
                </a:lnTo>
                <a:lnTo>
                  <a:pt x="3160" y="1758"/>
                </a:lnTo>
                <a:lnTo>
                  <a:pt x="3159" y="1761"/>
                </a:lnTo>
                <a:lnTo>
                  <a:pt x="3157" y="1764"/>
                </a:lnTo>
                <a:lnTo>
                  <a:pt x="3155" y="1768"/>
                </a:lnTo>
                <a:lnTo>
                  <a:pt x="3154" y="1771"/>
                </a:lnTo>
                <a:lnTo>
                  <a:pt x="3152" y="1771"/>
                </a:lnTo>
                <a:lnTo>
                  <a:pt x="3149" y="1775"/>
                </a:lnTo>
                <a:lnTo>
                  <a:pt x="3147" y="1776"/>
                </a:lnTo>
                <a:lnTo>
                  <a:pt x="3145" y="1776"/>
                </a:lnTo>
                <a:lnTo>
                  <a:pt x="3143" y="1778"/>
                </a:lnTo>
                <a:lnTo>
                  <a:pt x="3142" y="1780"/>
                </a:lnTo>
                <a:lnTo>
                  <a:pt x="3140" y="1781"/>
                </a:lnTo>
                <a:lnTo>
                  <a:pt x="3137" y="1783"/>
                </a:lnTo>
                <a:lnTo>
                  <a:pt x="3133" y="1783"/>
                </a:lnTo>
                <a:lnTo>
                  <a:pt x="3130" y="1781"/>
                </a:lnTo>
                <a:lnTo>
                  <a:pt x="3126" y="1781"/>
                </a:lnTo>
                <a:lnTo>
                  <a:pt x="3126" y="1780"/>
                </a:lnTo>
                <a:lnTo>
                  <a:pt x="3125" y="1780"/>
                </a:lnTo>
                <a:lnTo>
                  <a:pt x="3123" y="1780"/>
                </a:lnTo>
                <a:lnTo>
                  <a:pt x="3121" y="1781"/>
                </a:lnTo>
                <a:lnTo>
                  <a:pt x="3120" y="1781"/>
                </a:lnTo>
                <a:lnTo>
                  <a:pt x="3120" y="1785"/>
                </a:lnTo>
                <a:lnTo>
                  <a:pt x="3120" y="1787"/>
                </a:lnTo>
                <a:lnTo>
                  <a:pt x="3120" y="1788"/>
                </a:lnTo>
                <a:lnTo>
                  <a:pt x="3121" y="1788"/>
                </a:lnTo>
                <a:lnTo>
                  <a:pt x="3123" y="1790"/>
                </a:lnTo>
                <a:lnTo>
                  <a:pt x="3125" y="1792"/>
                </a:lnTo>
                <a:lnTo>
                  <a:pt x="3125" y="1793"/>
                </a:lnTo>
                <a:lnTo>
                  <a:pt x="3125" y="1797"/>
                </a:lnTo>
                <a:lnTo>
                  <a:pt x="3125" y="1798"/>
                </a:lnTo>
                <a:lnTo>
                  <a:pt x="3125" y="1800"/>
                </a:lnTo>
                <a:lnTo>
                  <a:pt x="3125" y="1804"/>
                </a:lnTo>
                <a:lnTo>
                  <a:pt x="3125" y="1805"/>
                </a:lnTo>
                <a:lnTo>
                  <a:pt x="3123" y="1807"/>
                </a:lnTo>
                <a:lnTo>
                  <a:pt x="3121" y="1809"/>
                </a:lnTo>
                <a:lnTo>
                  <a:pt x="3120" y="1810"/>
                </a:lnTo>
                <a:lnTo>
                  <a:pt x="3118" y="1812"/>
                </a:lnTo>
                <a:lnTo>
                  <a:pt x="3118" y="1815"/>
                </a:lnTo>
                <a:lnTo>
                  <a:pt x="3116" y="1815"/>
                </a:lnTo>
                <a:lnTo>
                  <a:pt x="3116" y="1814"/>
                </a:lnTo>
                <a:lnTo>
                  <a:pt x="3113" y="1815"/>
                </a:lnTo>
                <a:lnTo>
                  <a:pt x="3111" y="1812"/>
                </a:lnTo>
                <a:lnTo>
                  <a:pt x="3113" y="1812"/>
                </a:lnTo>
                <a:lnTo>
                  <a:pt x="3116" y="1810"/>
                </a:lnTo>
                <a:lnTo>
                  <a:pt x="3115" y="1810"/>
                </a:lnTo>
                <a:lnTo>
                  <a:pt x="3113" y="1809"/>
                </a:lnTo>
                <a:lnTo>
                  <a:pt x="3111" y="1810"/>
                </a:lnTo>
                <a:lnTo>
                  <a:pt x="3109" y="1809"/>
                </a:lnTo>
                <a:lnTo>
                  <a:pt x="3108" y="1810"/>
                </a:lnTo>
                <a:lnTo>
                  <a:pt x="3106" y="1812"/>
                </a:lnTo>
                <a:lnTo>
                  <a:pt x="3103" y="1814"/>
                </a:lnTo>
                <a:lnTo>
                  <a:pt x="3103" y="1815"/>
                </a:lnTo>
                <a:lnTo>
                  <a:pt x="3101" y="1814"/>
                </a:lnTo>
                <a:lnTo>
                  <a:pt x="3098" y="1815"/>
                </a:lnTo>
                <a:lnTo>
                  <a:pt x="3096" y="1817"/>
                </a:lnTo>
                <a:lnTo>
                  <a:pt x="3094" y="1819"/>
                </a:lnTo>
                <a:lnTo>
                  <a:pt x="3092" y="1819"/>
                </a:lnTo>
                <a:lnTo>
                  <a:pt x="3091" y="1819"/>
                </a:lnTo>
                <a:lnTo>
                  <a:pt x="3089" y="1821"/>
                </a:lnTo>
                <a:lnTo>
                  <a:pt x="3087" y="1822"/>
                </a:lnTo>
                <a:lnTo>
                  <a:pt x="3086" y="1822"/>
                </a:lnTo>
                <a:lnTo>
                  <a:pt x="3082" y="1821"/>
                </a:lnTo>
                <a:lnTo>
                  <a:pt x="3082" y="1822"/>
                </a:lnTo>
                <a:lnTo>
                  <a:pt x="3079" y="1821"/>
                </a:lnTo>
                <a:lnTo>
                  <a:pt x="3081" y="1821"/>
                </a:lnTo>
                <a:lnTo>
                  <a:pt x="3077" y="1819"/>
                </a:lnTo>
                <a:lnTo>
                  <a:pt x="3077" y="1821"/>
                </a:lnTo>
                <a:lnTo>
                  <a:pt x="3075" y="1822"/>
                </a:lnTo>
                <a:lnTo>
                  <a:pt x="3074" y="1822"/>
                </a:lnTo>
                <a:lnTo>
                  <a:pt x="3072" y="1821"/>
                </a:lnTo>
                <a:lnTo>
                  <a:pt x="3074" y="1819"/>
                </a:lnTo>
                <a:lnTo>
                  <a:pt x="3072" y="1817"/>
                </a:lnTo>
                <a:lnTo>
                  <a:pt x="3070" y="1821"/>
                </a:lnTo>
                <a:lnTo>
                  <a:pt x="3069" y="1821"/>
                </a:lnTo>
                <a:lnTo>
                  <a:pt x="3065" y="1817"/>
                </a:lnTo>
                <a:lnTo>
                  <a:pt x="3064" y="1815"/>
                </a:lnTo>
                <a:lnTo>
                  <a:pt x="3065" y="1814"/>
                </a:lnTo>
                <a:lnTo>
                  <a:pt x="3064" y="1812"/>
                </a:lnTo>
                <a:lnTo>
                  <a:pt x="3060" y="1812"/>
                </a:lnTo>
                <a:lnTo>
                  <a:pt x="3058" y="1812"/>
                </a:lnTo>
                <a:lnTo>
                  <a:pt x="3057" y="1812"/>
                </a:lnTo>
                <a:lnTo>
                  <a:pt x="3055" y="1814"/>
                </a:lnTo>
                <a:lnTo>
                  <a:pt x="3053" y="1815"/>
                </a:lnTo>
                <a:lnTo>
                  <a:pt x="3052" y="1814"/>
                </a:lnTo>
                <a:lnTo>
                  <a:pt x="3050" y="1814"/>
                </a:lnTo>
                <a:lnTo>
                  <a:pt x="3048" y="1812"/>
                </a:lnTo>
                <a:lnTo>
                  <a:pt x="3047" y="1812"/>
                </a:lnTo>
                <a:lnTo>
                  <a:pt x="3047" y="1814"/>
                </a:lnTo>
                <a:lnTo>
                  <a:pt x="3047" y="1815"/>
                </a:lnTo>
                <a:lnTo>
                  <a:pt x="3045" y="1814"/>
                </a:lnTo>
                <a:lnTo>
                  <a:pt x="3047" y="1815"/>
                </a:lnTo>
                <a:lnTo>
                  <a:pt x="3045" y="1817"/>
                </a:lnTo>
                <a:lnTo>
                  <a:pt x="3047" y="1819"/>
                </a:lnTo>
                <a:lnTo>
                  <a:pt x="3045" y="1821"/>
                </a:lnTo>
                <a:lnTo>
                  <a:pt x="3047" y="1822"/>
                </a:lnTo>
                <a:lnTo>
                  <a:pt x="3045" y="1822"/>
                </a:lnTo>
                <a:lnTo>
                  <a:pt x="3043" y="1824"/>
                </a:lnTo>
                <a:lnTo>
                  <a:pt x="3041" y="1824"/>
                </a:lnTo>
                <a:lnTo>
                  <a:pt x="3040" y="1821"/>
                </a:lnTo>
                <a:lnTo>
                  <a:pt x="3040" y="1824"/>
                </a:lnTo>
                <a:lnTo>
                  <a:pt x="3038" y="1826"/>
                </a:lnTo>
                <a:lnTo>
                  <a:pt x="3038" y="1827"/>
                </a:lnTo>
                <a:lnTo>
                  <a:pt x="3035" y="1826"/>
                </a:lnTo>
                <a:lnTo>
                  <a:pt x="3035" y="1829"/>
                </a:lnTo>
                <a:lnTo>
                  <a:pt x="3031" y="1829"/>
                </a:lnTo>
                <a:lnTo>
                  <a:pt x="3030" y="1827"/>
                </a:lnTo>
                <a:lnTo>
                  <a:pt x="3030" y="1829"/>
                </a:lnTo>
                <a:lnTo>
                  <a:pt x="3028" y="1829"/>
                </a:lnTo>
                <a:lnTo>
                  <a:pt x="3030" y="1832"/>
                </a:lnTo>
                <a:lnTo>
                  <a:pt x="3031" y="1834"/>
                </a:lnTo>
                <a:lnTo>
                  <a:pt x="3035" y="1836"/>
                </a:lnTo>
                <a:lnTo>
                  <a:pt x="3036" y="1839"/>
                </a:lnTo>
                <a:lnTo>
                  <a:pt x="3036" y="1841"/>
                </a:lnTo>
                <a:lnTo>
                  <a:pt x="3038" y="1841"/>
                </a:lnTo>
                <a:lnTo>
                  <a:pt x="3036" y="1841"/>
                </a:lnTo>
                <a:lnTo>
                  <a:pt x="3035" y="1844"/>
                </a:lnTo>
                <a:lnTo>
                  <a:pt x="3035" y="1843"/>
                </a:lnTo>
                <a:lnTo>
                  <a:pt x="3033" y="1844"/>
                </a:lnTo>
                <a:lnTo>
                  <a:pt x="3030" y="1846"/>
                </a:lnTo>
                <a:lnTo>
                  <a:pt x="3030" y="1848"/>
                </a:lnTo>
                <a:lnTo>
                  <a:pt x="3031" y="1850"/>
                </a:lnTo>
                <a:lnTo>
                  <a:pt x="3030" y="1851"/>
                </a:lnTo>
                <a:lnTo>
                  <a:pt x="3028" y="1851"/>
                </a:lnTo>
                <a:lnTo>
                  <a:pt x="3024" y="1851"/>
                </a:lnTo>
                <a:lnTo>
                  <a:pt x="3023" y="1851"/>
                </a:lnTo>
                <a:lnTo>
                  <a:pt x="3019" y="1851"/>
                </a:lnTo>
                <a:lnTo>
                  <a:pt x="3019" y="1850"/>
                </a:lnTo>
                <a:lnTo>
                  <a:pt x="3018" y="1850"/>
                </a:lnTo>
                <a:lnTo>
                  <a:pt x="3018" y="1848"/>
                </a:lnTo>
                <a:lnTo>
                  <a:pt x="3016" y="1850"/>
                </a:lnTo>
                <a:lnTo>
                  <a:pt x="3013" y="1850"/>
                </a:lnTo>
                <a:lnTo>
                  <a:pt x="3011" y="1848"/>
                </a:lnTo>
                <a:lnTo>
                  <a:pt x="3009" y="1846"/>
                </a:lnTo>
                <a:lnTo>
                  <a:pt x="3009" y="1848"/>
                </a:lnTo>
                <a:lnTo>
                  <a:pt x="3009" y="1850"/>
                </a:lnTo>
                <a:lnTo>
                  <a:pt x="3007" y="1851"/>
                </a:lnTo>
                <a:lnTo>
                  <a:pt x="3006" y="1853"/>
                </a:lnTo>
                <a:lnTo>
                  <a:pt x="3006" y="1855"/>
                </a:lnTo>
                <a:lnTo>
                  <a:pt x="3002" y="1855"/>
                </a:lnTo>
                <a:lnTo>
                  <a:pt x="3002" y="1856"/>
                </a:lnTo>
                <a:lnTo>
                  <a:pt x="2999" y="1858"/>
                </a:lnTo>
                <a:lnTo>
                  <a:pt x="2997" y="1858"/>
                </a:lnTo>
                <a:lnTo>
                  <a:pt x="2996" y="1858"/>
                </a:lnTo>
                <a:lnTo>
                  <a:pt x="2994" y="1861"/>
                </a:lnTo>
                <a:lnTo>
                  <a:pt x="2996" y="1863"/>
                </a:lnTo>
                <a:lnTo>
                  <a:pt x="2999" y="1865"/>
                </a:lnTo>
                <a:lnTo>
                  <a:pt x="3001" y="1865"/>
                </a:lnTo>
                <a:lnTo>
                  <a:pt x="2999" y="1867"/>
                </a:lnTo>
                <a:lnTo>
                  <a:pt x="2997" y="1867"/>
                </a:lnTo>
                <a:lnTo>
                  <a:pt x="2996" y="1868"/>
                </a:lnTo>
                <a:lnTo>
                  <a:pt x="2994" y="1868"/>
                </a:lnTo>
                <a:lnTo>
                  <a:pt x="2992" y="1867"/>
                </a:lnTo>
                <a:lnTo>
                  <a:pt x="2990" y="1867"/>
                </a:lnTo>
                <a:lnTo>
                  <a:pt x="2989" y="1867"/>
                </a:lnTo>
                <a:lnTo>
                  <a:pt x="2987" y="1867"/>
                </a:lnTo>
                <a:lnTo>
                  <a:pt x="2985" y="1868"/>
                </a:lnTo>
                <a:lnTo>
                  <a:pt x="2987" y="1868"/>
                </a:lnTo>
                <a:lnTo>
                  <a:pt x="2990" y="1873"/>
                </a:lnTo>
                <a:lnTo>
                  <a:pt x="2987" y="1877"/>
                </a:lnTo>
                <a:lnTo>
                  <a:pt x="2989" y="1877"/>
                </a:lnTo>
                <a:lnTo>
                  <a:pt x="2990" y="1880"/>
                </a:lnTo>
                <a:lnTo>
                  <a:pt x="2987" y="1882"/>
                </a:lnTo>
                <a:lnTo>
                  <a:pt x="2985" y="1882"/>
                </a:lnTo>
                <a:lnTo>
                  <a:pt x="2982" y="1882"/>
                </a:lnTo>
                <a:lnTo>
                  <a:pt x="2984" y="1885"/>
                </a:lnTo>
                <a:lnTo>
                  <a:pt x="2984" y="1889"/>
                </a:lnTo>
                <a:lnTo>
                  <a:pt x="2985" y="1890"/>
                </a:lnTo>
                <a:lnTo>
                  <a:pt x="2985" y="1892"/>
                </a:lnTo>
                <a:lnTo>
                  <a:pt x="2989" y="1894"/>
                </a:lnTo>
                <a:lnTo>
                  <a:pt x="2987" y="1895"/>
                </a:lnTo>
                <a:lnTo>
                  <a:pt x="2987" y="1899"/>
                </a:lnTo>
                <a:lnTo>
                  <a:pt x="2987" y="1901"/>
                </a:lnTo>
                <a:lnTo>
                  <a:pt x="2987" y="1902"/>
                </a:lnTo>
                <a:lnTo>
                  <a:pt x="2985" y="1904"/>
                </a:lnTo>
                <a:lnTo>
                  <a:pt x="2985" y="1906"/>
                </a:lnTo>
                <a:lnTo>
                  <a:pt x="2985" y="1907"/>
                </a:lnTo>
                <a:lnTo>
                  <a:pt x="2982" y="1909"/>
                </a:lnTo>
                <a:lnTo>
                  <a:pt x="2982" y="1911"/>
                </a:lnTo>
                <a:lnTo>
                  <a:pt x="2982" y="1914"/>
                </a:lnTo>
                <a:lnTo>
                  <a:pt x="2982" y="1916"/>
                </a:lnTo>
                <a:lnTo>
                  <a:pt x="2979" y="1918"/>
                </a:lnTo>
                <a:lnTo>
                  <a:pt x="2977" y="1918"/>
                </a:lnTo>
                <a:lnTo>
                  <a:pt x="2975" y="1918"/>
                </a:lnTo>
                <a:lnTo>
                  <a:pt x="2973" y="1918"/>
                </a:lnTo>
                <a:lnTo>
                  <a:pt x="2970" y="1916"/>
                </a:lnTo>
                <a:lnTo>
                  <a:pt x="2968" y="1916"/>
                </a:lnTo>
                <a:lnTo>
                  <a:pt x="2965" y="1916"/>
                </a:lnTo>
                <a:lnTo>
                  <a:pt x="2965" y="1919"/>
                </a:lnTo>
                <a:lnTo>
                  <a:pt x="2963" y="1919"/>
                </a:lnTo>
                <a:lnTo>
                  <a:pt x="2960" y="1919"/>
                </a:lnTo>
                <a:lnTo>
                  <a:pt x="2955" y="1918"/>
                </a:lnTo>
                <a:lnTo>
                  <a:pt x="2953" y="1918"/>
                </a:lnTo>
                <a:lnTo>
                  <a:pt x="2951" y="1918"/>
                </a:lnTo>
                <a:lnTo>
                  <a:pt x="2948" y="1918"/>
                </a:lnTo>
                <a:lnTo>
                  <a:pt x="2946" y="1918"/>
                </a:lnTo>
                <a:lnTo>
                  <a:pt x="2946" y="1914"/>
                </a:lnTo>
                <a:lnTo>
                  <a:pt x="2946" y="1912"/>
                </a:lnTo>
                <a:lnTo>
                  <a:pt x="2943" y="1912"/>
                </a:lnTo>
                <a:lnTo>
                  <a:pt x="2941" y="1916"/>
                </a:lnTo>
                <a:lnTo>
                  <a:pt x="2939" y="1916"/>
                </a:lnTo>
                <a:lnTo>
                  <a:pt x="2936" y="1918"/>
                </a:lnTo>
                <a:lnTo>
                  <a:pt x="2936" y="1914"/>
                </a:lnTo>
                <a:lnTo>
                  <a:pt x="2933" y="1916"/>
                </a:lnTo>
                <a:lnTo>
                  <a:pt x="2931" y="1916"/>
                </a:lnTo>
                <a:lnTo>
                  <a:pt x="2929" y="1916"/>
                </a:lnTo>
                <a:lnTo>
                  <a:pt x="2928" y="1916"/>
                </a:lnTo>
                <a:lnTo>
                  <a:pt x="2926" y="1914"/>
                </a:lnTo>
                <a:lnTo>
                  <a:pt x="2926" y="1916"/>
                </a:lnTo>
                <a:lnTo>
                  <a:pt x="2924" y="1916"/>
                </a:lnTo>
                <a:lnTo>
                  <a:pt x="2926" y="1916"/>
                </a:lnTo>
                <a:lnTo>
                  <a:pt x="2924" y="1918"/>
                </a:lnTo>
                <a:lnTo>
                  <a:pt x="2922" y="1919"/>
                </a:lnTo>
                <a:lnTo>
                  <a:pt x="2921" y="1921"/>
                </a:lnTo>
                <a:lnTo>
                  <a:pt x="2924" y="1923"/>
                </a:lnTo>
                <a:lnTo>
                  <a:pt x="2924" y="1924"/>
                </a:lnTo>
                <a:lnTo>
                  <a:pt x="2926" y="1924"/>
                </a:lnTo>
                <a:lnTo>
                  <a:pt x="2924" y="1924"/>
                </a:lnTo>
                <a:lnTo>
                  <a:pt x="2926" y="1926"/>
                </a:lnTo>
                <a:lnTo>
                  <a:pt x="2922" y="1926"/>
                </a:lnTo>
                <a:lnTo>
                  <a:pt x="2926" y="1926"/>
                </a:lnTo>
                <a:lnTo>
                  <a:pt x="2928" y="1924"/>
                </a:lnTo>
                <a:lnTo>
                  <a:pt x="2929" y="1923"/>
                </a:lnTo>
                <a:lnTo>
                  <a:pt x="2931" y="1924"/>
                </a:lnTo>
                <a:lnTo>
                  <a:pt x="2933" y="1928"/>
                </a:lnTo>
                <a:lnTo>
                  <a:pt x="2933" y="1929"/>
                </a:lnTo>
                <a:lnTo>
                  <a:pt x="2934" y="1931"/>
                </a:lnTo>
                <a:lnTo>
                  <a:pt x="2936" y="1933"/>
                </a:lnTo>
                <a:lnTo>
                  <a:pt x="2938" y="1935"/>
                </a:lnTo>
                <a:lnTo>
                  <a:pt x="2939" y="1935"/>
                </a:lnTo>
                <a:lnTo>
                  <a:pt x="2941" y="1936"/>
                </a:lnTo>
                <a:lnTo>
                  <a:pt x="2943" y="1938"/>
                </a:lnTo>
                <a:lnTo>
                  <a:pt x="2943" y="1941"/>
                </a:lnTo>
                <a:lnTo>
                  <a:pt x="2943" y="1945"/>
                </a:lnTo>
                <a:lnTo>
                  <a:pt x="2941" y="1945"/>
                </a:lnTo>
                <a:lnTo>
                  <a:pt x="2939" y="1948"/>
                </a:lnTo>
                <a:lnTo>
                  <a:pt x="2938" y="1948"/>
                </a:lnTo>
                <a:lnTo>
                  <a:pt x="2936" y="1948"/>
                </a:lnTo>
                <a:lnTo>
                  <a:pt x="2931" y="1946"/>
                </a:lnTo>
                <a:lnTo>
                  <a:pt x="2931" y="1945"/>
                </a:lnTo>
                <a:lnTo>
                  <a:pt x="2931" y="1941"/>
                </a:lnTo>
                <a:lnTo>
                  <a:pt x="2929" y="1940"/>
                </a:lnTo>
                <a:lnTo>
                  <a:pt x="2928" y="1936"/>
                </a:lnTo>
                <a:lnTo>
                  <a:pt x="2928" y="1935"/>
                </a:lnTo>
                <a:lnTo>
                  <a:pt x="2928" y="1933"/>
                </a:lnTo>
                <a:lnTo>
                  <a:pt x="2928" y="1931"/>
                </a:lnTo>
                <a:lnTo>
                  <a:pt x="2926" y="1931"/>
                </a:lnTo>
                <a:lnTo>
                  <a:pt x="2924" y="1933"/>
                </a:lnTo>
                <a:lnTo>
                  <a:pt x="2922" y="1931"/>
                </a:lnTo>
                <a:lnTo>
                  <a:pt x="2919" y="1933"/>
                </a:lnTo>
                <a:lnTo>
                  <a:pt x="2917" y="1933"/>
                </a:lnTo>
                <a:lnTo>
                  <a:pt x="2916" y="1933"/>
                </a:lnTo>
                <a:lnTo>
                  <a:pt x="2914" y="1931"/>
                </a:lnTo>
                <a:lnTo>
                  <a:pt x="2912" y="1933"/>
                </a:lnTo>
                <a:lnTo>
                  <a:pt x="2911" y="1933"/>
                </a:lnTo>
                <a:lnTo>
                  <a:pt x="2909" y="1931"/>
                </a:lnTo>
                <a:lnTo>
                  <a:pt x="2907" y="1931"/>
                </a:lnTo>
                <a:lnTo>
                  <a:pt x="2907" y="1929"/>
                </a:lnTo>
                <a:lnTo>
                  <a:pt x="2905" y="1928"/>
                </a:lnTo>
                <a:lnTo>
                  <a:pt x="2905" y="1929"/>
                </a:lnTo>
                <a:lnTo>
                  <a:pt x="2904" y="1928"/>
                </a:lnTo>
                <a:lnTo>
                  <a:pt x="2902" y="1926"/>
                </a:lnTo>
                <a:lnTo>
                  <a:pt x="2900" y="1926"/>
                </a:lnTo>
                <a:lnTo>
                  <a:pt x="2897" y="1926"/>
                </a:lnTo>
                <a:lnTo>
                  <a:pt x="2895" y="1926"/>
                </a:lnTo>
                <a:lnTo>
                  <a:pt x="2894" y="1926"/>
                </a:lnTo>
                <a:lnTo>
                  <a:pt x="2892" y="1926"/>
                </a:lnTo>
                <a:lnTo>
                  <a:pt x="2890" y="1926"/>
                </a:lnTo>
                <a:lnTo>
                  <a:pt x="2888" y="1928"/>
                </a:lnTo>
                <a:lnTo>
                  <a:pt x="2887" y="1929"/>
                </a:lnTo>
                <a:lnTo>
                  <a:pt x="2887" y="1928"/>
                </a:lnTo>
                <a:lnTo>
                  <a:pt x="2885" y="1929"/>
                </a:lnTo>
                <a:lnTo>
                  <a:pt x="2882" y="1929"/>
                </a:lnTo>
                <a:lnTo>
                  <a:pt x="2880" y="1931"/>
                </a:lnTo>
                <a:lnTo>
                  <a:pt x="2880" y="1929"/>
                </a:lnTo>
                <a:lnTo>
                  <a:pt x="2878" y="1929"/>
                </a:lnTo>
                <a:lnTo>
                  <a:pt x="2878" y="1928"/>
                </a:lnTo>
                <a:lnTo>
                  <a:pt x="2878" y="1929"/>
                </a:lnTo>
                <a:lnTo>
                  <a:pt x="2875" y="1928"/>
                </a:lnTo>
                <a:lnTo>
                  <a:pt x="2875" y="1924"/>
                </a:lnTo>
                <a:lnTo>
                  <a:pt x="2873" y="1924"/>
                </a:lnTo>
                <a:lnTo>
                  <a:pt x="2873" y="1923"/>
                </a:lnTo>
                <a:lnTo>
                  <a:pt x="2871" y="1923"/>
                </a:lnTo>
                <a:lnTo>
                  <a:pt x="2870" y="1923"/>
                </a:lnTo>
                <a:lnTo>
                  <a:pt x="2868" y="1921"/>
                </a:lnTo>
                <a:lnTo>
                  <a:pt x="2868" y="1923"/>
                </a:lnTo>
                <a:lnTo>
                  <a:pt x="2865" y="1923"/>
                </a:lnTo>
                <a:lnTo>
                  <a:pt x="2863" y="1923"/>
                </a:lnTo>
                <a:lnTo>
                  <a:pt x="2861" y="1921"/>
                </a:lnTo>
                <a:lnTo>
                  <a:pt x="2860" y="1923"/>
                </a:lnTo>
                <a:lnTo>
                  <a:pt x="2858" y="1923"/>
                </a:lnTo>
                <a:lnTo>
                  <a:pt x="2856" y="1924"/>
                </a:lnTo>
                <a:lnTo>
                  <a:pt x="2856" y="1926"/>
                </a:lnTo>
                <a:lnTo>
                  <a:pt x="2854" y="1924"/>
                </a:lnTo>
                <a:lnTo>
                  <a:pt x="2853" y="1926"/>
                </a:lnTo>
                <a:lnTo>
                  <a:pt x="2851" y="1926"/>
                </a:lnTo>
                <a:lnTo>
                  <a:pt x="2851" y="1924"/>
                </a:lnTo>
                <a:lnTo>
                  <a:pt x="2851" y="1926"/>
                </a:lnTo>
                <a:lnTo>
                  <a:pt x="2849" y="1926"/>
                </a:lnTo>
                <a:lnTo>
                  <a:pt x="2851" y="1928"/>
                </a:lnTo>
                <a:lnTo>
                  <a:pt x="2849" y="1929"/>
                </a:lnTo>
                <a:lnTo>
                  <a:pt x="2848" y="1929"/>
                </a:lnTo>
                <a:lnTo>
                  <a:pt x="2848" y="1931"/>
                </a:lnTo>
                <a:lnTo>
                  <a:pt x="2848" y="1933"/>
                </a:lnTo>
                <a:lnTo>
                  <a:pt x="2846" y="1933"/>
                </a:lnTo>
                <a:lnTo>
                  <a:pt x="2844" y="1935"/>
                </a:lnTo>
                <a:lnTo>
                  <a:pt x="2846" y="1935"/>
                </a:lnTo>
                <a:lnTo>
                  <a:pt x="2843" y="1935"/>
                </a:lnTo>
                <a:lnTo>
                  <a:pt x="2843" y="1933"/>
                </a:lnTo>
                <a:lnTo>
                  <a:pt x="2843" y="1935"/>
                </a:lnTo>
                <a:lnTo>
                  <a:pt x="2841" y="1933"/>
                </a:lnTo>
                <a:lnTo>
                  <a:pt x="2841" y="1936"/>
                </a:lnTo>
                <a:lnTo>
                  <a:pt x="2839" y="1935"/>
                </a:lnTo>
                <a:lnTo>
                  <a:pt x="2841" y="1936"/>
                </a:lnTo>
                <a:lnTo>
                  <a:pt x="2839" y="1936"/>
                </a:lnTo>
                <a:lnTo>
                  <a:pt x="2837" y="1936"/>
                </a:lnTo>
                <a:lnTo>
                  <a:pt x="2837" y="1938"/>
                </a:lnTo>
                <a:lnTo>
                  <a:pt x="2836" y="1938"/>
                </a:lnTo>
                <a:lnTo>
                  <a:pt x="2836" y="1940"/>
                </a:lnTo>
                <a:lnTo>
                  <a:pt x="2834" y="1941"/>
                </a:lnTo>
                <a:lnTo>
                  <a:pt x="2836" y="1941"/>
                </a:lnTo>
                <a:lnTo>
                  <a:pt x="2834" y="1940"/>
                </a:lnTo>
                <a:lnTo>
                  <a:pt x="2834" y="1943"/>
                </a:lnTo>
                <a:lnTo>
                  <a:pt x="2832" y="1943"/>
                </a:lnTo>
                <a:lnTo>
                  <a:pt x="2834" y="1943"/>
                </a:lnTo>
                <a:lnTo>
                  <a:pt x="2832" y="1945"/>
                </a:lnTo>
                <a:lnTo>
                  <a:pt x="2832" y="1943"/>
                </a:lnTo>
                <a:lnTo>
                  <a:pt x="2829" y="1943"/>
                </a:lnTo>
                <a:lnTo>
                  <a:pt x="2827" y="1943"/>
                </a:lnTo>
                <a:lnTo>
                  <a:pt x="2826" y="1941"/>
                </a:lnTo>
                <a:lnTo>
                  <a:pt x="2824" y="1940"/>
                </a:lnTo>
                <a:lnTo>
                  <a:pt x="2822" y="1938"/>
                </a:lnTo>
                <a:lnTo>
                  <a:pt x="2820" y="1938"/>
                </a:lnTo>
                <a:lnTo>
                  <a:pt x="2819" y="1938"/>
                </a:lnTo>
                <a:lnTo>
                  <a:pt x="2819" y="1936"/>
                </a:lnTo>
                <a:lnTo>
                  <a:pt x="2817" y="1936"/>
                </a:lnTo>
                <a:lnTo>
                  <a:pt x="2815" y="1935"/>
                </a:lnTo>
                <a:lnTo>
                  <a:pt x="2814" y="1933"/>
                </a:lnTo>
                <a:lnTo>
                  <a:pt x="2812" y="1931"/>
                </a:lnTo>
                <a:lnTo>
                  <a:pt x="2810" y="1933"/>
                </a:lnTo>
                <a:lnTo>
                  <a:pt x="2812" y="1933"/>
                </a:lnTo>
                <a:lnTo>
                  <a:pt x="2810" y="1935"/>
                </a:lnTo>
                <a:lnTo>
                  <a:pt x="2810" y="1936"/>
                </a:lnTo>
                <a:lnTo>
                  <a:pt x="2807" y="1938"/>
                </a:lnTo>
                <a:lnTo>
                  <a:pt x="2809" y="1940"/>
                </a:lnTo>
                <a:lnTo>
                  <a:pt x="2809" y="1941"/>
                </a:lnTo>
                <a:lnTo>
                  <a:pt x="2807" y="1945"/>
                </a:lnTo>
                <a:lnTo>
                  <a:pt x="2805" y="1943"/>
                </a:lnTo>
                <a:lnTo>
                  <a:pt x="2805" y="1945"/>
                </a:lnTo>
                <a:lnTo>
                  <a:pt x="2803" y="1946"/>
                </a:lnTo>
                <a:lnTo>
                  <a:pt x="2802" y="1945"/>
                </a:lnTo>
                <a:lnTo>
                  <a:pt x="2800" y="1946"/>
                </a:lnTo>
                <a:lnTo>
                  <a:pt x="2798" y="1948"/>
                </a:lnTo>
                <a:lnTo>
                  <a:pt x="2798" y="1950"/>
                </a:lnTo>
                <a:lnTo>
                  <a:pt x="2798" y="1952"/>
                </a:lnTo>
                <a:lnTo>
                  <a:pt x="2798" y="1955"/>
                </a:lnTo>
                <a:lnTo>
                  <a:pt x="2798" y="1957"/>
                </a:lnTo>
                <a:lnTo>
                  <a:pt x="2803" y="1960"/>
                </a:lnTo>
                <a:lnTo>
                  <a:pt x="2802" y="1963"/>
                </a:lnTo>
                <a:lnTo>
                  <a:pt x="2800" y="1963"/>
                </a:lnTo>
                <a:lnTo>
                  <a:pt x="2802" y="1963"/>
                </a:lnTo>
                <a:lnTo>
                  <a:pt x="2800" y="1965"/>
                </a:lnTo>
                <a:lnTo>
                  <a:pt x="2798" y="1965"/>
                </a:lnTo>
                <a:lnTo>
                  <a:pt x="2797" y="1965"/>
                </a:lnTo>
                <a:lnTo>
                  <a:pt x="2797" y="1963"/>
                </a:lnTo>
                <a:lnTo>
                  <a:pt x="2795" y="1962"/>
                </a:lnTo>
                <a:lnTo>
                  <a:pt x="2795" y="1963"/>
                </a:lnTo>
                <a:lnTo>
                  <a:pt x="2793" y="1962"/>
                </a:lnTo>
                <a:lnTo>
                  <a:pt x="2793" y="1965"/>
                </a:lnTo>
                <a:lnTo>
                  <a:pt x="2792" y="1967"/>
                </a:lnTo>
                <a:lnTo>
                  <a:pt x="2792" y="1969"/>
                </a:lnTo>
                <a:lnTo>
                  <a:pt x="2790" y="1970"/>
                </a:lnTo>
                <a:lnTo>
                  <a:pt x="2788" y="1972"/>
                </a:lnTo>
                <a:lnTo>
                  <a:pt x="2785" y="1972"/>
                </a:lnTo>
                <a:lnTo>
                  <a:pt x="2785" y="1974"/>
                </a:lnTo>
                <a:lnTo>
                  <a:pt x="2783" y="1970"/>
                </a:lnTo>
                <a:lnTo>
                  <a:pt x="2781" y="1972"/>
                </a:lnTo>
                <a:lnTo>
                  <a:pt x="2780" y="1970"/>
                </a:lnTo>
                <a:lnTo>
                  <a:pt x="2781" y="1969"/>
                </a:lnTo>
                <a:lnTo>
                  <a:pt x="2783" y="1969"/>
                </a:lnTo>
                <a:lnTo>
                  <a:pt x="2785" y="1967"/>
                </a:lnTo>
                <a:lnTo>
                  <a:pt x="2783" y="1963"/>
                </a:lnTo>
                <a:lnTo>
                  <a:pt x="2781" y="1962"/>
                </a:lnTo>
                <a:lnTo>
                  <a:pt x="2780" y="1963"/>
                </a:lnTo>
                <a:lnTo>
                  <a:pt x="2776" y="1962"/>
                </a:lnTo>
                <a:lnTo>
                  <a:pt x="2775" y="1962"/>
                </a:lnTo>
                <a:lnTo>
                  <a:pt x="2775" y="1965"/>
                </a:lnTo>
                <a:lnTo>
                  <a:pt x="2773" y="1965"/>
                </a:lnTo>
                <a:lnTo>
                  <a:pt x="2769" y="1967"/>
                </a:lnTo>
                <a:lnTo>
                  <a:pt x="2768" y="1967"/>
                </a:lnTo>
                <a:lnTo>
                  <a:pt x="2766" y="1969"/>
                </a:lnTo>
                <a:lnTo>
                  <a:pt x="2764" y="1970"/>
                </a:lnTo>
                <a:lnTo>
                  <a:pt x="2763" y="1972"/>
                </a:lnTo>
                <a:lnTo>
                  <a:pt x="2759" y="1969"/>
                </a:lnTo>
                <a:lnTo>
                  <a:pt x="2759" y="1967"/>
                </a:lnTo>
                <a:lnTo>
                  <a:pt x="2756" y="1969"/>
                </a:lnTo>
                <a:lnTo>
                  <a:pt x="2756" y="1970"/>
                </a:lnTo>
                <a:lnTo>
                  <a:pt x="2754" y="1969"/>
                </a:lnTo>
                <a:lnTo>
                  <a:pt x="2754" y="1970"/>
                </a:lnTo>
                <a:lnTo>
                  <a:pt x="2756" y="1972"/>
                </a:lnTo>
                <a:lnTo>
                  <a:pt x="2759" y="1974"/>
                </a:lnTo>
                <a:lnTo>
                  <a:pt x="2761" y="1974"/>
                </a:lnTo>
                <a:lnTo>
                  <a:pt x="2761" y="1975"/>
                </a:lnTo>
                <a:lnTo>
                  <a:pt x="2761" y="1977"/>
                </a:lnTo>
                <a:lnTo>
                  <a:pt x="2763" y="1977"/>
                </a:lnTo>
                <a:lnTo>
                  <a:pt x="2763" y="1979"/>
                </a:lnTo>
                <a:lnTo>
                  <a:pt x="2761" y="1979"/>
                </a:lnTo>
                <a:lnTo>
                  <a:pt x="2763" y="1980"/>
                </a:lnTo>
                <a:lnTo>
                  <a:pt x="2759" y="1982"/>
                </a:lnTo>
                <a:lnTo>
                  <a:pt x="2759" y="1980"/>
                </a:lnTo>
                <a:lnTo>
                  <a:pt x="2759" y="1979"/>
                </a:lnTo>
                <a:lnTo>
                  <a:pt x="2758" y="1979"/>
                </a:lnTo>
                <a:lnTo>
                  <a:pt x="2754" y="1980"/>
                </a:lnTo>
                <a:lnTo>
                  <a:pt x="2754" y="1979"/>
                </a:lnTo>
                <a:lnTo>
                  <a:pt x="2752" y="1980"/>
                </a:lnTo>
                <a:lnTo>
                  <a:pt x="2754" y="1984"/>
                </a:lnTo>
                <a:lnTo>
                  <a:pt x="2752" y="1984"/>
                </a:lnTo>
                <a:lnTo>
                  <a:pt x="2752" y="1986"/>
                </a:lnTo>
                <a:lnTo>
                  <a:pt x="2754" y="1989"/>
                </a:lnTo>
                <a:lnTo>
                  <a:pt x="2756" y="1989"/>
                </a:lnTo>
                <a:lnTo>
                  <a:pt x="2758" y="1991"/>
                </a:lnTo>
                <a:lnTo>
                  <a:pt x="2756" y="1992"/>
                </a:lnTo>
                <a:lnTo>
                  <a:pt x="2758" y="1996"/>
                </a:lnTo>
                <a:lnTo>
                  <a:pt x="2756" y="1996"/>
                </a:lnTo>
                <a:lnTo>
                  <a:pt x="2752" y="1997"/>
                </a:lnTo>
                <a:lnTo>
                  <a:pt x="2752" y="1999"/>
                </a:lnTo>
                <a:lnTo>
                  <a:pt x="2754" y="1999"/>
                </a:lnTo>
                <a:lnTo>
                  <a:pt x="2752" y="2003"/>
                </a:lnTo>
                <a:lnTo>
                  <a:pt x="2754" y="2003"/>
                </a:lnTo>
                <a:lnTo>
                  <a:pt x="2756" y="2003"/>
                </a:lnTo>
                <a:lnTo>
                  <a:pt x="2756" y="2004"/>
                </a:lnTo>
                <a:lnTo>
                  <a:pt x="2754" y="2009"/>
                </a:lnTo>
                <a:lnTo>
                  <a:pt x="2752" y="2011"/>
                </a:lnTo>
                <a:lnTo>
                  <a:pt x="2749" y="2015"/>
                </a:lnTo>
                <a:lnTo>
                  <a:pt x="2747" y="2016"/>
                </a:lnTo>
                <a:lnTo>
                  <a:pt x="2746" y="2018"/>
                </a:lnTo>
                <a:lnTo>
                  <a:pt x="2744" y="2021"/>
                </a:lnTo>
                <a:lnTo>
                  <a:pt x="2744" y="2023"/>
                </a:lnTo>
                <a:lnTo>
                  <a:pt x="2744" y="2025"/>
                </a:lnTo>
                <a:lnTo>
                  <a:pt x="2744" y="2026"/>
                </a:lnTo>
                <a:lnTo>
                  <a:pt x="2742" y="2032"/>
                </a:lnTo>
                <a:lnTo>
                  <a:pt x="2739" y="2033"/>
                </a:lnTo>
                <a:lnTo>
                  <a:pt x="2734" y="2037"/>
                </a:lnTo>
                <a:lnTo>
                  <a:pt x="2732" y="2038"/>
                </a:lnTo>
                <a:lnTo>
                  <a:pt x="2730" y="2037"/>
                </a:lnTo>
                <a:lnTo>
                  <a:pt x="2729" y="2038"/>
                </a:lnTo>
                <a:lnTo>
                  <a:pt x="2730" y="2040"/>
                </a:lnTo>
                <a:lnTo>
                  <a:pt x="2729" y="2040"/>
                </a:lnTo>
                <a:lnTo>
                  <a:pt x="2729" y="2042"/>
                </a:lnTo>
                <a:lnTo>
                  <a:pt x="2730" y="2043"/>
                </a:lnTo>
                <a:lnTo>
                  <a:pt x="2730" y="2047"/>
                </a:lnTo>
                <a:lnTo>
                  <a:pt x="2732" y="2049"/>
                </a:lnTo>
                <a:lnTo>
                  <a:pt x="2734" y="2049"/>
                </a:lnTo>
                <a:lnTo>
                  <a:pt x="2735" y="2050"/>
                </a:lnTo>
                <a:lnTo>
                  <a:pt x="2737" y="2050"/>
                </a:lnTo>
                <a:lnTo>
                  <a:pt x="2739" y="2052"/>
                </a:lnTo>
                <a:lnTo>
                  <a:pt x="2739" y="2054"/>
                </a:lnTo>
                <a:lnTo>
                  <a:pt x="2739" y="2055"/>
                </a:lnTo>
                <a:lnTo>
                  <a:pt x="2734" y="2059"/>
                </a:lnTo>
                <a:lnTo>
                  <a:pt x="2732" y="2062"/>
                </a:lnTo>
                <a:lnTo>
                  <a:pt x="2730" y="2064"/>
                </a:lnTo>
                <a:lnTo>
                  <a:pt x="2729" y="2066"/>
                </a:lnTo>
                <a:lnTo>
                  <a:pt x="2730" y="2066"/>
                </a:lnTo>
                <a:lnTo>
                  <a:pt x="2730" y="2067"/>
                </a:lnTo>
                <a:lnTo>
                  <a:pt x="2729" y="2069"/>
                </a:lnTo>
                <a:lnTo>
                  <a:pt x="2729" y="2071"/>
                </a:lnTo>
                <a:lnTo>
                  <a:pt x="2729" y="2074"/>
                </a:lnTo>
                <a:lnTo>
                  <a:pt x="2729" y="2076"/>
                </a:lnTo>
                <a:lnTo>
                  <a:pt x="2729" y="2077"/>
                </a:lnTo>
                <a:lnTo>
                  <a:pt x="2725" y="2081"/>
                </a:lnTo>
                <a:lnTo>
                  <a:pt x="2725" y="2083"/>
                </a:lnTo>
                <a:lnTo>
                  <a:pt x="2724" y="2083"/>
                </a:lnTo>
                <a:lnTo>
                  <a:pt x="2722" y="2084"/>
                </a:lnTo>
                <a:lnTo>
                  <a:pt x="2720" y="2086"/>
                </a:lnTo>
                <a:lnTo>
                  <a:pt x="2717" y="2084"/>
                </a:lnTo>
                <a:lnTo>
                  <a:pt x="2715" y="2084"/>
                </a:lnTo>
                <a:lnTo>
                  <a:pt x="2713" y="2086"/>
                </a:lnTo>
                <a:lnTo>
                  <a:pt x="2713" y="2088"/>
                </a:lnTo>
                <a:lnTo>
                  <a:pt x="2715" y="2088"/>
                </a:lnTo>
                <a:lnTo>
                  <a:pt x="2717" y="2088"/>
                </a:lnTo>
                <a:lnTo>
                  <a:pt x="2718" y="2088"/>
                </a:lnTo>
                <a:lnTo>
                  <a:pt x="2720" y="2088"/>
                </a:lnTo>
                <a:lnTo>
                  <a:pt x="2720" y="2091"/>
                </a:lnTo>
                <a:lnTo>
                  <a:pt x="2722" y="2091"/>
                </a:lnTo>
                <a:lnTo>
                  <a:pt x="2724" y="2093"/>
                </a:lnTo>
                <a:lnTo>
                  <a:pt x="2724" y="2094"/>
                </a:lnTo>
                <a:lnTo>
                  <a:pt x="2727" y="2098"/>
                </a:lnTo>
                <a:lnTo>
                  <a:pt x="2730" y="2101"/>
                </a:lnTo>
                <a:lnTo>
                  <a:pt x="2732" y="2103"/>
                </a:lnTo>
                <a:lnTo>
                  <a:pt x="2734" y="2106"/>
                </a:lnTo>
                <a:lnTo>
                  <a:pt x="2737" y="2108"/>
                </a:lnTo>
                <a:lnTo>
                  <a:pt x="2741" y="2110"/>
                </a:lnTo>
                <a:lnTo>
                  <a:pt x="2741" y="2111"/>
                </a:lnTo>
                <a:lnTo>
                  <a:pt x="2741" y="2113"/>
                </a:lnTo>
                <a:lnTo>
                  <a:pt x="2741" y="2115"/>
                </a:lnTo>
                <a:lnTo>
                  <a:pt x="2742" y="2113"/>
                </a:lnTo>
                <a:lnTo>
                  <a:pt x="2744" y="2113"/>
                </a:lnTo>
                <a:lnTo>
                  <a:pt x="2746" y="2113"/>
                </a:lnTo>
                <a:lnTo>
                  <a:pt x="2746" y="2115"/>
                </a:lnTo>
                <a:lnTo>
                  <a:pt x="2747" y="2117"/>
                </a:lnTo>
                <a:lnTo>
                  <a:pt x="2749" y="2117"/>
                </a:lnTo>
                <a:lnTo>
                  <a:pt x="2746" y="2125"/>
                </a:lnTo>
                <a:lnTo>
                  <a:pt x="2741" y="2135"/>
                </a:lnTo>
                <a:lnTo>
                  <a:pt x="2737" y="2137"/>
                </a:lnTo>
                <a:lnTo>
                  <a:pt x="2739" y="2140"/>
                </a:lnTo>
                <a:lnTo>
                  <a:pt x="2737" y="2140"/>
                </a:lnTo>
                <a:lnTo>
                  <a:pt x="2735" y="2139"/>
                </a:lnTo>
                <a:lnTo>
                  <a:pt x="2734" y="2140"/>
                </a:lnTo>
                <a:lnTo>
                  <a:pt x="2732" y="2140"/>
                </a:lnTo>
                <a:lnTo>
                  <a:pt x="2732" y="2139"/>
                </a:lnTo>
                <a:lnTo>
                  <a:pt x="2730" y="2140"/>
                </a:lnTo>
                <a:lnTo>
                  <a:pt x="2729" y="2140"/>
                </a:lnTo>
                <a:lnTo>
                  <a:pt x="2727" y="2139"/>
                </a:lnTo>
                <a:lnTo>
                  <a:pt x="2725" y="2137"/>
                </a:lnTo>
                <a:lnTo>
                  <a:pt x="2724" y="2137"/>
                </a:lnTo>
                <a:lnTo>
                  <a:pt x="2722" y="2137"/>
                </a:lnTo>
                <a:lnTo>
                  <a:pt x="2722" y="2135"/>
                </a:lnTo>
                <a:lnTo>
                  <a:pt x="2720" y="2135"/>
                </a:lnTo>
                <a:lnTo>
                  <a:pt x="2718" y="2134"/>
                </a:lnTo>
                <a:lnTo>
                  <a:pt x="2718" y="2132"/>
                </a:lnTo>
                <a:lnTo>
                  <a:pt x="2717" y="2132"/>
                </a:lnTo>
                <a:lnTo>
                  <a:pt x="2715" y="2130"/>
                </a:lnTo>
                <a:lnTo>
                  <a:pt x="2712" y="2130"/>
                </a:lnTo>
                <a:lnTo>
                  <a:pt x="2712" y="2128"/>
                </a:lnTo>
                <a:lnTo>
                  <a:pt x="2710" y="2128"/>
                </a:lnTo>
                <a:lnTo>
                  <a:pt x="2708" y="2127"/>
                </a:lnTo>
                <a:lnTo>
                  <a:pt x="2705" y="2127"/>
                </a:lnTo>
                <a:lnTo>
                  <a:pt x="2703" y="2125"/>
                </a:lnTo>
                <a:lnTo>
                  <a:pt x="2701" y="2125"/>
                </a:lnTo>
                <a:lnTo>
                  <a:pt x="2698" y="2123"/>
                </a:lnTo>
                <a:lnTo>
                  <a:pt x="2696" y="2123"/>
                </a:lnTo>
                <a:lnTo>
                  <a:pt x="2696" y="2122"/>
                </a:lnTo>
                <a:lnTo>
                  <a:pt x="2693" y="2123"/>
                </a:lnTo>
                <a:lnTo>
                  <a:pt x="2691" y="2122"/>
                </a:lnTo>
                <a:lnTo>
                  <a:pt x="2691" y="2120"/>
                </a:lnTo>
                <a:lnTo>
                  <a:pt x="2690" y="2122"/>
                </a:lnTo>
                <a:lnTo>
                  <a:pt x="2688" y="2122"/>
                </a:lnTo>
                <a:lnTo>
                  <a:pt x="2688" y="2120"/>
                </a:lnTo>
                <a:lnTo>
                  <a:pt x="2686" y="2120"/>
                </a:lnTo>
                <a:lnTo>
                  <a:pt x="2686" y="2118"/>
                </a:lnTo>
                <a:lnTo>
                  <a:pt x="2684" y="2120"/>
                </a:lnTo>
                <a:lnTo>
                  <a:pt x="2684" y="2118"/>
                </a:lnTo>
                <a:lnTo>
                  <a:pt x="2683" y="2118"/>
                </a:lnTo>
                <a:lnTo>
                  <a:pt x="2681" y="2120"/>
                </a:lnTo>
                <a:lnTo>
                  <a:pt x="2681" y="2123"/>
                </a:lnTo>
                <a:lnTo>
                  <a:pt x="2679" y="2125"/>
                </a:lnTo>
                <a:lnTo>
                  <a:pt x="2679" y="2128"/>
                </a:lnTo>
                <a:lnTo>
                  <a:pt x="2679" y="2132"/>
                </a:lnTo>
                <a:lnTo>
                  <a:pt x="2678" y="2132"/>
                </a:lnTo>
                <a:lnTo>
                  <a:pt x="2678" y="2135"/>
                </a:lnTo>
                <a:lnTo>
                  <a:pt x="2676" y="2135"/>
                </a:lnTo>
                <a:lnTo>
                  <a:pt x="2678" y="2137"/>
                </a:lnTo>
                <a:lnTo>
                  <a:pt x="2681" y="2139"/>
                </a:lnTo>
                <a:lnTo>
                  <a:pt x="2679" y="2142"/>
                </a:lnTo>
                <a:lnTo>
                  <a:pt x="2683" y="2144"/>
                </a:lnTo>
                <a:lnTo>
                  <a:pt x="2686" y="2145"/>
                </a:lnTo>
                <a:lnTo>
                  <a:pt x="2686" y="2147"/>
                </a:lnTo>
                <a:lnTo>
                  <a:pt x="2686" y="2151"/>
                </a:lnTo>
                <a:lnTo>
                  <a:pt x="2684" y="2156"/>
                </a:lnTo>
                <a:lnTo>
                  <a:pt x="2684" y="2159"/>
                </a:lnTo>
                <a:lnTo>
                  <a:pt x="2684" y="2161"/>
                </a:lnTo>
                <a:lnTo>
                  <a:pt x="2681" y="2164"/>
                </a:lnTo>
                <a:lnTo>
                  <a:pt x="2679" y="2168"/>
                </a:lnTo>
                <a:lnTo>
                  <a:pt x="2678" y="2169"/>
                </a:lnTo>
                <a:lnTo>
                  <a:pt x="2676" y="2169"/>
                </a:lnTo>
                <a:lnTo>
                  <a:pt x="2676" y="2171"/>
                </a:lnTo>
                <a:lnTo>
                  <a:pt x="2678" y="2174"/>
                </a:lnTo>
                <a:lnTo>
                  <a:pt x="2678" y="2176"/>
                </a:lnTo>
                <a:lnTo>
                  <a:pt x="2679" y="2178"/>
                </a:lnTo>
                <a:lnTo>
                  <a:pt x="2679" y="2180"/>
                </a:lnTo>
                <a:lnTo>
                  <a:pt x="2681" y="2181"/>
                </a:lnTo>
                <a:lnTo>
                  <a:pt x="2683" y="2185"/>
                </a:lnTo>
                <a:lnTo>
                  <a:pt x="2684" y="2191"/>
                </a:lnTo>
                <a:lnTo>
                  <a:pt x="2684" y="2193"/>
                </a:lnTo>
                <a:lnTo>
                  <a:pt x="2686" y="2198"/>
                </a:lnTo>
                <a:lnTo>
                  <a:pt x="2688" y="2200"/>
                </a:lnTo>
                <a:lnTo>
                  <a:pt x="2688" y="2203"/>
                </a:lnTo>
                <a:lnTo>
                  <a:pt x="2690" y="2205"/>
                </a:lnTo>
                <a:lnTo>
                  <a:pt x="2693" y="2205"/>
                </a:lnTo>
                <a:lnTo>
                  <a:pt x="2695" y="2207"/>
                </a:lnTo>
                <a:lnTo>
                  <a:pt x="2695" y="2205"/>
                </a:lnTo>
                <a:lnTo>
                  <a:pt x="2695" y="2207"/>
                </a:lnTo>
                <a:lnTo>
                  <a:pt x="2698" y="2207"/>
                </a:lnTo>
                <a:lnTo>
                  <a:pt x="2700" y="2207"/>
                </a:lnTo>
                <a:lnTo>
                  <a:pt x="2701" y="2207"/>
                </a:lnTo>
                <a:lnTo>
                  <a:pt x="2701" y="2208"/>
                </a:lnTo>
                <a:lnTo>
                  <a:pt x="2703" y="2208"/>
                </a:lnTo>
                <a:lnTo>
                  <a:pt x="2707" y="2210"/>
                </a:lnTo>
                <a:lnTo>
                  <a:pt x="2707" y="2212"/>
                </a:lnTo>
                <a:lnTo>
                  <a:pt x="2708" y="2215"/>
                </a:lnTo>
                <a:lnTo>
                  <a:pt x="2708" y="2217"/>
                </a:lnTo>
                <a:lnTo>
                  <a:pt x="2708" y="2220"/>
                </a:lnTo>
                <a:lnTo>
                  <a:pt x="2708" y="2222"/>
                </a:lnTo>
                <a:lnTo>
                  <a:pt x="2707" y="2225"/>
                </a:lnTo>
                <a:lnTo>
                  <a:pt x="2705" y="2227"/>
                </a:lnTo>
                <a:lnTo>
                  <a:pt x="2703" y="2229"/>
                </a:lnTo>
                <a:lnTo>
                  <a:pt x="2703" y="2231"/>
                </a:lnTo>
                <a:lnTo>
                  <a:pt x="2703" y="2234"/>
                </a:lnTo>
                <a:lnTo>
                  <a:pt x="2705" y="2239"/>
                </a:lnTo>
                <a:lnTo>
                  <a:pt x="2705" y="2241"/>
                </a:lnTo>
                <a:lnTo>
                  <a:pt x="2705" y="2242"/>
                </a:lnTo>
                <a:lnTo>
                  <a:pt x="2705" y="2244"/>
                </a:lnTo>
                <a:lnTo>
                  <a:pt x="2707" y="2249"/>
                </a:lnTo>
                <a:lnTo>
                  <a:pt x="2707" y="2251"/>
                </a:lnTo>
                <a:lnTo>
                  <a:pt x="2708" y="2265"/>
                </a:lnTo>
                <a:lnTo>
                  <a:pt x="2708" y="2268"/>
                </a:lnTo>
                <a:lnTo>
                  <a:pt x="2710" y="2268"/>
                </a:lnTo>
                <a:lnTo>
                  <a:pt x="2718" y="2266"/>
                </a:lnTo>
                <a:lnTo>
                  <a:pt x="2722" y="2266"/>
                </a:lnTo>
                <a:lnTo>
                  <a:pt x="2724" y="2266"/>
                </a:lnTo>
                <a:lnTo>
                  <a:pt x="2729" y="2266"/>
                </a:lnTo>
                <a:lnTo>
                  <a:pt x="2730" y="2265"/>
                </a:lnTo>
                <a:lnTo>
                  <a:pt x="2732" y="2265"/>
                </a:lnTo>
                <a:lnTo>
                  <a:pt x="2734" y="2265"/>
                </a:lnTo>
                <a:lnTo>
                  <a:pt x="2735" y="2265"/>
                </a:lnTo>
                <a:lnTo>
                  <a:pt x="2739" y="2263"/>
                </a:lnTo>
                <a:lnTo>
                  <a:pt x="2741" y="2263"/>
                </a:lnTo>
                <a:lnTo>
                  <a:pt x="2742" y="2266"/>
                </a:lnTo>
                <a:lnTo>
                  <a:pt x="2742" y="2268"/>
                </a:lnTo>
                <a:lnTo>
                  <a:pt x="2742" y="2270"/>
                </a:lnTo>
                <a:lnTo>
                  <a:pt x="2744" y="2270"/>
                </a:lnTo>
                <a:lnTo>
                  <a:pt x="2744" y="2273"/>
                </a:lnTo>
                <a:lnTo>
                  <a:pt x="2744" y="2275"/>
                </a:lnTo>
                <a:lnTo>
                  <a:pt x="2751" y="2273"/>
                </a:lnTo>
                <a:lnTo>
                  <a:pt x="2751" y="2275"/>
                </a:lnTo>
                <a:lnTo>
                  <a:pt x="2749" y="2275"/>
                </a:lnTo>
                <a:lnTo>
                  <a:pt x="2749" y="2276"/>
                </a:lnTo>
                <a:lnTo>
                  <a:pt x="2749" y="2278"/>
                </a:lnTo>
                <a:lnTo>
                  <a:pt x="2747" y="2282"/>
                </a:lnTo>
                <a:lnTo>
                  <a:pt x="2749" y="2282"/>
                </a:lnTo>
                <a:lnTo>
                  <a:pt x="2749" y="2283"/>
                </a:lnTo>
                <a:lnTo>
                  <a:pt x="2752" y="2285"/>
                </a:lnTo>
                <a:lnTo>
                  <a:pt x="2756" y="2287"/>
                </a:lnTo>
                <a:lnTo>
                  <a:pt x="2756" y="2290"/>
                </a:lnTo>
                <a:lnTo>
                  <a:pt x="2759" y="2292"/>
                </a:lnTo>
                <a:lnTo>
                  <a:pt x="2763" y="2292"/>
                </a:lnTo>
                <a:lnTo>
                  <a:pt x="2766" y="2293"/>
                </a:lnTo>
                <a:lnTo>
                  <a:pt x="2768" y="2293"/>
                </a:lnTo>
                <a:lnTo>
                  <a:pt x="2771" y="2292"/>
                </a:lnTo>
                <a:lnTo>
                  <a:pt x="2769" y="2290"/>
                </a:lnTo>
                <a:lnTo>
                  <a:pt x="2769" y="2285"/>
                </a:lnTo>
                <a:lnTo>
                  <a:pt x="2769" y="2283"/>
                </a:lnTo>
                <a:lnTo>
                  <a:pt x="2771" y="2283"/>
                </a:lnTo>
                <a:lnTo>
                  <a:pt x="2776" y="2282"/>
                </a:lnTo>
                <a:lnTo>
                  <a:pt x="2778" y="2282"/>
                </a:lnTo>
                <a:lnTo>
                  <a:pt x="2780" y="2282"/>
                </a:lnTo>
                <a:lnTo>
                  <a:pt x="2780" y="2283"/>
                </a:lnTo>
                <a:lnTo>
                  <a:pt x="2781" y="2282"/>
                </a:lnTo>
                <a:lnTo>
                  <a:pt x="2783" y="2280"/>
                </a:lnTo>
                <a:lnTo>
                  <a:pt x="2786" y="2278"/>
                </a:lnTo>
                <a:lnTo>
                  <a:pt x="2792" y="2276"/>
                </a:lnTo>
                <a:lnTo>
                  <a:pt x="2793" y="2275"/>
                </a:lnTo>
                <a:lnTo>
                  <a:pt x="2795" y="2273"/>
                </a:lnTo>
                <a:lnTo>
                  <a:pt x="2798" y="2273"/>
                </a:lnTo>
                <a:lnTo>
                  <a:pt x="2800" y="2273"/>
                </a:lnTo>
                <a:lnTo>
                  <a:pt x="2802" y="2273"/>
                </a:lnTo>
                <a:lnTo>
                  <a:pt x="2803" y="2273"/>
                </a:lnTo>
                <a:lnTo>
                  <a:pt x="2814" y="2278"/>
                </a:lnTo>
                <a:lnTo>
                  <a:pt x="2822" y="2283"/>
                </a:lnTo>
                <a:lnTo>
                  <a:pt x="2824" y="2285"/>
                </a:lnTo>
                <a:lnTo>
                  <a:pt x="2827" y="2283"/>
                </a:lnTo>
                <a:lnTo>
                  <a:pt x="2834" y="2288"/>
                </a:lnTo>
                <a:lnTo>
                  <a:pt x="2837" y="2290"/>
                </a:lnTo>
                <a:lnTo>
                  <a:pt x="2843" y="2295"/>
                </a:lnTo>
                <a:lnTo>
                  <a:pt x="2846" y="2299"/>
                </a:lnTo>
                <a:lnTo>
                  <a:pt x="2849" y="2299"/>
                </a:lnTo>
                <a:lnTo>
                  <a:pt x="2861" y="2304"/>
                </a:lnTo>
                <a:lnTo>
                  <a:pt x="2866" y="2307"/>
                </a:lnTo>
                <a:lnTo>
                  <a:pt x="2868" y="2309"/>
                </a:lnTo>
                <a:lnTo>
                  <a:pt x="2870" y="2310"/>
                </a:lnTo>
                <a:lnTo>
                  <a:pt x="2871" y="2310"/>
                </a:lnTo>
                <a:lnTo>
                  <a:pt x="2870" y="2312"/>
                </a:lnTo>
                <a:lnTo>
                  <a:pt x="2870" y="2314"/>
                </a:lnTo>
                <a:lnTo>
                  <a:pt x="2868" y="2316"/>
                </a:lnTo>
                <a:lnTo>
                  <a:pt x="2866" y="2317"/>
                </a:lnTo>
                <a:lnTo>
                  <a:pt x="2863" y="2321"/>
                </a:lnTo>
                <a:lnTo>
                  <a:pt x="2858" y="2317"/>
                </a:lnTo>
                <a:lnTo>
                  <a:pt x="2854" y="2317"/>
                </a:lnTo>
                <a:lnTo>
                  <a:pt x="2854" y="2319"/>
                </a:lnTo>
                <a:lnTo>
                  <a:pt x="2853" y="2321"/>
                </a:lnTo>
                <a:lnTo>
                  <a:pt x="2851" y="2322"/>
                </a:lnTo>
                <a:lnTo>
                  <a:pt x="2851" y="2324"/>
                </a:lnTo>
                <a:lnTo>
                  <a:pt x="2853" y="2326"/>
                </a:lnTo>
                <a:lnTo>
                  <a:pt x="2851" y="2328"/>
                </a:lnTo>
                <a:lnTo>
                  <a:pt x="2853" y="2329"/>
                </a:lnTo>
                <a:lnTo>
                  <a:pt x="2854" y="2328"/>
                </a:lnTo>
                <a:lnTo>
                  <a:pt x="2856" y="2328"/>
                </a:lnTo>
                <a:lnTo>
                  <a:pt x="2858" y="2329"/>
                </a:lnTo>
                <a:lnTo>
                  <a:pt x="2860" y="2329"/>
                </a:lnTo>
                <a:lnTo>
                  <a:pt x="2858" y="2331"/>
                </a:lnTo>
                <a:lnTo>
                  <a:pt x="2858" y="2333"/>
                </a:lnTo>
                <a:lnTo>
                  <a:pt x="2860" y="2333"/>
                </a:lnTo>
                <a:lnTo>
                  <a:pt x="2861" y="2333"/>
                </a:lnTo>
                <a:lnTo>
                  <a:pt x="2863" y="2331"/>
                </a:lnTo>
                <a:lnTo>
                  <a:pt x="2865" y="2331"/>
                </a:lnTo>
                <a:lnTo>
                  <a:pt x="2868" y="2329"/>
                </a:lnTo>
                <a:lnTo>
                  <a:pt x="2870" y="2329"/>
                </a:lnTo>
                <a:lnTo>
                  <a:pt x="2871" y="2331"/>
                </a:lnTo>
                <a:lnTo>
                  <a:pt x="2873" y="2331"/>
                </a:lnTo>
                <a:lnTo>
                  <a:pt x="2875" y="2331"/>
                </a:lnTo>
                <a:lnTo>
                  <a:pt x="2878" y="2331"/>
                </a:lnTo>
                <a:lnTo>
                  <a:pt x="2880" y="2331"/>
                </a:lnTo>
                <a:lnTo>
                  <a:pt x="2883" y="2329"/>
                </a:lnTo>
                <a:lnTo>
                  <a:pt x="2887" y="2331"/>
                </a:lnTo>
                <a:lnTo>
                  <a:pt x="2888" y="2331"/>
                </a:lnTo>
                <a:lnTo>
                  <a:pt x="2890" y="2331"/>
                </a:lnTo>
                <a:lnTo>
                  <a:pt x="2892" y="2334"/>
                </a:lnTo>
                <a:lnTo>
                  <a:pt x="2894" y="2336"/>
                </a:lnTo>
                <a:lnTo>
                  <a:pt x="2894" y="2338"/>
                </a:lnTo>
                <a:lnTo>
                  <a:pt x="2892" y="2336"/>
                </a:lnTo>
                <a:lnTo>
                  <a:pt x="2892" y="2338"/>
                </a:lnTo>
                <a:lnTo>
                  <a:pt x="2892" y="2339"/>
                </a:lnTo>
                <a:lnTo>
                  <a:pt x="2892" y="2343"/>
                </a:lnTo>
                <a:lnTo>
                  <a:pt x="2892" y="2345"/>
                </a:lnTo>
                <a:lnTo>
                  <a:pt x="2894" y="2345"/>
                </a:lnTo>
                <a:lnTo>
                  <a:pt x="2894" y="2346"/>
                </a:lnTo>
                <a:lnTo>
                  <a:pt x="2892" y="2346"/>
                </a:lnTo>
                <a:lnTo>
                  <a:pt x="2894" y="2346"/>
                </a:lnTo>
                <a:lnTo>
                  <a:pt x="2894" y="2348"/>
                </a:lnTo>
                <a:lnTo>
                  <a:pt x="2894" y="2351"/>
                </a:lnTo>
                <a:lnTo>
                  <a:pt x="2892" y="2350"/>
                </a:lnTo>
                <a:lnTo>
                  <a:pt x="2894" y="2351"/>
                </a:lnTo>
                <a:lnTo>
                  <a:pt x="2892" y="2351"/>
                </a:lnTo>
                <a:lnTo>
                  <a:pt x="2890" y="2351"/>
                </a:lnTo>
                <a:lnTo>
                  <a:pt x="2892" y="2353"/>
                </a:lnTo>
                <a:lnTo>
                  <a:pt x="2890" y="2355"/>
                </a:lnTo>
                <a:lnTo>
                  <a:pt x="2890" y="2356"/>
                </a:lnTo>
                <a:lnTo>
                  <a:pt x="2890" y="2358"/>
                </a:lnTo>
                <a:lnTo>
                  <a:pt x="2890" y="2360"/>
                </a:lnTo>
                <a:lnTo>
                  <a:pt x="2890" y="2362"/>
                </a:lnTo>
                <a:lnTo>
                  <a:pt x="2892" y="2363"/>
                </a:lnTo>
                <a:lnTo>
                  <a:pt x="2894" y="2363"/>
                </a:lnTo>
                <a:lnTo>
                  <a:pt x="2894" y="2365"/>
                </a:lnTo>
                <a:lnTo>
                  <a:pt x="2895" y="2367"/>
                </a:lnTo>
                <a:lnTo>
                  <a:pt x="2894" y="2365"/>
                </a:lnTo>
                <a:lnTo>
                  <a:pt x="2892" y="2365"/>
                </a:lnTo>
                <a:lnTo>
                  <a:pt x="2892" y="2367"/>
                </a:lnTo>
                <a:lnTo>
                  <a:pt x="2890" y="2367"/>
                </a:lnTo>
                <a:lnTo>
                  <a:pt x="2890" y="2365"/>
                </a:lnTo>
                <a:lnTo>
                  <a:pt x="2888" y="2363"/>
                </a:lnTo>
                <a:lnTo>
                  <a:pt x="2887" y="2363"/>
                </a:lnTo>
                <a:lnTo>
                  <a:pt x="2885" y="2362"/>
                </a:lnTo>
                <a:lnTo>
                  <a:pt x="2885" y="2363"/>
                </a:lnTo>
                <a:lnTo>
                  <a:pt x="2883" y="2367"/>
                </a:lnTo>
                <a:lnTo>
                  <a:pt x="2883" y="2368"/>
                </a:lnTo>
                <a:lnTo>
                  <a:pt x="2885" y="2367"/>
                </a:lnTo>
                <a:lnTo>
                  <a:pt x="2885" y="2365"/>
                </a:lnTo>
                <a:lnTo>
                  <a:pt x="2887" y="2365"/>
                </a:lnTo>
                <a:lnTo>
                  <a:pt x="2888" y="2365"/>
                </a:lnTo>
                <a:lnTo>
                  <a:pt x="2888" y="2368"/>
                </a:lnTo>
                <a:lnTo>
                  <a:pt x="2890" y="2368"/>
                </a:lnTo>
                <a:lnTo>
                  <a:pt x="2890" y="2370"/>
                </a:lnTo>
                <a:lnTo>
                  <a:pt x="2892" y="2372"/>
                </a:lnTo>
                <a:lnTo>
                  <a:pt x="2894" y="2372"/>
                </a:lnTo>
                <a:lnTo>
                  <a:pt x="2894" y="2373"/>
                </a:lnTo>
                <a:lnTo>
                  <a:pt x="2890" y="2373"/>
                </a:lnTo>
                <a:lnTo>
                  <a:pt x="2892" y="2372"/>
                </a:lnTo>
                <a:lnTo>
                  <a:pt x="2887" y="2372"/>
                </a:lnTo>
                <a:lnTo>
                  <a:pt x="2885" y="2370"/>
                </a:lnTo>
                <a:lnTo>
                  <a:pt x="2883" y="2370"/>
                </a:lnTo>
                <a:lnTo>
                  <a:pt x="2882" y="2368"/>
                </a:lnTo>
                <a:lnTo>
                  <a:pt x="2880" y="2370"/>
                </a:lnTo>
                <a:lnTo>
                  <a:pt x="2880" y="2372"/>
                </a:lnTo>
                <a:lnTo>
                  <a:pt x="2880" y="2375"/>
                </a:lnTo>
                <a:lnTo>
                  <a:pt x="2878" y="2375"/>
                </a:lnTo>
                <a:lnTo>
                  <a:pt x="2878" y="2377"/>
                </a:lnTo>
                <a:lnTo>
                  <a:pt x="2878" y="2379"/>
                </a:lnTo>
                <a:lnTo>
                  <a:pt x="2878" y="2380"/>
                </a:lnTo>
                <a:lnTo>
                  <a:pt x="2878" y="2382"/>
                </a:lnTo>
                <a:lnTo>
                  <a:pt x="2878" y="2384"/>
                </a:lnTo>
                <a:lnTo>
                  <a:pt x="2882" y="2384"/>
                </a:lnTo>
                <a:lnTo>
                  <a:pt x="2882" y="2387"/>
                </a:lnTo>
                <a:lnTo>
                  <a:pt x="2882" y="2389"/>
                </a:lnTo>
                <a:lnTo>
                  <a:pt x="2885" y="2387"/>
                </a:lnTo>
                <a:lnTo>
                  <a:pt x="2883" y="2387"/>
                </a:lnTo>
                <a:lnTo>
                  <a:pt x="2882" y="2385"/>
                </a:lnTo>
                <a:lnTo>
                  <a:pt x="2883" y="2385"/>
                </a:lnTo>
                <a:lnTo>
                  <a:pt x="2885" y="2389"/>
                </a:lnTo>
                <a:lnTo>
                  <a:pt x="2887" y="2389"/>
                </a:lnTo>
                <a:lnTo>
                  <a:pt x="2885" y="2389"/>
                </a:lnTo>
                <a:lnTo>
                  <a:pt x="2883" y="2389"/>
                </a:lnTo>
                <a:lnTo>
                  <a:pt x="2883" y="2390"/>
                </a:lnTo>
                <a:lnTo>
                  <a:pt x="2882" y="2390"/>
                </a:lnTo>
                <a:lnTo>
                  <a:pt x="2880" y="2389"/>
                </a:lnTo>
                <a:lnTo>
                  <a:pt x="2882" y="2390"/>
                </a:lnTo>
                <a:lnTo>
                  <a:pt x="2882" y="2392"/>
                </a:lnTo>
                <a:lnTo>
                  <a:pt x="2878" y="2390"/>
                </a:lnTo>
                <a:lnTo>
                  <a:pt x="2877" y="2389"/>
                </a:lnTo>
                <a:lnTo>
                  <a:pt x="2878" y="2389"/>
                </a:lnTo>
                <a:lnTo>
                  <a:pt x="2877" y="2387"/>
                </a:lnTo>
                <a:lnTo>
                  <a:pt x="2877" y="2390"/>
                </a:lnTo>
                <a:lnTo>
                  <a:pt x="2875" y="2389"/>
                </a:lnTo>
                <a:lnTo>
                  <a:pt x="2875" y="2390"/>
                </a:lnTo>
                <a:lnTo>
                  <a:pt x="2877" y="2392"/>
                </a:lnTo>
                <a:lnTo>
                  <a:pt x="2873" y="2392"/>
                </a:lnTo>
                <a:lnTo>
                  <a:pt x="2875" y="2392"/>
                </a:lnTo>
                <a:lnTo>
                  <a:pt x="2873" y="2394"/>
                </a:lnTo>
                <a:lnTo>
                  <a:pt x="2871" y="2396"/>
                </a:lnTo>
                <a:lnTo>
                  <a:pt x="2873" y="2396"/>
                </a:lnTo>
                <a:lnTo>
                  <a:pt x="2871" y="2397"/>
                </a:lnTo>
                <a:lnTo>
                  <a:pt x="2870" y="2397"/>
                </a:lnTo>
                <a:lnTo>
                  <a:pt x="2870" y="2396"/>
                </a:lnTo>
                <a:lnTo>
                  <a:pt x="2868" y="2396"/>
                </a:lnTo>
                <a:lnTo>
                  <a:pt x="2868" y="2397"/>
                </a:lnTo>
                <a:lnTo>
                  <a:pt x="2866" y="2399"/>
                </a:lnTo>
                <a:lnTo>
                  <a:pt x="2866" y="2401"/>
                </a:lnTo>
                <a:lnTo>
                  <a:pt x="2865" y="2399"/>
                </a:lnTo>
                <a:lnTo>
                  <a:pt x="2863" y="2401"/>
                </a:lnTo>
                <a:lnTo>
                  <a:pt x="2861" y="2401"/>
                </a:lnTo>
                <a:lnTo>
                  <a:pt x="2861" y="2402"/>
                </a:lnTo>
                <a:lnTo>
                  <a:pt x="2860" y="2399"/>
                </a:lnTo>
                <a:lnTo>
                  <a:pt x="2860" y="2401"/>
                </a:lnTo>
                <a:lnTo>
                  <a:pt x="2860" y="2402"/>
                </a:lnTo>
                <a:lnTo>
                  <a:pt x="2860" y="2404"/>
                </a:lnTo>
                <a:lnTo>
                  <a:pt x="2861" y="2406"/>
                </a:lnTo>
                <a:lnTo>
                  <a:pt x="2861" y="2407"/>
                </a:lnTo>
                <a:lnTo>
                  <a:pt x="2863" y="2406"/>
                </a:lnTo>
                <a:lnTo>
                  <a:pt x="2865" y="2406"/>
                </a:lnTo>
                <a:lnTo>
                  <a:pt x="2865" y="2407"/>
                </a:lnTo>
                <a:lnTo>
                  <a:pt x="2866" y="2407"/>
                </a:lnTo>
                <a:lnTo>
                  <a:pt x="2868" y="2413"/>
                </a:lnTo>
                <a:lnTo>
                  <a:pt x="2870" y="2414"/>
                </a:lnTo>
                <a:lnTo>
                  <a:pt x="2870" y="2416"/>
                </a:lnTo>
                <a:lnTo>
                  <a:pt x="2868" y="2414"/>
                </a:lnTo>
                <a:lnTo>
                  <a:pt x="2866" y="2414"/>
                </a:lnTo>
                <a:lnTo>
                  <a:pt x="2865" y="2413"/>
                </a:lnTo>
                <a:lnTo>
                  <a:pt x="2861" y="2411"/>
                </a:lnTo>
                <a:lnTo>
                  <a:pt x="2861" y="2409"/>
                </a:lnTo>
                <a:lnTo>
                  <a:pt x="2860" y="2407"/>
                </a:lnTo>
                <a:lnTo>
                  <a:pt x="2860" y="2409"/>
                </a:lnTo>
                <a:lnTo>
                  <a:pt x="2858" y="2409"/>
                </a:lnTo>
                <a:lnTo>
                  <a:pt x="2856" y="2407"/>
                </a:lnTo>
                <a:lnTo>
                  <a:pt x="2854" y="2407"/>
                </a:lnTo>
                <a:lnTo>
                  <a:pt x="2856" y="2409"/>
                </a:lnTo>
                <a:lnTo>
                  <a:pt x="2856" y="2411"/>
                </a:lnTo>
                <a:lnTo>
                  <a:pt x="2858" y="2411"/>
                </a:lnTo>
                <a:lnTo>
                  <a:pt x="2858" y="2413"/>
                </a:lnTo>
                <a:lnTo>
                  <a:pt x="2860" y="2413"/>
                </a:lnTo>
                <a:lnTo>
                  <a:pt x="2861" y="2416"/>
                </a:lnTo>
                <a:lnTo>
                  <a:pt x="2863" y="2416"/>
                </a:lnTo>
                <a:lnTo>
                  <a:pt x="2863" y="2418"/>
                </a:lnTo>
                <a:lnTo>
                  <a:pt x="2865" y="2419"/>
                </a:lnTo>
                <a:lnTo>
                  <a:pt x="2866" y="2423"/>
                </a:lnTo>
                <a:lnTo>
                  <a:pt x="2865" y="2421"/>
                </a:lnTo>
                <a:lnTo>
                  <a:pt x="2863" y="2418"/>
                </a:lnTo>
                <a:lnTo>
                  <a:pt x="2861" y="2418"/>
                </a:lnTo>
                <a:lnTo>
                  <a:pt x="2861" y="2416"/>
                </a:lnTo>
                <a:lnTo>
                  <a:pt x="2860" y="2414"/>
                </a:lnTo>
                <a:lnTo>
                  <a:pt x="2858" y="2413"/>
                </a:lnTo>
                <a:lnTo>
                  <a:pt x="2856" y="2413"/>
                </a:lnTo>
                <a:lnTo>
                  <a:pt x="2856" y="2411"/>
                </a:lnTo>
                <a:lnTo>
                  <a:pt x="2854" y="2411"/>
                </a:lnTo>
                <a:lnTo>
                  <a:pt x="2851" y="2409"/>
                </a:lnTo>
                <a:lnTo>
                  <a:pt x="2849" y="2409"/>
                </a:lnTo>
                <a:lnTo>
                  <a:pt x="2853" y="2411"/>
                </a:lnTo>
                <a:lnTo>
                  <a:pt x="2854" y="2411"/>
                </a:lnTo>
                <a:lnTo>
                  <a:pt x="2856" y="2414"/>
                </a:lnTo>
                <a:lnTo>
                  <a:pt x="2854" y="2414"/>
                </a:lnTo>
                <a:lnTo>
                  <a:pt x="2856" y="2416"/>
                </a:lnTo>
                <a:lnTo>
                  <a:pt x="2856" y="2418"/>
                </a:lnTo>
                <a:lnTo>
                  <a:pt x="2858" y="2419"/>
                </a:lnTo>
                <a:lnTo>
                  <a:pt x="2858" y="2421"/>
                </a:lnTo>
                <a:lnTo>
                  <a:pt x="2856" y="2421"/>
                </a:lnTo>
                <a:lnTo>
                  <a:pt x="2858" y="2421"/>
                </a:lnTo>
                <a:lnTo>
                  <a:pt x="2858" y="2423"/>
                </a:lnTo>
                <a:lnTo>
                  <a:pt x="2860" y="2424"/>
                </a:lnTo>
                <a:lnTo>
                  <a:pt x="2861" y="2426"/>
                </a:lnTo>
                <a:lnTo>
                  <a:pt x="2860" y="2426"/>
                </a:lnTo>
                <a:lnTo>
                  <a:pt x="2858" y="2426"/>
                </a:lnTo>
                <a:lnTo>
                  <a:pt x="2858" y="2428"/>
                </a:lnTo>
                <a:lnTo>
                  <a:pt x="2856" y="2426"/>
                </a:lnTo>
                <a:lnTo>
                  <a:pt x="2856" y="2428"/>
                </a:lnTo>
                <a:lnTo>
                  <a:pt x="2858" y="2430"/>
                </a:lnTo>
                <a:lnTo>
                  <a:pt x="2858" y="2433"/>
                </a:lnTo>
                <a:lnTo>
                  <a:pt x="2860" y="2433"/>
                </a:lnTo>
                <a:lnTo>
                  <a:pt x="2858" y="2435"/>
                </a:lnTo>
                <a:lnTo>
                  <a:pt x="2856" y="2433"/>
                </a:lnTo>
                <a:lnTo>
                  <a:pt x="2854" y="2433"/>
                </a:lnTo>
                <a:lnTo>
                  <a:pt x="2856" y="2433"/>
                </a:lnTo>
                <a:lnTo>
                  <a:pt x="2858" y="2436"/>
                </a:lnTo>
                <a:lnTo>
                  <a:pt x="2860" y="2441"/>
                </a:lnTo>
                <a:lnTo>
                  <a:pt x="2861" y="2445"/>
                </a:lnTo>
                <a:lnTo>
                  <a:pt x="2863" y="2448"/>
                </a:lnTo>
                <a:lnTo>
                  <a:pt x="2860" y="2447"/>
                </a:lnTo>
                <a:lnTo>
                  <a:pt x="2860" y="2445"/>
                </a:lnTo>
                <a:lnTo>
                  <a:pt x="2860" y="2448"/>
                </a:lnTo>
                <a:lnTo>
                  <a:pt x="2861" y="2448"/>
                </a:lnTo>
                <a:lnTo>
                  <a:pt x="2860" y="2450"/>
                </a:lnTo>
                <a:lnTo>
                  <a:pt x="2861" y="2453"/>
                </a:lnTo>
                <a:lnTo>
                  <a:pt x="2860" y="2455"/>
                </a:lnTo>
                <a:lnTo>
                  <a:pt x="2861" y="2455"/>
                </a:lnTo>
                <a:lnTo>
                  <a:pt x="2860" y="2457"/>
                </a:lnTo>
                <a:lnTo>
                  <a:pt x="2861" y="2460"/>
                </a:lnTo>
                <a:lnTo>
                  <a:pt x="2860" y="2460"/>
                </a:lnTo>
                <a:lnTo>
                  <a:pt x="2861" y="2462"/>
                </a:lnTo>
                <a:lnTo>
                  <a:pt x="2861" y="2464"/>
                </a:lnTo>
                <a:lnTo>
                  <a:pt x="2861" y="2465"/>
                </a:lnTo>
                <a:lnTo>
                  <a:pt x="2863" y="2467"/>
                </a:lnTo>
                <a:lnTo>
                  <a:pt x="2865" y="2469"/>
                </a:lnTo>
                <a:lnTo>
                  <a:pt x="2865" y="2470"/>
                </a:lnTo>
                <a:lnTo>
                  <a:pt x="2865" y="2474"/>
                </a:lnTo>
                <a:lnTo>
                  <a:pt x="2865" y="2477"/>
                </a:lnTo>
                <a:lnTo>
                  <a:pt x="2863" y="2479"/>
                </a:lnTo>
                <a:lnTo>
                  <a:pt x="2861" y="2477"/>
                </a:lnTo>
                <a:lnTo>
                  <a:pt x="2860" y="2477"/>
                </a:lnTo>
                <a:lnTo>
                  <a:pt x="2858" y="2477"/>
                </a:lnTo>
                <a:lnTo>
                  <a:pt x="2856" y="2475"/>
                </a:lnTo>
                <a:lnTo>
                  <a:pt x="2856" y="2474"/>
                </a:lnTo>
                <a:lnTo>
                  <a:pt x="2856" y="2475"/>
                </a:lnTo>
                <a:lnTo>
                  <a:pt x="2856" y="2477"/>
                </a:lnTo>
                <a:lnTo>
                  <a:pt x="2858" y="2477"/>
                </a:lnTo>
                <a:lnTo>
                  <a:pt x="2858" y="2479"/>
                </a:lnTo>
                <a:lnTo>
                  <a:pt x="2856" y="2479"/>
                </a:lnTo>
                <a:lnTo>
                  <a:pt x="2856" y="2481"/>
                </a:lnTo>
                <a:lnTo>
                  <a:pt x="2856" y="2482"/>
                </a:lnTo>
                <a:lnTo>
                  <a:pt x="2854" y="2482"/>
                </a:lnTo>
                <a:lnTo>
                  <a:pt x="2854" y="2481"/>
                </a:lnTo>
                <a:lnTo>
                  <a:pt x="2854" y="2482"/>
                </a:lnTo>
                <a:lnTo>
                  <a:pt x="2853" y="2484"/>
                </a:lnTo>
                <a:lnTo>
                  <a:pt x="2854" y="2487"/>
                </a:lnTo>
                <a:lnTo>
                  <a:pt x="2853" y="2489"/>
                </a:lnTo>
                <a:lnTo>
                  <a:pt x="2854" y="2493"/>
                </a:lnTo>
                <a:lnTo>
                  <a:pt x="2851" y="2494"/>
                </a:lnTo>
                <a:lnTo>
                  <a:pt x="2853" y="2494"/>
                </a:lnTo>
                <a:lnTo>
                  <a:pt x="2854" y="2493"/>
                </a:lnTo>
                <a:lnTo>
                  <a:pt x="2853" y="2496"/>
                </a:lnTo>
                <a:lnTo>
                  <a:pt x="2856" y="2496"/>
                </a:lnTo>
                <a:lnTo>
                  <a:pt x="2856" y="2498"/>
                </a:lnTo>
                <a:lnTo>
                  <a:pt x="2858" y="2499"/>
                </a:lnTo>
                <a:lnTo>
                  <a:pt x="2860" y="2499"/>
                </a:lnTo>
                <a:lnTo>
                  <a:pt x="2860" y="2501"/>
                </a:lnTo>
                <a:lnTo>
                  <a:pt x="2858" y="2503"/>
                </a:lnTo>
                <a:lnTo>
                  <a:pt x="2856" y="2503"/>
                </a:lnTo>
                <a:lnTo>
                  <a:pt x="2854" y="2501"/>
                </a:lnTo>
                <a:lnTo>
                  <a:pt x="2856" y="2499"/>
                </a:lnTo>
                <a:lnTo>
                  <a:pt x="2854" y="2496"/>
                </a:lnTo>
                <a:lnTo>
                  <a:pt x="2854" y="2498"/>
                </a:lnTo>
                <a:lnTo>
                  <a:pt x="2853" y="2498"/>
                </a:lnTo>
                <a:lnTo>
                  <a:pt x="2854" y="2499"/>
                </a:lnTo>
                <a:lnTo>
                  <a:pt x="2854" y="2501"/>
                </a:lnTo>
                <a:lnTo>
                  <a:pt x="2851" y="2503"/>
                </a:lnTo>
                <a:lnTo>
                  <a:pt x="2853" y="2504"/>
                </a:lnTo>
                <a:lnTo>
                  <a:pt x="2854" y="2506"/>
                </a:lnTo>
                <a:lnTo>
                  <a:pt x="2856" y="2508"/>
                </a:lnTo>
                <a:lnTo>
                  <a:pt x="2858" y="2508"/>
                </a:lnTo>
                <a:lnTo>
                  <a:pt x="2858" y="2506"/>
                </a:lnTo>
                <a:lnTo>
                  <a:pt x="2858" y="2508"/>
                </a:lnTo>
                <a:lnTo>
                  <a:pt x="2860" y="2506"/>
                </a:lnTo>
                <a:lnTo>
                  <a:pt x="2860" y="2510"/>
                </a:lnTo>
                <a:lnTo>
                  <a:pt x="2861" y="2508"/>
                </a:lnTo>
                <a:lnTo>
                  <a:pt x="2863" y="2506"/>
                </a:lnTo>
                <a:lnTo>
                  <a:pt x="2863" y="2504"/>
                </a:lnTo>
                <a:lnTo>
                  <a:pt x="2863" y="2506"/>
                </a:lnTo>
                <a:lnTo>
                  <a:pt x="2866" y="2506"/>
                </a:lnTo>
                <a:lnTo>
                  <a:pt x="2868" y="2504"/>
                </a:lnTo>
                <a:lnTo>
                  <a:pt x="2871" y="2504"/>
                </a:lnTo>
                <a:lnTo>
                  <a:pt x="2873" y="2506"/>
                </a:lnTo>
                <a:lnTo>
                  <a:pt x="2875" y="2508"/>
                </a:lnTo>
                <a:lnTo>
                  <a:pt x="2877" y="2510"/>
                </a:lnTo>
                <a:lnTo>
                  <a:pt x="2878" y="2511"/>
                </a:lnTo>
                <a:lnTo>
                  <a:pt x="2880" y="2511"/>
                </a:lnTo>
                <a:lnTo>
                  <a:pt x="2882" y="2511"/>
                </a:lnTo>
                <a:lnTo>
                  <a:pt x="2883" y="2510"/>
                </a:lnTo>
                <a:lnTo>
                  <a:pt x="2885" y="2508"/>
                </a:lnTo>
                <a:lnTo>
                  <a:pt x="2887" y="2510"/>
                </a:lnTo>
                <a:lnTo>
                  <a:pt x="2888" y="2511"/>
                </a:lnTo>
                <a:lnTo>
                  <a:pt x="2892" y="2515"/>
                </a:lnTo>
                <a:lnTo>
                  <a:pt x="2894" y="2516"/>
                </a:lnTo>
                <a:lnTo>
                  <a:pt x="2895" y="2518"/>
                </a:lnTo>
                <a:lnTo>
                  <a:pt x="2899" y="2518"/>
                </a:lnTo>
                <a:lnTo>
                  <a:pt x="2900" y="2518"/>
                </a:lnTo>
                <a:lnTo>
                  <a:pt x="2902" y="2520"/>
                </a:lnTo>
                <a:lnTo>
                  <a:pt x="2904" y="2521"/>
                </a:lnTo>
                <a:lnTo>
                  <a:pt x="2904" y="2523"/>
                </a:lnTo>
                <a:lnTo>
                  <a:pt x="2905" y="2523"/>
                </a:lnTo>
                <a:lnTo>
                  <a:pt x="2907" y="2525"/>
                </a:lnTo>
                <a:lnTo>
                  <a:pt x="2909" y="2523"/>
                </a:lnTo>
                <a:lnTo>
                  <a:pt x="2909" y="2527"/>
                </a:lnTo>
                <a:lnTo>
                  <a:pt x="2911" y="2525"/>
                </a:lnTo>
                <a:lnTo>
                  <a:pt x="2912" y="2525"/>
                </a:lnTo>
                <a:lnTo>
                  <a:pt x="2914" y="2527"/>
                </a:lnTo>
                <a:lnTo>
                  <a:pt x="2914" y="2528"/>
                </a:lnTo>
                <a:lnTo>
                  <a:pt x="2912" y="2532"/>
                </a:lnTo>
                <a:lnTo>
                  <a:pt x="2912" y="2533"/>
                </a:lnTo>
                <a:lnTo>
                  <a:pt x="2916" y="2535"/>
                </a:lnTo>
                <a:lnTo>
                  <a:pt x="2916" y="2537"/>
                </a:lnTo>
                <a:lnTo>
                  <a:pt x="2917" y="2535"/>
                </a:lnTo>
                <a:lnTo>
                  <a:pt x="2916" y="2533"/>
                </a:lnTo>
                <a:lnTo>
                  <a:pt x="2916" y="2532"/>
                </a:lnTo>
                <a:lnTo>
                  <a:pt x="2916" y="2530"/>
                </a:lnTo>
                <a:lnTo>
                  <a:pt x="2914" y="2528"/>
                </a:lnTo>
                <a:lnTo>
                  <a:pt x="2914" y="2527"/>
                </a:lnTo>
                <a:lnTo>
                  <a:pt x="2912" y="2523"/>
                </a:lnTo>
                <a:lnTo>
                  <a:pt x="2912" y="2520"/>
                </a:lnTo>
                <a:lnTo>
                  <a:pt x="2914" y="2518"/>
                </a:lnTo>
                <a:lnTo>
                  <a:pt x="2916" y="2515"/>
                </a:lnTo>
                <a:lnTo>
                  <a:pt x="2917" y="2515"/>
                </a:lnTo>
                <a:lnTo>
                  <a:pt x="2919" y="2515"/>
                </a:lnTo>
                <a:lnTo>
                  <a:pt x="2919" y="2516"/>
                </a:lnTo>
                <a:lnTo>
                  <a:pt x="2917" y="2518"/>
                </a:lnTo>
                <a:lnTo>
                  <a:pt x="2917" y="2520"/>
                </a:lnTo>
                <a:lnTo>
                  <a:pt x="2917" y="2521"/>
                </a:lnTo>
                <a:lnTo>
                  <a:pt x="2919" y="2523"/>
                </a:lnTo>
                <a:lnTo>
                  <a:pt x="2919" y="2527"/>
                </a:lnTo>
                <a:lnTo>
                  <a:pt x="2919" y="2530"/>
                </a:lnTo>
                <a:lnTo>
                  <a:pt x="2919" y="2532"/>
                </a:lnTo>
                <a:lnTo>
                  <a:pt x="2919" y="2533"/>
                </a:lnTo>
                <a:lnTo>
                  <a:pt x="2921" y="2537"/>
                </a:lnTo>
                <a:lnTo>
                  <a:pt x="2922" y="2538"/>
                </a:lnTo>
                <a:lnTo>
                  <a:pt x="2921" y="2538"/>
                </a:lnTo>
                <a:lnTo>
                  <a:pt x="2922" y="2538"/>
                </a:lnTo>
                <a:lnTo>
                  <a:pt x="2922" y="2540"/>
                </a:lnTo>
                <a:lnTo>
                  <a:pt x="2922" y="2544"/>
                </a:lnTo>
                <a:lnTo>
                  <a:pt x="2926" y="2552"/>
                </a:lnTo>
                <a:lnTo>
                  <a:pt x="2926" y="2555"/>
                </a:lnTo>
                <a:lnTo>
                  <a:pt x="2928" y="2555"/>
                </a:lnTo>
                <a:lnTo>
                  <a:pt x="2928" y="2557"/>
                </a:lnTo>
                <a:lnTo>
                  <a:pt x="2931" y="2559"/>
                </a:lnTo>
                <a:lnTo>
                  <a:pt x="2931" y="2557"/>
                </a:lnTo>
                <a:lnTo>
                  <a:pt x="2931" y="2555"/>
                </a:lnTo>
                <a:lnTo>
                  <a:pt x="2933" y="2557"/>
                </a:lnTo>
                <a:lnTo>
                  <a:pt x="2933" y="2559"/>
                </a:lnTo>
                <a:lnTo>
                  <a:pt x="2933" y="2561"/>
                </a:lnTo>
                <a:lnTo>
                  <a:pt x="2933" y="2562"/>
                </a:lnTo>
                <a:lnTo>
                  <a:pt x="2933" y="2564"/>
                </a:lnTo>
                <a:lnTo>
                  <a:pt x="2933" y="2566"/>
                </a:lnTo>
                <a:lnTo>
                  <a:pt x="2934" y="2567"/>
                </a:lnTo>
                <a:lnTo>
                  <a:pt x="2934" y="2569"/>
                </a:lnTo>
                <a:lnTo>
                  <a:pt x="2934" y="2571"/>
                </a:lnTo>
                <a:lnTo>
                  <a:pt x="2936" y="2572"/>
                </a:lnTo>
                <a:lnTo>
                  <a:pt x="2936" y="2574"/>
                </a:lnTo>
                <a:lnTo>
                  <a:pt x="2938" y="2576"/>
                </a:lnTo>
                <a:lnTo>
                  <a:pt x="2938" y="2578"/>
                </a:lnTo>
                <a:lnTo>
                  <a:pt x="2941" y="2576"/>
                </a:lnTo>
                <a:lnTo>
                  <a:pt x="2941" y="2578"/>
                </a:lnTo>
                <a:lnTo>
                  <a:pt x="2943" y="2578"/>
                </a:lnTo>
                <a:lnTo>
                  <a:pt x="2945" y="2578"/>
                </a:lnTo>
                <a:lnTo>
                  <a:pt x="2946" y="2578"/>
                </a:lnTo>
                <a:lnTo>
                  <a:pt x="2948" y="2578"/>
                </a:lnTo>
                <a:lnTo>
                  <a:pt x="2950" y="2579"/>
                </a:lnTo>
                <a:lnTo>
                  <a:pt x="2951" y="2579"/>
                </a:lnTo>
                <a:lnTo>
                  <a:pt x="2953" y="2579"/>
                </a:lnTo>
                <a:lnTo>
                  <a:pt x="2955" y="2581"/>
                </a:lnTo>
                <a:lnTo>
                  <a:pt x="2956" y="2584"/>
                </a:lnTo>
                <a:lnTo>
                  <a:pt x="2958" y="2586"/>
                </a:lnTo>
                <a:lnTo>
                  <a:pt x="2960" y="2588"/>
                </a:lnTo>
                <a:lnTo>
                  <a:pt x="2960" y="2589"/>
                </a:lnTo>
                <a:lnTo>
                  <a:pt x="2963" y="2591"/>
                </a:lnTo>
                <a:lnTo>
                  <a:pt x="2965" y="2593"/>
                </a:lnTo>
                <a:lnTo>
                  <a:pt x="2967" y="2593"/>
                </a:lnTo>
                <a:lnTo>
                  <a:pt x="2968" y="2591"/>
                </a:lnTo>
                <a:lnTo>
                  <a:pt x="2972" y="2593"/>
                </a:lnTo>
                <a:lnTo>
                  <a:pt x="2973" y="2593"/>
                </a:lnTo>
                <a:lnTo>
                  <a:pt x="2975" y="2595"/>
                </a:lnTo>
                <a:lnTo>
                  <a:pt x="2977" y="2596"/>
                </a:lnTo>
                <a:lnTo>
                  <a:pt x="2979" y="2596"/>
                </a:lnTo>
                <a:lnTo>
                  <a:pt x="2980" y="2598"/>
                </a:lnTo>
                <a:lnTo>
                  <a:pt x="2982" y="2600"/>
                </a:lnTo>
                <a:lnTo>
                  <a:pt x="2984" y="2600"/>
                </a:lnTo>
                <a:lnTo>
                  <a:pt x="2985" y="2601"/>
                </a:lnTo>
                <a:lnTo>
                  <a:pt x="2987" y="2601"/>
                </a:lnTo>
                <a:lnTo>
                  <a:pt x="2990" y="2601"/>
                </a:lnTo>
                <a:lnTo>
                  <a:pt x="2994" y="2603"/>
                </a:lnTo>
                <a:lnTo>
                  <a:pt x="2996" y="2605"/>
                </a:lnTo>
                <a:lnTo>
                  <a:pt x="2997" y="2606"/>
                </a:lnTo>
                <a:lnTo>
                  <a:pt x="2999" y="2606"/>
                </a:lnTo>
                <a:lnTo>
                  <a:pt x="3002" y="2608"/>
                </a:lnTo>
                <a:lnTo>
                  <a:pt x="3004" y="2610"/>
                </a:lnTo>
                <a:lnTo>
                  <a:pt x="3006" y="2610"/>
                </a:lnTo>
                <a:lnTo>
                  <a:pt x="3007" y="2610"/>
                </a:lnTo>
                <a:lnTo>
                  <a:pt x="3009" y="2612"/>
                </a:lnTo>
                <a:lnTo>
                  <a:pt x="3011" y="2613"/>
                </a:lnTo>
                <a:lnTo>
                  <a:pt x="3013" y="2615"/>
                </a:lnTo>
                <a:lnTo>
                  <a:pt x="3014" y="2615"/>
                </a:lnTo>
                <a:lnTo>
                  <a:pt x="3016" y="2617"/>
                </a:lnTo>
                <a:lnTo>
                  <a:pt x="3016" y="2618"/>
                </a:lnTo>
                <a:lnTo>
                  <a:pt x="3018" y="2618"/>
                </a:lnTo>
                <a:lnTo>
                  <a:pt x="3021" y="2618"/>
                </a:lnTo>
                <a:lnTo>
                  <a:pt x="3023" y="2618"/>
                </a:lnTo>
                <a:lnTo>
                  <a:pt x="3023" y="2617"/>
                </a:lnTo>
                <a:lnTo>
                  <a:pt x="3026" y="2617"/>
                </a:lnTo>
                <a:lnTo>
                  <a:pt x="3028" y="2618"/>
                </a:lnTo>
                <a:lnTo>
                  <a:pt x="3030" y="2618"/>
                </a:lnTo>
                <a:lnTo>
                  <a:pt x="3031" y="2618"/>
                </a:lnTo>
                <a:lnTo>
                  <a:pt x="3035" y="2618"/>
                </a:lnTo>
                <a:lnTo>
                  <a:pt x="3036" y="2620"/>
                </a:lnTo>
                <a:lnTo>
                  <a:pt x="3038" y="2620"/>
                </a:lnTo>
                <a:lnTo>
                  <a:pt x="3041" y="2622"/>
                </a:lnTo>
                <a:lnTo>
                  <a:pt x="3045" y="2623"/>
                </a:lnTo>
                <a:lnTo>
                  <a:pt x="3047" y="2623"/>
                </a:lnTo>
                <a:lnTo>
                  <a:pt x="3050" y="2625"/>
                </a:lnTo>
                <a:lnTo>
                  <a:pt x="3052" y="2627"/>
                </a:lnTo>
                <a:lnTo>
                  <a:pt x="3053" y="2627"/>
                </a:lnTo>
                <a:lnTo>
                  <a:pt x="3055" y="2629"/>
                </a:lnTo>
                <a:lnTo>
                  <a:pt x="3057" y="2629"/>
                </a:lnTo>
                <a:lnTo>
                  <a:pt x="3060" y="2629"/>
                </a:lnTo>
                <a:lnTo>
                  <a:pt x="3062" y="2630"/>
                </a:lnTo>
                <a:lnTo>
                  <a:pt x="3064" y="2632"/>
                </a:lnTo>
                <a:lnTo>
                  <a:pt x="3065" y="2632"/>
                </a:lnTo>
                <a:lnTo>
                  <a:pt x="3067" y="2634"/>
                </a:lnTo>
                <a:lnTo>
                  <a:pt x="3069" y="2634"/>
                </a:lnTo>
                <a:lnTo>
                  <a:pt x="3072" y="2635"/>
                </a:lnTo>
                <a:lnTo>
                  <a:pt x="3074" y="2637"/>
                </a:lnTo>
                <a:lnTo>
                  <a:pt x="3075" y="2637"/>
                </a:lnTo>
                <a:lnTo>
                  <a:pt x="3077" y="2639"/>
                </a:lnTo>
                <a:lnTo>
                  <a:pt x="3077" y="2641"/>
                </a:lnTo>
                <a:lnTo>
                  <a:pt x="3079" y="2642"/>
                </a:lnTo>
                <a:lnTo>
                  <a:pt x="3081" y="2644"/>
                </a:lnTo>
                <a:lnTo>
                  <a:pt x="3082" y="2646"/>
                </a:lnTo>
                <a:lnTo>
                  <a:pt x="3084" y="2647"/>
                </a:lnTo>
                <a:lnTo>
                  <a:pt x="3086" y="2649"/>
                </a:lnTo>
                <a:lnTo>
                  <a:pt x="3089" y="2651"/>
                </a:lnTo>
                <a:lnTo>
                  <a:pt x="3091" y="2652"/>
                </a:lnTo>
                <a:lnTo>
                  <a:pt x="3092" y="2652"/>
                </a:lnTo>
                <a:lnTo>
                  <a:pt x="3096" y="2654"/>
                </a:lnTo>
                <a:lnTo>
                  <a:pt x="3098" y="2654"/>
                </a:lnTo>
                <a:lnTo>
                  <a:pt x="3101" y="2656"/>
                </a:lnTo>
                <a:lnTo>
                  <a:pt x="3104" y="2656"/>
                </a:lnTo>
                <a:lnTo>
                  <a:pt x="3106" y="2656"/>
                </a:lnTo>
                <a:lnTo>
                  <a:pt x="3109" y="2656"/>
                </a:lnTo>
                <a:lnTo>
                  <a:pt x="3111" y="2656"/>
                </a:lnTo>
                <a:lnTo>
                  <a:pt x="3113" y="2658"/>
                </a:lnTo>
                <a:lnTo>
                  <a:pt x="3111" y="2656"/>
                </a:lnTo>
                <a:lnTo>
                  <a:pt x="3113" y="2658"/>
                </a:lnTo>
                <a:lnTo>
                  <a:pt x="3113" y="2659"/>
                </a:lnTo>
                <a:lnTo>
                  <a:pt x="3115" y="2663"/>
                </a:lnTo>
                <a:lnTo>
                  <a:pt x="3116" y="2664"/>
                </a:lnTo>
                <a:lnTo>
                  <a:pt x="3118" y="2666"/>
                </a:lnTo>
                <a:lnTo>
                  <a:pt x="3120" y="2666"/>
                </a:lnTo>
                <a:lnTo>
                  <a:pt x="3123" y="2664"/>
                </a:lnTo>
                <a:lnTo>
                  <a:pt x="3125" y="2664"/>
                </a:lnTo>
                <a:lnTo>
                  <a:pt x="3128" y="2664"/>
                </a:lnTo>
                <a:lnTo>
                  <a:pt x="3132" y="2664"/>
                </a:lnTo>
                <a:lnTo>
                  <a:pt x="3132" y="2663"/>
                </a:lnTo>
                <a:lnTo>
                  <a:pt x="3133" y="2663"/>
                </a:lnTo>
                <a:lnTo>
                  <a:pt x="3135" y="2661"/>
                </a:lnTo>
                <a:lnTo>
                  <a:pt x="3137" y="2661"/>
                </a:lnTo>
                <a:lnTo>
                  <a:pt x="3137" y="2659"/>
                </a:lnTo>
                <a:lnTo>
                  <a:pt x="3138" y="2659"/>
                </a:lnTo>
                <a:lnTo>
                  <a:pt x="3140" y="2658"/>
                </a:lnTo>
                <a:lnTo>
                  <a:pt x="3140" y="2656"/>
                </a:lnTo>
                <a:lnTo>
                  <a:pt x="3142" y="2656"/>
                </a:lnTo>
                <a:lnTo>
                  <a:pt x="3143" y="2654"/>
                </a:lnTo>
                <a:lnTo>
                  <a:pt x="3145" y="2654"/>
                </a:lnTo>
                <a:lnTo>
                  <a:pt x="3147" y="2656"/>
                </a:lnTo>
                <a:lnTo>
                  <a:pt x="3149" y="2656"/>
                </a:lnTo>
                <a:lnTo>
                  <a:pt x="3150" y="2656"/>
                </a:lnTo>
                <a:lnTo>
                  <a:pt x="3152" y="2656"/>
                </a:lnTo>
                <a:lnTo>
                  <a:pt x="3155" y="2654"/>
                </a:lnTo>
                <a:lnTo>
                  <a:pt x="3157" y="2656"/>
                </a:lnTo>
                <a:lnTo>
                  <a:pt x="3159" y="2656"/>
                </a:lnTo>
                <a:lnTo>
                  <a:pt x="3160" y="2656"/>
                </a:lnTo>
                <a:lnTo>
                  <a:pt x="3160" y="2658"/>
                </a:lnTo>
                <a:lnTo>
                  <a:pt x="3162" y="2658"/>
                </a:lnTo>
                <a:lnTo>
                  <a:pt x="3164" y="2658"/>
                </a:lnTo>
                <a:lnTo>
                  <a:pt x="3164" y="2656"/>
                </a:lnTo>
                <a:lnTo>
                  <a:pt x="3162" y="2654"/>
                </a:lnTo>
                <a:lnTo>
                  <a:pt x="3160" y="2654"/>
                </a:lnTo>
                <a:lnTo>
                  <a:pt x="3159" y="2654"/>
                </a:lnTo>
                <a:lnTo>
                  <a:pt x="3160" y="2652"/>
                </a:lnTo>
                <a:lnTo>
                  <a:pt x="3162" y="2652"/>
                </a:lnTo>
                <a:lnTo>
                  <a:pt x="3164" y="2654"/>
                </a:lnTo>
                <a:lnTo>
                  <a:pt x="3164" y="2656"/>
                </a:lnTo>
                <a:lnTo>
                  <a:pt x="3166" y="2658"/>
                </a:lnTo>
                <a:lnTo>
                  <a:pt x="3164" y="2658"/>
                </a:lnTo>
                <a:lnTo>
                  <a:pt x="3167" y="2659"/>
                </a:lnTo>
                <a:lnTo>
                  <a:pt x="3169" y="2661"/>
                </a:lnTo>
                <a:lnTo>
                  <a:pt x="3169" y="2663"/>
                </a:lnTo>
                <a:lnTo>
                  <a:pt x="3171" y="2664"/>
                </a:lnTo>
                <a:lnTo>
                  <a:pt x="3172" y="2666"/>
                </a:lnTo>
                <a:lnTo>
                  <a:pt x="3171" y="2666"/>
                </a:lnTo>
                <a:lnTo>
                  <a:pt x="3169" y="2664"/>
                </a:lnTo>
                <a:lnTo>
                  <a:pt x="3169" y="2663"/>
                </a:lnTo>
                <a:lnTo>
                  <a:pt x="3166" y="2663"/>
                </a:lnTo>
                <a:lnTo>
                  <a:pt x="3164" y="2663"/>
                </a:lnTo>
                <a:lnTo>
                  <a:pt x="3162" y="2664"/>
                </a:lnTo>
                <a:lnTo>
                  <a:pt x="3159" y="2664"/>
                </a:lnTo>
                <a:lnTo>
                  <a:pt x="3155" y="2666"/>
                </a:lnTo>
                <a:lnTo>
                  <a:pt x="3154" y="2666"/>
                </a:lnTo>
                <a:lnTo>
                  <a:pt x="3154" y="2668"/>
                </a:lnTo>
                <a:lnTo>
                  <a:pt x="3152" y="2669"/>
                </a:lnTo>
                <a:lnTo>
                  <a:pt x="3150" y="2671"/>
                </a:lnTo>
                <a:lnTo>
                  <a:pt x="3154" y="2673"/>
                </a:lnTo>
                <a:lnTo>
                  <a:pt x="3152" y="2673"/>
                </a:lnTo>
                <a:lnTo>
                  <a:pt x="3150" y="2671"/>
                </a:lnTo>
                <a:lnTo>
                  <a:pt x="3149" y="2673"/>
                </a:lnTo>
                <a:lnTo>
                  <a:pt x="3147" y="2671"/>
                </a:lnTo>
                <a:lnTo>
                  <a:pt x="3145" y="2671"/>
                </a:lnTo>
                <a:lnTo>
                  <a:pt x="3143" y="2673"/>
                </a:lnTo>
                <a:lnTo>
                  <a:pt x="3142" y="2675"/>
                </a:lnTo>
                <a:lnTo>
                  <a:pt x="3143" y="2675"/>
                </a:lnTo>
                <a:lnTo>
                  <a:pt x="3143" y="2676"/>
                </a:lnTo>
                <a:lnTo>
                  <a:pt x="3145" y="2678"/>
                </a:lnTo>
                <a:lnTo>
                  <a:pt x="3142" y="2680"/>
                </a:lnTo>
                <a:lnTo>
                  <a:pt x="3140" y="2683"/>
                </a:lnTo>
                <a:lnTo>
                  <a:pt x="3138" y="2683"/>
                </a:lnTo>
                <a:lnTo>
                  <a:pt x="3138" y="2686"/>
                </a:lnTo>
                <a:lnTo>
                  <a:pt x="3137" y="2686"/>
                </a:lnTo>
                <a:lnTo>
                  <a:pt x="3137" y="2690"/>
                </a:lnTo>
                <a:lnTo>
                  <a:pt x="3135" y="2692"/>
                </a:lnTo>
                <a:lnTo>
                  <a:pt x="3133" y="2695"/>
                </a:lnTo>
                <a:lnTo>
                  <a:pt x="3133" y="2698"/>
                </a:lnTo>
                <a:lnTo>
                  <a:pt x="3135" y="2698"/>
                </a:lnTo>
                <a:lnTo>
                  <a:pt x="3133" y="2702"/>
                </a:lnTo>
                <a:lnTo>
                  <a:pt x="3133" y="2703"/>
                </a:lnTo>
                <a:lnTo>
                  <a:pt x="3137" y="2705"/>
                </a:lnTo>
                <a:lnTo>
                  <a:pt x="3140" y="2707"/>
                </a:lnTo>
                <a:lnTo>
                  <a:pt x="3138" y="2710"/>
                </a:lnTo>
                <a:lnTo>
                  <a:pt x="3138" y="2712"/>
                </a:lnTo>
                <a:lnTo>
                  <a:pt x="3140" y="2714"/>
                </a:lnTo>
                <a:lnTo>
                  <a:pt x="3142" y="2715"/>
                </a:lnTo>
                <a:lnTo>
                  <a:pt x="3142" y="2719"/>
                </a:lnTo>
                <a:lnTo>
                  <a:pt x="3142" y="2722"/>
                </a:lnTo>
                <a:lnTo>
                  <a:pt x="3145" y="2724"/>
                </a:lnTo>
                <a:lnTo>
                  <a:pt x="3145" y="2726"/>
                </a:lnTo>
                <a:lnTo>
                  <a:pt x="3149" y="2726"/>
                </a:lnTo>
                <a:lnTo>
                  <a:pt x="3147" y="2727"/>
                </a:lnTo>
                <a:lnTo>
                  <a:pt x="3145" y="2729"/>
                </a:lnTo>
                <a:lnTo>
                  <a:pt x="3145" y="2732"/>
                </a:lnTo>
                <a:lnTo>
                  <a:pt x="3145" y="2734"/>
                </a:lnTo>
                <a:lnTo>
                  <a:pt x="3147" y="2736"/>
                </a:lnTo>
                <a:lnTo>
                  <a:pt x="3147" y="2737"/>
                </a:lnTo>
                <a:lnTo>
                  <a:pt x="3147" y="2741"/>
                </a:lnTo>
                <a:lnTo>
                  <a:pt x="3149" y="2743"/>
                </a:lnTo>
                <a:lnTo>
                  <a:pt x="3150" y="2744"/>
                </a:lnTo>
                <a:lnTo>
                  <a:pt x="3152" y="2744"/>
                </a:lnTo>
                <a:lnTo>
                  <a:pt x="3154" y="2746"/>
                </a:lnTo>
                <a:lnTo>
                  <a:pt x="3154" y="2748"/>
                </a:lnTo>
                <a:lnTo>
                  <a:pt x="3155" y="2748"/>
                </a:lnTo>
                <a:lnTo>
                  <a:pt x="3154" y="2746"/>
                </a:lnTo>
                <a:lnTo>
                  <a:pt x="3155" y="2746"/>
                </a:lnTo>
                <a:lnTo>
                  <a:pt x="3155" y="2748"/>
                </a:lnTo>
                <a:lnTo>
                  <a:pt x="3155" y="2746"/>
                </a:lnTo>
                <a:lnTo>
                  <a:pt x="3159" y="2746"/>
                </a:lnTo>
                <a:lnTo>
                  <a:pt x="3159" y="2749"/>
                </a:lnTo>
                <a:lnTo>
                  <a:pt x="3160" y="2749"/>
                </a:lnTo>
                <a:lnTo>
                  <a:pt x="3162" y="2751"/>
                </a:lnTo>
                <a:lnTo>
                  <a:pt x="3160" y="2751"/>
                </a:lnTo>
                <a:lnTo>
                  <a:pt x="3164" y="2751"/>
                </a:lnTo>
                <a:lnTo>
                  <a:pt x="3160" y="2751"/>
                </a:lnTo>
                <a:lnTo>
                  <a:pt x="3160" y="2753"/>
                </a:lnTo>
                <a:lnTo>
                  <a:pt x="3160" y="2751"/>
                </a:lnTo>
                <a:lnTo>
                  <a:pt x="3159" y="2753"/>
                </a:lnTo>
                <a:lnTo>
                  <a:pt x="3159" y="2751"/>
                </a:lnTo>
                <a:lnTo>
                  <a:pt x="3155" y="2751"/>
                </a:lnTo>
                <a:lnTo>
                  <a:pt x="3154" y="2751"/>
                </a:lnTo>
                <a:lnTo>
                  <a:pt x="3154" y="2754"/>
                </a:lnTo>
                <a:lnTo>
                  <a:pt x="3154" y="2756"/>
                </a:lnTo>
                <a:lnTo>
                  <a:pt x="3155" y="2758"/>
                </a:lnTo>
                <a:lnTo>
                  <a:pt x="3155" y="2760"/>
                </a:lnTo>
                <a:lnTo>
                  <a:pt x="3157" y="2761"/>
                </a:lnTo>
                <a:lnTo>
                  <a:pt x="3159" y="2765"/>
                </a:lnTo>
                <a:lnTo>
                  <a:pt x="3159" y="2766"/>
                </a:lnTo>
                <a:lnTo>
                  <a:pt x="3159" y="2768"/>
                </a:lnTo>
                <a:lnTo>
                  <a:pt x="3157" y="2765"/>
                </a:lnTo>
                <a:lnTo>
                  <a:pt x="3155" y="2763"/>
                </a:lnTo>
                <a:lnTo>
                  <a:pt x="3155" y="2765"/>
                </a:lnTo>
                <a:lnTo>
                  <a:pt x="3155" y="2768"/>
                </a:lnTo>
                <a:lnTo>
                  <a:pt x="3157" y="2768"/>
                </a:lnTo>
                <a:lnTo>
                  <a:pt x="3155" y="2770"/>
                </a:lnTo>
                <a:lnTo>
                  <a:pt x="3154" y="2770"/>
                </a:lnTo>
                <a:lnTo>
                  <a:pt x="3152" y="2770"/>
                </a:lnTo>
                <a:lnTo>
                  <a:pt x="3150" y="2766"/>
                </a:lnTo>
                <a:lnTo>
                  <a:pt x="3152" y="2765"/>
                </a:lnTo>
                <a:lnTo>
                  <a:pt x="3150" y="2765"/>
                </a:lnTo>
                <a:lnTo>
                  <a:pt x="3152" y="2765"/>
                </a:lnTo>
                <a:lnTo>
                  <a:pt x="3152" y="2763"/>
                </a:lnTo>
                <a:lnTo>
                  <a:pt x="3150" y="2763"/>
                </a:lnTo>
                <a:lnTo>
                  <a:pt x="3149" y="2765"/>
                </a:lnTo>
                <a:lnTo>
                  <a:pt x="3149" y="2766"/>
                </a:lnTo>
                <a:lnTo>
                  <a:pt x="3147" y="2766"/>
                </a:lnTo>
                <a:lnTo>
                  <a:pt x="3149" y="2768"/>
                </a:lnTo>
                <a:lnTo>
                  <a:pt x="3147" y="2768"/>
                </a:lnTo>
                <a:lnTo>
                  <a:pt x="3149" y="2768"/>
                </a:lnTo>
                <a:lnTo>
                  <a:pt x="3147" y="2768"/>
                </a:lnTo>
                <a:lnTo>
                  <a:pt x="3147" y="2770"/>
                </a:lnTo>
                <a:lnTo>
                  <a:pt x="3145" y="2771"/>
                </a:lnTo>
                <a:lnTo>
                  <a:pt x="3145" y="2773"/>
                </a:lnTo>
                <a:lnTo>
                  <a:pt x="3145" y="2777"/>
                </a:lnTo>
                <a:lnTo>
                  <a:pt x="3147" y="2773"/>
                </a:lnTo>
                <a:lnTo>
                  <a:pt x="3147" y="2777"/>
                </a:lnTo>
                <a:lnTo>
                  <a:pt x="3147" y="2778"/>
                </a:lnTo>
                <a:lnTo>
                  <a:pt x="3147" y="2777"/>
                </a:lnTo>
                <a:lnTo>
                  <a:pt x="3149" y="2778"/>
                </a:lnTo>
                <a:lnTo>
                  <a:pt x="3149" y="2780"/>
                </a:lnTo>
                <a:lnTo>
                  <a:pt x="3150" y="2782"/>
                </a:lnTo>
                <a:lnTo>
                  <a:pt x="3150" y="2783"/>
                </a:lnTo>
                <a:lnTo>
                  <a:pt x="3152" y="2783"/>
                </a:lnTo>
                <a:lnTo>
                  <a:pt x="3152" y="2785"/>
                </a:lnTo>
                <a:lnTo>
                  <a:pt x="3152" y="2787"/>
                </a:lnTo>
                <a:lnTo>
                  <a:pt x="3154" y="2790"/>
                </a:lnTo>
                <a:lnTo>
                  <a:pt x="3154" y="2792"/>
                </a:lnTo>
                <a:lnTo>
                  <a:pt x="3150" y="2795"/>
                </a:lnTo>
                <a:lnTo>
                  <a:pt x="3152" y="2792"/>
                </a:lnTo>
                <a:lnTo>
                  <a:pt x="3152" y="2790"/>
                </a:lnTo>
                <a:lnTo>
                  <a:pt x="3150" y="2792"/>
                </a:lnTo>
                <a:lnTo>
                  <a:pt x="3152" y="2790"/>
                </a:lnTo>
                <a:lnTo>
                  <a:pt x="3152" y="2787"/>
                </a:lnTo>
                <a:lnTo>
                  <a:pt x="3150" y="2785"/>
                </a:lnTo>
                <a:lnTo>
                  <a:pt x="3149" y="2785"/>
                </a:lnTo>
                <a:lnTo>
                  <a:pt x="3149" y="2788"/>
                </a:lnTo>
                <a:lnTo>
                  <a:pt x="3149" y="2792"/>
                </a:lnTo>
                <a:lnTo>
                  <a:pt x="3149" y="2794"/>
                </a:lnTo>
                <a:lnTo>
                  <a:pt x="3150" y="2795"/>
                </a:lnTo>
                <a:lnTo>
                  <a:pt x="3152" y="2797"/>
                </a:lnTo>
                <a:lnTo>
                  <a:pt x="3154" y="2799"/>
                </a:lnTo>
                <a:lnTo>
                  <a:pt x="3155" y="2800"/>
                </a:lnTo>
                <a:lnTo>
                  <a:pt x="3157" y="2800"/>
                </a:lnTo>
                <a:lnTo>
                  <a:pt x="3157" y="2802"/>
                </a:lnTo>
                <a:lnTo>
                  <a:pt x="3159" y="2804"/>
                </a:lnTo>
                <a:lnTo>
                  <a:pt x="3159" y="2806"/>
                </a:lnTo>
                <a:lnTo>
                  <a:pt x="3160" y="2806"/>
                </a:lnTo>
                <a:lnTo>
                  <a:pt x="3160" y="2807"/>
                </a:lnTo>
                <a:lnTo>
                  <a:pt x="3162" y="2809"/>
                </a:lnTo>
                <a:lnTo>
                  <a:pt x="3164" y="2812"/>
                </a:lnTo>
                <a:lnTo>
                  <a:pt x="3166" y="2814"/>
                </a:lnTo>
                <a:lnTo>
                  <a:pt x="3167" y="2817"/>
                </a:lnTo>
                <a:lnTo>
                  <a:pt x="3169" y="2819"/>
                </a:lnTo>
                <a:lnTo>
                  <a:pt x="3167" y="2819"/>
                </a:lnTo>
                <a:lnTo>
                  <a:pt x="3164" y="2821"/>
                </a:lnTo>
                <a:lnTo>
                  <a:pt x="3164" y="2823"/>
                </a:lnTo>
                <a:lnTo>
                  <a:pt x="3162" y="2826"/>
                </a:lnTo>
                <a:lnTo>
                  <a:pt x="3160" y="2829"/>
                </a:lnTo>
                <a:lnTo>
                  <a:pt x="3157" y="2829"/>
                </a:lnTo>
                <a:lnTo>
                  <a:pt x="3155" y="2829"/>
                </a:lnTo>
                <a:lnTo>
                  <a:pt x="3154" y="2826"/>
                </a:lnTo>
                <a:lnTo>
                  <a:pt x="3154" y="2828"/>
                </a:lnTo>
                <a:lnTo>
                  <a:pt x="3152" y="2826"/>
                </a:lnTo>
                <a:lnTo>
                  <a:pt x="3149" y="2824"/>
                </a:lnTo>
                <a:lnTo>
                  <a:pt x="3147" y="2824"/>
                </a:lnTo>
                <a:lnTo>
                  <a:pt x="3143" y="2824"/>
                </a:lnTo>
                <a:lnTo>
                  <a:pt x="3143" y="2823"/>
                </a:lnTo>
                <a:lnTo>
                  <a:pt x="3142" y="2821"/>
                </a:lnTo>
                <a:lnTo>
                  <a:pt x="3140" y="2821"/>
                </a:lnTo>
                <a:lnTo>
                  <a:pt x="3140" y="2823"/>
                </a:lnTo>
                <a:lnTo>
                  <a:pt x="3138" y="2824"/>
                </a:lnTo>
                <a:lnTo>
                  <a:pt x="3135" y="2826"/>
                </a:lnTo>
                <a:lnTo>
                  <a:pt x="3133" y="2823"/>
                </a:lnTo>
                <a:lnTo>
                  <a:pt x="3130" y="2824"/>
                </a:lnTo>
                <a:lnTo>
                  <a:pt x="3130" y="2823"/>
                </a:lnTo>
                <a:lnTo>
                  <a:pt x="3130" y="2821"/>
                </a:lnTo>
                <a:lnTo>
                  <a:pt x="3128" y="2819"/>
                </a:lnTo>
                <a:lnTo>
                  <a:pt x="3125" y="2821"/>
                </a:lnTo>
                <a:lnTo>
                  <a:pt x="3123" y="2819"/>
                </a:lnTo>
                <a:lnTo>
                  <a:pt x="3121" y="2821"/>
                </a:lnTo>
                <a:lnTo>
                  <a:pt x="3120" y="2821"/>
                </a:lnTo>
                <a:lnTo>
                  <a:pt x="3118" y="2819"/>
                </a:lnTo>
                <a:lnTo>
                  <a:pt x="3118" y="2821"/>
                </a:lnTo>
                <a:lnTo>
                  <a:pt x="3116" y="2819"/>
                </a:lnTo>
                <a:lnTo>
                  <a:pt x="3115" y="2821"/>
                </a:lnTo>
                <a:lnTo>
                  <a:pt x="3113" y="2819"/>
                </a:lnTo>
                <a:lnTo>
                  <a:pt x="3111" y="2817"/>
                </a:lnTo>
                <a:lnTo>
                  <a:pt x="3109" y="2816"/>
                </a:lnTo>
                <a:lnTo>
                  <a:pt x="3111" y="2816"/>
                </a:lnTo>
                <a:lnTo>
                  <a:pt x="3113" y="2814"/>
                </a:lnTo>
                <a:lnTo>
                  <a:pt x="3113" y="2811"/>
                </a:lnTo>
                <a:lnTo>
                  <a:pt x="3115" y="2809"/>
                </a:lnTo>
                <a:lnTo>
                  <a:pt x="3118" y="2807"/>
                </a:lnTo>
                <a:lnTo>
                  <a:pt x="3118" y="2806"/>
                </a:lnTo>
                <a:lnTo>
                  <a:pt x="3120" y="2804"/>
                </a:lnTo>
                <a:lnTo>
                  <a:pt x="3121" y="2802"/>
                </a:lnTo>
                <a:lnTo>
                  <a:pt x="3121" y="2799"/>
                </a:lnTo>
                <a:lnTo>
                  <a:pt x="3120" y="2797"/>
                </a:lnTo>
                <a:lnTo>
                  <a:pt x="3118" y="2795"/>
                </a:lnTo>
                <a:lnTo>
                  <a:pt x="3116" y="2794"/>
                </a:lnTo>
                <a:lnTo>
                  <a:pt x="3115" y="2794"/>
                </a:lnTo>
                <a:lnTo>
                  <a:pt x="3113" y="2795"/>
                </a:lnTo>
                <a:lnTo>
                  <a:pt x="3109" y="2794"/>
                </a:lnTo>
                <a:lnTo>
                  <a:pt x="3106" y="2794"/>
                </a:lnTo>
                <a:lnTo>
                  <a:pt x="3103" y="2792"/>
                </a:lnTo>
                <a:lnTo>
                  <a:pt x="3103" y="2788"/>
                </a:lnTo>
                <a:lnTo>
                  <a:pt x="3103" y="2787"/>
                </a:lnTo>
                <a:lnTo>
                  <a:pt x="3104" y="2785"/>
                </a:lnTo>
                <a:lnTo>
                  <a:pt x="3104" y="2783"/>
                </a:lnTo>
                <a:lnTo>
                  <a:pt x="3106" y="2782"/>
                </a:lnTo>
                <a:lnTo>
                  <a:pt x="3108" y="2778"/>
                </a:lnTo>
                <a:lnTo>
                  <a:pt x="3109" y="2777"/>
                </a:lnTo>
                <a:lnTo>
                  <a:pt x="3108" y="2775"/>
                </a:lnTo>
                <a:lnTo>
                  <a:pt x="3106" y="2775"/>
                </a:lnTo>
                <a:lnTo>
                  <a:pt x="3096" y="2771"/>
                </a:lnTo>
                <a:lnTo>
                  <a:pt x="3094" y="2770"/>
                </a:lnTo>
                <a:lnTo>
                  <a:pt x="3092" y="2770"/>
                </a:lnTo>
                <a:lnTo>
                  <a:pt x="3091" y="2768"/>
                </a:lnTo>
                <a:lnTo>
                  <a:pt x="3082" y="2766"/>
                </a:lnTo>
                <a:lnTo>
                  <a:pt x="3081" y="2766"/>
                </a:lnTo>
                <a:lnTo>
                  <a:pt x="3079" y="2768"/>
                </a:lnTo>
                <a:lnTo>
                  <a:pt x="3079" y="2770"/>
                </a:lnTo>
                <a:lnTo>
                  <a:pt x="3077" y="2770"/>
                </a:lnTo>
                <a:lnTo>
                  <a:pt x="3079" y="2771"/>
                </a:lnTo>
                <a:lnTo>
                  <a:pt x="3075" y="2771"/>
                </a:lnTo>
                <a:lnTo>
                  <a:pt x="3075" y="2773"/>
                </a:lnTo>
                <a:lnTo>
                  <a:pt x="3074" y="2775"/>
                </a:lnTo>
                <a:lnTo>
                  <a:pt x="3072" y="2777"/>
                </a:lnTo>
                <a:lnTo>
                  <a:pt x="3072" y="2778"/>
                </a:lnTo>
                <a:lnTo>
                  <a:pt x="3072" y="2780"/>
                </a:lnTo>
                <a:lnTo>
                  <a:pt x="3070" y="2782"/>
                </a:lnTo>
                <a:lnTo>
                  <a:pt x="3069" y="2783"/>
                </a:lnTo>
                <a:lnTo>
                  <a:pt x="3069" y="2785"/>
                </a:lnTo>
                <a:lnTo>
                  <a:pt x="3069" y="2787"/>
                </a:lnTo>
                <a:lnTo>
                  <a:pt x="3067" y="2788"/>
                </a:lnTo>
                <a:lnTo>
                  <a:pt x="3067" y="2790"/>
                </a:lnTo>
                <a:lnTo>
                  <a:pt x="3065" y="2792"/>
                </a:lnTo>
                <a:lnTo>
                  <a:pt x="3064" y="2792"/>
                </a:lnTo>
                <a:lnTo>
                  <a:pt x="3064" y="2794"/>
                </a:lnTo>
                <a:lnTo>
                  <a:pt x="3062" y="2795"/>
                </a:lnTo>
                <a:lnTo>
                  <a:pt x="3062" y="2797"/>
                </a:lnTo>
                <a:lnTo>
                  <a:pt x="3060" y="2799"/>
                </a:lnTo>
                <a:lnTo>
                  <a:pt x="3060" y="2800"/>
                </a:lnTo>
                <a:lnTo>
                  <a:pt x="3060" y="2802"/>
                </a:lnTo>
                <a:lnTo>
                  <a:pt x="3060" y="2806"/>
                </a:lnTo>
                <a:lnTo>
                  <a:pt x="3058" y="2806"/>
                </a:lnTo>
                <a:lnTo>
                  <a:pt x="3058" y="2807"/>
                </a:lnTo>
                <a:lnTo>
                  <a:pt x="3057" y="2811"/>
                </a:lnTo>
                <a:lnTo>
                  <a:pt x="3055" y="2812"/>
                </a:lnTo>
                <a:lnTo>
                  <a:pt x="3055" y="2814"/>
                </a:lnTo>
                <a:lnTo>
                  <a:pt x="3053" y="2817"/>
                </a:lnTo>
                <a:lnTo>
                  <a:pt x="3052" y="2819"/>
                </a:lnTo>
                <a:lnTo>
                  <a:pt x="3052" y="2821"/>
                </a:lnTo>
                <a:lnTo>
                  <a:pt x="3052" y="2823"/>
                </a:lnTo>
                <a:lnTo>
                  <a:pt x="3053" y="2824"/>
                </a:lnTo>
                <a:lnTo>
                  <a:pt x="3053" y="2826"/>
                </a:lnTo>
                <a:lnTo>
                  <a:pt x="3052" y="2828"/>
                </a:lnTo>
                <a:lnTo>
                  <a:pt x="3050" y="2829"/>
                </a:lnTo>
                <a:lnTo>
                  <a:pt x="3048" y="2829"/>
                </a:lnTo>
                <a:lnTo>
                  <a:pt x="3047" y="2831"/>
                </a:lnTo>
                <a:lnTo>
                  <a:pt x="3047" y="2833"/>
                </a:lnTo>
                <a:lnTo>
                  <a:pt x="3045" y="2833"/>
                </a:lnTo>
                <a:lnTo>
                  <a:pt x="3045" y="2834"/>
                </a:lnTo>
                <a:lnTo>
                  <a:pt x="3045" y="2838"/>
                </a:lnTo>
                <a:lnTo>
                  <a:pt x="3043" y="2840"/>
                </a:lnTo>
                <a:lnTo>
                  <a:pt x="3045" y="2843"/>
                </a:lnTo>
                <a:lnTo>
                  <a:pt x="3043" y="2845"/>
                </a:lnTo>
                <a:lnTo>
                  <a:pt x="3041" y="2845"/>
                </a:lnTo>
                <a:lnTo>
                  <a:pt x="3043" y="2846"/>
                </a:lnTo>
                <a:lnTo>
                  <a:pt x="3041" y="2846"/>
                </a:lnTo>
                <a:lnTo>
                  <a:pt x="3043" y="2850"/>
                </a:lnTo>
                <a:lnTo>
                  <a:pt x="3041" y="2851"/>
                </a:lnTo>
                <a:lnTo>
                  <a:pt x="3041" y="2855"/>
                </a:lnTo>
                <a:lnTo>
                  <a:pt x="3040" y="2857"/>
                </a:lnTo>
                <a:lnTo>
                  <a:pt x="3040" y="2858"/>
                </a:lnTo>
                <a:lnTo>
                  <a:pt x="3038" y="2858"/>
                </a:lnTo>
                <a:lnTo>
                  <a:pt x="3036" y="2858"/>
                </a:lnTo>
                <a:lnTo>
                  <a:pt x="3035" y="2858"/>
                </a:lnTo>
                <a:lnTo>
                  <a:pt x="3033" y="2860"/>
                </a:lnTo>
                <a:lnTo>
                  <a:pt x="3031" y="2860"/>
                </a:lnTo>
                <a:lnTo>
                  <a:pt x="3030" y="2860"/>
                </a:lnTo>
                <a:lnTo>
                  <a:pt x="3028" y="2860"/>
                </a:lnTo>
                <a:lnTo>
                  <a:pt x="3028" y="2862"/>
                </a:lnTo>
                <a:lnTo>
                  <a:pt x="3026" y="2863"/>
                </a:lnTo>
                <a:lnTo>
                  <a:pt x="3024" y="2867"/>
                </a:lnTo>
                <a:lnTo>
                  <a:pt x="3023" y="2870"/>
                </a:lnTo>
                <a:lnTo>
                  <a:pt x="3021" y="2870"/>
                </a:lnTo>
                <a:lnTo>
                  <a:pt x="3019" y="2870"/>
                </a:lnTo>
                <a:lnTo>
                  <a:pt x="3018" y="2870"/>
                </a:lnTo>
                <a:lnTo>
                  <a:pt x="3016" y="2870"/>
                </a:lnTo>
                <a:lnTo>
                  <a:pt x="3016" y="2872"/>
                </a:lnTo>
                <a:lnTo>
                  <a:pt x="3014" y="2872"/>
                </a:lnTo>
                <a:lnTo>
                  <a:pt x="3013" y="2874"/>
                </a:lnTo>
                <a:lnTo>
                  <a:pt x="3009" y="2872"/>
                </a:lnTo>
                <a:lnTo>
                  <a:pt x="3009" y="2875"/>
                </a:lnTo>
                <a:lnTo>
                  <a:pt x="3007" y="2875"/>
                </a:lnTo>
                <a:lnTo>
                  <a:pt x="3006" y="2875"/>
                </a:lnTo>
                <a:lnTo>
                  <a:pt x="3004" y="2874"/>
                </a:lnTo>
                <a:lnTo>
                  <a:pt x="3002" y="2875"/>
                </a:lnTo>
                <a:lnTo>
                  <a:pt x="3001" y="2875"/>
                </a:lnTo>
                <a:lnTo>
                  <a:pt x="2999" y="2877"/>
                </a:lnTo>
                <a:lnTo>
                  <a:pt x="2996" y="2875"/>
                </a:lnTo>
                <a:lnTo>
                  <a:pt x="2994" y="2877"/>
                </a:lnTo>
                <a:lnTo>
                  <a:pt x="2992" y="2879"/>
                </a:lnTo>
                <a:lnTo>
                  <a:pt x="2989" y="2877"/>
                </a:lnTo>
                <a:lnTo>
                  <a:pt x="2987" y="2879"/>
                </a:lnTo>
                <a:lnTo>
                  <a:pt x="2985" y="2879"/>
                </a:lnTo>
                <a:lnTo>
                  <a:pt x="2982" y="2880"/>
                </a:lnTo>
                <a:lnTo>
                  <a:pt x="2980" y="2879"/>
                </a:lnTo>
                <a:lnTo>
                  <a:pt x="2980" y="2875"/>
                </a:lnTo>
                <a:lnTo>
                  <a:pt x="2979" y="2877"/>
                </a:lnTo>
                <a:lnTo>
                  <a:pt x="2977" y="2875"/>
                </a:lnTo>
                <a:lnTo>
                  <a:pt x="2973" y="2874"/>
                </a:lnTo>
                <a:lnTo>
                  <a:pt x="2972" y="2872"/>
                </a:lnTo>
                <a:lnTo>
                  <a:pt x="2970" y="2872"/>
                </a:lnTo>
                <a:lnTo>
                  <a:pt x="2968" y="2872"/>
                </a:lnTo>
                <a:lnTo>
                  <a:pt x="2967" y="2872"/>
                </a:lnTo>
                <a:lnTo>
                  <a:pt x="2965" y="2872"/>
                </a:lnTo>
                <a:lnTo>
                  <a:pt x="2963" y="2872"/>
                </a:lnTo>
                <a:lnTo>
                  <a:pt x="2962" y="2872"/>
                </a:lnTo>
                <a:lnTo>
                  <a:pt x="2960" y="2874"/>
                </a:lnTo>
                <a:lnTo>
                  <a:pt x="2960" y="2872"/>
                </a:lnTo>
                <a:lnTo>
                  <a:pt x="2958" y="2870"/>
                </a:lnTo>
                <a:lnTo>
                  <a:pt x="2956" y="2870"/>
                </a:lnTo>
                <a:lnTo>
                  <a:pt x="2956" y="2868"/>
                </a:lnTo>
                <a:lnTo>
                  <a:pt x="2953" y="2867"/>
                </a:lnTo>
                <a:lnTo>
                  <a:pt x="2953" y="2868"/>
                </a:lnTo>
                <a:lnTo>
                  <a:pt x="2951" y="2867"/>
                </a:lnTo>
                <a:lnTo>
                  <a:pt x="2950" y="2867"/>
                </a:lnTo>
                <a:lnTo>
                  <a:pt x="2950" y="2865"/>
                </a:lnTo>
                <a:lnTo>
                  <a:pt x="2946" y="2865"/>
                </a:lnTo>
                <a:lnTo>
                  <a:pt x="2945" y="2865"/>
                </a:lnTo>
                <a:lnTo>
                  <a:pt x="2943" y="2863"/>
                </a:lnTo>
                <a:lnTo>
                  <a:pt x="2941" y="2863"/>
                </a:lnTo>
                <a:lnTo>
                  <a:pt x="2941" y="2862"/>
                </a:lnTo>
                <a:lnTo>
                  <a:pt x="2939" y="2860"/>
                </a:lnTo>
                <a:lnTo>
                  <a:pt x="2938" y="2860"/>
                </a:lnTo>
                <a:lnTo>
                  <a:pt x="2936" y="2857"/>
                </a:lnTo>
                <a:lnTo>
                  <a:pt x="2934" y="2857"/>
                </a:lnTo>
                <a:lnTo>
                  <a:pt x="2934" y="2855"/>
                </a:lnTo>
                <a:lnTo>
                  <a:pt x="2934" y="2857"/>
                </a:lnTo>
                <a:lnTo>
                  <a:pt x="2933" y="2855"/>
                </a:lnTo>
                <a:lnTo>
                  <a:pt x="2933" y="2857"/>
                </a:lnTo>
                <a:lnTo>
                  <a:pt x="2931" y="2857"/>
                </a:lnTo>
                <a:lnTo>
                  <a:pt x="2928" y="2855"/>
                </a:lnTo>
                <a:lnTo>
                  <a:pt x="2926" y="2855"/>
                </a:lnTo>
                <a:lnTo>
                  <a:pt x="2924" y="2853"/>
                </a:lnTo>
                <a:lnTo>
                  <a:pt x="2922" y="2853"/>
                </a:lnTo>
                <a:lnTo>
                  <a:pt x="2919" y="2855"/>
                </a:lnTo>
                <a:lnTo>
                  <a:pt x="2917" y="2853"/>
                </a:lnTo>
                <a:lnTo>
                  <a:pt x="2914" y="2851"/>
                </a:lnTo>
                <a:lnTo>
                  <a:pt x="2914" y="2853"/>
                </a:lnTo>
                <a:lnTo>
                  <a:pt x="2912" y="2858"/>
                </a:lnTo>
                <a:lnTo>
                  <a:pt x="2911" y="2862"/>
                </a:lnTo>
                <a:lnTo>
                  <a:pt x="2912" y="2863"/>
                </a:lnTo>
                <a:lnTo>
                  <a:pt x="2914" y="2865"/>
                </a:lnTo>
                <a:lnTo>
                  <a:pt x="2914" y="2868"/>
                </a:lnTo>
                <a:lnTo>
                  <a:pt x="2912" y="2870"/>
                </a:lnTo>
                <a:lnTo>
                  <a:pt x="2914" y="2872"/>
                </a:lnTo>
                <a:lnTo>
                  <a:pt x="2916" y="2874"/>
                </a:lnTo>
                <a:lnTo>
                  <a:pt x="2916" y="2877"/>
                </a:lnTo>
                <a:lnTo>
                  <a:pt x="2917" y="2879"/>
                </a:lnTo>
                <a:lnTo>
                  <a:pt x="2917" y="2880"/>
                </a:lnTo>
                <a:lnTo>
                  <a:pt x="2916" y="2882"/>
                </a:lnTo>
                <a:lnTo>
                  <a:pt x="2914" y="2882"/>
                </a:lnTo>
                <a:lnTo>
                  <a:pt x="2914" y="2884"/>
                </a:lnTo>
                <a:lnTo>
                  <a:pt x="2912" y="2885"/>
                </a:lnTo>
                <a:lnTo>
                  <a:pt x="2911" y="2885"/>
                </a:lnTo>
                <a:lnTo>
                  <a:pt x="2907" y="2884"/>
                </a:lnTo>
                <a:lnTo>
                  <a:pt x="2907" y="2885"/>
                </a:lnTo>
                <a:lnTo>
                  <a:pt x="2904" y="2889"/>
                </a:lnTo>
                <a:lnTo>
                  <a:pt x="2904" y="2887"/>
                </a:lnTo>
                <a:lnTo>
                  <a:pt x="2902" y="2889"/>
                </a:lnTo>
                <a:lnTo>
                  <a:pt x="2900" y="2889"/>
                </a:lnTo>
                <a:lnTo>
                  <a:pt x="2900" y="2892"/>
                </a:lnTo>
                <a:lnTo>
                  <a:pt x="2902" y="2892"/>
                </a:lnTo>
                <a:lnTo>
                  <a:pt x="2904" y="2894"/>
                </a:lnTo>
                <a:lnTo>
                  <a:pt x="2904" y="2896"/>
                </a:lnTo>
                <a:lnTo>
                  <a:pt x="2905" y="2896"/>
                </a:lnTo>
                <a:lnTo>
                  <a:pt x="2905" y="2899"/>
                </a:lnTo>
                <a:lnTo>
                  <a:pt x="2907" y="2899"/>
                </a:lnTo>
                <a:lnTo>
                  <a:pt x="2909" y="2901"/>
                </a:lnTo>
                <a:lnTo>
                  <a:pt x="2911" y="2902"/>
                </a:lnTo>
                <a:lnTo>
                  <a:pt x="2912" y="2901"/>
                </a:lnTo>
                <a:lnTo>
                  <a:pt x="2914" y="2902"/>
                </a:lnTo>
                <a:lnTo>
                  <a:pt x="2917" y="2902"/>
                </a:lnTo>
                <a:lnTo>
                  <a:pt x="2917" y="2906"/>
                </a:lnTo>
                <a:lnTo>
                  <a:pt x="2917" y="2908"/>
                </a:lnTo>
                <a:lnTo>
                  <a:pt x="2919" y="2909"/>
                </a:lnTo>
                <a:lnTo>
                  <a:pt x="2921" y="2909"/>
                </a:lnTo>
                <a:lnTo>
                  <a:pt x="2919" y="2913"/>
                </a:lnTo>
                <a:lnTo>
                  <a:pt x="2921" y="2913"/>
                </a:lnTo>
                <a:lnTo>
                  <a:pt x="2921" y="2914"/>
                </a:lnTo>
                <a:lnTo>
                  <a:pt x="2922" y="2914"/>
                </a:lnTo>
                <a:lnTo>
                  <a:pt x="2922" y="2916"/>
                </a:lnTo>
                <a:lnTo>
                  <a:pt x="2924" y="2916"/>
                </a:lnTo>
                <a:lnTo>
                  <a:pt x="2924" y="2918"/>
                </a:lnTo>
                <a:lnTo>
                  <a:pt x="2928" y="2919"/>
                </a:lnTo>
                <a:lnTo>
                  <a:pt x="2929" y="2919"/>
                </a:lnTo>
                <a:lnTo>
                  <a:pt x="2931" y="2919"/>
                </a:lnTo>
                <a:lnTo>
                  <a:pt x="2933" y="2921"/>
                </a:lnTo>
                <a:lnTo>
                  <a:pt x="2931" y="2923"/>
                </a:lnTo>
                <a:lnTo>
                  <a:pt x="2933" y="2925"/>
                </a:lnTo>
                <a:lnTo>
                  <a:pt x="2933" y="2926"/>
                </a:lnTo>
                <a:lnTo>
                  <a:pt x="2933" y="2928"/>
                </a:lnTo>
                <a:lnTo>
                  <a:pt x="2934" y="2930"/>
                </a:lnTo>
                <a:lnTo>
                  <a:pt x="2934" y="2931"/>
                </a:lnTo>
                <a:lnTo>
                  <a:pt x="2938" y="2933"/>
                </a:lnTo>
                <a:lnTo>
                  <a:pt x="2939" y="2933"/>
                </a:lnTo>
                <a:lnTo>
                  <a:pt x="2939" y="2935"/>
                </a:lnTo>
                <a:lnTo>
                  <a:pt x="2939" y="2936"/>
                </a:lnTo>
                <a:lnTo>
                  <a:pt x="2941" y="2938"/>
                </a:lnTo>
                <a:lnTo>
                  <a:pt x="2943" y="2940"/>
                </a:lnTo>
                <a:lnTo>
                  <a:pt x="2943" y="2942"/>
                </a:lnTo>
                <a:lnTo>
                  <a:pt x="2943" y="2945"/>
                </a:lnTo>
                <a:lnTo>
                  <a:pt x="2946" y="2947"/>
                </a:lnTo>
                <a:lnTo>
                  <a:pt x="2945" y="2948"/>
                </a:lnTo>
                <a:lnTo>
                  <a:pt x="2946" y="2948"/>
                </a:lnTo>
                <a:lnTo>
                  <a:pt x="2950" y="2947"/>
                </a:lnTo>
                <a:lnTo>
                  <a:pt x="2950" y="2948"/>
                </a:lnTo>
                <a:lnTo>
                  <a:pt x="2951" y="2948"/>
                </a:lnTo>
                <a:lnTo>
                  <a:pt x="2951" y="2947"/>
                </a:lnTo>
                <a:lnTo>
                  <a:pt x="2953" y="2945"/>
                </a:lnTo>
                <a:lnTo>
                  <a:pt x="2955" y="2945"/>
                </a:lnTo>
                <a:lnTo>
                  <a:pt x="2958" y="2945"/>
                </a:lnTo>
                <a:lnTo>
                  <a:pt x="2958" y="2948"/>
                </a:lnTo>
                <a:lnTo>
                  <a:pt x="2956" y="2948"/>
                </a:lnTo>
                <a:lnTo>
                  <a:pt x="2956" y="2950"/>
                </a:lnTo>
                <a:lnTo>
                  <a:pt x="2956" y="2952"/>
                </a:lnTo>
                <a:lnTo>
                  <a:pt x="2955" y="2954"/>
                </a:lnTo>
                <a:lnTo>
                  <a:pt x="2955" y="2955"/>
                </a:lnTo>
                <a:lnTo>
                  <a:pt x="2956" y="2957"/>
                </a:lnTo>
                <a:lnTo>
                  <a:pt x="2958" y="2959"/>
                </a:lnTo>
                <a:lnTo>
                  <a:pt x="2956" y="2960"/>
                </a:lnTo>
                <a:lnTo>
                  <a:pt x="2958" y="2960"/>
                </a:lnTo>
                <a:lnTo>
                  <a:pt x="2956" y="2964"/>
                </a:lnTo>
                <a:lnTo>
                  <a:pt x="2958" y="2965"/>
                </a:lnTo>
                <a:lnTo>
                  <a:pt x="2956" y="2965"/>
                </a:lnTo>
                <a:lnTo>
                  <a:pt x="2956" y="2969"/>
                </a:lnTo>
                <a:lnTo>
                  <a:pt x="2956" y="2971"/>
                </a:lnTo>
                <a:lnTo>
                  <a:pt x="2956" y="2972"/>
                </a:lnTo>
                <a:lnTo>
                  <a:pt x="2956" y="2974"/>
                </a:lnTo>
                <a:lnTo>
                  <a:pt x="2956" y="2977"/>
                </a:lnTo>
                <a:lnTo>
                  <a:pt x="2958" y="2977"/>
                </a:lnTo>
                <a:lnTo>
                  <a:pt x="2956" y="2979"/>
                </a:lnTo>
                <a:lnTo>
                  <a:pt x="2958" y="2982"/>
                </a:lnTo>
                <a:lnTo>
                  <a:pt x="2960" y="2982"/>
                </a:lnTo>
                <a:lnTo>
                  <a:pt x="2962" y="2982"/>
                </a:lnTo>
                <a:lnTo>
                  <a:pt x="2963" y="2981"/>
                </a:lnTo>
                <a:lnTo>
                  <a:pt x="2965" y="2981"/>
                </a:lnTo>
                <a:lnTo>
                  <a:pt x="2967" y="2979"/>
                </a:lnTo>
                <a:lnTo>
                  <a:pt x="2968" y="2981"/>
                </a:lnTo>
                <a:lnTo>
                  <a:pt x="2968" y="2982"/>
                </a:lnTo>
                <a:lnTo>
                  <a:pt x="2970" y="2982"/>
                </a:lnTo>
                <a:lnTo>
                  <a:pt x="2972" y="2982"/>
                </a:lnTo>
                <a:lnTo>
                  <a:pt x="2972" y="2981"/>
                </a:lnTo>
                <a:lnTo>
                  <a:pt x="2973" y="2984"/>
                </a:lnTo>
                <a:lnTo>
                  <a:pt x="2975" y="2982"/>
                </a:lnTo>
                <a:lnTo>
                  <a:pt x="2977" y="2981"/>
                </a:lnTo>
                <a:lnTo>
                  <a:pt x="2980" y="2981"/>
                </a:lnTo>
                <a:lnTo>
                  <a:pt x="2982" y="2981"/>
                </a:lnTo>
                <a:lnTo>
                  <a:pt x="2984" y="2982"/>
                </a:lnTo>
                <a:lnTo>
                  <a:pt x="2984" y="2986"/>
                </a:lnTo>
                <a:lnTo>
                  <a:pt x="2984" y="2988"/>
                </a:lnTo>
                <a:lnTo>
                  <a:pt x="2984" y="2989"/>
                </a:lnTo>
                <a:lnTo>
                  <a:pt x="2985" y="2989"/>
                </a:lnTo>
                <a:lnTo>
                  <a:pt x="2987" y="2989"/>
                </a:lnTo>
                <a:lnTo>
                  <a:pt x="2989" y="2991"/>
                </a:lnTo>
                <a:lnTo>
                  <a:pt x="2987" y="2993"/>
                </a:lnTo>
                <a:lnTo>
                  <a:pt x="2989" y="2994"/>
                </a:lnTo>
                <a:lnTo>
                  <a:pt x="2989" y="2996"/>
                </a:lnTo>
                <a:lnTo>
                  <a:pt x="2990" y="2998"/>
                </a:lnTo>
                <a:lnTo>
                  <a:pt x="2990" y="3001"/>
                </a:lnTo>
                <a:lnTo>
                  <a:pt x="2992" y="3001"/>
                </a:lnTo>
                <a:lnTo>
                  <a:pt x="2994" y="2999"/>
                </a:lnTo>
                <a:lnTo>
                  <a:pt x="2996" y="3001"/>
                </a:lnTo>
                <a:lnTo>
                  <a:pt x="2997" y="3003"/>
                </a:lnTo>
                <a:lnTo>
                  <a:pt x="3001" y="3001"/>
                </a:lnTo>
                <a:lnTo>
                  <a:pt x="3002" y="3003"/>
                </a:lnTo>
                <a:lnTo>
                  <a:pt x="3004" y="3003"/>
                </a:lnTo>
                <a:lnTo>
                  <a:pt x="3007" y="3005"/>
                </a:lnTo>
                <a:lnTo>
                  <a:pt x="3009" y="3005"/>
                </a:lnTo>
                <a:lnTo>
                  <a:pt x="3007" y="3008"/>
                </a:lnTo>
                <a:lnTo>
                  <a:pt x="3007" y="3010"/>
                </a:lnTo>
                <a:lnTo>
                  <a:pt x="3007" y="3011"/>
                </a:lnTo>
                <a:lnTo>
                  <a:pt x="3009" y="3013"/>
                </a:lnTo>
                <a:lnTo>
                  <a:pt x="3011" y="3013"/>
                </a:lnTo>
                <a:lnTo>
                  <a:pt x="3011" y="3015"/>
                </a:lnTo>
                <a:lnTo>
                  <a:pt x="3009" y="3015"/>
                </a:lnTo>
                <a:lnTo>
                  <a:pt x="3007" y="3015"/>
                </a:lnTo>
                <a:lnTo>
                  <a:pt x="3006" y="3015"/>
                </a:lnTo>
                <a:lnTo>
                  <a:pt x="3004" y="3016"/>
                </a:lnTo>
                <a:lnTo>
                  <a:pt x="3001" y="3016"/>
                </a:lnTo>
                <a:lnTo>
                  <a:pt x="3001" y="3018"/>
                </a:lnTo>
                <a:lnTo>
                  <a:pt x="2999" y="3020"/>
                </a:lnTo>
                <a:lnTo>
                  <a:pt x="3001" y="3023"/>
                </a:lnTo>
                <a:lnTo>
                  <a:pt x="2999" y="3023"/>
                </a:lnTo>
                <a:lnTo>
                  <a:pt x="2999" y="3025"/>
                </a:lnTo>
                <a:lnTo>
                  <a:pt x="2997" y="3027"/>
                </a:lnTo>
                <a:lnTo>
                  <a:pt x="2996" y="3030"/>
                </a:lnTo>
                <a:lnTo>
                  <a:pt x="2992" y="3032"/>
                </a:lnTo>
                <a:lnTo>
                  <a:pt x="2992" y="3033"/>
                </a:lnTo>
                <a:lnTo>
                  <a:pt x="2994" y="3033"/>
                </a:lnTo>
                <a:lnTo>
                  <a:pt x="2992" y="3035"/>
                </a:lnTo>
                <a:lnTo>
                  <a:pt x="2992" y="3039"/>
                </a:lnTo>
                <a:lnTo>
                  <a:pt x="2989" y="3040"/>
                </a:lnTo>
                <a:lnTo>
                  <a:pt x="2989" y="3039"/>
                </a:lnTo>
                <a:lnTo>
                  <a:pt x="2985" y="3037"/>
                </a:lnTo>
                <a:lnTo>
                  <a:pt x="2985" y="3035"/>
                </a:lnTo>
                <a:lnTo>
                  <a:pt x="2984" y="3035"/>
                </a:lnTo>
                <a:lnTo>
                  <a:pt x="2982" y="3033"/>
                </a:lnTo>
                <a:lnTo>
                  <a:pt x="2982" y="3032"/>
                </a:lnTo>
                <a:lnTo>
                  <a:pt x="2982" y="3028"/>
                </a:lnTo>
                <a:lnTo>
                  <a:pt x="2984" y="3027"/>
                </a:lnTo>
                <a:lnTo>
                  <a:pt x="2984" y="3025"/>
                </a:lnTo>
                <a:lnTo>
                  <a:pt x="2982" y="3025"/>
                </a:lnTo>
                <a:lnTo>
                  <a:pt x="2982" y="3022"/>
                </a:lnTo>
                <a:lnTo>
                  <a:pt x="2980" y="3022"/>
                </a:lnTo>
                <a:lnTo>
                  <a:pt x="2979" y="3022"/>
                </a:lnTo>
                <a:lnTo>
                  <a:pt x="2977" y="3022"/>
                </a:lnTo>
                <a:lnTo>
                  <a:pt x="2973" y="3022"/>
                </a:lnTo>
                <a:lnTo>
                  <a:pt x="2972" y="3022"/>
                </a:lnTo>
                <a:lnTo>
                  <a:pt x="2970" y="3022"/>
                </a:lnTo>
                <a:lnTo>
                  <a:pt x="2968" y="3023"/>
                </a:lnTo>
                <a:lnTo>
                  <a:pt x="2967" y="3023"/>
                </a:lnTo>
                <a:lnTo>
                  <a:pt x="2965" y="3027"/>
                </a:lnTo>
                <a:lnTo>
                  <a:pt x="2963" y="3027"/>
                </a:lnTo>
                <a:lnTo>
                  <a:pt x="2965" y="3028"/>
                </a:lnTo>
                <a:lnTo>
                  <a:pt x="2963" y="3030"/>
                </a:lnTo>
                <a:lnTo>
                  <a:pt x="2965" y="3030"/>
                </a:lnTo>
                <a:lnTo>
                  <a:pt x="2965" y="3033"/>
                </a:lnTo>
                <a:lnTo>
                  <a:pt x="2963" y="3033"/>
                </a:lnTo>
                <a:lnTo>
                  <a:pt x="2962" y="3035"/>
                </a:lnTo>
                <a:lnTo>
                  <a:pt x="2960" y="3037"/>
                </a:lnTo>
                <a:lnTo>
                  <a:pt x="2958" y="3035"/>
                </a:lnTo>
                <a:lnTo>
                  <a:pt x="2955" y="3037"/>
                </a:lnTo>
                <a:lnTo>
                  <a:pt x="2951" y="3039"/>
                </a:lnTo>
                <a:lnTo>
                  <a:pt x="2948" y="3040"/>
                </a:lnTo>
                <a:lnTo>
                  <a:pt x="2945" y="3040"/>
                </a:lnTo>
                <a:lnTo>
                  <a:pt x="2943" y="3042"/>
                </a:lnTo>
                <a:lnTo>
                  <a:pt x="2941" y="3042"/>
                </a:lnTo>
                <a:lnTo>
                  <a:pt x="2939" y="3042"/>
                </a:lnTo>
                <a:lnTo>
                  <a:pt x="2936" y="3042"/>
                </a:lnTo>
                <a:lnTo>
                  <a:pt x="2934" y="3042"/>
                </a:lnTo>
                <a:lnTo>
                  <a:pt x="2933" y="3042"/>
                </a:lnTo>
                <a:lnTo>
                  <a:pt x="2933" y="3040"/>
                </a:lnTo>
                <a:lnTo>
                  <a:pt x="2931" y="3042"/>
                </a:lnTo>
                <a:lnTo>
                  <a:pt x="2929" y="3044"/>
                </a:lnTo>
                <a:lnTo>
                  <a:pt x="2928" y="3044"/>
                </a:lnTo>
                <a:lnTo>
                  <a:pt x="2928" y="3042"/>
                </a:lnTo>
                <a:lnTo>
                  <a:pt x="2926" y="3042"/>
                </a:lnTo>
                <a:lnTo>
                  <a:pt x="2922" y="3044"/>
                </a:lnTo>
                <a:lnTo>
                  <a:pt x="2921" y="3044"/>
                </a:lnTo>
                <a:lnTo>
                  <a:pt x="2917" y="3044"/>
                </a:lnTo>
                <a:lnTo>
                  <a:pt x="2916" y="3045"/>
                </a:lnTo>
                <a:lnTo>
                  <a:pt x="2914" y="3047"/>
                </a:lnTo>
                <a:lnTo>
                  <a:pt x="2914" y="3049"/>
                </a:lnTo>
                <a:lnTo>
                  <a:pt x="2912" y="3050"/>
                </a:lnTo>
                <a:lnTo>
                  <a:pt x="2912" y="3052"/>
                </a:lnTo>
                <a:lnTo>
                  <a:pt x="2909" y="3052"/>
                </a:lnTo>
                <a:lnTo>
                  <a:pt x="2905" y="3052"/>
                </a:lnTo>
                <a:lnTo>
                  <a:pt x="2904" y="3052"/>
                </a:lnTo>
                <a:lnTo>
                  <a:pt x="2900" y="3052"/>
                </a:lnTo>
                <a:lnTo>
                  <a:pt x="2900" y="3054"/>
                </a:lnTo>
                <a:lnTo>
                  <a:pt x="2900" y="3056"/>
                </a:lnTo>
                <a:lnTo>
                  <a:pt x="2900" y="3057"/>
                </a:lnTo>
                <a:lnTo>
                  <a:pt x="2899" y="3059"/>
                </a:lnTo>
                <a:lnTo>
                  <a:pt x="2899" y="3061"/>
                </a:lnTo>
                <a:lnTo>
                  <a:pt x="2897" y="3062"/>
                </a:lnTo>
                <a:lnTo>
                  <a:pt x="2899" y="3064"/>
                </a:lnTo>
                <a:lnTo>
                  <a:pt x="2899" y="3066"/>
                </a:lnTo>
                <a:lnTo>
                  <a:pt x="2897" y="3067"/>
                </a:lnTo>
                <a:lnTo>
                  <a:pt x="2899" y="3067"/>
                </a:lnTo>
                <a:lnTo>
                  <a:pt x="2897" y="3069"/>
                </a:lnTo>
                <a:lnTo>
                  <a:pt x="2897" y="3071"/>
                </a:lnTo>
                <a:lnTo>
                  <a:pt x="2897" y="3073"/>
                </a:lnTo>
                <a:lnTo>
                  <a:pt x="2895" y="3074"/>
                </a:lnTo>
                <a:lnTo>
                  <a:pt x="2894" y="3074"/>
                </a:lnTo>
                <a:lnTo>
                  <a:pt x="2892" y="3076"/>
                </a:lnTo>
                <a:lnTo>
                  <a:pt x="2890" y="3079"/>
                </a:lnTo>
                <a:lnTo>
                  <a:pt x="2887" y="3079"/>
                </a:lnTo>
                <a:lnTo>
                  <a:pt x="2887" y="3081"/>
                </a:lnTo>
                <a:lnTo>
                  <a:pt x="2887" y="3079"/>
                </a:lnTo>
                <a:lnTo>
                  <a:pt x="2885" y="3078"/>
                </a:lnTo>
                <a:lnTo>
                  <a:pt x="2883" y="3076"/>
                </a:lnTo>
                <a:lnTo>
                  <a:pt x="2883" y="3074"/>
                </a:lnTo>
                <a:lnTo>
                  <a:pt x="2882" y="3073"/>
                </a:lnTo>
                <a:lnTo>
                  <a:pt x="2880" y="3071"/>
                </a:lnTo>
                <a:lnTo>
                  <a:pt x="2878" y="3073"/>
                </a:lnTo>
                <a:lnTo>
                  <a:pt x="2878" y="3071"/>
                </a:lnTo>
                <a:lnTo>
                  <a:pt x="2877" y="3073"/>
                </a:lnTo>
                <a:lnTo>
                  <a:pt x="2875" y="3073"/>
                </a:lnTo>
                <a:lnTo>
                  <a:pt x="2875" y="3071"/>
                </a:lnTo>
                <a:lnTo>
                  <a:pt x="2873" y="3071"/>
                </a:lnTo>
                <a:lnTo>
                  <a:pt x="2873" y="3073"/>
                </a:lnTo>
                <a:lnTo>
                  <a:pt x="2871" y="3076"/>
                </a:lnTo>
                <a:lnTo>
                  <a:pt x="2870" y="3079"/>
                </a:lnTo>
                <a:lnTo>
                  <a:pt x="2870" y="3081"/>
                </a:lnTo>
                <a:lnTo>
                  <a:pt x="2868" y="3083"/>
                </a:lnTo>
                <a:lnTo>
                  <a:pt x="2866" y="3084"/>
                </a:lnTo>
                <a:lnTo>
                  <a:pt x="2865" y="3086"/>
                </a:lnTo>
                <a:lnTo>
                  <a:pt x="2863" y="3088"/>
                </a:lnTo>
                <a:lnTo>
                  <a:pt x="2863" y="3090"/>
                </a:lnTo>
                <a:lnTo>
                  <a:pt x="2861" y="3090"/>
                </a:lnTo>
                <a:lnTo>
                  <a:pt x="2858" y="3091"/>
                </a:lnTo>
                <a:lnTo>
                  <a:pt x="2856" y="3093"/>
                </a:lnTo>
                <a:lnTo>
                  <a:pt x="2854" y="3095"/>
                </a:lnTo>
                <a:lnTo>
                  <a:pt x="2853" y="3096"/>
                </a:lnTo>
                <a:lnTo>
                  <a:pt x="2849" y="3096"/>
                </a:lnTo>
                <a:lnTo>
                  <a:pt x="2849" y="3098"/>
                </a:lnTo>
                <a:lnTo>
                  <a:pt x="2848" y="3098"/>
                </a:lnTo>
                <a:lnTo>
                  <a:pt x="2848" y="3100"/>
                </a:lnTo>
                <a:lnTo>
                  <a:pt x="2846" y="3101"/>
                </a:lnTo>
                <a:lnTo>
                  <a:pt x="2844" y="3103"/>
                </a:lnTo>
                <a:lnTo>
                  <a:pt x="2843" y="3103"/>
                </a:lnTo>
                <a:lnTo>
                  <a:pt x="2839" y="3105"/>
                </a:lnTo>
                <a:lnTo>
                  <a:pt x="2837" y="3107"/>
                </a:lnTo>
                <a:lnTo>
                  <a:pt x="2836" y="3107"/>
                </a:lnTo>
                <a:lnTo>
                  <a:pt x="2834" y="3108"/>
                </a:lnTo>
                <a:lnTo>
                  <a:pt x="2831" y="3108"/>
                </a:lnTo>
                <a:lnTo>
                  <a:pt x="2829" y="3112"/>
                </a:lnTo>
                <a:lnTo>
                  <a:pt x="2827" y="3110"/>
                </a:lnTo>
                <a:lnTo>
                  <a:pt x="2826" y="3110"/>
                </a:lnTo>
                <a:lnTo>
                  <a:pt x="2824" y="3110"/>
                </a:lnTo>
                <a:lnTo>
                  <a:pt x="2824" y="3112"/>
                </a:lnTo>
                <a:lnTo>
                  <a:pt x="2822" y="3112"/>
                </a:lnTo>
                <a:lnTo>
                  <a:pt x="2820" y="3112"/>
                </a:lnTo>
                <a:lnTo>
                  <a:pt x="2817" y="3113"/>
                </a:lnTo>
                <a:lnTo>
                  <a:pt x="2815" y="3113"/>
                </a:lnTo>
                <a:lnTo>
                  <a:pt x="2814" y="3113"/>
                </a:lnTo>
                <a:lnTo>
                  <a:pt x="2812" y="3113"/>
                </a:lnTo>
                <a:lnTo>
                  <a:pt x="2809" y="3115"/>
                </a:lnTo>
                <a:lnTo>
                  <a:pt x="2809" y="3117"/>
                </a:lnTo>
                <a:lnTo>
                  <a:pt x="2807" y="3117"/>
                </a:lnTo>
                <a:lnTo>
                  <a:pt x="2803" y="3119"/>
                </a:lnTo>
                <a:lnTo>
                  <a:pt x="2803" y="3120"/>
                </a:lnTo>
                <a:lnTo>
                  <a:pt x="2800" y="3122"/>
                </a:lnTo>
                <a:lnTo>
                  <a:pt x="2800" y="3124"/>
                </a:lnTo>
                <a:lnTo>
                  <a:pt x="2798" y="3125"/>
                </a:lnTo>
                <a:lnTo>
                  <a:pt x="2797" y="3127"/>
                </a:lnTo>
                <a:lnTo>
                  <a:pt x="2795" y="3130"/>
                </a:lnTo>
                <a:lnTo>
                  <a:pt x="2793" y="3130"/>
                </a:lnTo>
                <a:lnTo>
                  <a:pt x="2792" y="3132"/>
                </a:lnTo>
                <a:lnTo>
                  <a:pt x="2790" y="3134"/>
                </a:lnTo>
                <a:lnTo>
                  <a:pt x="2788" y="3134"/>
                </a:lnTo>
                <a:lnTo>
                  <a:pt x="2788" y="3137"/>
                </a:lnTo>
                <a:lnTo>
                  <a:pt x="2786" y="3139"/>
                </a:lnTo>
                <a:lnTo>
                  <a:pt x="2785" y="3141"/>
                </a:lnTo>
                <a:lnTo>
                  <a:pt x="2785" y="3142"/>
                </a:lnTo>
                <a:lnTo>
                  <a:pt x="2783" y="3144"/>
                </a:lnTo>
                <a:lnTo>
                  <a:pt x="2781" y="3146"/>
                </a:lnTo>
                <a:lnTo>
                  <a:pt x="2780" y="3147"/>
                </a:lnTo>
                <a:lnTo>
                  <a:pt x="2778" y="3149"/>
                </a:lnTo>
                <a:lnTo>
                  <a:pt x="2776" y="3151"/>
                </a:lnTo>
                <a:lnTo>
                  <a:pt x="2775" y="3153"/>
                </a:lnTo>
                <a:lnTo>
                  <a:pt x="2775" y="3156"/>
                </a:lnTo>
                <a:lnTo>
                  <a:pt x="2773" y="3156"/>
                </a:lnTo>
                <a:lnTo>
                  <a:pt x="2771" y="3156"/>
                </a:lnTo>
                <a:lnTo>
                  <a:pt x="2771" y="3158"/>
                </a:lnTo>
                <a:lnTo>
                  <a:pt x="2769" y="3159"/>
                </a:lnTo>
                <a:lnTo>
                  <a:pt x="2766" y="3161"/>
                </a:lnTo>
                <a:lnTo>
                  <a:pt x="2766" y="3163"/>
                </a:lnTo>
                <a:lnTo>
                  <a:pt x="2764" y="3164"/>
                </a:lnTo>
                <a:lnTo>
                  <a:pt x="2759" y="3168"/>
                </a:lnTo>
                <a:lnTo>
                  <a:pt x="2758" y="3170"/>
                </a:lnTo>
                <a:lnTo>
                  <a:pt x="2756" y="3171"/>
                </a:lnTo>
                <a:lnTo>
                  <a:pt x="2754" y="3173"/>
                </a:lnTo>
                <a:lnTo>
                  <a:pt x="2751" y="3175"/>
                </a:lnTo>
                <a:lnTo>
                  <a:pt x="2749" y="3176"/>
                </a:lnTo>
                <a:lnTo>
                  <a:pt x="2746" y="3178"/>
                </a:lnTo>
                <a:lnTo>
                  <a:pt x="2742" y="3180"/>
                </a:lnTo>
                <a:lnTo>
                  <a:pt x="2741" y="3181"/>
                </a:lnTo>
                <a:lnTo>
                  <a:pt x="2739" y="3181"/>
                </a:lnTo>
                <a:lnTo>
                  <a:pt x="2737" y="3183"/>
                </a:lnTo>
                <a:lnTo>
                  <a:pt x="2735" y="3185"/>
                </a:lnTo>
                <a:lnTo>
                  <a:pt x="2734" y="3185"/>
                </a:lnTo>
                <a:lnTo>
                  <a:pt x="2732" y="3185"/>
                </a:lnTo>
                <a:lnTo>
                  <a:pt x="2730" y="3185"/>
                </a:lnTo>
                <a:lnTo>
                  <a:pt x="2729" y="3185"/>
                </a:lnTo>
                <a:lnTo>
                  <a:pt x="2727" y="3185"/>
                </a:lnTo>
                <a:lnTo>
                  <a:pt x="2724" y="3187"/>
                </a:lnTo>
                <a:lnTo>
                  <a:pt x="2720" y="3188"/>
                </a:lnTo>
                <a:lnTo>
                  <a:pt x="2718" y="3188"/>
                </a:lnTo>
                <a:lnTo>
                  <a:pt x="2717" y="3190"/>
                </a:lnTo>
                <a:lnTo>
                  <a:pt x="2713" y="3192"/>
                </a:lnTo>
                <a:lnTo>
                  <a:pt x="2712" y="3192"/>
                </a:lnTo>
                <a:lnTo>
                  <a:pt x="2710" y="3192"/>
                </a:lnTo>
                <a:lnTo>
                  <a:pt x="2708" y="3193"/>
                </a:lnTo>
                <a:lnTo>
                  <a:pt x="2705" y="3192"/>
                </a:lnTo>
                <a:lnTo>
                  <a:pt x="2703" y="3192"/>
                </a:lnTo>
                <a:lnTo>
                  <a:pt x="2701" y="3190"/>
                </a:lnTo>
                <a:lnTo>
                  <a:pt x="2700" y="3190"/>
                </a:lnTo>
                <a:lnTo>
                  <a:pt x="2698" y="3190"/>
                </a:lnTo>
                <a:lnTo>
                  <a:pt x="2698" y="3188"/>
                </a:lnTo>
                <a:lnTo>
                  <a:pt x="2695" y="3188"/>
                </a:lnTo>
                <a:lnTo>
                  <a:pt x="2693" y="3188"/>
                </a:lnTo>
                <a:lnTo>
                  <a:pt x="2691" y="3188"/>
                </a:lnTo>
                <a:lnTo>
                  <a:pt x="2690" y="3188"/>
                </a:lnTo>
                <a:lnTo>
                  <a:pt x="2688" y="3188"/>
                </a:lnTo>
                <a:lnTo>
                  <a:pt x="2684" y="3188"/>
                </a:lnTo>
                <a:lnTo>
                  <a:pt x="2681" y="3188"/>
                </a:lnTo>
                <a:lnTo>
                  <a:pt x="2679" y="3190"/>
                </a:lnTo>
                <a:lnTo>
                  <a:pt x="2678" y="3190"/>
                </a:lnTo>
                <a:lnTo>
                  <a:pt x="2676" y="3190"/>
                </a:lnTo>
                <a:lnTo>
                  <a:pt x="2674" y="3192"/>
                </a:lnTo>
                <a:lnTo>
                  <a:pt x="2673" y="3192"/>
                </a:lnTo>
                <a:lnTo>
                  <a:pt x="2673" y="3193"/>
                </a:lnTo>
                <a:lnTo>
                  <a:pt x="2671" y="3193"/>
                </a:lnTo>
                <a:lnTo>
                  <a:pt x="2669" y="3195"/>
                </a:lnTo>
                <a:lnTo>
                  <a:pt x="2669" y="3197"/>
                </a:lnTo>
                <a:lnTo>
                  <a:pt x="2667" y="3197"/>
                </a:lnTo>
                <a:lnTo>
                  <a:pt x="2667" y="3198"/>
                </a:lnTo>
                <a:lnTo>
                  <a:pt x="2666" y="3198"/>
                </a:lnTo>
                <a:lnTo>
                  <a:pt x="2667" y="3200"/>
                </a:lnTo>
                <a:lnTo>
                  <a:pt x="2666" y="3202"/>
                </a:lnTo>
                <a:lnTo>
                  <a:pt x="2662" y="3204"/>
                </a:lnTo>
                <a:lnTo>
                  <a:pt x="2661" y="3205"/>
                </a:lnTo>
                <a:lnTo>
                  <a:pt x="2661" y="3207"/>
                </a:lnTo>
                <a:lnTo>
                  <a:pt x="2657" y="3209"/>
                </a:lnTo>
                <a:lnTo>
                  <a:pt x="2657" y="3210"/>
                </a:lnTo>
                <a:lnTo>
                  <a:pt x="2656" y="3212"/>
                </a:lnTo>
                <a:lnTo>
                  <a:pt x="2654" y="3212"/>
                </a:lnTo>
                <a:lnTo>
                  <a:pt x="2652" y="3212"/>
                </a:lnTo>
                <a:lnTo>
                  <a:pt x="2650" y="3214"/>
                </a:lnTo>
                <a:lnTo>
                  <a:pt x="2649" y="3217"/>
                </a:lnTo>
                <a:lnTo>
                  <a:pt x="2647" y="3217"/>
                </a:lnTo>
                <a:lnTo>
                  <a:pt x="2645" y="3219"/>
                </a:lnTo>
                <a:lnTo>
                  <a:pt x="2644" y="3221"/>
                </a:lnTo>
                <a:lnTo>
                  <a:pt x="2642" y="3222"/>
                </a:lnTo>
                <a:lnTo>
                  <a:pt x="2642" y="3226"/>
                </a:lnTo>
                <a:lnTo>
                  <a:pt x="2640" y="3226"/>
                </a:lnTo>
                <a:lnTo>
                  <a:pt x="2639" y="3227"/>
                </a:lnTo>
                <a:lnTo>
                  <a:pt x="2637" y="3226"/>
                </a:lnTo>
                <a:lnTo>
                  <a:pt x="2637" y="3227"/>
                </a:lnTo>
                <a:lnTo>
                  <a:pt x="2635" y="3227"/>
                </a:lnTo>
                <a:lnTo>
                  <a:pt x="2632" y="3227"/>
                </a:lnTo>
                <a:lnTo>
                  <a:pt x="2630" y="3227"/>
                </a:lnTo>
                <a:lnTo>
                  <a:pt x="2628" y="3229"/>
                </a:lnTo>
                <a:lnTo>
                  <a:pt x="2627" y="3229"/>
                </a:lnTo>
                <a:lnTo>
                  <a:pt x="2625" y="3231"/>
                </a:lnTo>
                <a:lnTo>
                  <a:pt x="2623" y="3231"/>
                </a:lnTo>
                <a:lnTo>
                  <a:pt x="2622" y="3231"/>
                </a:lnTo>
                <a:lnTo>
                  <a:pt x="2622" y="3234"/>
                </a:lnTo>
                <a:lnTo>
                  <a:pt x="2620" y="3232"/>
                </a:lnTo>
                <a:lnTo>
                  <a:pt x="2616" y="3232"/>
                </a:lnTo>
                <a:lnTo>
                  <a:pt x="2616" y="3231"/>
                </a:lnTo>
                <a:lnTo>
                  <a:pt x="2616" y="3229"/>
                </a:lnTo>
                <a:lnTo>
                  <a:pt x="2616" y="3227"/>
                </a:lnTo>
                <a:lnTo>
                  <a:pt x="2615" y="3229"/>
                </a:lnTo>
                <a:lnTo>
                  <a:pt x="2613" y="3227"/>
                </a:lnTo>
                <a:lnTo>
                  <a:pt x="2610" y="3227"/>
                </a:lnTo>
                <a:lnTo>
                  <a:pt x="2608" y="3227"/>
                </a:lnTo>
                <a:lnTo>
                  <a:pt x="2606" y="3229"/>
                </a:lnTo>
                <a:lnTo>
                  <a:pt x="2605" y="3229"/>
                </a:lnTo>
                <a:lnTo>
                  <a:pt x="2601" y="3229"/>
                </a:lnTo>
                <a:lnTo>
                  <a:pt x="2599" y="3229"/>
                </a:lnTo>
                <a:lnTo>
                  <a:pt x="2598" y="3229"/>
                </a:lnTo>
                <a:lnTo>
                  <a:pt x="2594" y="3229"/>
                </a:lnTo>
                <a:lnTo>
                  <a:pt x="2594" y="3232"/>
                </a:lnTo>
                <a:lnTo>
                  <a:pt x="2594" y="3234"/>
                </a:lnTo>
                <a:lnTo>
                  <a:pt x="2593" y="3236"/>
                </a:lnTo>
                <a:lnTo>
                  <a:pt x="2594" y="3239"/>
                </a:lnTo>
                <a:lnTo>
                  <a:pt x="2594" y="3241"/>
                </a:lnTo>
                <a:lnTo>
                  <a:pt x="2593" y="3243"/>
                </a:lnTo>
                <a:lnTo>
                  <a:pt x="2594" y="3246"/>
                </a:lnTo>
                <a:lnTo>
                  <a:pt x="2596" y="3248"/>
                </a:lnTo>
                <a:lnTo>
                  <a:pt x="2596" y="3249"/>
                </a:lnTo>
                <a:lnTo>
                  <a:pt x="2596" y="3251"/>
                </a:lnTo>
                <a:lnTo>
                  <a:pt x="2596" y="3255"/>
                </a:lnTo>
                <a:lnTo>
                  <a:pt x="2596" y="3256"/>
                </a:lnTo>
                <a:lnTo>
                  <a:pt x="2598" y="3256"/>
                </a:lnTo>
                <a:lnTo>
                  <a:pt x="2599" y="3260"/>
                </a:lnTo>
                <a:lnTo>
                  <a:pt x="2601" y="3261"/>
                </a:lnTo>
                <a:lnTo>
                  <a:pt x="2603" y="3260"/>
                </a:lnTo>
                <a:lnTo>
                  <a:pt x="2603" y="3263"/>
                </a:lnTo>
                <a:lnTo>
                  <a:pt x="2605" y="3265"/>
                </a:lnTo>
                <a:lnTo>
                  <a:pt x="2605" y="3263"/>
                </a:lnTo>
                <a:lnTo>
                  <a:pt x="2606" y="3263"/>
                </a:lnTo>
                <a:lnTo>
                  <a:pt x="2608" y="3266"/>
                </a:lnTo>
                <a:lnTo>
                  <a:pt x="2610" y="3265"/>
                </a:lnTo>
                <a:lnTo>
                  <a:pt x="2610" y="3266"/>
                </a:lnTo>
                <a:lnTo>
                  <a:pt x="2611" y="3268"/>
                </a:lnTo>
                <a:lnTo>
                  <a:pt x="2610" y="3270"/>
                </a:lnTo>
                <a:lnTo>
                  <a:pt x="2608" y="3272"/>
                </a:lnTo>
                <a:lnTo>
                  <a:pt x="2605" y="3272"/>
                </a:lnTo>
                <a:lnTo>
                  <a:pt x="2603" y="3273"/>
                </a:lnTo>
                <a:lnTo>
                  <a:pt x="2603" y="3272"/>
                </a:lnTo>
                <a:lnTo>
                  <a:pt x="2601" y="3273"/>
                </a:lnTo>
                <a:lnTo>
                  <a:pt x="2599" y="3273"/>
                </a:lnTo>
                <a:lnTo>
                  <a:pt x="2599" y="3277"/>
                </a:lnTo>
                <a:lnTo>
                  <a:pt x="2598" y="3277"/>
                </a:lnTo>
                <a:lnTo>
                  <a:pt x="2594" y="3277"/>
                </a:lnTo>
                <a:lnTo>
                  <a:pt x="2596" y="3278"/>
                </a:lnTo>
                <a:lnTo>
                  <a:pt x="2594" y="3280"/>
                </a:lnTo>
                <a:lnTo>
                  <a:pt x="2596" y="3282"/>
                </a:lnTo>
                <a:lnTo>
                  <a:pt x="2596" y="3284"/>
                </a:lnTo>
                <a:lnTo>
                  <a:pt x="2598" y="3287"/>
                </a:lnTo>
                <a:lnTo>
                  <a:pt x="2599" y="3289"/>
                </a:lnTo>
                <a:lnTo>
                  <a:pt x="2599" y="3292"/>
                </a:lnTo>
                <a:lnTo>
                  <a:pt x="2598" y="3294"/>
                </a:lnTo>
                <a:lnTo>
                  <a:pt x="2596" y="3294"/>
                </a:lnTo>
                <a:lnTo>
                  <a:pt x="2594" y="3294"/>
                </a:lnTo>
                <a:lnTo>
                  <a:pt x="2596" y="3295"/>
                </a:lnTo>
                <a:lnTo>
                  <a:pt x="2596" y="3297"/>
                </a:lnTo>
                <a:lnTo>
                  <a:pt x="2594" y="3297"/>
                </a:lnTo>
                <a:lnTo>
                  <a:pt x="2591" y="3299"/>
                </a:lnTo>
                <a:lnTo>
                  <a:pt x="2591" y="3301"/>
                </a:lnTo>
                <a:lnTo>
                  <a:pt x="2591" y="3302"/>
                </a:lnTo>
                <a:lnTo>
                  <a:pt x="2591" y="3304"/>
                </a:lnTo>
                <a:lnTo>
                  <a:pt x="2593" y="3306"/>
                </a:lnTo>
                <a:lnTo>
                  <a:pt x="2593" y="3307"/>
                </a:lnTo>
                <a:lnTo>
                  <a:pt x="2593" y="3309"/>
                </a:lnTo>
                <a:lnTo>
                  <a:pt x="2591" y="3307"/>
                </a:lnTo>
                <a:lnTo>
                  <a:pt x="2589" y="3307"/>
                </a:lnTo>
                <a:lnTo>
                  <a:pt x="2586" y="3307"/>
                </a:lnTo>
                <a:lnTo>
                  <a:pt x="2584" y="3307"/>
                </a:lnTo>
                <a:lnTo>
                  <a:pt x="2582" y="3307"/>
                </a:lnTo>
                <a:lnTo>
                  <a:pt x="2582" y="3306"/>
                </a:lnTo>
                <a:lnTo>
                  <a:pt x="2581" y="3304"/>
                </a:lnTo>
                <a:lnTo>
                  <a:pt x="2579" y="3304"/>
                </a:lnTo>
                <a:lnTo>
                  <a:pt x="2577" y="3306"/>
                </a:lnTo>
                <a:lnTo>
                  <a:pt x="2576" y="3306"/>
                </a:lnTo>
                <a:lnTo>
                  <a:pt x="2576" y="3304"/>
                </a:lnTo>
                <a:lnTo>
                  <a:pt x="2577" y="3302"/>
                </a:lnTo>
                <a:lnTo>
                  <a:pt x="2577" y="3299"/>
                </a:lnTo>
                <a:lnTo>
                  <a:pt x="2576" y="3297"/>
                </a:lnTo>
                <a:lnTo>
                  <a:pt x="2574" y="3295"/>
                </a:lnTo>
                <a:lnTo>
                  <a:pt x="2572" y="3294"/>
                </a:lnTo>
                <a:lnTo>
                  <a:pt x="2571" y="3294"/>
                </a:lnTo>
                <a:lnTo>
                  <a:pt x="2569" y="3292"/>
                </a:lnTo>
                <a:lnTo>
                  <a:pt x="2567" y="3290"/>
                </a:lnTo>
                <a:lnTo>
                  <a:pt x="2565" y="3289"/>
                </a:lnTo>
                <a:lnTo>
                  <a:pt x="2564" y="3287"/>
                </a:lnTo>
                <a:lnTo>
                  <a:pt x="2560" y="3285"/>
                </a:lnTo>
                <a:lnTo>
                  <a:pt x="2559" y="3284"/>
                </a:lnTo>
                <a:lnTo>
                  <a:pt x="2559" y="3282"/>
                </a:lnTo>
                <a:lnTo>
                  <a:pt x="2560" y="3278"/>
                </a:lnTo>
                <a:lnTo>
                  <a:pt x="2562" y="3278"/>
                </a:lnTo>
                <a:lnTo>
                  <a:pt x="2562" y="3275"/>
                </a:lnTo>
                <a:lnTo>
                  <a:pt x="2562" y="3273"/>
                </a:lnTo>
                <a:lnTo>
                  <a:pt x="2562" y="3272"/>
                </a:lnTo>
                <a:lnTo>
                  <a:pt x="2564" y="3270"/>
                </a:lnTo>
                <a:lnTo>
                  <a:pt x="2565" y="3268"/>
                </a:lnTo>
                <a:lnTo>
                  <a:pt x="2565" y="3266"/>
                </a:lnTo>
                <a:lnTo>
                  <a:pt x="2567" y="3265"/>
                </a:lnTo>
                <a:lnTo>
                  <a:pt x="2567" y="3263"/>
                </a:lnTo>
                <a:lnTo>
                  <a:pt x="2569" y="3261"/>
                </a:lnTo>
                <a:lnTo>
                  <a:pt x="2571" y="3260"/>
                </a:lnTo>
                <a:lnTo>
                  <a:pt x="2572" y="3258"/>
                </a:lnTo>
                <a:lnTo>
                  <a:pt x="2572" y="3256"/>
                </a:lnTo>
                <a:lnTo>
                  <a:pt x="2574" y="3256"/>
                </a:lnTo>
                <a:lnTo>
                  <a:pt x="2574" y="3253"/>
                </a:lnTo>
                <a:lnTo>
                  <a:pt x="2574" y="3251"/>
                </a:lnTo>
                <a:lnTo>
                  <a:pt x="2574" y="3249"/>
                </a:lnTo>
                <a:lnTo>
                  <a:pt x="2572" y="3248"/>
                </a:lnTo>
                <a:lnTo>
                  <a:pt x="2572" y="3246"/>
                </a:lnTo>
                <a:lnTo>
                  <a:pt x="2571" y="3246"/>
                </a:lnTo>
                <a:lnTo>
                  <a:pt x="2571" y="3244"/>
                </a:lnTo>
                <a:lnTo>
                  <a:pt x="2571" y="3243"/>
                </a:lnTo>
                <a:lnTo>
                  <a:pt x="2567" y="3241"/>
                </a:lnTo>
                <a:lnTo>
                  <a:pt x="2565" y="3239"/>
                </a:lnTo>
                <a:lnTo>
                  <a:pt x="2562" y="3238"/>
                </a:lnTo>
                <a:lnTo>
                  <a:pt x="2560" y="3238"/>
                </a:lnTo>
                <a:lnTo>
                  <a:pt x="2559" y="3238"/>
                </a:lnTo>
                <a:lnTo>
                  <a:pt x="2557" y="3236"/>
                </a:lnTo>
                <a:lnTo>
                  <a:pt x="2555" y="3236"/>
                </a:lnTo>
                <a:lnTo>
                  <a:pt x="2555" y="3238"/>
                </a:lnTo>
                <a:lnTo>
                  <a:pt x="2554" y="3241"/>
                </a:lnTo>
                <a:lnTo>
                  <a:pt x="2552" y="3243"/>
                </a:lnTo>
                <a:lnTo>
                  <a:pt x="2552" y="3244"/>
                </a:lnTo>
                <a:lnTo>
                  <a:pt x="2550" y="3248"/>
                </a:lnTo>
                <a:lnTo>
                  <a:pt x="2550" y="3249"/>
                </a:lnTo>
                <a:lnTo>
                  <a:pt x="2548" y="3251"/>
                </a:lnTo>
                <a:lnTo>
                  <a:pt x="2545" y="3253"/>
                </a:lnTo>
                <a:lnTo>
                  <a:pt x="2543" y="3255"/>
                </a:lnTo>
                <a:lnTo>
                  <a:pt x="2542" y="3255"/>
                </a:lnTo>
                <a:lnTo>
                  <a:pt x="2540" y="3256"/>
                </a:lnTo>
                <a:lnTo>
                  <a:pt x="2538" y="3258"/>
                </a:lnTo>
                <a:lnTo>
                  <a:pt x="2540" y="3260"/>
                </a:lnTo>
                <a:lnTo>
                  <a:pt x="2542" y="3261"/>
                </a:lnTo>
                <a:lnTo>
                  <a:pt x="2543" y="3258"/>
                </a:lnTo>
                <a:lnTo>
                  <a:pt x="2545" y="3258"/>
                </a:lnTo>
                <a:lnTo>
                  <a:pt x="2543" y="3260"/>
                </a:lnTo>
                <a:lnTo>
                  <a:pt x="2543" y="3261"/>
                </a:lnTo>
                <a:lnTo>
                  <a:pt x="2543" y="3263"/>
                </a:lnTo>
                <a:lnTo>
                  <a:pt x="2543" y="3265"/>
                </a:lnTo>
                <a:lnTo>
                  <a:pt x="2543" y="3266"/>
                </a:lnTo>
                <a:lnTo>
                  <a:pt x="2542" y="3268"/>
                </a:lnTo>
                <a:lnTo>
                  <a:pt x="2542" y="3270"/>
                </a:lnTo>
                <a:lnTo>
                  <a:pt x="2540" y="3270"/>
                </a:lnTo>
                <a:lnTo>
                  <a:pt x="2538" y="3270"/>
                </a:lnTo>
                <a:lnTo>
                  <a:pt x="2537" y="3270"/>
                </a:lnTo>
                <a:lnTo>
                  <a:pt x="2535" y="3272"/>
                </a:lnTo>
                <a:lnTo>
                  <a:pt x="2533" y="3272"/>
                </a:lnTo>
                <a:lnTo>
                  <a:pt x="2531" y="3272"/>
                </a:lnTo>
                <a:lnTo>
                  <a:pt x="2531" y="3275"/>
                </a:lnTo>
                <a:lnTo>
                  <a:pt x="2530" y="3277"/>
                </a:lnTo>
                <a:lnTo>
                  <a:pt x="2528" y="3275"/>
                </a:lnTo>
                <a:lnTo>
                  <a:pt x="2526" y="3275"/>
                </a:lnTo>
                <a:lnTo>
                  <a:pt x="2523" y="3275"/>
                </a:lnTo>
                <a:lnTo>
                  <a:pt x="2521" y="3275"/>
                </a:lnTo>
                <a:lnTo>
                  <a:pt x="2518" y="3273"/>
                </a:lnTo>
                <a:lnTo>
                  <a:pt x="2514" y="3273"/>
                </a:lnTo>
                <a:lnTo>
                  <a:pt x="2513" y="3273"/>
                </a:lnTo>
                <a:lnTo>
                  <a:pt x="2511" y="3272"/>
                </a:lnTo>
                <a:lnTo>
                  <a:pt x="2508" y="3272"/>
                </a:lnTo>
                <a:lnTo>
                  <a:pt x="2506" y="3272"/>
                </a:lnTo>
                <a:lnTo>
                  <a:pt x="2504" y="3272"/>
                </a:lnTo>
                <a:lnTo>
                  <a:pt x="2503" y="3272"/>
                </a:lnTo>
                <a:lnTo>
                  <a:pt x="2501" y="3273"/>
                </a:lnTo>
                <a:lnTo>
                  <a:pt x="2499" y="3270"/>
                </a:lnTo>
                <a:lnTo>
                  <a:pt x="2497" y="3270"/>
                </a:lnTo>
                <a:lnTo>
                  <a:pt x="2494" y="3270"/>
                </a:lnTo>
                <a:lnTo>
                  <a:pt x="2492" y="3270"/>
                </a:lnTo>
                <a:lnTo>
                  <a:pt x="2491" y="3270"/>
                </a:lnTo>
                <a:lnTo>
                  <a:pt x="2487" y="3272"/>
                </a:lnTo>
                <a:lnTo>
                  <a:pt x="2486" y="3272"/>
                </a:lnTo>
                <a:lnTo>
                  <a:pt x="2484" y="3273"/>
                </a:lnTo>
                <a:lnTo>
                  <a:pt x="2486" y="3273"/>
                </a:lnTo>
                <a:lnTo>
                  <a:pt x="2484" y="3273"/>
                </a:lnTo>
                <a:lnTo>
                  <a:pt x="2482" y="3275"/>
                </a:lnTo>
                <a:lnTo>
                  <a:pt x="2482" y="3277"/>
                </a:lnTo>
                <a:lnTo>
                  <a:pt x="2480" y="3277"/>
                </a:lnTo>
                <a:lnTo>
                  <a:pt x="2480" y="3278"/>
                </a:lnTo>
                <a:lnTo>
                  <a:pt x="2479" y="3280"/>
                </a:lnTo>
                <a:lnTo>
                  <a:pt x="2477" y="3282"/>
                </a:lnTo>
                <a:lnTo>
                  <a:pt x="2477" y="3284"/>
                </a:lnTo>
                <a:lnTo>
                  <a:pt x="2477" y="3287"/>
                </a:lnTo>
                <a:lnTo>
                  <a:pt x="2475" y="3287"/>
                </a:lnTo>
                <a:lnTo>
                  <a:pt x="2474" y="3289"/>
                </a:lnTo>
                <a:lnTo>
                  <a:pt x="2472" y="3290"/>
                </a:lnTo>
                <a:lnTo>
                  <a:pt x="2472" y="3292"/>
                </a:lnTo>
                <a:lnTo>
                  <a:pt x="2470" y="3294"/>
                </a:lnTo>
                <a:lnTo>
                  <a:pt x="2470" y="3295"/>
                </a:lnTo>
                <a:lnTo>
                  <a:pt x="2469" y="3297"/>
                </a:lnTo>
                <a:lnTo>
                  <a:pt x="2469" y="3299"/>
                </a:lnTo>
                <a:lnTo>
                  <a:pt x="2467" y="3301"/>
                </a:lnTo>
                <a:lnTo>
                  <a:pt x="2467" y="3302"/>
                </a:lnTo>
                <a:lnTo>
                  <a:pt x="2467" y="3304"/>
                </a:lnTo>
                <a:lnTo>
                  <a:pt x="2465" y="3306"/>
                </a:lnTo>
                <a:lnTo>
                  <a:pt x="2465" y="3309"/>
                </a:lnTo>
                <a:lnTo>
                  <a:pt x="2463" y="3309"/>
                </a:lnTo>
                <a:lnTo>
                  <a:pt x="2463" y="3311"/>
                </a:lnTo>
                <a:lnTo>
                  <a:pt x="2463" y="3312"/>
                </a:lnTo>
                <a:lnTo>
                  <a:pt x="2465" y="3314"/>
                </a:lnTo>
                <a:lnTo>
                  <a:pt x="2465" y="3316"/>
                </a:lnTo>
                <a:lnTo>
                  <a:pt x="2463" y="3319"/>
                </a:lnTo>
                <a:lnTo>
                  <a:pt x="2462" y="3319"/>
                </a:lnTo>
                <a:lnTo>
                  <a:pt x="2462" y="3323"/>
                </a:lnTo>
                <a:lnTo>
                  <a:pt x="2462" y="3324"/>
                </a:lnTo>
                <a:lnTo>
                  <a:pt x="2460" y="3324"/>
                </a:lnTo>
                <a:lnTo>
                  <a:pt x="2460" y="3323"/>
                </a:lnTo>
                <a:lnTo>
                  <a:pt x="2458" y="3321"/>
                </a:lnTo>
                <a:lnTo>
                  <a:pt x="2455" y="3321"/>
                </a:lnTo>
                <a:lnTo>
                  <a:pt x="2453" y="3321"/>
                </a:lnTo>
                <a:lnTo>
                  <a:pt x="2453" y="3323"/>
                </a:lnTo>
                <a:lnTo>
                  <a:pt x="2453" y="3324"/>
                </a:lnTo>
                <a:lnTo>
                  <a:pt x="2452" y="3324"/>
                </a:lnTo>
                <a:lnTo>
                  <a:pt x="2452" y="3328"/>
                </a:lnTo>
                <a:lnTo>
                  <a:pt x="2452" y="3329"/>
                </a:lnTo>
                <a:lnTo>
                  <a:pt x="2450" y="3329"/>
                </a:lnTo>
                <a:lnTo>
                  <a:pt x="2450" y="3331"/>
                </a:lnTo>
                <a:lnTo>
                  <a:pt x="2448" y="3331"/>
                </a:lnTo>
                <a:lnTo>
                  <a:pt x="2448" y="3333"/>
                </a:lnTo>
                <a:lnTo>
                  <a:pt x="2448" y="3336"/>
                </a:lnTo>
                <a:lnTo>
                  <a:pt x="2446" y="3336"/>
                </a:lnTo>
                <a:lnTo>
                  <a:pt x="2448" y="3335"/>
                </a:lnTo>
                <a:lnTo>
                  <a:pt x="2446" y="3335"/>
                </a:lnTo>
                <a:lnTo>
                  <a:pt x="2445" y="3333"/>
                </a:lnTo>
                <a:lnTo>
                  <a:pt x="2443" y="3335"/>
                </a:lnTo>
                <a:lnTo>
                  <a:pt x="2441" y="3336"/>
                </a:lnTo>
                <a:lnTo>
                  <a:pt x="2441" y="3338"/>
                </a:lnTo>
                <a:lnTo>
                  <a:pt x="2441" y="3340"/>
                </a:lnTo>
                <a:lnTo>
                  <a:pt x="2440" y="3340"/>
                </a:lnTo>
                <a:lnTo>
                  <a:pt x="2440" y="3338"/>
                </a:lnTo>
                <a:lnTo>
                  <a:pt x="2440" y="3340"/>
                </a:lnTo>
                <a:lnTo>
                  <a:pt x="2438" y="3340"/>
                </a:lnTo>
                <a:lnTo>
                  <a:pt x="2436" y="3340"/>
                </a:lnTo>
                <a:lnTo>
                  <a:pt x="2435" y="3340"/>
                </a:lnTo>
                <a:lnTo>
                  <a:pt x="2433" y="3341"/>
                </a:lnTo>
                <a:lnTo>
                  <a:pt x="2431" y="3343"/>
                </a:lnTo>
                <a:lnTo>
                  <a:pt x="2429" y="3341"/>
                </a:lnTo>
                <a:lnTo>
                  <a:pt x="2428" y="3343"/>
                </a:lnTo>
                <a:lnTo>
                  <a:pt x="2426" y="3345"/>
                </a:lnTo>
                <a:lnTo>
                  <a:pt x="2426" y="3343"/>
                </a:lnTo>
                <a:lnTo>
                  <a:pt x="2426" y="3345"/>
                </a:lnTo>
                <a:lnTo>
                  <a:pt x="2424" y="3345"/>
                </a:lnTo>
                <a:lnTo>
                  <a:pt x="2423" y="3346"/>
                </a:lnTo>
                <a:lnTo>
                  <a:pt x="2421" y="3346"/>
                </a:lnTo>
                <a:lnTo>
                  <a:pt x="2418" y="3346"/>
                </a:lnTo>
                <a:lnTo>
                  <a:pt x="2418" y="3348"/>
                </a:lnTo>
                <a:lnTo>
                  <a:pt x="2416" y="3350"/>
                </a:lnTo>
                <a:lnTo>
                  <a:pt x="2416" y="3353"/>
                </a:lnTo>
                <a:lnTo>
                  <a:pt x="2414" y="3352"/>
                </a:lnTo>
                <a:lnTo>
                  <a:pt x="2413" y="3352"/>
                </a:lnTo>
                <a:lnTo>
                  <a:pt x="2411" y="3352"/>
                </a:lnTo>
                <a:lnTo>
                  <a:pt x="2407" y="3353"/>
                </a:lnTo>
                <a:lnTo>
                  <a:pt x="2406" y="3355"/>
                </a:lnTo>
                <a:lnTo>
                  <a:pt x="2404" y="3357"/>
                </a:lnTo>
                <a:lnTo>
                  <a:pt x="2402" y="3358"/>
                </a:lnTo>
                <a:lnTo>
                  <a:pt x="2402" y="3360"/>
                </a:lnTo>
                <a:lnTo>
                  <a:pt x="2402" y="3362"/>
                </a:lnTo>
                <a:lnTo>
                  <a:pt x="2401" y="3360"/>
                </a:lnTo>
                <a:lnTo>
                  <a:pt x="2397" y="3362"/>
                </a:lnTo>
                <a:lnTo>
                  <a:pt x="2396" y="3362"/>
                </a:lnTo>
                <a:lnTo>
                  <a:pt x="2394" y="3362"/>
                </a:lnTo>
                <a:lnTo>
                  <a:pt x="2392" y="3362"/>
                </a:lnTo>
                <a:lnTo>
                  <a:pt x="2390" y="3360"/>
                </a:lnTo>
                <a:lnTo>
                  <a:pt x="2389" y="3360"/>
                </a:lnTo>
                <a:lnTo>
                  <a:pt x="2387" y="3360"/>
                </a:lnTo>
                <a:lnTo>
                  <a:pt x="2384" y="3360"/>
                </a:lnTo>
                <a:lnTo>
                  <a:pt x="2382" y="3360"/>
                </a:lnTo>
                <a:lnTo>
                  <a:pt x="2380" y="3360"/>
                </a:lnTo>
                <a:lnTo>
                  <a:pt x="2377" y="3358"/>
                </a:lnTo>
                <a:lnTo>
                  <a:pt x="2375" y="3358"/>
                </a:lnTo>
                <a:lnTo>
                  <a:pt x="2372" y="3357"/>
                </a:lnTo>
                <a:lnTo>
                  <a:pt x="2370" y="3355"/>
                </a:lnTo>
                <a:lnTo>
                  <a:pt x="2368" y="3355"/>
                </a:lnTo>
                <a:lnTo>
                  <a:pt x="2367" y="3353"/>
                </a:lnTo>
                <a:lnTo>
                  <a:pt x="2367" y="3352"/>
                </a:lnTo>
                <a:lnTo>
                  <a:pt x="2363" y="3350"/>
                </a:lnTo>
                <a:lnTo>
                  <a:pt x="2362" y="3350"/>
                </a:lnTo>
                <a:lnTo>
                  <a:pt x="2360" y="3348"/>
                </a:lnTo>
                <a:lnTo>
                  <a:pt x="2360" y="3346"/>
                </a:lnTo>
                <a:lnTo>
                  <a:pt x="2358" y="3346"/>
                </a:lnTo>
                <a:lnTo>
                  <a:pt x="2356" y="3345"/>
                </a:lnTo>
                <a:lnTo>
                  <a:pt x="2355" y="3345"/>
                </a:lnTo>
                <a:lnTo>
                  <a:pt x="2353" y="3343"/>
                </a:lnTo>
                <a:lnTo>
                  <a:pt x="2351" y="3341"/>
                </a:lnTo>
                <a:lnTo>
                  <a:pt x="2350" y="3341"/>
                </a:lnTo>
                <a:lnTo>
                  <a:pt x="2348" y="3340"/>
                </a:lnTo>
                <a:lnTo>
                  <a:pt x="2346" y="3340"/>
                </a:lnTo>
                <a:lnTo>
                  <a:pt x="2345" y="3341"/>
                </a:lnTo>
                <a:lnTo>
                  <a:pt x="2345" y="3340"/>
                </a:lnTo>
                <a:lnTo>
                  <a:pt x="2343" y="3338"/>
                </a:lnTo>
                <a:lnTo>
                  <a:pt x="2341" y="3340"/>
                </a:lnTo>
                <a:lnTo>
                  <a:pt x="2339" y="3340"/>
                </a:lnTo>
                <a:lnTo>
                  <a:pt x="2336" y="3338"/>
                </a:lnTo>
                <a:lnTo>
                  <a:pt x="2334" y="3340"/>
                </a:lnTo>
                <a:lnTo>
                  <a:pt x="2333" y="3338"/>
                </a:lnTo>
                <a:lnTo>
                  <a:pt x="2331" y="3340"/>
                </a:lnTo>
                <a:lnTo>
                  <a:pt x="2331" y="3338"/>
                </a:lnTo>
                <a:lnTo>
                  <a:pt x="2329" y="3336"/>
                </a:lnTo>
                <a:lnTo>
                  <a:pt x="2326" y="3338"/>
                </a:lnTo>
                <a:lnTo>
                  <a:pt x="2324" y="3338"/>
                </a:lnTo>
                <a:lnTo>
                  <a:pt x="2322" y="3336"/>
                </a:lnTo>
                <a:lnTo>
                  <a:pt x="2321" y="3336"/>
                </a:lnTo>
                <a:lnTo>
                  <a:pt x="2319" y="3336"/>
                </a:lnTo>
                <a:lnTo>
                  <a:pt x="2316" y="3335"/>
                </a:lnTo>
                <a:lnTo>
                  <a:pt x="2314" y="3335"/>
                </a:lnTo>
                <a:lnTo>
                  <a:pt x="2312" y="3335"/>
                </a:lnTo>
                <a:lnTo>
                  <a:pt x="2311" y="3335"/>
                </a:lnTo>
                <a:lnTo>
                  <a:pt x="2309" y="3335"/>
                </a:lnTo>
                <a:lnTo>
                  <a:pt x="2307" y="3335"/>
                </a:lnTo>
                <a:lnTo>
                  <a:pt x="2305" y="3333"/>
                </a:lnTo>
                <a:lnTo>
                  <a:pt x="2304" y="3333"/>
                </a:lnTo>
                <a:lnTo>
                  <a:pt x="2302" y="3333"/>
                </a:lnTo>
                <a:lnTo>
                  <a:pt x="2300" y="3333"/>
                </a:lnTo>
                <a:lnTo>
                  <a:pt x="2299" y="3333"/>
                </a:lnTo>
                <a:lnTo>
                  <a:pt x="2297" y="3333"/>
                </a:lnTo>
                <a:lnTo>
                  <a:pt x="2295" y="3333"/>
                </a:lnTo>
                <a:lnTo>
                  <a:pt x="2294" y="3333"/>
                </a:lnTo>
                <a:lnTo>
                  <a:pt x="2290" y="3335"/>
                </a:lnTo>
                <a:lnTo>
                  <a:pt x="2288" y="3335"/>
                </a:lnTo>
                <a:lnTo>
                  <a:pt x="2287" y="3335"/>
                </a:lnTo>
                <a:lnTo>
                  <a:pt x="2283" y="3335"/>
                </a:lnTo>
                <a:lnTo>
                  <a:pt x="2282" y="3335"/>
                </a:lnTo>
                <a:lnTo>
                  <a:pt x="2278" y="3336"/>
                </a:lnTo>
                <a:lnTo>
                  <a:pt x="2277" y="3336"/>
                </a:lnTo>
                <a:lnTo>
                  <a:pt x="2273" y="3338"/>
                </a:lnTo>
                <a:lnTo>
                  <a:pt x="2271" y="3338"/>
                </a:lnTo>
                <a:lnTo>
                  <a:pt x="2270" y="3340"/>
                </a:lnTo>
                <a:lnTo>
                  <a:pt x="2268" y="3340"/>
                </a:lnTo>
                <a:lnTo>
                  <a:pt x="2266" y="3338"/>
                </a:lnTo>
                <a:lnTo>
                  <a:pt x="2265" y="3338"/>
                </a:lnTo>
                <a:lnTo>
                  <a:pt x="2265" y="3340"/>
                </a:lnTo>
                <a:lnTo>
                  <a:pt x="2263" y="3341"/>
                </a:lnTo>
                <a:lnTo>
                  <a:pt x="2263" y="3343"/>
                </a:lnTo>
                <a:lnTo>
                  <a:pt x="2261" y="3343"/>
                </a:lnTo>
                <a:lnTo>
                  <a:pt x="2263" y="3343"/>
                </a:lnTo>
                <a:lnTo>
                  <a:pt x="2261" y="3343"/>
                </a:lnTo>
                <a:lnTo>
                  <a:pt x="2261" y="3346"/>
                </a:lnTo>
                <a:lnTo>
                  <a:pt x="2261" y="3348"/>
                </a:lnTo>
                <a:lnTo>
                  <a:pt x="2261" y="3352"/>
                </a:lnTo>
                <a:lnTo>
                  <a:pt x="2263" y="3352"/>
                </a:lnTo>
                <a:lnTo>
                  <a:pt x="2263" y="3355"/>
                </a:lnTo>
                <a:lnTo>
                  <a:pt x="2263" y="3357"/>
                </a:lnTo>
                <a:lnTo>
                  <a:pt x="2263" y="3358"/>
                </a:lnTo>
                <a:lnTo>
                  <a:pt x="2266" y="3360"/>
                </a:lnTo>
                <a:lnTo>
                  <a:pt x="2265" y="3363"/>
                </a:lnTo>
                <a:lnTo>
                  <a:pt x="2266" y="3363"/>
                </a:lnTo>
                <a:lnTo>
                  <a:pt x="2265" y="3365"/>
                </a:lnTo>
                <a:lnTo>
                  <a:pt x="2265" y="3367"/>
                </a:lnTo>
                <a:lnTo>
                  <a:pt x="2265" y="3369"/>
                </a:lnTo>
                <a:lnTo>
                  <a:pt x="2263" y="3370"/>
                </a:lnTo>
                <a:lnTo>
                  <a:pt x="2265" y="3372"/>
                </a:lnTo>
                <a:lnTo>
                  <a:pt x="2263" y="3372"/>
                </a:lnTo>
                <a:lnTo>
                  <a:pt x="2263" y="3375"/>
                </a:lnTo>
                <a:lnTo>
                  <a:pt x="2266" y="3377"/>
                </a:lnTo>
                <a:lnTo>
                  <a:pt x="2266" y="3379"/>
                </a:lnTo>
                <a:lnTo>
                  <a:pt x="2268" y="3379"/>
                </a:lnTo>
                <a:lnTo>
                  <a:pt x="2266" y="3380"/>
                </a:lnTo>
                <a:lnTo>
                  <a:pt x="2265" y="3380"/>
                </a:lnTo>
                <a:lnTo>
                  <a:pt x="2265" y="3382"/>
                </a:lnTo>
                <a:lnTo>
                  <a:pt x="2266" y="3382"/>
                </a:lnTo>
                <a:lnTo>
                  <a:pt x="2266" y="3384"/>
                </a:lnTo>
                <a:lnTo>
                  <a:pt x="2265" y="3386"/>
                </a:lnTo>
                <a:lnTo>
                  <a:pt x="2263" y="3389"/>
                </a:lnTo>
                <a:lnTo>
                  <a:pt x="2261" y="3387"/>
                </a:lnTo>
                <a:lnTo>
                  <a:pt x="2261" y="3386"/>
                </a:lnTo>
                <a:lnTo>
                  <a:pt x="2260" y="3386"/>
                </a:lnTo>
                <a:lnTo>
                  <a:pt x="2256" y="3384"/>
                </a:lnTo>
                <a:lnTo>
                  <a:pt x="2254" y="3384"/>
                </a:lnTo>
                <a:lnTo>
                  <a:pt x="2253" y="3384"/>
                </a:lnTo>
                <a:lnTo>
                  <a:pt x="2249" y="3386"/>
                </a:lnTo>
                <a:lnTo>
                  <a:pt x="2248" y="3387"/>
                </a:lnTo>
                <a:lnTo>
                  <a:pt x="2248" y="3389"/>
                </a:lnTo>
                <a:lnTo>
                  <a:pt x="2246" y="3391"/>
                </a:lnTo>
                <a:lnTo>
                  <a:pt x="2243" y="3392"/>
                </a:lnTo>
                <a:lnTo>
                  <a:pt x="2241" y="3394"/>
                </a:lnTo>
                <a:lnTo>
                  <a:pt x="2239" y="3394"/>
                </a:lnTo>
                <a:lnTo>
                  <a:pt x="2239" y="3396"/>
                </a:lnTo>
                <a:lnTo>
                  <a:pt x="2237" y="3396"/>
                </a:lnTo>
                <a:lnTo>
                  <a:pt x="2236" y="3396"/>
                </a:lnTo>
                <a:lnTo>
                  <a:pt x="2234" y="3397"/>
                </a:lnTo>
                <a:lnTo>
                  <a:pt x="2234" y="3399"/>
                </a:lnTo>
                <a:lnTo>
                  <a:pt x="2232" y="3399"/>
                </a:lnTo>
                <a:lnTo>
                  <a:pt x="2231" y="3401"/>
                </a:lnTo>
                <a:lnTo>
                  <a:pt x="2232" y="3399"/>
                </a:lnTo>
                <a:lnTo>
                  <a:pt x="2231" y="3401"/>
                </a:lnTo>
                <a:lnTo>
                  <a:pt x="2231" y="3403"/>
                </a:lnTo>
                <a:lnTo>
                  <a:pt x="2232" y="3401"/>
                </a:lnTo>
                <a:lnTo>
                  <a:pt x="2231" y="3404"/>
                </a:lnTo>
                <a:lnTo>
                  <a:pt x="2227" y="3404"/>
                </a:lnTo>
                <a:lnTo>
                  <a:pt x="2229" y="3403"/>
                </a:lnTo>
                <a:lnTo>
                  <a:pt x="2227" y="3404"/>
                </a:lnTo>
                <a:lnTo>
                  <a:pt x="2226" y="3404"/>
                </a:lnTo>
                <a:lnTo>
                  <a:pt x="2224" y="3406"/>
                </a:lnTo>
                <a:lnTo>
                  <a:pt x="2224" y="3404"/>
                </a:lnTo>
                <a:lnTo>
                  <a:pt x="2222" y="3406"/>
                </a:lnTo>
                <a:lnTo>
                  <a:pt x="2220" y="3404"/>
                </a:lnTo>
                <a:lnTo>
                  <a:pt x="2222" y="3404"/>
                </a:lnTo>
                <a:lnTo>
                  <a:pt x="2220" y="3403"/>
                </a:lnTo>
                <a:lnTo>
                  <a:pt x="2219" y="3403"/>
                </a:lnTo>
                <a:lnTo>
                  <a:pt x="2217" y="3404"/>
                </a:lnTo>
                <a:lnTo>
                  <a:pt x="2220" y="3403"/>
                </a:lnTo>
                <a:lnTo>
                  <a:pt x="2217" y="3403"/>
                </a:lnTo>
                <a:lnTo>
                  <a:pt x="2215" y="3403"/>
                </a:lnTo>
                <a:lnTo>
                  <a:pt x="2212" y="3404"/>
                </a:lnTo>
                <a:lnTo>
                  <a:pt x="2210" y="3404"/>
                </a:lnTo>
                <a:lnTo>
                  <a:pt x="2209" y="3403"/>
                </a:lnTo>
                <a:lnTo>
                  <a:pt x="2207" y="3404"/>
                </a:lnTo>
                <a:lnTo>
                  <a:pt x="2207" y="3401"/>
                </a:lnTo>
                <a:lnTo>
                  <a:pt x="2203" y="3403"/>
                </a:lnTo>
                <a:lnTo>
                  <a:pt x="2205" y="3404"/>
                </a:lnTo>
                <a:lnTo>
                  <a:pt x="2203" y="3404"/>
                </a:lnTo>
                <a:lnTo>
                  <a:pt x="2202" y="3404"/>
                </a:lnTo>
                <a:lnTo>
                  <a:pt x="2200" y="3404"/>
                </a:lnTo>
                <a:lnTo>
                  <a:pt x="2198" y="3403"/>
                </a:lnTo>
                <a:lnTo>
                  <a:pt x="2197" y="3403"/>
                </a:lnTo>
                <a:lnTo>
                  <a:pt x="2197" y="3401"/>
                </a:lnTo>
                <a:lnTo>
                  <a:pt x="2195" y="3399"/>
                </a:lnTo>
                <a:lnTo>
                  <a:pt x="2193" y="3401"/>
                </a:lnTo>
                <a:lnTo>
                  <a:pt x="2192" y="3399"/>
                </a:lnTo>
                <a:lnTo>
                  <a:pt x="2190" y="3399"/>
                </a:lnTo>
                <a:lnTo>
                  <a:pt x="2188" y="3399"/>
                </a:lnTo>
                <a:lnTo>
                  <a:pt x="2190" y="3397"/>
                </a:lnTo>
                <a:lnTo>
                  <a:pt x="2186" y="3397"/>
                </a:lnTo>
                <a:lnTo>
                  <a:pt x="2186" y="3396"/>
                </a:lnTo>
                <a:lnTo>
                  <a:pt x="2188" y="3396"/>
                </a:lnTo>
                <a:lnTo>
                  <a:pt x="2186" y="3394"/>
                </a:lnTo>
                <a:lnTo>
                  <a:pt x="2188" y="3394"/>
                </a:lnTo>
                <a:lnTo>
                  <a:pt x="2186" y="3392"/>
                </a:lnTo>
                <a:lnTo>
                  <a:pt x="2185" y="3391"/>
                </a:lnTo>
                <a:lnTo>
                  <a:pt x="2186" y="3389"/>
                </a:lnTo>
                <a:lnTo>
                  <a:pt x="2185" y="3387"/>
                </a:lnTo>
                <a:lnTo>
                  <a:pt x="2183" y="3386"/>
                </a:lnTo>
                <a:lnTo>
                  <a:pt x="2185" y="3387"/>
                </a:lnTo>
                <a:lnTo>
                  <a:pt x="2183" y="3387"/>
                </a:lnTo>
                <a:lnTo>
                  <a:pt x="2183" y="3386"/>
                </a:lnTo>
                <a:lnTo>
                  <a:pt x="2180" y="3386"/>
                </a:lnTo>
                <a:lnTo>
                  <a:pt x="2181" y="3387"/>
                </a:lnTo>
                <a:lnTo>
                  <a:pt x="2178" y="3387"/>
                </a:lnTo>
                <a:lnTo>
                  <a:pt x="2180" y="3387"/>
                </a:lnTo>
                <a:lnTo>
                  <a:pt x="2178" y="3386"/>
                </a:lnTo>
                <a:lnTo>
                  <a:pt x="2178" y="3382"/>
                </a:lnTo>
                <a:lnTo>
                  <a:pt x="2181" y="3382"/>
                </a:lnTo>
                <a:lnTo>
                  <a:pt x="2180" y="3380"/>
                </a:lnTo>
                <a:lnTo>
                  <a:pt x="2181" y="3380"/>
                </a:lnTo>
                <a:lnTo>
                  <a:pt x="2181" y="3382"/>
                </a:lnTo>
                <a:lnTo>
                  <a:pt x="2183" y="3380"/>
                </a:lnTo>
                <a:lnTo>
                  <a:pt x="2183" y="3379"/>
                </a:lnTo>
                <a:lnTo>
                  <a:pt x="2181" y="3377"/>
                </a:lnTo>
                <a:lnTo>
                  <a:pt x="2178" y="3377"/>
                </a:lnTo>
                <a:lnTo>
                  <a:pt x="2176" y="3375"/>
                </a:lnTo>
                <a:lnTo>
                  <a:pt x="2176" y="3377"/>
                </a:lnTo>
                <a:lnTo>
                  <a:pt x="2176" y="3375"/>
                </a:lnTo>
                <a:lnTo>
                  <a:pt x="2175" y="3377"/>
                </a:lnTo>
                <a:lnTo>
                  <a:pt x="2173" y="3375"/>
                </a:lnTo>
                <a:lnTo>
                  <a:pt x="2173" y="3377"/>
                </a:lnTo>
                <a:lnTo>
                  <a:pt x="2169" y="3374"/>
                </a:lnTo>
                <a:lnTo>
                  <a:pt x="2169" y="3375"/>
                </a:lnTo>
                <a:lnTo>
                  <a:pt x="2168" y="3379"/>
                </a:lnTo>
                <a:lnTo>
                  <a:pt x="2169" y="3379"/>
                </a:lnTo>
                <a:lnTo>
                  <a:pt x="2168" y="3379"/>
                </a:lnTo>
                <a:lnTo>
                  <a:pt x="2168" y="3382"/>
                </a:lnTo>
                <a:lnTo>
                  <a:pt x="2168" y="3384"/>
                </a:lnTo>
                <a:lnTo>
                  <a:pt x="2169" y="3384"/>
                </a:lnTo>
                <a:lnTo>
                  <a:pt x="2169" y="3382"/>
                </a:lnTo>
                <a:lnTo>
                  <a:pt x="2171" y="3382"/>
                </a:lnTo>
                <a:lnTo>
                  <a:pt x="2169" y="3386"/>
                </a:lnTo>
                <a:lnTo>
                  <a:pt x="2168" y="3387"/>
                </a:lnTo>
                <a:lnTo>
                  <a:pt x="2166" y="3386"/>
                </a:lnTo>
                <a:lnTo>
                  <a:pt x="2168" y="3384"/>
                </a:lnTo>
                <a:lnTo>
                  <a:pt x="2166" y="3384"/>
                </a:lnTo>
                <a:lnTo>
                  <a:pt x="2166" y="3382"/>
                </a:lnTo>
                <a:lnTo>
                  <a:pt x="2164" y="3384"/>
                </a:lnTo>
                <a:lnTo>
                  <a:pt x="2164" y="3382"/>
                </a:lnTo>
                <a:lnTo>
                  <a:pt x="2163" y="3382"/>
                </a:lnTo>
                <a:lnTo>
                  <a:pt x="2161" y="3380"/>
                </a:lnTo>
                <a:lnTo>
                  <a:pt x="2159" y="3380"/>
                </a:lnTo>
                <a:lnTo>
                  <a:pt x="2158" y="3382"/>
                </a:lnTo>
                <a:lnTo>
                  <a:pt x="2156" y="3382"/>
                </a:lnTo>
                <a:lnTo>
                  <a:pt x="2154" y="3380"/>
                </a:lnTo>
                <a:lnTo>
                  <a:pt x="2154" y="3382"/>
                </a:lnTo>
                <a:lnTo>
                  <a:pt x="2152" y="3382"/>
                </a:lnTo>
                <a:lnTo>
                  <a:pt x="2152" y="3380"/>
                </a:lnTo>
                <a:lnTo>
                  <a:pt x="2152" y="3379"/>
                </a:lnTo>
                <a:lnTo>
                  <a:pt x="2152" y="3377"/>
                </a:lnTo>
                <a:lnTo>
                  <a:pt x="2151" y="3375"/>
                </a:lnTo>
                <a:lnTo>
                  <a:pt x="2151" y="3377"/>
                </a:lnTo>
                <a:lnTo>
                  <a:pt x="2149" y="3375"/>
                </a:lnTo>
                <a:lnTo>
                  <a:pt x="2147" y="3375"/>
                </a:lnTo>
                <a:lnTo>
                  <a:pt x="2146" y="3377"/>
                </a:lnTo>
                <a:lnTo>
                  <a:pt x="2147" y="3379"/>
                </a:lnTo>
                <a:lnTo>
                  <a:pt x="2144" y="3377"/>
                </a:lnTo>
                <a:lnTo>
                  <a:pt x="2142" y="3377"/>
                </a:lnTo>
                <a:lnTo>
                  <a:pt x="2141" y="3375"/>
                </a:lnTo>
                <a:lnTo>
                  <a:pt x="2142" y="3374"/>
                </a:lnTo>
                <a:lnTo>
                  <a:pt x="2141" y="3374"/>
                </a:lnTo>
                <a:lnTo>
                  <a:pt x="2141" y="3375"/>
                </a:lnTo>
                <a:lnTo>
                  <a:pt x="2139" y="3375"/>
                </a:lnTo>
                <a:lnTo>
                  <a:pt x="2139" y="3374"/>
                </a:lnTo>
                <a:lnTo>
                  <a:pt x="2137" y="3377"/>
                </a:lnTo>
                <a:lnTo>
                  <a:pt x="2141" y="3377"/>
                </a:lnTo>
                <a:lnTo>
                  <a:pt x="2139" y="3380"/>
                </a:lnTo>
                <a:lnTo>
                  <a:pt x="2137" y="3380"/>
                </a:lnTo>
                <a:lnTo>
                  <a:pt x="2137" y="3379"/>
                </a:lnTo>
                <a:lnTo>
                  <a:pt x="2134" y="3379"/>
                </a:lnTo>
                <a:lnTo>
                  <a:pt x="2134" y="3380"/>
                </a:lnTo>
                <a:lnTo>
                  <a:pt x="2132" y="3382"/>
                </a:lnTo>
                <a:lnTo>
                  <a:pt x="2132" y="3380"/>
                </a:lnTo>
                <a:lnTo>
                  <a:pt x="2134" y="3379"/>
                </a:lnTo>
                <a:lnTo>
                  <a:pt x="2132" y="3377"/>
                </a:lnTo>
                <a:lnTo>
                  <a:pt x="2130" y="3377"/>
                </a:lnTo>
                <a:lnTo>
                  <a:pt x="2130" y="3379"/>
                </a:lnTo>
                <a:lnTo>
                  <a:pt x="2130" y="3380"/>
                </a:lnTo>
                <a:lnTo>
                  <a:pt x="2132" y="3382"/>
                </a:lnTo>
                <a:lnTo>
                  <a:pt x="2132" y="3384"/>
                </a:lnTo>
                <a:lnTo>
                  <a:pt x="2132" y="3386"/>
                </a:lnTo>
                <a:lnTo>
                  <a:pt x="2134" y="3384"/>
                </a:lnTo>
                <a:lnTo>
                  <a:pt x="2135" y="3386"/>
                </a:lnTo>
                <a:lnTo>
                  <a:pt x="2134" y="3387"/>
                </a:lnTo>
                <a:lnTo>
                  <a:pt x="2134" y="3386"/>
                </a:lnTo>
                <a:lnTo>
                  <a:pt x="2132" y="3386"/>
                </a:lnTo>
                <a:lnTo>
                  <a:pt x="2130" y="3389"/>
                </a:lnTo>
                <a:lnTo>
                  <a:pt x="2132" y="3389"/>
                </a:lnTo>
                <a:lnTo>
                  <a:pt x="2129" y="3391"/>
                </a:lnTo>
                <a:lnTo>
                  <a:pt x="2129" y="3392"/>
                </a:lnTo>
                <a:lnTo>
                  <a:pt x="2127" y="3394"/>
                </a:lnTo>
                <a:lnTo>
                  <a:pt x="2129" y="3394"/>
                </a:lnTo>
                <a:lnTo>
                  <a:pt x="2127" y="3397"/>
                </a:lnTo>
                <a:lnTo>
                  <a:pt x="2125" y="3399"/>
                </a:lnTo>
                <a:lnTo>
                  <a:pt x="2124" y="3399"/>
                </a:lnTo>
                <a:lnTo>
                  <a:pt x="2124" y="3401"/>
                </a:lnTo>
                <a:lnTo>
                  <a:pt x="2122" y="3401"/>
                </a:lnTo>
                <a:lnTo>
                  <a:pt x="2120" y="3403"/>
                </a:lnTo>
                <a:lnTo>
                  <a:pt x="2118" y="3401"/>
                </a:lnTo>
                <a:lnTo>
                  <a:pt x="2120" y="3401"/>
                </a:lnTo>
                <a:lnTo>
                  <a:pt x="2118" y="3399"/>
                </a:lnTo>
                <a:lnTo>
                  <a:pt x="2120" y="3399"/>
                </a:lnTo>
                <a:lnTo>
                  <a:pt x="2122" y="3399"/>
                </a:lnTo>
                <a:lnTo>
                  <a:pt x="2124" y="3397"/>
                </a:lnTo>
                <a:lnTo>
                  <a:pt x="2125" y="3394"/>
                </a:lnTo>
                <a:lnTo>
                  <a:pt x="2124" y="3394"/>
                </a:lnTo>
                <a:lnTo>
                  <a:pt x="2122" y="3394"/>
                </a:lnTo>
                <a:lnTo>
                  <a:pt x="2124" y="3392"/>
                </a:lnTo>
                <a:lnTo>
                  <a:pt x="2122" y="3392"/>
                </a:lnTo>
                <a:lnTo>
                  <a:pt x="2120" y="3394"/>
                </a:lnTo>
                <a:lnTo>
                  <a:pt x="2118" y="3394"/>
                </a:lnTo>
                <a:lnTo>
                  <a:pt x="2117" y="3394"/>
                </a:lnTo>
                <a:lnTo>
                  <a:pt x="2117" y="3392"/>
                </a:lnTo>
                <a:lnTo>
                  <a:pt x="2118" y="3394"/>
                </a:lnTo>
                <a:lnTo>
                  <a:pt x="2120" y="3391"/>
                </a:lnTo>
                <a:lnTo>
                  <a:pt x="2122" y="3389"/>
                </a:lnTo>
                <a:lnTo>
                  <a:pt x="2124" y="3389"/>
                </a:lnTo>
                <a:lnTo>
                  <a:pt x="2124" y="3391"/>
                </a:lnTo>
                <a:lnTo>
                  <a:pt x="2125" y="3389"/>
                </a:lnTo>
                <a:lnTo>
                  <a:pt x="2122" y="3387"/>
                </a:lnTo>
                <a:lnTo>
                  <a:pt x="2124" y="3386"/>
                </a:lnTo>
                <a:lnTo>
                  <a:pt x="2125" y="3386"/>
                </a:lnTo>
                <a:lnTo>
                  <a:pt x="2124" y="3384"/>
                </a:lnTo>
                <a:lnTo>
                  <a:pt x="2122" y="3384"/>
                </a:lnTo>
                <a:lnTo>
                  <a:pt x="2122" y="3386"/>
                </a:lnTo>
                <a:lnTo>
                  <a:pt x="2120" y="3387"/>
                </a:lnTo>
                <a:lnTo>
                  <a:pt x="2120" y="3386"/>
                </a:lnTo>
                <a:lnTo>
                  <a:pt x="2118" y="3387"/>
                </a:lnTo>
                <a:lnTo>
                  <a:pt x="2117" y="3387"/>
                </a:lnTo>
                <a:lnTo>
                  <a:pt x="2115" y="3389"/>
                </a:lnTo>
                <a:lnTo>
                  <a:pt x="2113" y="3391"/>
                </a:lnTo>
                <a:lnTo>
                  <a:pt x="2113" y="3389"/>
                </a:lnTo>
                <a:lnTo>
                  <a:pt x="2112" y="3389"/>
                </a:lnTo>
                <a:lnTo>
                  <a:pt x="2112" y="3391"/>
                </a:lnTo>
                <a:lnTo>
                  <a:pt x="2110" y="3389"/>
                </a:lnTo>
                <a:lnTo>
                  <a:pt x="2110" y="3391"/>
                </a:lnTo>
                <a:lnTo>
                  <a:pt x="2108" y="3391"/>
                </a:lnTo>
                <a:lnTo>
                  <a:pt x="2107" y="3391"/>
                </a:lnTo>
                <a:lnTo>
                  <a:pt x="2103" y="3391"/>
                </a:lnTo>
                <a:lnTo>
                  <a:pt x="2101" y="3392"/>
                </a:lnTo>
                <a:lnTo>
                  <a:pt x="2100" y="3394"/>
                </a:lnTo>
                <a:lnTo>
                  <a:pt x="2101" y="3396"/>
                </a:lnTo>
                <a:lnTo>
                  <a:pt x="2100" y="3396"/>
                </a:lnTo>
                <a:lnTo>
                  <a:pt x="2101" y="3399"/>
                </a:lnTo>
                <a:lnTo>
                  <a:pt x="2098" y="3399"/>
                </a:lnTo>
                <a:lnTo>
                  <a:pt x="2095" y="3399"/>
                </a:lnTo>
                <a:lnTo>
                  <a:pt x="2095" y="3401"/>
                </a:lnTo>
                <a:lnTo>
                  <a:pt x="2095" y="3399"/>
                </a:lnTo>
                <a:lnTo>
                  <a:pt x="2091" y="3401"/>
                </a:lnTo>
                <a:lnTo>
                  <a:pt x="2090" y="3403"/>
                </a:lnTo>
                <a:lnTo>
                  <a:pt x="2086" y="3403"/>
                </a:lnTo>
                <a:lnTo>
                  <a:pt x="2084" y="3403"/>
                </a:lnTo>
                <a:lnTo>
                  <a:pt x="2083" y="3403"/>
                </a:lnTo>
                <a:lnTo>
                  <a:pt x="2083" y="3401"/>
                </a:lnTo>
                <a:lnTo>
                  <a:pt x="2084" y="3401"/>
                </a:lnTo>
                <a:lnTo>
                  <a:pt x="2086" y="3399"/>
                </a:lnTo>
                <a:lnTo>
                  <a:pt x="2086" y="3397"/>
                </a:lnTo>
                <a:lnTo>
                  <a:pt x="2086" y="3396"/>
                </a:lnTo>
                <a:lnTo>
                  <a:pt x="2088" y="3396"/>
                </a:lnTo>
                <a:lnTo>
                  <a:pt x="2090" y="3396"/>
                </a:lnTo>
                <a:lnTo>
                  <a:pt x="2091" y="3394"/>
                </a:lnTo>
                <a:lnTo>
                  <a:pt x="2095" y="3392"/>
                </a:lnTo>
                <a:lnTo>
                  <a:pt x="2096" y="3392"/>
                </a:lnTo>
                <a:lnTo>
                  <a:pt x="2096" y="3391"/>
                </a:lnTo>
                <a:lnTo>
                  <a:pt x="2096" y="3389"/>
                </a:lnTo>
                <a:lnTo>
                  <a:pt x="2100" y="3389"/>
                </a:lnTo>
                <a:lnTo>
                  <a:pt x="2100" y="3391"/>
                </a:lnTo>
                <a:lnTo>
                  <a:pt x="2101" y="3391"/>
                </a:lnTo>
                <a:lnTo>
                  <a:pt x="2105" y="3389"/>
                </a:lnTo>
                <a:lnTo>
                  <a:pt x="2107" y="3387"/>
                </a:lnTo>
                <a:lnTo>
                  <a:pt x="2108" y="3387"/>
                </a:lnTo>
                <a:lnTo>
                  <a:pt x="2112" y="3386"/>
                </a:lnTo>
                <a:lnTo>
                  <a:pt x="2115" y="3386"/>
                </a:lnTo>
                <a:lnTo>
                  <a:pt x="2117" y="3386"/>
                </a:lnTo>
                <a:lnTo>
                  <a:pt x="2118" y="3386"/>
                </a:lnTo>
                <a:lnTo>
                  <a:pt x="2120" y="3384"/>
                </a:lnTo>
                <a:lnTo>
                  <a:pt x="2120" y="3382"/>
                </a:lnTo>
                <a:lnTo>
                  <a:pt x="2117" y="3382"/>
                </a:lnTo>
                <a:lnTo>
                  <a:pt x="2118" y="3382"/>
                </a:lnTo>
                <a:lnTo>
                  <a:pt x="2117" y="3380"/>
                </a:lnTo>
                <a:lnTo>
                  <a:pt x="2118" y="3379"/>
                </a:lnTo>
                <a:lnTo>
                  <a:pt x="2118" y="3377"/>
                </a:lnTo>
                <a:lnTo>
                  <a:pt x="2115" y="3377"/>
                </a:lnTo>
                <a:lnTo>
                  <a:pt x="2117" y="3377"/>
                </a:lnTo>
                <a:lnTo>
                  <a:pt x="2115" y="3375"/>
                </a:lnTo>
                <a:lnTo>
                  <a:pt x="2118" y="3375"/>
                </a:lnTo>
                <a:lnTo>
                  <a:pt x="2117" y="3375"/>
                </a:lnTo>
                <a:lnTo>
                  <a:pt x="2118" y="3374"/>
                </a:lnTo>
                <a:lnTo>
                  <a:pt x="2120" y="3375"/>
                </a:lnTo>
                <a:lnTo>
                  <a:pt x="2122" y="3374"/>
                </a:lnTo>
                <a:lnTo>
                  <a:pt x="2124" y="3375"/>
                </a:lnTo>
                <a:lnTo>
                  <a:pt x="2124" y="3374"/>
                </a:lnTo>
                <a:lnTo>
                  <a:pt x="2124" y="3375"/>
                </a:lnTo>
                <a:lnTo>
                  <a:pt x="2124" y="3372"/>
                </a:lnTo>
                <a:lnTo>
                  <a:pt x="2125" y="3372"/>
                </a:lnTo>
                <a:lnTo>
                  <a:pt x="2125" y="3370"/>
                </a:lnTo>
                <a:lnTo>
                  <a:pt x="2125" y="3369"/>
                </a:lnTo>
                <a:lnTo>
                  <a:pt x="2127" y="3369"/>
                </a:lnTo>
                <a:lnTo>
                  <a:pt x="2127" y="3367"/>
                </a:lnTo>
                <a:lnTo>
                  <a:pt x="2129" y="3365"/>
                </a:lnTo>
                <a:lnTo>
                  <a:pt x="2130" y="3365"/>
                </a:lnTo>
                <a:lnTo>
                  <a:pt x="2130" y="3363"/>
                </a:lnTo>
                <a:lnTo>
                  <a:pt x="2127" y="3363"/>
                </a:lnTo>
                <a:lnTo>
                  <a:pt x="2125" y="3365"/>
                </a:lnTo>
                <a:lnTo>
                  <a:pt x="2124" y="3365"/>
                </a:lnTo>
                <a:lnTo>
                  <a:pt x="2122" y="3367"/>
                </a:lnTo>
                <a:lnTo>
                  <a:pt x="2120" y="3367"/>
                </a:lnTo>
                <a:lnTo>
                  <a:pt x="2118" y="3367"/>
                </a:lnTo>
                <a:lnTo>
                  <a:pt x="2120" y="3369"/>
                </a:lnTo>
                <a:lnTo>
                  <a:pt x="2118" y="3369"/>
                </a:lnTo>
                <a:lnTo>
                  <a:pt x="2118" y="3367"/>
                </a:lnTo>
                <a:lnTo>
                  <a:pt x="2117" y="3369"/>
                </a:lnTo>
                <a:lnTo>
                  <a:pt x="2115" y="3369"/>
                </a:lnTo>
                <a:lnTo>
                  <a:pt x="2112" y="3369"/>
                </a:lnTo>
                <a:lnTo>
                  <a:pt x="2110" y="3370"/>
                </a:lnTo>
                <a:lnTo>
                  <a:pt x="2108" y="3370"/>
                </a:lnTo>
                <a:lnTo>
                  <a:pt x="2107" y="3370"/>
                </a:lnTo>
                <a:lnTo>
                  <a:pt x="2105" y="3372"/>
                </a:lnTo>
                <a:lnTo>
                  <a:pt x="2103" y="3372"/>
                </a:lnTo>
                <a:lnTo>
                  <a:pt x="2101" y="3374"/>
                </a:lnTo>
                <a:lnTo>
                  <a:pt x="2100" y="3375"/>
                </a:lnTo>
                <a:lnTo>
                  <a:pt x="2100" y="3374"/>
                </a:lnTo>
                <a:lnTo>
                  <a:pt x="2098" y="3375"/>
                </a:lnTo>
                <a:lnTo>
                  <a:pt x="2096" y="3375"/>
                </a:lnTo>
                <a:lnTo>
                  <a:pt x="2093" y="3375"/>
                </a:lnTo>
                <a:lnTo>
                  <a:pt x="2093" y="3377"/>
                </a:lnTo>
                <a:lnTo>
                  <a:pt x="2091" y="3377"/>
                </a:lnTo>
                <a:lnTo>
                  <a:pt x="2090" y="3377"/>
                </a:lnTo>
                <a:lnTo>
                  <a:pt x="2090" y="3379"/>
                </a:lnTo>
                <a:lnTo>
                  <a:pt x="2086" y="3379"/>
                </a:lnTo>
                <a:lnTo>
                  <a:pt x="2084" y="3379"/>
                </a:lnTo>
                <a:lnTo>
                  <a:pt x="2083" y="3379"/>
                </a:lnTo>
                <a:lnTo>
                  <a:pt x="2081" y="3377"/>
                </a:lnTo>
                <a:lnTo>
                  <a:pt x="2079" y="3379"/>
                </a:lnTo>
                <a:lnTo>
                  <a:pt x="2079" y="3377"/>
                </a:lnTo>
                <a:lnTo>
                  <a:pt x="2078" y="3380"/>
                </a:lnTo>
                <a:lnTo>
                  <a:pt x="2078" y="3377"/>
                </a:lnTo>
                <a:lnTo>
                  <a:pt x="2076" y="3379"/>
                </a:lnTo>
                <a:lnTo>
                  <a:pt x="2076" y="3380"/>
                </a:lnTo>
                <a:lnTo>
                  <a:pt x="2074" y="3382"/>
                </a:lnTo>
                <a:lnTo>
                  <a:pt x="2074" y="3384"/>
                </a:lnTo>
                <a:lnTo>
                  <a:pt x="2073" y="3384"/>
                </a:lnTo>
                <a:lnTo>
                  <a:pt x="2073" y="3382"/>
                </a:lnTo>
                <a:lnTo>
                  <a:pt x="2071" y="3379"/>
                </a:lnTo>
                <a:lnTo>
                  <a:pt x="2069" y="3377"/>
                </a:lnTo>
                <a:lnTo>
                  <a:pt x="2069" y="3375"/>
                </a:lnTo>
                <a:lnTo>
                  <a:pt x="2073" y="3374"/>
                </a:lnTo>
                <a:lnTo>
                  <a:pt x="2069" y="3374"/>
                </a:lnTo>
                <a:lnTo>
                  <a:pt x="2069" y="3372"/>
                </a:lnTo>
                <a:lnTo>
                  <a:pt x="2069" y="3374"/>
                </a:lnTo>
                <a:lnTo>
                  <a:pt x="2071" y="3372"/>
                </a:lnTo>
                <a:lnTo>
                  <a:pt x="2073" y="3372"/>
                </a:lnTo>
                <a:lnTo>
                  <a:pt x="2073" y="3369"/>
                </a:lnTo>
                <a:lnTo>
                  <a:pt x="2074" y="3370"/>
                </a:lnTo>
                <a:lnTo>
                  <a:pt x="2074" y="3369"/>
                </a:lnTo>
                <a:lnTo>
                  <a:pt x="2076" y="3369"/>
                </a:lnTo>
                <a:lnTo>
                  <a:pt x="2076" y="3370"/>
                </a:lnTo>
                <a:lnTo>
                  <a:pt x="2078" y="3372"/>
                </a:lnTo>
                <a:lnTo>
                  <a:pt x="2078" y="3370"/>
                </a:lnTo>
                <a:lnTo>
                  <a:pt x="2079" y="3370"/>
                </a:lnTo>
                <a:lnTo>
                  <a:pt x="2081" y="3372"/>
                </a:lnTo>
                <a:lnTo>
                  <a:pt x="2081" y="3374"/>
                </a:lnTo>
                <a:lnTo>
                  <a:pt x="2083" y="3372"/>
                </a:lnTo>
                <a:lnTo>
                  <a:pt x="2084" y="3369"/>
                </a:lnTo>
                <a:lnTo>
                  <a:pt x="2088" y="3367"/>
                </a:lnTo>
                <a:lnTo>
                  <a:pt x="2086" y="3369"/>
                </a:lnTo>
                <a:lnTo>
                  <a:pt x="2086" y="3367"/>
                </a:lnTo>
                <a:lnTo>
                  <a:pt x="2084" y="3367"/>
                </a:lnTo>
                <a:lnTo>
                  <a:pt x="2084" y="3365"/>
                </a:lnTo>
                <a:lnTo>
                  <a:pt x="2083" y="3363"/>
                </a:lnTo>
                <a:lnTo>
                  <a:pt x="2084" y="3363"/>
                </a:lnTo>
                <a:lnTo>
                  <a:pt x="2086" y="3362"/>
                </a:lnTo>
                <a:lnTo>
                  <a:pt x="2088" y="3363"/>
                </a:lnTo>
                <a:lnTo>
                  <a:pt x="2086" y="3365"/>
                </a:lnTo>
                <a:lnTo>
                  <a:pt x="2088" y="3363"/>
                </a:lnTo>
                <a:lnTo>
                  <a:pt x="2086" y="3362"/>
                </a:lnTo>
                <a:lnTo>
                  <a:pt x="2086" y="3360"/>
                </a:lnTo>
                <a:lnTo>
                  <a:pt x="2088" y="3358"/>
                </a:lnTo>
                <a:lnTo>
                  <a:pt x="2088" y="3357"/>
                </a:lnTo>
                <a:lnTo>
                  <a:pt x="2086" y="3357"/>
                </a:lnTo>
                <a:lnTo>
                  <a:pt x="2084" y="3358"/>
                </a:lnTo>
                <a:lnTo>
                  <a:pt x="2083" y="3358"/>
                </a:lnTo>
                <a:lnTo>
                  <a:pt x="2083" y="3360"/>
                </a:lnTo>
                <a:lnTo>
                  <a:pt x="2084" y="3360"/>
                </a:lnTo>
                <a:lnTo>
                  <a:pt x="2083" y="3360"/>
                </a:lnTo>
                <a:lnTo>
                  <a:pt x="2083" y="3362"/>
                </a:lnTo>
                <a:lnTo>
                  <a:pt x="2081" y="3362"/>
                </a:lnTo>
                <a:lnTo>
                  <a:pt x="2083" y="3360"/>
                </a:lnTo>
                <a:lnTo>
                  <a:pt x="2081" y="3358"/>
                </a:lnTo>
                <a:lnTo>
                  <a:pt x="2079" y="3360"/>
                </a:lnTo>
                <a:lnTo>
                  <a:pt x="2078" y="3362"/>
                </a:lnTo>
                <a:lnTo>
                  <a:pt x="2078" y="3360"/>
                </a:lnTo>
                <a:lnTo>
                  <a:pt x="2079" y="3358"/>
                </a:lnTo>
                <a:lnTo>
                  <a:pt x="2079" y="3355"/>
                </a:lnTo>
                <a:lnTo>
                  <a:pt x="2078" y="3355"/>
                </a:lnTo>
                <a:lnTo>
                  <a:pt x="2078" y="3357"/>
                </a:lnTo>
                <a:lnTo>
                  <a:pt x="2078" y="3358"/>
                </a:lnTo>
                <a:lnTo>
                  <a:pt x="2074" y="3358"/>
                </a:lnTo>
                <a:lnTo>
                  <a:pt x="2074" y="3357"/>
                </a:lnTo>
                <a:lnTo>
                  <a:pt x="2073" y="3355"/>
                </a:lnTo>
                <a:lnTo>
                  <a:pt x="2074" y="3352"/>
                </a:lnTo>
                <a:lnTo>
                  <a:pt x="2073" y="3350"/>
                </a:lnTo>
                <a:lnTo>
                  <a:pt x="2071" y="3352"/>
                </a:lnTo>
                <a:lnTo>
                  <a:pt x="2071" y="3353"/>
                </a:lnTo>
                <a:lnTo>
                  <a:pt x="2069" y="3355"/>
                </a:lnTo>
                <a:lnTo>
                  <a:pt x="2069" y="3357"/>
                </a:lnTo>
                <a:lnTo>
                  <a:pt x="2067" y="3357"/>
                </a:lnTo>
                <a:lnTo>
                  <a:pt x="2066" y="3358"/>
                </a:lnTo>
                <a:lnTo>
                  <a:pt x="2064" y="3358"/>
                </a:lnTo>
                <a:lnTo>
                  <a:pt x="2064" y="3357"/>
                </a:lnTo>
                <a:lnTo>
                  <a:pt x="2062" y="3357"/>
                </a:lnTo>
                <a:lnTo>
                  <a:pt x="2062" y="3355"/>
                </a:lnTo>
                <a:lnTo>
                  <a:pt x="2062" y="3353"/>
                </a:lnTo>
                <a:lnTo>
                  <a:pt x="2064" y="3353"/>
                </a:lnTo>
                <a:lnTo>
                  <a:pt x="2062" y="3353"/>
                </a:lnTo>
                <a:lnTo>
                  <a:pt x="2062" y="3350"/>
                </a:lnTo>
                <a:lnTo>
                  <a:pt x="2062" y="3348"/>
                </a:lnTo>
                <a:lnTo>
                  <a:pt x="2061" y="3348"/>
                </a:lnTo>
                <a:lnTo>
                  <a:pt x="2062" y="3348"/>
                </a:lnTo>
                <a:lnTo>
                  <a:pt x="2061" y="3348"/>
                </a:lnTo>
                <a:lnTo>
                  <a:pt x="2059" y="3346"/>
                </a:lnTo>
                <a:lnTo>
                  <a:pt x="2057" y="3343"/>
                </a:lnTo>
                <a:lnTo>
                  <a:pt x="2059" y="3341"/>
                </a:lnTo>
                <a:lnTo>
                  <a:pt x="2057" y="3340"/>
                </a:lnTo>
                <a:lnTo>
                  <a:pt x="2054" y="3340"/>
                </a:lnTo>
                <a:lnTo>
                  <a:pt x="2052" y="3338"/>
                </a:lnTo>
                <a:lnTo>
                  <a:pt x="2049" y="3340"/>
                </a:lnTo>
                <a:lnTo>
                  <a:pt x="2047" y="3338"/>
                </a:lnTo>
                <a:lnTo>
                  <a:pt x="2047" y="3340"/>
                </a:lnTo>
                <a:lnTo>
                  <a:pt x="2047" y="3338"/>
                </a:lnTo>
                <a:lnTo>
                  <a:pt x="2047" y="3336"/>
                </a:lnTo>
                <a:lnTo>
                  <a:pt x="2049" y="3336"/>
                </a:lnTo>
                <a:lnTo>
                  <a:pt x="2052" y="3336"/>
                </a:lnTo>
                <a:lnTo>
                  <a:pt x="2052" y="3335"/>
                </a:lnTo>
                <a:lnTo>
                  <a:pt x="2054" y="3335"/>
                </a:lnTo>
                <a:lnTo>
                  <a:pt x="2056" y="3333"/>
                </a:lnTo>
                <a:lnTo>
                  <a:pt x="2057" y="3333"/>
                </a:lnTo>
                <a:lnTo>
                  <a:pt x="2059" y="3329"/>
                </a:lnTo>
                <a:lnTo>
                  <a:pt x="2059" y="3328"/>
                </a:lnTo>
                <a:lnTo>
                  <a:pt x="2059" y="3324"/>
                </a:lnTo>
                <a:lnTo>
                  <a:pt x="2056" y="3323"/>
                </a:lnTo>
                <a:lnTo>
                  <a:pt x="2056" y="3321"/>
                </a:lnTo>
                <a:lnTo>
                  <a:pt x="2057" y="3321"/>
                </a:lnTo>
                <a:lnTo>
                  <a:pt x="2057" y="3318"/>
                </a:lnTo>
                <a:lnTo>
                  <a:pt x="2056" y="3318"/>
                </a:lnTo>
                <a:lnTo>
                  <a:pt x="2057" y="3316"/>
                </a:lnTo>
                <a:lnTo>
                  <a:pt x="2056" y="3314"/>
                </a:lnTo>
                <a:lnTo>
                  <a:pt x="2056" y="3312"/>
                </a:lnTo>
                <a:lnTo>
                  <a:pt x="2052" y="3312"/>
                </a:lnTo>
                <a:lnTo>
                  <a:pt x="2050" y="3314"/>
                </a:lnTo>
                <a:lnTo>
                  <a:pt x="2047" y="3314"/>
                </a:lnTo>
                <a:lnTo>
                  <a:pt x="2045" y="3312"/>
                </a:lnTo>
                <a:lnTo>
                  <a:pt x="2044" y="3312"/>
                </a:lnTo>
                <a:lnTo>
                  <a:pt x="2042" y="3311"/>
                </a:lnTo>
                <a:lnTo>
                  <a:pt x="2040" y="3311"/>
                </a:lnTo>
                <a:lnTo>
                  <a:pt x="2039" y="3309"/>
                </a:lnTo>
                <a:lnTo>
                  <a:pt x="2037" y="3311"/>
                </a:lnTo>
                <a:lnTo>
                  <a:pt x="2033" y="3312"/>
                </a:lnTo>
                <a:lnTo>
                  <a:pt x="2032" y="3314"/>
                </a:lnTo>
                <a:lnTo>
                  <a:pt x="2030" y="3312"/>
                </a:lnTo>
                <a:lnTo>
                  <a:pt x="2030" y="3309"/>
                </a:lnTo>
                <a:lnTo>
                  <a:pt x="2028" y="3307"/>
                </a:lnTo>
                <a:lnTo>
                  <a:pt x="2028" y="3306"/>
                </a:lnTo>
                <a:lnTo>
                  <a:pt x="2027" y="3306"/>
                </a:lnTo>
                <a:lnTo>
                  <a:pt x="2025" y="3306"/>
                </a:lnTo>
                <a:lnTo>
                  <a:pt x="2025" y="3304"/>
                </a:lnTo>
                <a:lnTo>
                  <a:pt x="2023" y="3302"/>
                </a:lnTo>
                <a:lnTo>
                  <a:pt x="2022" y="3304"/>
                </a:lnTo>
                <a:lnTo>
                  <a:pt x="2020" y="3304"/>
                </a:lnTo>
                <a:lnTo>
                  <a:pt x="2018" y="3306"/>
                </a:lnTo>
                <a:lnTo>
                  <a:pt x="2016" y="3306"/>
                </a:lnTo>
                <a:lnTo>
                  <a:pt x="2018" y="3307"/>
                </a:lnTo>
                <a:lnTo>
                  <a:pt x="2016" y="3311"/>
                </a:lnTo>
                <a:lnTo>
                  <a:pt x="2016" y="3309"/>
                </a:lnTo>
                <a:lnTo>
                  <a:pt x="2016" y="3312"/>
                </a:lnTo>
                <a:lnTo>
                  <a:pt x="2015" y="3311"/>
                </a:lnTo>
                <a:lnTo>
                  <a:pt x="2015" y="3312"/>
                </a:lnTo>
                <a:lnTo>
                  <a:pt x="2013" y="3312"/>
                </a:lnTo>
                <a:lnTo>
                  <a:pt x="2011" y="3309"/>
                </a:lnTo>
                <a:lnTo>
                  <a:pt x="2011" y="3307"/>
                </a:lnTo>
                <a:lnTo>
                  <a:pt x="2010" y="3309"/>
                </a:lnTo>
                <a:lnTo>
                  <a:pt x="2010" y="3307"/>
                </a:lnTo>
                <a:lnTo>
                  <a:pt x="2008" y="3309"/>
                </a:lnTo>
                <a:lnTo>
                  <a:pt x="2006" y="3307"/>
                </a:lnTo>
                <a:lnTo>
                  <a:pt x="2005" y="3307"/>
                </a:lnTo>
                <a:lnTo>
                  <a:pt x="2006" y="3309"/>
                </a:lnTo>
                <a:lnTo>
                  <a:pt x="2003" y="3307"/>
                </a:lnTo>
                <a:lnTo>
                  <a:pt x="2003" y="3306"/>
                </a:lnTo>
                <a:lnTo>
                  <a:pt x="2003" y="3304"/>
                </a:lnTo>
                <a:lnTo>
                  <a:pt x="2001" y="3304"/>
                </a:lnTo>
                <a:lnTo>
                  <a:pt x="2003" y="3306"/>
                </a:lnTo>
                <a:lnTo>
                  <a:pt x="2001" y="3307"/>
                </a:lnTo>
                <a:lnTo>
                  <a:pt x="1999" y="3307"/>
                </a:lnTo>
                <a:lnTo>
                  <a:pt x="1998" y="3307"/>
                </a:lnTo>
                <a:lnTo>
                  <a:pt x="1996" y="3306"/>
                </a:lnTo>
                <a:lnTo>
                  <a:pt x="1994" y="3306"/>
                </a:lnTo>
                <a:lnTo>
                  <a:pt x="1993" y="3304"/>
                </a:lnTo>
                <a:lnTo>
                  <a:pt x="1996" y="3304"/>
                </a:lnTo>
                <a:lnTo>
                  <a:pt x="1996" y="3302"/>
                </a:lnTo>
                <a:lnTo>
                  <a:pt x="1996" y="3301"/>
                </a:lnTo>
                <a:lnTo>
                  <a:pt x="1994" y="3297"/>
                </a:lnTo>
                <a:lnTo>
                  <a:pt x="1996" y="3299"/>
                </a:lnTo>
                <a:lnTo>
                  <a:pt x="1996" y="3297"/>
                </a:lnTo>
                <a:lnTo>
                  <a:pt x="1998" y="3299"/>
                </a:lnTo>
                <a:lnTo>
                  <a:pt x="1998" y="3301"/>
                </a:lnTo>
                <a:lnTo>
                  <a:pt x="1999" y="3301"/>
                </a:lnTo>
                <a:lnTo>
                  <a:pt x="2001" y="3301"/>
                </a:lnTo>
                <a:lnTo>
                  <a:pt x="2001" y="3299"/>
                </a:lnTo>
                <a:lnTo>
                  <a:pt x="2001" y="3301"/>
                </a:lnTo>
                <a:lnTo>
                  <a:pt x="2003" y="3299"/>
                </a:lnTo>
                <a:lnTo>
                  <a:pt x="2005" y="3297"/>
                </a:lnTo>
                <a:lnTo>
                  <a:pt x="2006" y="3295"/>
                </a:lnTo>
                <a:lnTo>
                  <a:pt x="2005" y="3294"/>
                </a:lnTo>
                <a:lnTo>
                  <a:pt x="2003" y="3292"/>
                </a:lnTo>
                <a:lnTo>
                  <a:pt x="2005" y="3292"/>
                </a:lnTo>
                <a:lnTo>
                  <a:pt x="2006" y="3294"/>
                </a:lnTo>
                <a:lnTo>
                  <a:pt x="2006" y="3290"/>
                </a:lnTo>
                <a:lnTo>
                  <a:pt x="2005" y="3290"/>
                </a:lnTo>
                <a:lnTo>
                  <a:pt x="2003" y="3290"/>
                </a:lnTo>
                <a:lnTo>
                  <a:pt x="2001" y="3289"/>
                </a:lnTo>
                <a:lnTo>
                  <a:pt x="1999" y="3292"/>
                </a:lnTo>
                <a:lnTo>
                  <a:pt x="1999" y="3290"/>
                </a:lnTo>
                <a:lnTo>
                  <a:pt x="1999" y="3287"/>
                </a:lnTo>
                <a:lnTo>
                  <a:pt x="1998" y="3287"/>
                </a:lnTo>
                <a:lnTo>
                  <a:pt x="1998" y="3285"/>
                </a:lnTo>
                <a:lnTo>
                  <a:pt x="1996" y="3284"/>
                </a:lnTo>
                <a:lnTo>
                  <a:pt x="1996" y="3282"/>
                </a:lnTo>
                <a:lnTo>
                  <a:pt x="1994" y="3280"/>
                </a:lnTo>
                <a:lnTo>
                  <a:pt x="1994" y="3278"/>
                </a:lnTo>
                <a:lnTo>
                  <a:pt x="1994" y="3277"/>
                </a:lnTo>
                <a:lnTo>
                  <a:pt x="1996" y="3275"/>
                </a:lnTo>
                <a:lnTo>
                  <a:pt x="1998" y="3275"/>
                </a:lnTo>
                <a:lnTo>
                  <a:pt x="2001" y="3275"/>
                </a:lnTo>
                <a:lnTo>
                  <a:pt x="2003" y="3275"/>
                </a:lnTo>
                <a:lnTo>
                  <a:pt x="2005" y="3277"/>
                </a:lnTo>
                <a:lnTo>
                  <a:pt x="2006" y="3278"/>
                </a:lnTo>
                <a:lnTo>
                  <a:pt x="2008" y="3282"/>
                </a:lnTo>
                <a:lnTo>
                  <a:pt x="2010" y="3282"/>
                </a:lnTo>
                <a:lnTo>
                  <a:pt x="2011" y="3282"/>
                </a:lnTo>
                <a:lnTo>
                  <a:pt x="2011" y="3284"/>
                </a:lnTo>
                <a:lnTo>
                  <a:pt x="2013" y="3287"/>
                </a:lnTo>
                <a:lnTo>
                  <a:pt x="2010" y="3287"/>
                </a:lnTo>
                <a:lnTo>
                  <a:pt x="2011" y="3289"/>
                </a:lnTo>
                <a:lnTo>
                  <a:pt x="2010" y="3290"/>
                </a:lnTo>
                <a:lnTo>
                  <a:pt x="2011" y="3290"/>
                </a:lnTo>
                <a:lnTo>
                  <a:pt x="2013" y="3292"/>
                </a:lnTo>
                <a:lnTo>
                  <a:pt x="2015" y="3294"/>
                </a:lnTo>
                <a:lnTo>
                  <a:pt x="2015" y="3295"/>
                </a:lnTo>
                <a:lnTo>
                  <a:pt x="2016" y="3297"/>
                </a:lnTo>
                <a:lnTo>
                  <a:pt x="2018" y="3295"/>
                </a:lnTo>
                <a:lnTo>
                  <a:pt x="2016" y="3295"/>
                </a:lnTo>
                <a:lnTo>
                  <a:pt x="2016" y="3294"/>
                </a:lnTo>
                <a:lnTo>
                  <a:pt x="2018" y="3294"/>
                </a:lnTo>
                <a:lnTo>
                  <a:pt x="2016" y="3292"/>
                </a:lnTo>
                <a:lnTo>
                  <a:pt x="2016" y="3290"/>
                </a:lnTo>
                <a:lnTo>
                  <a:pt x="2016" y="3289"/>
                </a:lnTo>
                <a:lnTo>
                  <a:pt x="2018" y="3289"/>
                </a:lnTo>
                <a:lnTo>
                  <a:pt x="2020" y="3290"/>
                </a:lnTo>
                <a:lnTo>
                  <a:pt x="2022" y="3292"/>
                </a:lnTo>
                <a:lnTo>
                  <a:pt x="2023" y="3292"/>
                </a:lnTo>
                <a:lnTo>
                  <a:pt x="2025" y="3290"/>
                </a:lnTo>
                <a:lnTo>
                  <a:pt x="2027" y="3290"/>
                </a:lnTo>
                <a:lnTo>
                  <a:pt x="2028" y="3290"/>
                </a:lnTo>
                <a:lnTo>
                  <a:pt x="2030" y="3289"/>
                </a:lnTo>
                <a:lnTo>
                  <a:pt x="2032" y="3287"/>
                </a:lnTo>
                <a:lnTo>
                  <a:pt x="2033" y="3285"/>
                </a:lnTo>
                <a:lnTo>
                  <a:pt x="2037" y="3285"/>
                </a:lnTo>
                <a:lnTo>
                  <a:pt x="2039" y="3285"/>
                </a:lnTo>
                <a:lnTo>
                  <a:pt x="2040" y="3284"/>
                </a:lnTo>
                <a:lnTo>
                  <a:pt x="2040" y="3282"/>
                </a:lnTo>
                <a:lnTo>
                  <a:pt x="2042" y="3282"/>
                </a:lnTo>
                <a:lnTo>
                  <a:pt x="2040" y="3280"/>
                </a:lnTo>
                <a:lnTo>
                  <a:pt x="2039" y="3282"/>
                </a:lnTo>
                <a:lnTo>
                  <a:pt x="2037" y="3280"/>
                </a:lnTo>
                <a:lnTo>
                  <a:pt x="2037" y="3282"/>
                </a:lnTo>
                <a:lnTo>
                  <a:pt x="2033" y="3282"/>
                </a:lnTo>
                <a:lnTo>
                  <a:pt x="2032" y="3284"/>
                </a:lnTo>
                <a:lnTo>
                  <a:pt x="2032" y="3285"/>
                </a:lnTo>
                <a:lnTo>
                  <a:pt x="2032" y="3284"/>
                </a:lnTo>
                <a:lnTo>
                  <a:pt x="2030" y="3285"/>
                </a:lnTo>
                <a:lnTo>
                  <a:pt x="2028" y="3284"/>
                </a:lnTo>
                <a:lnTo>
                  <a:pt x="2027" y="3282"/>
                </a:lnTo>
                <a:lnTo>
                  <a:pt x="2025" y="3280"/>
                </a:lnTo>
                <a:lnTo>
                  <a:pt x="2025" y="3278"/>
                </a:lnTo>
                <a:lnTo>
                  <a:pt x="2023" y="3278"/>
                </a:lnTo>
                <a:lnTo>
                  <a:pt x="2022" y="3278"/>
                </a:lnTo>
                <a:lnTo>
                  <a:pt x="2023" y="3277"/>
                </a:lnTo>
                <a:lnTo>
                  <a:pt x="2022" y="3275"/>
                </a:lnTo>
                <a:lnTo>
                  <a:pt x="2022" y="3277"/>
                </a:lnTo>
                <a:lnTo>
                  <a:pt x="2020" y="3275"/>
                </a:lnTo>
                <a:lnTo>
                  <a:pt x="2016" y="3275"/>
                </a:lnTo>
                <a:lnTo>
                  <a:pt x="2016" y="3273"/>
                </a:lnTo>
                <a:lnTo>
                  <a:pt x="2015" y="3273"/>
                </a:lnTo>
                <a:lnTo>
                  <a:pt x="2016" y="3272"/>
                </a:lnTo>
                <a:lnTo>
                  <a:pt x="2015" y="3272"/>
                </a:lnTo>
                <a:lnTo>
                  <a:pt x="2015" y="3270"/>
                </a:lnTo>
                <a:lnTo>
                  <a:pt x="2013" y="3268"/>
                </a:lnTo>
                <a:lnTo>
                  <a:pt x="2015" y="3266"/>
                </a:lnTo>
                <a:lnTo>
                  <a:pt x="2013" y="3266"/>
                </a:lnTo>
                <a:lnTo>
                  <a:pt x="2016" y="3266"/>
                </a:lnTo>
                <a:lnTo>
                  <a:pt x="2018" y="3263"/>
                </a:lnTo>
                <a:lnTo>
                  <a:pt x="2018" y="3265"/>
                </a:lnTo>
                <a:lnTo>
                  <a:pt x="2020" y="3263"/>
                </a:lnTo>
                <a:lnTo>
                  <a:pt x="2022" y="3265"/>
                </a:lnTo>
                <a:lnTo>
                  <a:pt x="2022" y="3263"/>
                </a:lnTo>
                <a:lnTo>
                  <a:pt x="2023" y="3263"/>
                </a:lnTo>
                <a:lnTo>
                  <a:pt x="2025" y="3261"/>
                </a:lnTo>
                <a:lnTo>
                  <a:pt x="2023" y="3261"/>
                </a:lnTo>
                <a:lnTo>
                  <a:pt x="2020" y="3258"/>
                </a:lnTo>
                <a:lnTo>
                  <a:pt x="2022" y="3258"/>
                </a:lnTo>
                <a:lnTo>
                  <a:pt x="2023" y="3256"/>
                </a:lnTo>
                <a:lnTo>
                  <a:pt x="2023" y="3258"/>
                </a:lnTo>
                <a:lnTo>
                  <a:pt x="2025" y="3260"/>
                </a:lnTo>
                <a:lnTo>
                  <a:pt x="2025" y="3258"/>
                </a:lnTo>
                <a:lnTo>
                  <a:pt x="2025" y="3256"/>
                </a:lnTo>
                <a:lnTo>
                  <a:pt x="2027" y="3253"/>
                </a:lnTo>
                <a:lnTo>
                  <a:pt x="2028" y="3255"/>
                </a:lnTo>
                <a:lnTo>
                  <a:pt x="2028" y="3253"/>
                </a:lnTo>
                <a:lnTo>
                  <a:pt x="2027" y="3251"/>
                </a:lnTo>
                <a:lnTo>
                  <a:pt x="2028" y="3249"/>
                </a:lnTo>
                <a:lnTo>
                  <a:pt x="2027" y="3248"/>
                </a:lnTo>
                <a:lnTo>
                  <a:pt x="2025" y="3249"/>
                </a:lnTo>
                <a:lnTo>
                  <a:pt x="2027" y="3251"/>
                </a:lnTo>
                <a:lnTo>
                  <a:pt x="2025" y="3251"/>
                </a:lnTo>
                <a:lnTo>
                  <a:pt x="2022" y="3249"/>
                </a:lnTo>
                <a:lnTo>
                  <a:pt x="2022" y="3251"/>
                </a:lnTo>
                <a:lnTo>
                  <a:pt x="2020" y="3249"/>
                </a:lnTo>
                <a:lnTo>
                  <a:pt x="2018" y="3253"/>
                </a:lnTo>
                <a:lnTo>
                  <a:pt x="2016" y="3253"/>
                </a:lnTo>
                <a:lnTo>
                  <a:pt x="2016" y="3251"/>
                </a:lnTo>
                <a:lnTo>
                  <a:pt x="2013" y="3251"/>
                </a:lnTo>
                <a:lnTo>
                  <a:pt x="2013" y="3249"/>
                </a:lnTo>
                <a:lnTo>
                  <a:pt x="2013" y="3248"/>
                </a:lnTo>
                <a:lnTo>
                  <a:pt x="2013" y="3246"/>
                </a:lnTo>
                <a:lnTo>
                  <a:pt x="2011" y="3244"/>
                </a:lnTo>
                <a:lnTo>
                  <a:pt x="2013" y="3244"/>
                </a:lnTo>
                <a:lnTo>
                  <a:pt x="2015" y="3243"/>
                </a:lnTo>
                <a:lnTo>
                  <a:pt x="2016" y="3241"/>
                </a:lnTo>
                <a:lnTo>
                  <a:pt x="2015" y="3239"/>
                </a:lnTo>
                <a:lnTo>
                  <a:pt x="2013" y="3238"/>
                </a:lnTo>
                <a:lnTo>
                  <a:pt x="2011" y="3236"/>
                </a:lnTo>
                <a:lnTo>
                  <a:pt x="2008" y="3236"/>
                </a:lnTo>
                <a:lnTo>
                  <a:pt x="2006" y="3234"/>
                </a:lnTo>
                <a:lnTo>
                  <a:pt x="2005" y="3231"/>
                </a:lnTo>
                <a:lnTo>
                  <a:pt x="2003" y="3231"/>
                </a:lnTo>
                <a:lnTo>
                  <a:pt x="2001" y="3231"/>
                </a:lnTo>
                <a:lnTo>
                  <a:pt x="1999" y="3231"/>
                </a:lnTo>
                <a:lnTo>
                  <a:pt x="1998" y="3231"/>
                </a:lnTo>
                <a:lnTo>
                  <a:pt x="1998" y="3227"/>
                </a:lnTo>
                <a:lnTo>
                  <a:pt x="1999" y="3227"/>
                </a:lnTo>
                <a:lnTo>
                  <a:pt x="1999" y="3229"/>
                </a:lnTo>
                <a:lnTo>
                  <a:pt x="2001" y="3229"/>
                </a:lnTo>
                <a:lnTo>
                  <a:pt x="1999" y="3227"/>
                </a:lnTo>
                <a:lnTo>
                  <a:pt x="2001" y="3227"/>
                </a:lnTo>
                <a:lnTo>
                  <a:pt x="2001" y="3226"/>
                </a:lnTo>
                <a:lnTo>
                  <a:pt x="2003" y="3222"/>
                </a:lnTo>
                <a:lnTo>
                  <a:pt x="2005" y="3222"/>
                </a:lnTo>
                <a:lnTo>
                  <a:pt x="2006" y="3221"/>
                </a:lnTo>
                <a:lnTo>
                  <a:pt x="2006" y="3217"/>
                </a:lnTo>
                <a:lnTo>
                  <a:pt x="2008" y="3215"/>
                </a:lnTo>
                <a:lnTo>
                  <a:pt x="2008" y="3214"/>
                </a:lnTo>
                <a:lnTo>
                  <a:pt x="2010" y="3214"/>
                </a:lnTo>
                <a:lnTo>
                  <a:pt x="2011" y="3212"/>
                </a:lnTo>
                <a:lnTo>
                  <a:pt x="2011" y="3209"/>
                </a:lnTo>
                <a:lnTo>
                  <a:pt x="2011" y="3207"/>
                </a:lnTo>
                <a:lnTo>
                  <a:pt x="2011" y="3205"/>
                </a:lnTo>
                <a:lnTo>
                  <a:pt x="2010" y="3205"/>
                </a:lnTo>
                <a:lnTo>
                  <a:pt x="2008" y="3205"/>
                </a:lnTo>
                <a:lnTo>
                  <a:pt x="2006" y="3209"/>
                </a:lnTo>
                <a:lnTo>
                  <a:pt x="2005" y="3207"/>
                </a:lnTo>
                <a:lnTo>
                  <a:pt x="2001" y="3209"/>
                </a:lnTo>
                <a:lnTo>
                  <a:pt x="1999" y="3209"/>
                </a:lnTo>
                <a:lnTo>
                  <a:pt x="1998" y="3210"/>
                </a:lnTo>
                <a:lnTo>
                  <a:pt x="1996" y="3210"/>
                </a:lnTo>
                <a:lnTo>
                  <a:pt x="1994" y="3210"/>
                </a:lnTo>
                <a:lnTo>
                  <a:pt x="1993" y="3212"/>
                </a:lnTo>
                <a:lnTo>
                  <a:pt x="1991" y="3214"/>
                </a:lnTo>
                <a:lnTo>
                  <a:pt x="1989" y="3214"/>
                </a:lnTo>
                <a:lnTo>
                  <a:pt x="1988" y="3214"/>
                </a:lnTo>
                <a:lnTo>
                  <a:pt x="1986" y="3215"/>
                </a:lnTo>
                <a:lnTo>
                  <a:pt x="1984" y="3217"/>
                </a:lnTo>
                <a:lnTo>
                  <a:pt x="1982" y="3219"/>
                </a:lnTo>
                <a:lnTo>
                  <a:pt x="1981" y="3219"/>
                </a:lnTo>
                <a:lnTo>
                  <a:pt x="1979" y="3221"/>
                </a:lnTo>
                <a:lnTo>
                  <a:pt x="1977" y="3221"/>
                </a:lnTo>
                <a:lnTo>
                  <a:pt x="1976" y="3221"/>
                </a:lnTo>
                <a:lnTo>
                  <a:pt x="1976" y="3222"/>
                </a:lnTo>
                <a:lnTo>
                  <a:pt x="1974" y="3222"/>
                </a:lnTo>
                <a:lnTo>
                  <a:pt x="1972" y="3222"/>
                </a:lnTo>
                <a:lnTo>
                  <a:pt x="1971" y="3224"/>
                </a:lnTo>
                <a:lnTo>
                  <a:pt x="1969" y="3224"/>
                </a:lnTo>
                <a:lnTo>
                  <a:pt x="1967" y="3224"/>
                </a:lnTo>
                <a:lnTo>
                  <a:pt x="1965" y="3224"/>
                </a:lnTo>
                <a:lnTo>
                  <a:pt x="1965" y="3221"/>
                </a:lnTo>
                <a:lnTo>
                  <a:pt x="1965" y="3219"/>
                </a:lnTo>
                <a:lnTo>
                  <a:pt x="1965" y="3217"/>
                </a:lnTo>
                <a:lnTo>
                  <a:pt x="1965" y="3215"/>
                </a:lnTo>
                <a:lnTo>
                  <a:pt x="1967" y="3214"/>
                </a:lnTo>
                <a:lnTo>
                  <a:pt x="1967" y="3212"/>
                </a:lnTo>
                <a:lnTo>
                  <a:pt x="1967" y="3209"/>
                </a:lnTo>
                <a:lnTo>
                  <a:pt x="1967" y="3207"/>
                </a:lnTo>
                <a:lnTo>
                  <a:pt x="1967" y="3205"/>
                </a:lnTo>
                <a:lnTo>
                  <a:pt x="1965" y="3204"/>
                </a:lnTo>
                <a:lnTo>
                  <a:pt x="1965" y="3202"/>
                </a:lnTo>
                <a:lnTo>
                  <a:pt x="1965" y="3200"/>
                </a:lnTo>
                <a:lnTo>
                  <a:pt x="1965" y="3198"/>
                </a:lnTo>
                <a:lnTo>
                  <a:pt x="1964" y="3197"/>
                </a:lnTo>
                <a:lnTo>
                  <a:pt x="1964" y="3193"/>
                </a:lnTo>
                <a:lnTo>
                  <a:pt x="1962" y="3192"/>
                </a:lnTo>
                <a:lnTo>
                  <a:pt x="1964" y="3192"/>
                </a:lnTo>
                <a:lnTo>
                  <a:pt x="1962" y="3190"/>
                </a:lnTo>
                <a:lnTo>
                  <a:pt x="1964" y="3190"/>
                </a:lnTo>
                <a:lnTo>
                  <a:pt x="1964" y="3188"/>
                </a:lnTo>
                <a:lnTo>
                  <a:pt x="1964" y="3187"/>
                </a:lnTo>
                <a:lnTo>
                  <a:pt x="1964" y="3185"/>
                </a:lnTo>
                <a:lnTo>
                  <a:pt x="1967" y="3185"/>
                </a:lnTo>
                <a:lnTo>
                  <a:pt x="1969" y="3183"/>
                </a:lnTo>
                <a:lnTo>
                  <a:pt x="1971" y="3183"/>
                </a:lnTo>
                <a:lnTo>
                  <a:pt x="1971" y="3180"/>
                </a:lnTo>
                <a:lnTo>
                  <a:pt x="1972" y="3180"/>
                </a:lnTo>
                <a:lnTo>
                  <a:pt x="1971" y="3176"/>
                </a:lnTo>
                <a:lnTo>
                  <a:pt x="1974" y="3175"/>
                </a:lnTo>
                <a:lnTo>
                  <a:pt x="1972" y="3173"/>
                </a:lnTo>
                <a:lnTo>
                  <a:pt x="1972" y="3171"/>
                </a:lnTo>
                <a:lnTo>
                  <a:pt x="1972" y="3170"/>
                </a:lnTo>
                <a:lnTo>
                  <a:pt x="1972" y="3168"/>
                </a:lnTo>
                <a:lnTo>
                  <a:pt x="1976" y="3168"/>
                </a:lnTo>
                <a:lnTo>
                  <a:pt x="1977" y="3166"/>
                </a:lnTo>
                <a:lnTo>
                  <a:pt x="1979" y="3163"/>
                </a:lnTo>
                <a:lnTo>
                  <a:pt x="1979" y="3161"/>
                </a:lnTo>
                <a:lnTo>
                  <a:pt x="1981" y="3161"/>
                </a:lnTo>
                <a:lnTo>
                  <a:pt x="1982" y="3158"/>
                </a:lnTo>
                <a:lnTo>
                  <a:pt x="1982" y="3156"/>
                </a:lnTo>
                <a:lnTo>
                  <a:pt x="1984" y="3154"/>
                </a:lnTo>
                <a:lnTo>
                  <a:pt x="1986" y="3151"/>
                </a:lnTo>
                <a:lnTo>
                  <a:pt x="1988" y="3151"/>
                </a:lnTo>
                <a:lnTo>
                  <a:pt x="1988" y="3149"/>
                </a:lnTo>
                <a:lnTo>
                  <a:pt x="1991" y="3149"/>
                </a:lnTo>
                <a:lnTo>
                  <a:pt x="1994" y="3149"/>
                </a:lnTo>
                <a:lnTo>
                  <a:pt x="1996" y="3147"/>
                </a:lnTo>
                <a:lnTo>
                  <a:pt x="1998" y="3149"/>
                </a:lnTo>
                <a:lnTo>
                  <a:pt x="1999" y="3149"/>
                </a:lnTo>
                <a:lnTo>
                  <a:pt x="2001" y="3147"/>
                </a:lnTo>
                <a:lnTo>
                  <a:pt x="2003" y="3147"/>
                </a:lnTo>
                <a:lnTo>
                  <a:pt x="2003" y="3144"/>
                </a:lnTo>
                <a:lnTo>
                  <a:pt x="2005" y="3144"/>
                </a:lnTo>
                <a:lnTo>
                  <a:pt x="2006" y="3142"/>
                </a:lnTo>
                <a:lnTo>
                  <a:pt x="2008" y="3142"/>
                </a:lnTo>
                <a:lnTo>
                  <a:pt x="2010" y="3142"/>
                </a:lnTo>
                <a:lnTo>
                  <a:pt x="2011" y="3142"/>
                </a:lnTo>
                <a:lnTo>
                  <a:pt x="2013" y="3141"/>
                </a:lnTo>
                <a:lnTo>
                  <a:pt x="2015" y="3139"/>
                </a:lnTo>
                <a:lnTo>
                  <a:pt x="2016" y="3141"/>
                </a:lnTo>
                <a:lnTo>
                  <a:pt x="2018" y="3142"/>
                </a:lnTo>
                <a:lnTo>
                  <a:pt x="2016" y="3144"/>
                </a:lnTo>
                <a:lnTo>
                  <a:pt x="2018" y="3144"/>
                </a:lnTo>
                <a:lnTo>
                  <a:pt x="2020" y="3146"/>
                </a:lnTo>
                <a:lnTo>
                  <a:pt x="2022" y="3146"/>
                </a:lnTo>
                <a:lnTo>
                  <a:pt x="2025" y="3147"/>
                </a:lnTo>
                <a:lnTo>
                  <a:pt x="2028" y="3147"/>
                </a:lnTo>
                <a:lnTo>
                  <a:pt x="2030" y="3147"/>
                </a:lnTo>
                <a:lnTo>
                  <a:pt x="2032" y="3147"/>
                </a:lnTo>
                <a:lnTo>
                  <a:pt x="2033" y="3146"/>
                </a:lnTo>
                <a:lnTo>
                  <a:pt x="2035" y="3144"/>
                </a:lnTo>
                <a:lnTo>
                  <a:pt x="2037" y="3146"/>
                </a:lnTo>
                <a:lnTo>
                  <a:pt x="2039" y="3144"/>
                </a:lnTo>
                <a:lnTo>
                  <a:pt x="2042" y="3144"/>
                </a:lnTo>
                <a:lnTo>
                  <a:pt x="2044" y="3144"/>
                </a:lnTo>
                <a:lnTo>
                  <a:pt x="2044" y="3142"/>
                </a:lnTo>
                <a:lnTo>
                  <a:pt x="2045" y="3141"/>
                </a:lnTo>
                <a:lnTo>
                  <a:pt x="2047" y="3139"/>
                </a:lnTo>
                <a:lnTo>
                  <a:pt x="2047" y="3137"/>
                </a:lnTo>
                <a:lnTo>
                  <a:pt x="2045" y="3137"/>
                </a:lnTo>
                <a:lnTo>
                  <a:pt x="2044" y="3137"/>
                </a:lnTo>
                <a:lnTo>
                  <a:pt x="2042" y="3139"/>
                </a:lnTo>
                <a:lnTo>
                  <a:pt x="2042" y="3137"/>
                </a:lnTo>
                <a:lnTo>
                  <a:pt x="2039" y="3136"/>
                </a:lnTo>
                <a:lnTo>
                  <a:pt x="2039" y="3134"/>
                </a:lnTo>
                <a:lnTo>
                  <a:pt x="2037" y="3134"/>
                </a:lnTo>
                <a:lnTo>
                  <a:pt x="2035" y="3134"/>
                </a:lnTo>
                <a:lnTo>
                  <a:pt x="2035" y="3132"/>
                </a:lnTo>
                <a:lnTo>
                  <a:pt x="2035" y="3129"/>
                </a:lnTo>
                <a:lnTo>
                  <a:pt x="2037" y="3129"/>
                </a:lnTo>
                <a:lnTo>
                  <a:pt x="2039" y="3129"/>
                </a:lnTo>
                <a:lnTo>
                  <a:pt x="2040" y="3130"/>
                </a:lnTo>
                <a:lnTo>
                  <a:pt x="2040" y="3129"/>
                </a:lnTo>
                <a:lnTo>
                  <a:pt x="2042" y="3129"/>
                </a:lnTo>
                <a:lnTo>
                  <a:pt x="2044" y="3129"/>
                </a:lnTo>
                <a:lnTo>
                  <a:pt x="2047" y="3127"/>
                </a:lnTo>
                <a:lnTo>
                  <a:pt x="2049" y="3129"/>
                </a:lnTo>
                <a:lnTo>
                  <a:pt x="2050" y="3129"/>
                </a:lnTo>
                <a:lnTo>
                  <a:pt x="2052" y="3129"/>
                </a:lnTo>
                <a:lnTo>
                  <a:pt x="2054" y="3129"/>
                </a:lnTo>
                <a:lnTo>
                  <a:pt x="2054" y="3130"/>
                </a:lnTo>
                <a:lnTo>
                  <a:pt x="2052" y="3132"/>
                </a:lnTo>
                <a:lnTo>
                  <a:pt x="2050" y="3134"/>
                </a:lnTo>
                <a:lnTo>
                  <a:pt x="2049" y="3134"/>
                </a:lnTo>
                <a:lnTo>
                  <a:pt x="2047" y="3136"/>
                </a:lnTo>
                <a:lnTo>
                  <a:pt x="2050" y="3137"/>
                </a:lnTo>
                <a:lnTo>
                  <a:pt x="2052" y="3139"/>
                </a:lnTo>
                <a:lnTo>
                  <a:pt x="2052" y="3137"/>
                </a:lnTo>
                <a:lnTo>
                  <a:pt x="2056" y="3136"/>
                </a:lnTo>
                <a:lnTo>
                  <a:pt x="2057" y="3136"/>
                </a:lnTo>
                <a:lnTo>
                  <a:pt x="2059" y="3134"/>
                </a:lnTo>
                <a:lnTo>
                  <a:pt x="2061" y="3134"/>
                </a:lnTo>
                <a:lnTo>
                  <a:pt x="2061" y="3132"/>
                </a:lnTo>
                <a:lnTo>
                  <a:pt x="2062" y="3132"/>
                </a:lnTo>
                <a:lnTo>
                  <a:pt x="2064" y="3132"/>
                </a:lnTo>
                <a:lnTo>
                  <a:pt x="2066" y="3130"/>
                </a:lnTo>
                <a:lnTo>
                  <a:pt x="2069" y="3130"/>
                </a:lnTo>
                <a:lnTo>
                  <a:pt x="2071" y="3129"/>
                </a:lnTo>
                <a:lnTo>
                  <a:pt x="2073" y="3129"/>
                </a:lnTo>
                <a:lnTo>
                  <a:pt x="2074" y="3129"/>
                </a:lnTo>
                <a:lnTo>
                  <a:pt x="2078" y="3129"/>
                </a:lnTo>
                <a:lnTo>
                  <a:pt x="2079" y="3127"/>
                </a:lnTo>
                <a:lnTo>
                  <a:pt x="2083" y="3129"/>
                </a:lnTo>
                <a:lnTo>
                  <a:pt x="2084" y="3129"/>
                </a:lnTo>
                <a:lnTo>
                  <a:pt x="2088" y="3129"/>
                </a:lnTo>
                <a:lnTo>
                  <a:pt x="2090" y="3127"/>
                </a:lnTo>
                <a:lnTo>
                  <a:pt x="2091" y="3125"/>
                </a:lnTo>
                <a:lnTo>
                  <a:pt x="2095" y="3124"/>
                </a:lnTo>
                <a:lnTo>
                  <a:pt x="2096" y="3124"/>
                </a:lnTo>
                <a:lnTo>
                  <a:pt x="2098" y="3124"/>
                </a:lnTo>
                <a:lnTo>
                  <a:pt x="2100" y="3124"/>
                </a:lnTo>
                <a:lnTo>
                  <a:pt x="2103" y="3125"/>
                </a:lnTo>
                <a:lnTo>
                  <a:pt x="2105" y="3124"/>
                </a:lnTo>
                <a:lnTo>
                  <a:pt x="2108" y="3122"/>
                </a:lnTo>
                <a:lnTo>
                  <a:pt x="2110" y="3122"/>
                </a:lnTo>
                <a:lnTo>
                  <a:pt x="2110" y="3120"/>
                </a:lnTo>
                <a:lnTo>
                  <a:pt x="2110" y="3119"/>
                </a:lnTo>
                <a:lnTo>
                  <a:pt x="2113" y="3117"/>
                </a:lnTo>
                <a:lnTo>
                  <a:pt x="2113" y="3115"/>
                </a:lnTo>
                <a:lnTo>
                  <a:pt x="2112" y="3115"/>
                </a:lnTo>
                <a:lnTo>
                  <a:pt x="2108" y="3113"/>
                </a:lnTo>
                <a:lnTo>
                  <a:pt x="2105" y="3115"/>
                </a:lnTo>
                <a:lnTo>
                  <a:pt x="2103" y="3117"/>
                </a:lnTo>
                <a:lnTo>
                  <a:pt x="2101" y="3117"/>
                </a:lnTo>
                <a:lnTo>
                  <a:pt x="2098" y="3117"/>
                </a:lnTo>
                <a:lnTo>
                  <a:pt x="2096" y="3115"/>
                </a:lnTo>
                <a:lnTo>
                  <a:pt x="2093" y="3115"/>
                </a:lnTo>
                <a:lnTo>
                  <a:pt x="2091" y="3115"/>
                </a:lnTo>
                <a:lnTo>
                  <a:pt x="2091" y="3113"/>
                </a:lnTo>
                <a:lnTo>
                  <a:pt x="2093" y="3112"/>
                </a:lnTo>
                <a:lnTo>
                  <a:pt x="2096" y="3110"/>
                </a:lnTo>
                <a:lnTo>
                  <a:pt x="2098" y="3108"/>
                </a:lnTo>
                <a:lnTo>
                  <a:pt x="2100" y="3107"/>
                </a:lnTo>
                <a:lnTo>
                  <a:pt x="2100" y="3105"/>
                </a:lnTo>
                <a:lnTo>
                  <a:pt x="2101" y="3103"/>
                </a:lnTo>
                <a:lnTo>
                  <a:pt x="2103" y="3103"/>
                </a:lnTo>
                <a:lnTo>
                  <a:pt x="2105" y="3103"/>
                </a:lnTo>
                <a:lnTo>
                  <a:pt x="2107" y="3101"/>
                </a:lnTo>
                <a:lnTo>
                  <a:pt x="2108" y="3100"/>
                </a:lnTo>
                <a:lnTo>
                  <a:pt x="2110" y="3100"/>
                </a:lnTo>
                <a:lnTo>
                  <a:pt x="2112" y="3100"/>
                </a:lnTo>
                <a:lnTo>
                  <a:pt x="2113" y="3098"/>
                </a:lnTo>
                <a:lnTo>
                  <a:pt x="2115" y="3098"/>
                </a:lnTo>
                <a:lnTo>
                  <a:pt x="2117" y="3098"/>
                </a:lnTo>
                <a:lnTo>
                  <a:pt x="2118" y="3096"/>
                </a:lnTo>
                <a:lnTo>
                  <a:pt x="2120" y="3095"/>
                </a:lnTo>
                <a:lnTo>
                  <a:pt x="2124" y="3095"/>
                </a:lnTo>
                <a:lnTo>
                  <a:pt x="2124" y="3093"/>
                </a:lnTo>
                <a:lnTo>
                  <a:pt x="2124" y="3091"/>
                </a:lnTo>
                <a:lnTo>
                  <a:pt x="2125" y="3090"/>
                </a:lnTo>
                <a:lnTo>
                  <a:pt x="2127" y="3091"/>
                </a:lnTo>
                <a:lnTo>
                  <a:pt x="2125" y="3091"/>
                </a:lnTo>
                <a:lnTo>
                  <a:pt x="2127" y="3091"/>
                </a:lnTo>
                <a:lnTo>
                  <a:pt x="2129" y="3093"/>
                </a:lnTo>
                <a:lnTo>
                  <a:pt x="2130" y="3093"/>
                </a:lnTo>
                <a:lnTo>
                  <a:pt x="2132" y="3091"/>
                </a:lnTo>
                <a:lnTo>
                  <a:pt x="2134" y="3091"/>
                </a:lnTo>
                <a:lnTo>
                  <a:pt x="2134" y="3090"/>
                </a:lnTo>
                <a:lnTo>
                  <a:pt x="2135" y="3090"/>
                </a:lnTo>
                <a:lnTo>
                  <a:pt x="2137" y="3088"/>
                </a:lnTo>
                <a:lnTo>
                  <a:pt x="2139" y="3088"/>
                </a:lnTo>
                <a:lnTo>
                  <a:pt x="2141" y="3088"/>
                </a:lnTo>
                <a:lnTo>
                  <a:pt x="2142" y="3086"/>
                </a:lnTo>
                <a:lnTo>
                  <a:pt x="2144" y="3084"/>
                </a:lnTo>
                <a:lnTo>
                  <a:pt x="2147" y="3086"/>
                </a:lnTo>
                <a:lnTo>
                  <a:pt x="2149" y="3084"/>
                </a:lnTo>
                <a:lnTo>
                  <a:pt x="2147" y="3083"/>
                </a:lnTo>
                <a:lnTo>
                  <a:pt x="2144" y="3083"/>
                </a:lnTo>
                <a:lnTo>
                  <a:pt x="2144" y="3084"/>
                </a:lnTo>
                <a:lnTo>
                  <a:pt x="2141" y="3084"/>
                </a:lnTo>
                <a:lnTo>
                  <a:pt x="2141" y="3086"/>
                </a:lnTo>
                <a:lnTo>
                  <a:pt x="2139" y="3086"/>
                </a:lnTo>
                <a:lnTo>
                  <a:pt x="2137" y="3084"/>
                </a:lnTo>
                <a:lnTo>
                  <a:pt x="2134" y="3084"/>
                </a:lnTo>
                <a:lnTo>
                  <a:pt x="2132" y="3086"/>
                </a:lnTo>
                <a:lnTo>
                  <a:pt x="2130" y="3084"/>
                </a:lnTo>
                <a:lnTo>
                  <a:pt x="2129" y="3086"/>
                </a:lnTo>
                <a:lnTo>
                  <a:pt x="2125" y="3088"/>
                </a:lnTo>
                <a:lnTo>
                  <a:pt x="2124" y="3088"/>
                </a:lnTo>
                <a:lnTo>
                  <a:pt x="2122" y="3088"/>
                </a:lnTo>
                <a:lnTo>
                  <a:pt x="2120" y="3090"/>
                </a:lnTo>
                <a:lnTo>
                  <a:pt x="2118" y="3091"/>
                </a:lnTo>
                <a:lnTo>
                  <a:pt x="2117" y="3091"/>
                </a:lnTo>
                <a:lnTo>
                  <a:pt x="2117" y="3090"/>
                </a:lnTo>
                <a:lnTo>
                  <a:pt x="2115" y="3090"/>
                </a:lnTo>
                <a:lnTo>
                  <a:pt x="2117" y="3088"/>
                </a:lnTo>
                <a:lnTo>
                  <a:pt x="2115" y="3088"/>
                </a:lnTo>
                <a:lnTo>
                  <a:pt x="2112" y="3088"/>
                </a:lnTo>
                <a:lnTo>
                  <a:pt x="2112" y="3090"/>
                </a:lnTo>
                <a:lnTo>
                  <a:pt x="2112" y="3088"/>
                </a:lnTo>
                <a:lnTo>
                  <a:pt x="2112" y="3086"/>
                </a:lnTo>
                <a:lnTo>
                  <a:pt x="2112" y="3084"/>
                </a:lnTo>
                <a:lnTo>
                  <a:pt x="2110" y="3086"/>
                </a:lnTo>
                <a:lnTo>
                  <a:pt x="2110" y="3084"/>
                </a:lnTo>
                <a:lnTo>
                  <a:pt x="2108" y="3084"/>
                </a:lnTo>
                <a:lnTo>
                  <a:pt x="2107" y="3084"/>
                </a:lnTo>
                <a:lnTo>
                  <a:pt x="2103" y="3084"/>
                </a:lnTo>
                <a:lnTo>
                  <a:pt x="2101" y="3083"/>
                </a:lnTo>
                <a:lnTo>
                  <a:pt x="2101" y="3081"/>
                </a:lnTo>
                <a:lnTo>
                  <a:pt x="2100" y="3081"/>
                </a:lnTo>
                <a:lnTo>
                  <a:pt x="2096" y="3081"/>
                </a:lnTo>
                <a:lnTo>
                  <a:pt x="2096" y="3079"/>
                </a:lnTo>
                <a:lnTo>
                  <a:pt x="2096" y="3081"/>
                </a:lnTo>
                <a:lnTo>
                  <a:pt x="2095" y="3078"/>
                </a:lnTo>
                <a:lnTo>
                  <a:pt x="2096" y="3074"/>
                </a:lnTo>
                <a:lnTo>
                  <a:pt x="2096" y="3073"/>
                </a:lnTo>
                <a:lnTo>
                  <a:pt x="2096" y="3071"/>
                </a:lnTo>
                <a:lnTo>
                  <a:pt x="2096" y="3069"/>
                </a:lnTo>
                <a:lnTo>
                  <a:pt x="2095" y="3067"/>
                </a:lnTo>
                <a:lnTo>
                  <a:pt x="2096" y="3064"/>
                </a:lnTo>
                <a:lnTo>
                  <a:pt x="2098" y="3061"/>
                </a:lnTo>
                <a:lnTo>
                  <a:pt x="2100" y="3061"/>
                </a:lnTo>
                <a:lnTo>
                  <a:pt x="2101" y="3061"/>
                </a:lnTo>
                <a:lnTo>
                  <a:pt x="2103" y="3059"/>
                </a:lnTo>
                <a:lnTo>
                  <a:pt x="2105" y="3059"/>
                </a:lnTo>
                <a:lnTo>
                  <a:pt x="2108" y="3059"/>
                </a:lnTo>
                <a:lnTo>
                  <a:pt x="2110" y="3059"/>
                </a:lnTo>
                <a:lnTo>
                  <a:pt x="2113" y="3059"/>
                </a:lnTo>
                <a:lnTo>
                  <a:pt x="2115" y="3059"/>
                </a:lnTo>
                <a:lnTo>
                  <a:pt x="2117" y="3059"/>
                </a:lnTo>
                <a:lnTo>
                  <a:pt x="2120" y="3059"/>
                </a:lnTo>
                <a:lnTo>
                  <a:pt x="2122" y="3057"/>
                </a:lnTo>
                <a:lnTo>
                  <a:pt x="2125" y="3059"/>
                </a:lnTo>
                <a:lnTo>
                  <a:pt x="2127" y="3057"/>
                </a:lnTo>
                <a:lnTo>
                  <a:pt x="2129" y="3057"/>
                </a:lnTo>
                <a:lnTo>
                  <a:pt x="2130" y="3057"/>
                </a:lnTo>
                <a:lnTo>
                  <a:pt x="2134" y="3057"/>
                </a:lnTo>
                <a:lnTo>
                  <a:pt x="2135" y="3057"/>
                </a:lnTo>
                <a:lnTo>
                  <a:pt x="2139" y="3056"/>
                </a:lnTo>
                <a:lnTo>
                  <a:pt x="2141" y="3056"/>
                </a:lnTo>
                <a:lnTo>
                  <a:pt x="2142" y="3056"/>
                </a:lnTo>
                <a:lnTo>
                  <a:pt x="2144" y="3056"/>
                </a:lnTo>
                <a:lnTo>
                  <a:pt x="2146" y="3056"/>
                </a:lnTo>
                <a:lnTo>
                  <a:pt x="2149" y="3054"/>
                </a:lnTo>
                <a:lnTo>
                  <a:pt x="2151" y="3052"/>
                </a:lnTo>
                <a:lnTo>
                  <a:pt x="2152" y="3052"/>
                </a:lnTo>
                <a:lnTo>
                  <a:pt x="2152" y="3050"/>
                </a:lnTo>
                <a:lnTo>
                  <a:pt x="2154" y="3050"/>
                </a:lnTo>
                <a:lnTo>
                  <a:pt x="2154" y="3049"/>
                </a:lnTo>
                <a:lnTo>
                  <a:pt x="2156" y="3047"/>
                </a:lnTo>
                <a:lnTo>
                  <a:pt x="2158" y="3047"/>
                </a:lnTo>
                <a:lnTo>
                  <a:pt x="2159" y="3045"/>
                </a:lnTo>
                <a:lnTo>
                  <a:pt x="2161" y="3047"/>
                </a:lnTo>
                <a:lnTo>
                  <a:pt x="2164" y="3047"/>
                </a:lnTo>
                <a:lnTo>
                  <a:pt x="2166" y="3047"/>
                </a:lnTo>
                <a:lnTo>
                  <a:pt x="2169" y="3047"/>
                </a:lnTo>
                <a:lnTo>
                  <a:pt x="2173" y="3047"/>
                </a:lnTo>
                <a:lnTo>
                  <a:pt x="2176" y="3047"/>
                </a:lnTo>
                <a:lnTo>
                  <a:pt x="2178" y="3047"/>
                </a:lnTo>
                <a:lnTo>
                  <a:pt x="2180" y="3047"/>
                </a:lnTo>
                <a:lnTo>
                  <a:pt x="2181" y="3047"/>
                </a:lnTo>
                <a:lnTo>
                  <a:pt x="2183" y="3047"/>
                </a:lnTo>
                <a:lnTo>
                  <a:pt x="2186" y="3047"/>
                </a:lnTo>
                <a:lnTo>
                  <a:pt x="2190" y="3047"/>
                </a:lnTo>
                <a:lnTo>
                  <a:pt x="2192" y="3045"/>
                </a:lnTo>
                <a:lnTo>
                  <a:pt x="2195" y="3045"/>
                </a:lnTo>
                <a:lnTo>
                  <a:pt x="2197" y="3045"/>
                </a:lnTo>
                <a:lnTo>
                  <a:pt x="2197" y="3044"/>
                </a:lnTo>
                <a:lnTo>
                  <a:pt x="2200" y="3044"/>
                </a:lnTo>
                <a:lnTo>
                  <a:pt x="2202" y="3042"/>
                </a:lnTo>
                <a:lnTo>
                  <a:pt x="2205" y="3040"/>
                </a:lnTo>
                <a:lnTo>
                  <a:pt x="2207" y="3040"/>
                </a:lnTo>
                <a:lnTo>
                  <a:pt x="2209" y="3039"/>
                </a:lnTo>
                <a:lnTo>
                  <a:pt x="2210" y="3037"/>
                </a:lnTo>
                <a:lnTo>
                  <a:pt x="2212" y="3035"/>
                </a:lnTo>
                <a:lnTo>
                  <a:pt x="2212" y="3033"/>
                </a:lnTo>
                <a:lnTo>
                  <a:pt x="2214" y="3032"/>
                </a:lnTo>
                <a:lnTo>
                  <a:pt x="2214" y="3028"/>
                </a:lnTo>
                <a:lnTo>
                  <a:pt x="2214" y="3027"/>
                </a:lnTo>
                <a:lnTo>
                  <a:pt x="2212" y="3025"/>
                </a:lnTo>
                <a:lnTo>
                  <a:pt x="2214" y="3025"/>
                </a:lnTo>
                <a:lnTo>
                  <a:pt x="2212" y="3023"/>
                </a:lnTo>
                <a:lnTo>
                  <a:pt x="2212" y="3022"/>
                </a:lnTo>
                <a:lnTo>
                  <a:pt x="2214" y="3020"/>
                </a:lnTo>
                <a:lnTo>
                  <a:pt x="2215" y="3020"/>
                </a:lnTo>
                <a:lnTo>
                  <a:pt x="2215" y="3018"/>
                </a:lnTo>
                <a:lnTo>
                  <a:pt x="2217" y="3016"/>
                </a:lnTo>
                <a:lnTo>
                  <a:pt x="2219" y="3016"/>
                </a:lnTo>
                <a:lnTo>
                  <a:pt x="2219" y="3015"/>
                </a:lnTo>
                <a:lnTo>
                  <a:pt x="2222" y="3015"/>
                </a:lnTo>
                <a:lnTo>
                  <a:pt x="2222" y="3013"/>
                </a:lnTo>
                <a:lnTo>
                  <a:pt x="2224" y="3011"/>
                </a:lnTo>
                <a:lnTo>
                  <a:pt x="2226" y="3010"/>
                </a:lnTo>
                <a:lnTo>
                  <a:pt x="2227" y="3006"/>
                </a:lnTo>
                <a:lnTo>
                  <a:pt x="2229" y="3006"/>
                </a:lnTo>
                <a:lnTo>
                  <a:pt x="2229" y="3005"/>
                </a:lnTo>
                <a:lnTo>
                  <a:pt x="2231" y="3003"/>
                </a:lnTo>
                <a:lnTo>
                  <a:pt x="2232" y="2999"/>
                </a:lnTo>
                <a:lnTo>
                  <a:pt x="2234" y="2999"/>
                </a:lnTo>
                <a:lnTo>
                  <a:pt x="2236" y="2998"/>
                </a:lnTo>
                <a:lnTo>
                  <a:pt x="2237" y="2996"/>
                </a:lnTo>
                <a:lnTo>
                  <a:pt x="2237" y="2994"/>
                </a:lnTo>
                <a:lnTo>
                  <a:pt x="2239" y="2993"/>
                </a:lnTo>
                <a:lnTo>
                  <a:pt x="2241" y="2993"/>
                </a:lnTo>
                <a:lnTo>
                  <a:pt x="2243" y="2991"/>
                </a:lnTo>
                <a:lnTo>
                  <a:pt x="2244" y="2988"/>
                </a:lnTo>
                <a:lnTo>
                  <a:pt x="2246" y="2984"/>
                </a:lnTo>
                <a:lnTo>
                  <a:pt x="2248" y="2982"/>
                </a:lnTo>
                <a:lnTo>
                  <a:pt x="2248" y="2981"/>
                </a:lnTo>
                <a:lnTo>
                  <a:pt x="2251" y="2979"/>
                </a:lnTo>
                <a:lnTo>
                  <a:pt x="2253" y="2976"/>
                </a:lnTo>
                <a:lnTo>
                  <a:pt x="2254" y="2977"/>
                </a:lnTo>
                <a:lnTo>
                  <a:pt x="2254" y="2976"/>
                </a:lnTo>
                <a:lnTo>
                  <a:pt x="2256" y="2972"/>
                </a:lnTo>
                <a:lnTo>
                  <a:pt x="2258" y="2971"/>
                </a:lnTo>
                <a:lnTo>
                  <a:pt x="2258" y="2972"/>
                </a:lnTo>
                <a:lnTo>
                  <a:pt x="2258" y="2971"/>
                </a:lnTo>
                <a:lnTo>
                  <a:pt x="2261" y="2969"/>
                </a:lnTo>
                <a:lnTo>
                  <a:pt x="2263" y="2967"/>
                </a:lnTo>
                <a:lnTo>
                  <a:pt x="2265" y="2967"/>
                </a:lnTo>
                <a:lnTo>
                  <a:pt x="2266" y="2965"/>
                </a:lnTo>
                <a:lnTo>
                  <a:pt x="2270" y="2964"/>
                </a:lnTo>
                <a:lnTo>
                  <a:pt x="2271" y="2962"/>
                </a:lnTo>
                <a:lnTo>
                  <a:pt x="2275" y="2962"/>
                </a:lnTo>
                <a:lnTo>
                  <a:pt x="2275" y="2960"/>
                </a:lnTo>
                <a:lnTo>
                  <a:pt x="2277" y="2960"/>
                </a:lnTo>
                <a:lnTo>
                  <a:pt x="2277" y="2959"/>
                </a:lnTo>
                <a:lnTo>
                  <a:pt x="2278" y="2957"/>
                </a:lnTo>
                <a:lnTo>
                  <a:pt x="2282" y="2954"/>
                </a:lnTo>
                <a:lnTo>
                  <a:pt x="2283" y="2954"/>
                </a:lnTo>
                <a:lnTo>
                  <a:pt x="2283" y="2952"/>
                </a:lnTo>
                <a:lnTo>
                  <a:pt x="2285" y="2952"/>
                </a:lnTo>
                <a:lnTo>
                  <a:pt x="2287" y="2950"/>
                </a:lnTo>
                <a:lnTo>
                  <a:pt x="2288" y="2947"/>
                </a:lnTo>
                <a:lnTo>
                  <a:pt x="2292" y="2947"/>
                </a:lnTo>
                <a:lnTo>
                  <a:pt x="2292" y="2945"/>
                </a:lnTo>
                <a:lnTo>
                  <a:pt x="2294" y="2943"/>
                </a:lnTo>
                <a:lnTo>
                  <a:pt x="2297" y="2942"/>
                </a:lnTo>
                <a:lnTo>
                  <a:pt x="2299" y="2942"/>
                </a:lnTo>
                <a:lnTo>
                  <a:pt x="2300" y="2942"/>
                </a:lnTo>
                <a:lnTo>
                  <a:pt x="2304" y="2942"/>
                </a:lnTo>
                <a:lnTo>
                  <a:pt x="2307" y="2940"/>
                </a:lnTo>
                <a:lnTo>
                  <a:pt x="2309" y="2940"/>
                </a:lnTo>
                <a:lnTo>
                  <a:pt x="2311" y="2940"/>
                </a:lnTo>
                <a:lnTo>
                  <a:pt x="2312" y="2940"/>
                </a:lnTo>
                <a:lnTo>
                  <a:pt x="2314" y="2938"/>
                </a:lnTo>
                <a:lnTo>
                  <a:pt x="2316" y="2938"/>
                </a:lnTo>
                <a:lnTo>
                  <a:pt x="2317" y="2938"/>
                </a:lnTo>
                <a:lnTo>
                  <a:pt x="2319" y="2938"/>
                </a:lnTo>
                <a:lnTo>
                  <a:pt x="2321" y="2938"/>
                </a:lnTo>
                <a:lnTo>
                  <a:pt x="2322" y="2936"/>
                </a:lnTo>
                <a:lnTo>
                  <a:pt x="2324" y="2936"/>
                </a:lnTo>
                <a:lnTo>
                  <a:pt x="2326" y="2935"/>
                </a:lnTo>
                <a:lnTo>
                  <a:pt x="2328" y="2935"/>
                </a:lnTo>
                <a:lnTo>
                  <a:pt x="2329" y="2933"/>
                </a:lnTo>
                <a:lnTo>
                  <a:pt x="2331" y="2933"/>
                </a:lnTo>
                <a:lnTo>
                  <a:pt x="2333" y="2933"/>
                </a:lnTo>
                <a:lnTo>
                  <a:pt x="2336" y="2933"/>
                </a:lnTo>
                <a:lnTo>
                  <a:pt x="2338" y="2931"/>
                </a:lnTo>
                <a:lnTo>
                  <a:pt x="2338" y="2933"/>
                </a:lnTo>
                <a:lnTo>
                  <a:pt x="2339" y="2931"/>
                </a:lnTo>
                <a:lnTo>
                  <a:pt x="2341" y="2931"/>
                </a:lnTo>
                <a:lnTo>
                  <a:pt x="2343" y="2931"/>
                </a:lnTo>
                <a:lnTo>
                  <a:pt x="2345" y="2931"/>
                </a:lnTo>
                <a:lnTo>
                  <a:pt x="2346" y="2930"/>
                </a:lnTo>
                <a:lnTo>
                  <a:pt x="2348" y="2930"/>
                </a:lnTo>
                <a:lnTo>
                  <a:pt x="2350" y="2928"/>
                </a:lnTo>
                <a:lnTo>
                  <a:pt x="2353" y="2926"/>
                </a:lnTo>
                <a:lnTo>
                  <a:pt x="2356" y="2926"/>
                </a:lnTo>
                <a:lnTo>
                  <a:pt x="2358" y="2926"/>
                </a:lnTo>
                <a:lnTo>
                  <a:pt x="2360" y="2926"/>
                </a:lnTo>
                <a:lnTo>
                  <a:pt x="2362" y="2925"/>
                </a:lnTo>
                <a:lnTo>
                  <a:pt x="2363" y="2925"/>
                </a:lnTo>
                <a:lnTo>
                  <a:pt x="2365" y="2925"/>
                </a:lnTo>
                <a:lnTo>
                  <a:pt x="2367" y="2923"/>
                </a:lnTo>
                <a:lnTo>
                  <a:pt x="2368" y="2921"/>
                </a:lnTo>
                <a:lnTo>
                  <a:pt x="2370" y="2919"/>
                </a:lnTo>
                <a:lnTo>
                  <a:pt x="2370" y="2918"/>
                </a:lnTo>
                <a:lnTo>
                  <a:pt x="2372" y="2918"/>
                </a:lnTo>
                <a:lnTo>
                  <a:pt x="2372" y="2914"/>
                </a:lnTo>
                <a:lnTo>
                  <a:pt x="2373" y="2913"/>
                </a:lnTo>
                <a:lnTo>
                  <a:pt x="2373" y="2911"/>
                </a:lnTo>
                <a:lnTo>
                  <a:pt x="2372" y="2909"/>
                </a:lnTo>
                <a:lnTo>
                  <a:pt x="2373" y="2909"/>
                </a:lnTo>
                <a:lnTo>
                  <a:pt x="2377" y="2909"/>
                </a:lnTo>
                <a:lnTo>
                  <a:pt x="2379" y="2911"/>
                </a:lnTo>
                <a:lnTo>
                  <a:pt x="2380" y="2913"/>
                </a:lnTo>
                <a:lnTo>
                  <a:pt x="2382" y="2913"/>
                </a:lnTo>
                <a:lnTo>
                  <a:pt x="2384" y="2911"/>
                </a:lnTo>
                <a:lnTo>
                  <a:pt x="2385" y="2909"/>
                </a:lnTo>
                <a:lnTo>
                  <a:pt x="2387" y="2911"/>
                </a:lnTo>
                <a:lnTo>
                  <a:pt x="2384" y="2911"/>
                </a:lnTo>
                <a:lnTo>
                  <a:pt x="2384" y="2913"/>
                </a:lnTo>
                <a:lnTo>
                  <a:pt x="2384" y="2914"/>
                </a:lnTo>
                <a:lnTo>
                  <a:pt x="2384" y="2916"/>
                </a:lnTo>
                <a:lnTo>
                  <a:pt x="2384" y="2918"/>
                </a:lnTo>
                <a:lnTo>
                  <a:pt x="2384" y="2919"/>
                </a:lnTo>
                <a:lnTo>
                  <a:pt x="2385" y="2921"/>
                </a:lnTo>
                <a:lnTo>
                  <a:pt x="2387" y="2921"/>
                </a:lnTo>
                <a:lnTo>
                  <a:pt x="2387" y="2923"/>
                </a:lnTo>
                <a:lnTo>
                  <a:pt x="2389" y="2923"/>
                </a:lnTo>
                <a:lnTo>
                  <a:pt x="2390" y="2925"/>
                </a:lnTo>
                <a:lnTo>
                  <a:pt x="2392" y="2925"/>
                </a:lnTo>
                <a:lnTo>
                  <a:pt x="2394" y="2926"/>
                </a:lnTo>
                <a:lnTo>
                  <a:pt x="2396" y="2928"/>
                </a:lnTo>
                <a:lnTo>
                  <a:pt x="2397" y="2928"/>
                </a:lnTo>
                <a:lnTo>
                  <a:pt x="2399" y="2930"/>
                </a:lnTo>
                <a:lnTo>
                  <a:pt x="2402" y="2930"/>
                </a:lnTo>
                <a:lnTo>
                  <a:pt x="2404" y="2930"/>
                </a:lnTo>
                <a:lnTo>
                  <a:pt x="2406" y="2928"/>
                </a:lnTo>
                <a:lnTo>
                  <a:pt x="2406" y="2930"/>
                </a:lnTo>
                <a:lnTo>
                  <a:pt x="2409" y="2930"/>
                </a:lnTo>
                <a:lnTo>
                  <a:pt x="2413" y="2930"/>
                </a:lnTo>
                <a:lnTo>
                  <a:pt x="2414" y="2930"/>
                </a:lnTo>
                <a:lnTo>
                  <a:pt x="2416" y="2930"/>
                </a:lnTo>
                <a:lnTo>
                  <a:pt x="2418" y="2928"/>
                </a:lnTo>
                <a:lnTo>
                  <a:pt x="2419" y="2926"/>
                </a:lnTo>
                <a:lnTo>
                  <a:pt x="2421" y="2925"/>
                </a:lnTo>
                <a:lnTo>
                  <a:pt x="2423" y="2925"/>
                </a:lnTo>
                <a:lnTo>
                  <a:pt x="2424" y="2923"/>
                </a:lnTo>
                <a:lnTo>
                  <a:pt x="2426" y="2921"/>
                </a:lnTo>
                <a:lnTo>
                  <a:pt x="2428" y="2919"/>
                </a:lnTo>
                <a:lnTo>
                  <a:pt x="2429" y="2918"/>
                </a:lnTo>
                <a:lnTo>
                  <a:pt x="2431" y="2916"/>
                </a:lnTo>
                <a:lnTo>
                  <a:pt x="2433" y="2916"/>
                </a:lnTo>
                <a:lnTo>
                  <a:pt x="2435" y="2916"/>
                </a:lnTo>
                <a:lnTo>
                  <a:pt x="2436" y="2916"/>
                </a:lnTo>
                <a:lnTo>
                  <a:pt x="2438" y="2916"/>
                </a:lnTo>
                <a:lnTo>
                  <a:pt x="2440" y="2918"/>
                </a:lnTo>
                <a:lnTo>
                  <a:pt x="2441" y="2919"/>
                </a:lnTo>
                <a:lnTo>
                  <a:pt x="2443" y="2919"/>
                </a:lnTo>
                <a:lnTo>
                  <a:pt x="2443" y="2923"/>
                </a:lnTo>
                <a:lnTo>
                  <a:pt x="2445" y="2925"/>
                </a:lnTo>
                <a:lnTo>
                  <a:pt x="2445" y="2926"/>
                </a:lnTo>
                <a:lnTo>
                  <a:pt x="2445" y="2928"/>
                </a:lnTo>
                <a:lnTo>
                  <a:pt x="2446" y="2928"/>
                </a:lnTo>
                <a:lnTo>
                  <a:pt x="2446" y="2930"/>
                </a:lnTo>
                <a:lnTo>
                  <a:pt x="2450" y="2931"/>
                </a:lnTo>
                <a:lnTo>
                  <a:pt x="2453" y="2933"/>
                </a:lnTo>
                <a:lnTo>
                  <a:pt x="2455" y="2935"/>
                </a:lnTo>
                <a:lnTo>
                  <a:pt x="2458" y="2936"/>
                </a:lnTo>
                <a:lnTo>
                  <a:pt x="2460" y="2936"/>
                </a:lnTo>
                <a:lnTo>
                  <a:pt x="2462" y="2936"/>
                </a:lnTo>
                <a:lnTo>
                  <a:pt x="2465" y="2938"/>
                </a:lnTo>
                <a:lnTo>
                  <a:pt x="2465" y="2940"/>
                </a:lnTo>
                <a:lnTo>
                  <a:pt x="2467" y="2938"/>
                </a:lnTo>
                <a:lnTo>
                  <a:pt x="2469" y="2938"/>
                </a:lnTo>
                <a:lnTo>
                  <a:pt x="2470" y="2936"/>
                </a:lnTo>
                <a:lnTo>
                  <a:pt x="2472" y="2935"/>
                </a:lnTo>
                <a:lnTo>
                  <a:pt x="2474" y="2933"/>
                </a:lnTo>
                <a:lnTo>
                  <a:pt x="2474" y="2931"/>
                </a:lnTo>
                <a:lnTo>
                  <a:pt x="2474" y="2930"/>
                </a:lnTo>
                <a:lnTo>
                  <a:pt x="2474" y="2926"/>
                </a:lnTo>
                <a:lnTo>
                  <a:pt x="2475" y="2925"/>
                </a:lnTo>
                <a:lnTo>
                  <a:pt x="2477" y="2926"/>
                </a:lnTo>
                <a:lnTo>
                  <a:pt x="2480" y="2925"/>
                </a:lnTo>
                <a:lnTo>
                  <a:pt x="2482" y="2925"/>
                </a:lnTo>
                <a:lnTo>
                  <a:pt x="2486" y="2925"/>
                </a:lnTo>
                <a:lnTo>
                  <a:pt x="2487" y="2925"/>
                </a:lnTo>
                <a:lnTo>
                  <a:pt x="2489" y="2925"/>
                </a:lnTo>
                <a:lnTo>
                  <a:pt x="2491" y="2925"/>
                </a:lnTo>
                <a:lnTo>
                  <a:pt x="2494" y="2925"/>
                </a:lnTo>
                <a:lnTo>
                  <a:pt x="2496" y="2925"/>
                </a:lnTo>
                <a:lnTo>
                  <a:pt x="2496" y="2926"/>
                </a:lnTo>
                <a:lnTo>
                  <a:pt x="2497" y="2928"/>
                </a:lnTo>
                <a:lnTo>
                  <a:pt x="2497" y="2930"/>
                </a:lnTo>
                <a:lnTo>
                  <a:pt x="2499" y="2931"/>
                </a:lnTo>
                <a:lnTo>
                  <a:pt x="2501" y="2931"/>
                </a:lnTo>
                <a:lnTo>
                  <a:pt x="2503" y="2931"/>
                </a:lnTo>
                <a:lnTo>
                  <a:pt x="2504" y="2931"/>
                </a:lnTo>
                <a:lnTo>
                  <a:pt x="2506" y="2931"/>
                </a:lnTo>
                <a:lnTo>
                  <a:pt x="2509" y="2930"/>
                </a:lnTo>
                <a:lnTo>
                  <a:pt x="2511" y="2930"/>
                </a:lnTo>
                <a:lnTo>
                  <a:pt x="2513" y="2928"/>
                </a:lnTo>
                <a:lnTo>
                  <a:pt x="2514" y="2930"/>
                </a:lnTo>
                <a:lnTo>
                  <a:pt x="2516" y="2930"/>
                </a:lnTo>
                <a:lnTo>
                  <a:pt x="2520" y="2930"/>
                </a:lnTo>
                <a:lnTo>
                  <a:pt x="2521" y="2930"/>
                </a:lnTo>
                <a:lnTo>
                  <a:pt x="2523" y="2930"/>
                </a:lnTo>
                <a:lnTo>
                  <a:pt x="2525" y="2930"/>
                </a:lnTo>
                <a:lnTo>
                  <a:pt x="2526" y="2931"/>
                </a:lnTo>
                <a:lnTo>
                  <a:pt x="2528" y="2931"/>
                </a:lnTo>
                <a:lnTo>
                  <a:pt x="2531" y="2930"/>
                </a:lnTo>
                <a:lnTo>
                  <a:pt x="2531" y="2928"/>
                </a:lnTo>
                <a:lnTo>
                  <a:pt x="2531" y="2926"/>
                </a:lnTo>
                <a:lnTo>
                  <a:pt x="2531" y="2923"/>
                </a:lnTo>
                <a:lnTo>
                  <a:pt x="2533" y="2921"/>
                </a:lnTo>
                <a:lnTo>
                  <a:pt x="2535" y="2923"/>
                </a:lnTo>
                <a:lnTo>
                  <a:pt x="2537" y="2921"/>
                </a:lnTo>
                <a:lnTo>
                  <a:pt x="2538" y="2921"/>
                </a:lnTo>
                <a:lnTo>
                  <a:pt x="2538" y="2923"/>
                </a:lnTo>
                <a:lnTo>
                  <a:pt x="2540" y="2925"/>
                </a:lnTo>
                <a:lnTo>
                  <a:pt x="2542" y="2926"/>
                </a:lnTo>
                <a:lnTo>
                  <a:pt x="2545" y="2926"/>
                </a:lnTo>
                <a:lnTo>
                  <a:pt x="2547" y="2928"/>
                </a:lnTo>
                <a:lnTo>
                  <a:pt x="2548" y="2926"/>
                </a:lnTo>
                <a:lnTo>
                  <a:pt x="2550" y="2926"/>
                </a:lnTo>
                <a:lnTo>
                  <a:pt x="2554" y="2925"/>
                </a:lnTo>
                <a:lnTo>
                  <a:pt x="2555" y="2925"/>
                </a:lnTo>
                <a:lnTo>
                  <a:pt x="2559" y="2925"/>
                </a:lnTo>
                <a:lnTo>
                  <a:pt x="2560" y="2925"/>
                </a:lnTo>
                <a:lnTo>
                  <a:pt x="2564" y="2925"/>
                </a:lnTo>
                <a:lnTo>
                  <a:pt x="2565" y="2923"/>
                </a:lnTo>
                <a:lnTo>
                  <a:pt x="2567" y="2923"/>
                </a:lnTo>
                <a:lnTo>
                  <a:pt x="2567" y="2921"/>
                </a:lnTo>
                <a:lnTo>
                  <a:pt x="2571" y="2923"/>
                </a:lnTo>
                <a:lnTo>
                  <a:pt x="2572" y="2923"/>
                </a:lnTo>
                <a:lnTo>
                  <a:pt x="2574" y="2921"/>
                </a:lnTo>
                <a:lnTo>
                  <a:pt x="2576" y="2921"/>
                </a:lnTo>
                <a:lnTo>
                  <a:pt x="2577" y="2919"/>
                </a:lnTo>
                <a:lnTo>
                  <a:pt x="2579" y="2919"/>
                </a:lnTo>
                <a:lnTo>
                  <a:pt x="2581" y="2918"/>
                </a:lnTo>
                <a:lnTo>
                  <a:pt x="2582" y="2916"/>
                </a:lnTo>
                <a:lnTo>
                  <a:pt x="2584" y="2913"/>
                </a:lnTo>
                <a:lnTo>
                  <a:pt x="2588" y="2913"/>
                </a:lnTo>
                <a:lnTo>
                  <a:pt x="2589" y="2913"/>
                </a:lnTo>
                <a:lnTo>
                  <a:pt x="2589" y="2911"/>
                </a:lnTo>
                <a:lnTo>
                  <a:pt x="2591" y="2909"/>
                </a:lnTo>
                <a:lnTo>
                  <a:pt x="2591" y="2908"/>
                </a:lnTo>
                <a:lnTo>
                  <a:pt x="2593" y="2906"/>
                </a:lnTo>
                <a:lnTo>
                  <a:pt x="2594" y="2906"/>
                </a:lnTo>
                <a:lnTo>
                  <a:pt x="2596" y="2904"/>
                </a:lnTo>
                <a:lnTo>
                  <a:pt x="2596" y="2902"/>
                </a:lnTo>
                <a:lnTo>
                  <a:pt x="2598" y="2902"/>
                </a:lnTo>
                <a:lnTo>
                  <a:pt x="2601" y="2901"/>
                </a:lnTo>
                <a:lnTo>
                  <a:pt x="2603" y="2899"/>
                </a:lnTo>
                <a:lnTo>
                  <a:pt x="2605" y="2899"/>
                </a:lnTo>
                <a:lnTo>
                  <a:pt x="2606" y="2897"/>
                </a:lnTo>
                <a:lnTo>
                  <a:pt x="2608" y="2894"/>
                </a:lnTo>
                <a:lnTo>
                  <a:pt x="2610" y="2894"/>
                </a:lnTo>
                <a:lnTo>
                  <a:pt x="2613" y="2894"/>
                </a:lnTo>
                <a:lnTo>
                  <a:pt x="2615" y="2894"/>
                </a:lnTo>
                <a:lnTo>
                  <a:pt x="2616" y="2892"/>
                </a:lnTo>
                <a:lnTo>
                  <a:pt x="2618" y="2891"/>
                </a:lnTo>
                <a:lnTo>
                  <a:pt x="2618" y="2887"/>
                </a:lnTo>
                <a:lnTo>
                  <a:pt x="2620" y="2887"/>
                </a:lnTo>
                <a:lnTo>
                  <a:pt x="2623" y="2887"/>
                </a:lnTo>
                <a:lnTo>
                  <a:pt x="2625" y="2887"/>
                </a:lnTo>
                <a:lnTo>
                  <a:pt x="2627" y="2889"/>
                </a:lnTo>
                <a:lnTo>
                  <a:pt x="2628" y="2889"/>
                </a:lnTo>
                <a:lnTo>
                  <a:pt x="2630" y="2889"/>
                </a:lnTo>
                <a:lnTo>
                  <a:pt x="2633" y="2889"/>
                </a:lnTo>
                <a:lnTo>
                  <a:pt x="2635" y="2889"/>
                </a:lnTo>
                <a:lnTo>
                  <a:pt x="2637" y="2887"/>
                </a:lnTo>
                <a:lnTo>
                  <a:pt x="2639" y="2887"/>
                </a:lnTo>
                <a:lnTo>
                  <a:pt x="2640" y="2887"/>
                </a:lnTo>
                <a:lnTo>
                  <a:pt x="2644" y="2887"/>
                </a:lnTo>
                <a:lnTo>
                  <a:pt x="2645" y="2887"/>
                </a:lnTo>
                <a:lnTo>
                  <a:pt x="2649" y="2887"/>
                </a:lnTo>
                <a:lnTo>
                  <a:pt x="2650" y="2885"/>
                </a:lnTo>
                <a:lnTo>
                  <a:pt x="2652" y="2884"/>
                </a:lnTo>
                <a:lnTo>
                  <a:pt x="2654" y="2884"/>
                </a:lnTo>
                <a:lnTo>
                  <a:pt x="2656" y="2884"/>
                </a:lnTo>
                <a:lnTo>
                  <a:pt x="2657" y="2885"/>
                </a:lnTo>
                <a:lnTo>
                  <a:pt x="2659" y="2885"/>
                </a:lnTo>
                <a:lnTo>
                  <a:pt x="2661" y="2884"/>
                </a:lnTo>
                <a:lnTo>
                  <a:pt x="2662" y="2884"/>
                </a:lnTo>
                <a:lnTo>
                  <a:pt x="2664" y="2882"/>
                </a:lnTo>
                <a:lnTo>
                  <a:pt x="2666" y="2879"/>
                </a:lnTo>
                <a:lnTo>
                  <a:pt x="2667" y="2877"/>
                </a:lnTo>
                <a:lnTo>
                  <a:pt x="2667" y="2874"/>
                </a:lnTo>
                <a:lnTo>
                  <a:pt x="2669" y="2872"/>
                </a:lnTo>
                <a:lnTo>
                  <a:pt x="2671" y="2870"/>
                </a:lnTo>
                <a:lnTo>
                  <a:pt x="2673" y="2870"/>
                </a:lnTo>
                <a:lnTo>
                  <a:pt x="2674" y="2868"/>
                </a:lnTo>
                <a:lnTo>
                  <a:pt x="2678" y="2868"/>
                </a:lnTo>
                <a:lnTo>
                  <a:pt x="2678" y="2867"/>
                </a:lnTo>
                <a:lnTo>
                  <a:pt x="2679" y="2865"/>
                </a:lnTo>
                <a:lnTo>
                  <a:pt x="2681" y="2863"/>
                </a:lnTo>
                <a:lnTo>
                  <a:pt x="2683" y="2862"/>
                </a:lnTo>
                <a:lnTo>
                  <a:pt x="2684" y="2860"/>
                </a:lnTo>
                <a:lnTo>
                  <a:pt x="2684" y="2858"/>
                </a:lnTo>
                <a:lnTo>
                  <a:pt x="2684" y="2857"/>
                </a:lnTo>
                <a:lnTo>
                  <a:pt x="2686" y="2853"/>
                </a:lnTo>
                <a:lnTo>
                  <a:pt x="2688" y="2851"/>
                </a:lnTo>
                <a:lnTo>
                  <a:pt x="2691" y="2850"/>
                </a:lnTo>
                <a:lnTo>
                  <a:pt x="2693" y="2848"/>
                </a:lnTo>
                <a:lnTo>
                  <a:pt x="2695" y="2848"/>
                </a:lnTo>
                <a:lnTo>
                  <a:pt x="2696" y="2845"/>
                </a:lnTo>
                <a:lnTo>
                  <a:pt x="2698" y="2841"/>
                </a:lnTo>
                <a:lnTo>
                  <a:pt x="2698" y="2840"/>
                </a:lnTo>
                <a:lnTo>
                  <a:pt x="2700" y="2838"/>
                </a:lnTo>
                <a:lnTo>
                  <a:pt x="2701" y="2834"/>
                </a:lnTo>
                <a:lnTo>
                  <a:pt x="2703" y="2833"/>
                </a:lnTo>
                <a:lnTo>
                  <a:pt x="2703" y="2831"/>
                </a:lnTo>
                <a:lnTo>
                  <a:pt x="2705" y="2829"/>
                </a:lnTo>
                <a:lnTo>
                  <a:pt x="2705" y="2828"/>
                </a:lnTo>
                <a:lnTo>
                  <a:pt x="2708" y="2826"/>
                </a:lnTo>
                <a:lnTo>
                  <a:pt x="2708" y="2823"/>
                </a:lnTo>
                <a:lnTo>
                  <a:pt x="2708" y="2824"/>
                </a:lnTo>
                <a:lnTo>
                  <a:pt x="2708" y="2823"/>
                </a:lnTo>
                <a:lnTo>
                  <a:pt x="2708" y="2821"/>
                </a:lnTo>
                <a:lnTo>
                  <a:pt x="2710" y="2819"/>
                </a:lnTo>
                <a:lnTo>
                  <a:pt x="2712" y="2817"/>
                </a:lnTo>
                <a:lnTo>
                  <a:pt x="2712" y="2814"/>
                </a:lnTo>
                <a:lnTo>
                  <a:pt x="2712" y="2812"/>
                </a:lnTo>
                <a:lnTo>
                  <a:pt x="2710" y="2809"/>
                </a:lnTo>
                <a:lnTo>
                  <a:pt x="2710" y="2807"/>
                </a:lnTo>
                <a:lnTo>
                  <a:pt x="2710" y="2806"/>
                </a:lnTo>
                <a:lnTo>
                  <a:pt x="2712" y="2804"/>
                </a:lnTo>
                <a:lnTo>
                  <a:pt x="2713" y="2800"/>
                </a:lnTo>
                <a:lnTo>
                  <a:pt x="2713" y="2799"/>
                </a:lnTo>
                <a:lnTo>
                  <a:pt x="2713" y="2795"/>
                </a:lnTo>
                <a:lnTo>
                  <a:pt x="2713" y="2794"/>
                </a:lnTo>
                <a:lnTo>
                  <a:pt x="2713" y="2790"/>
                </a:lnTo>
                <a:lnTo>
                  <a:pt x="2713" y="2788"/>
                </a:lnTo>
                <a:lnTo>
                  <a:pt x="2712" y="2787"/>
                </a:lnTo>
                <a:lnTo>
                  <a:pt x="2712" y="2785"/>
                </a:lnTo>
                <a:lnTo>
                  <a:pt x="2710" y="2783"/>
                </a:lnTo>
                <a:lnTo>
                  <a:pt x="2708" y="2782"/>
                </a:lnTo>
                <a:lnTo>
                  <a:pt x="2708" y="2780"/>
                </a:lnTo>
                <a:lnTo>
                  <a:pt x="2707" y="2780"/>
                </a:lnTo>
                <a:lnTo>
                  <a:pt x="2707" y="2778"/>
                </a:lnTo>
                <a:lnTo>
                  <a:pt x="2707" y="2777"/>
                </a:lnTo>
                <a:lnTo>
                  <a:pt x="2705" y="2777"/>
                </a:lnTo>
                <a:lnTo>
                  <a:pt x="2703" y="2775"/>
                </a:lnTo>
                <a:lnTo>
                  <a:pt x="2701" y="2773"/>
                </a:lnTo>
                <a:lnTo>
                  <a:pt x="2703" y="2775"/>
                </a:lnTo>
                <a:lnTo>
                  <a:pt x="2703" y="2773"/>
                </a:lnTo>
                <a:lnTo>
                  <a:pt x="2701" y="2773"/>
                </a:lnTo>
                <a:lnTo>
                  <a:pt x="2703" y="2771"/>
                </a:lnTo>
                <a:lnTo>
                  <a:pt x="2703" y="2770"/>
                </a:lnTo>
                <a:lnTo>
                  <a:pt x="2701" y="2770"/>
                </a:lnTo>
                <a:lnTo>
                  <a:pt x="2700" y="2770"/>
                </a:lnTo>
                <a:lnTo>
                  <a:pt x="2701" y="2773"/>
                </a:lnTo>
                <a:lnTo>
                  <a:pt x="2698" y="2771"/>
                </a:lnTo>
                <a:lnTo>
                  <a:pt x="2698" y="2770"/>
                </a:lnTo>
                <a:lnTo>
                  <a:pt x="2696" y="2770"/>
                </a:lnTo>
                <a:lnTo>
                  <a:pt x="2696" y="2768"/>
                </a:lnTo>
                <a:lnTo>
                  <a:pt x="2695" y="2768"/>
                </a:lnTo>
                <a:lnTo>
                  <a:pt x="2693" y="2765"/>
                </a:lnTo>
                <a:lnTo>
                  <a:pt x="2693" y="2763"/>
                </a:lnTo>
                <a:lnTo>
                  <a:pt x="2691" y="2761"/>
                </a:lnTo>
                <a:lnTo>
                  <a:pt x="2690" y="2760"/>
                </a:lnTo>
                <a:lnTo>
                  <a:pt x="2688" y="2760"/>
                </a:lnTo>
                <a:lnTo>
                  <a:pt x="2688" y="2758"/>
                </a:lnTo>
                <a:lnTo>
                  <a:pt x="2684" y="2758"/>
                </a:lnTo>
                <a:lnTo>
                  <a:pt x="2684" y="2756"/>
                </a:lnTo>
                <a:lnTo>
                  <a:pt x="2683" y="2754"/>
                </a:lnTo>
                <a:lnTo>
                  <a:pt x="2683" y="2753"/>
                </a:lnTo>
                <a:lnTo>
                  <a:pt x="2681" y="2751"/>
                </a:lnTo>
                <a:lnTo>
                  <a:pt x="2681" y="2749"/>
                </a:lnTo>
                <a:lnTo>
                  <a:pt x="2679" y="2748"/>
                </a:lnTo>
                <a:lnTo>
                  <a:pt x="2678" y="2748"/>
                </a:lnTo>
                <a:lnTo>
                  <a:pt x="2678" y="2746"/>
                </a:lnTo>
                <a:lnTo>
                  <a:pt x="2676" y="2743"/>
                </a:lnTo>
                <a:lnTo>
                  <a:pt x="2674" y="2743"/>
                </a:lnTo>
                <a:lnTo>
                  <a:pt x="2673" y="2741"/>
                </a:lnTo>
                <a:lnTo>
                  <a:pt x="2671" y="2739"/>
                </a:lnTo>
                <a:lnTo>
                  <a:pt x="2669" y="2737"/>
                </a:lnTo>
                <a:lnTo>
                  <a:pt x="2666" y="2737"/>
                </a:lnTo>
                <a:lnTo>
                  <a:pt x="2664" y="2737"/>
                </a:lnTo>
                <a:lnTo>
                  <a:pt x="2662" y="2737"/>
                </a:lnTo>
                <a:lnTo>
                  <a:pt x="2661" y="2737"/>
                </a:lnTo>
                <a:lnTo>
                  <a:pt x="2657" y="2739"/>
                </a:lnTo>
                <a:lnTo>
                  <a:pt x="2656" y="2741"/>
                </a:lnTo>
                <a:lnTo>
                  <a:pt x="2654" y="2741"/>
                </a:lnTo>
                <a:lnTo>
                  <a:pt x="2652" y="2739"/>
                </a:lnTo>
                <a:lnTo>
                  <a:pt x="2650" y="2739"/>
                </a:lnTo>
                <a:lnTo>
                  <a:pt x="2650" y="2737"/>
                </a:lnTo>
                <a:lnTo>
                  <a:pt x="2649" y="2737"/>
                </a:lnTo>
                <a:lnTo>
                  <a:pt x="2649" y="2736"/>
                </a:lnTo>
                <a:lnTo>
                  <a:pt x="2647" y="2734"/>
                </a:lnTo>
                <a:lnTo>
                  <a:pt x="2647" y="2732"/>
                </a:lnTo>
                <a:lnTo>
                  <a:pt x="2645" y="2731"/>
                </a:lnTo>
                <a:lnTo>
                  <a:pt x="2644" y="2731"/>
                </a:lnTo>
                <a:lnTo>
                  <a:pt x="2642" y="2731"/>
                </a:lnTo>
                <a:lnTo>
                  <a:pt x="2640" y="2731"/>
                </a:lnTo>
                <a:lnTo>
                  <a:pt x="2640" y="2732"/>
                </a:lnTo>
                <a:lnTo>
                  <a:pt x="2637" y="2731"/>
                </a:lnTo>
                <a:lnTo>
                  <a:pt x="2635" y="2731"/>
                </a:lnTo>
                <a:lnTo>
                  <a:pt x="2632" y="2729"/>
                </a:lnTo>
                <a:lnTo>
                  <a:pt x="2628" y="2729"/>
                </a:lnTo>
                <a:lnTo>
                  <a:pt x="2627" y="2731"/>
                </a:lnTo>
                <a:lnTo>
                  <a:pt x="2625" y="2731"/>
                </a:lnTo>
                <a:lnTo>
                  <a:pt x="2623" y="2732"/>
                </a:lnTo>
                <a:lnTo>
                  <a:pt x="2622" y="2732"/>
                </a:lnTo>
                <a:lnTo>
                  <a:pt x="2620" y="2732"/>
                </a:lnTo>
                <a:lnTo>
                  <a:pt x="2618" y="2734"/>
                </a:lnTo>
                <a:lnTo>
                  <a:pt x="2616" y="2734"/>
                </a:lnTo>
                <a:lnTo>
                  <a:pt x="2615" y="2732"/>
                </a:lnTo>
                <a:lnTo>
                  <a:pt x="2611" y="2732"/>
                </a:lnTo>
                <a:lnTo>
                  <a:pt x="2610" y="2732"/>
                </a:lnTo>
                <a:lnTo>
                  <a:pt x="2608" y="2732"/>
                </a:lnTo>
                <a:lnTo>
                  <a:pt x="2606" y="2734"/>
                </a:lnTo>
                <a:lnTo>
                  <a:pt x="2606" y="2736"/>
                </a:lnTo>
                <a:lnTo>
                  <a:pt x="2603" y="2734"/>
                </a:lnTo>
                <a:lnTo>
                  <a:pt x="2601" y="2734"/>
                </a:lnTo>
                <a:lnTo>
                  <a:pt x="2601" y="2732"/>
                </a:lnTo>
                <a:lnTo>
                  <a:pt x="2599" y="2731"/>
                </a:lnTo>
                <a:lnTo>
                  <a:pt x="2598" y="2729"/>
                </a:lnTo>
                <a:lnTo>
                  <a:pt x="2596" y="2727"/>
                </a:lnTo>
                <a:lnTo>
                  <a:pt x="2596" y="2726"/>
                </a:lnTo>
                <a:lnTo>
                  <a:pt x="2594" y="2726"/>
                </a:lnTo>
                <a:lnTo>
                  <a:pt x="2591" y="2727"/>
                </a:lnTo>
                <a:lnTo>
                  <a:pt x="2589" y="2726"/>
                </a:lnTo>
                <a:lnTo>
                  <a:pt x="2586" y="2726"/>
                </a:lnTo>
                <a:lnTo>
                  <a:pt x="2582" y="2727"/>
                </a:lnTo>
                <a:lnTo>
                  <a:pt x="2579" y="2727"/>
                </a:lnTo>
                <a:lnTo>
                  <a:pt x="2577" y="2727"/>
                </a:lnTo>
                <a:lnTo>
                  <a:pt x="2577" y="2726"/>
                </a:lnTo>
                <a:lnTo>
                  <a:pt x="2576" y="2724"/>
                </a:lnTo>
                <a:lnTo>
                  <a:pt x="2574" y="2722"/>
                </a:lnTo>
                <a:lnTo>
                  <a:pt x="2572" y="2722"/>
                </a:lnTo>
                <a:lnTo>
                  <a:pt x="2571" y="2720"/>
                </a:lnTo>
                <a:lnTo>
                  <a:pt x="2567" y="2720"/>
                </a:lnTo>
                <a:lnTo>
                  <a:pt x="2565" y="2720"/>
                </a:lnTo>
                <a:lnTo>
                  <a:pt x="2564" y="2720"/>
                </a:lnTo>
                <a:lnTo>
                  <a:pt x="2562" y="2719"/>
                </a:lnTo>
                <a:lnTo>
                  <a:pt x="2560" y="2717"/>
                </a:lnTo>
                <a:lnTo>
                  <a:pt x="2559" y="2717"/>
                </a:lnTo>
                <a:lnTo>
                  <a:pt x="2557" y="2717"/>
                </a:lnTo>
                <a:lnTo>
                  <a:pt x="2554" y="2715"/>
                </a:lnTo>
                <a:lnTo>
                  <a:pt x="2550" y="2714"/>
                </a:lnTo>
                <a:lnTo>
                  <a:pt x="2548" y="2712"/>
                </a:lnTo>
                <a:lnTo>
                  <a:pt x="2545" y="2712"/>
                </a:lnTo>
                <a:lnTo>
                  <a:pt x="2545" y="2710"/>
                </a:lnTo>
                <a:lnTo>
                  <a:pt x="2543" y="2710"/>
                </a:lnTo>
                <a:lnTo>
                  <a:pt x="2542" y="2709"/>
                </a:lnTo>
                <a:lnTo>
                  <a:pt x="2540" y="2709"/>
                </a:lnTo>
                <a:lnTo>
                  <a:pt x="2538" y="2707"/>
                </a:lnTo>
                <a:lnTo>
                  <a:pt x="2537" y="2707"/>
                </a:lnTo>
                <a:lnTo>
                  <a:pt x="2535" y="2705"/>
                </a:lnTo>
                <a:lnTo>
                  <a:pt x="2533" y="2705"/>
                </a:lnTo>
                <a:lnTo>
                  <a:pt x="2531" y="2705"/>
                </a:lnTo>
                <a:lnTo>
                  <a:pt x="2530" y="2703"/>
                </a:lnTo>
                <a:lnTo>
                  <a:pt x="2528" y="2703"/>
                </a:lnTo>
                <a:lnTo>
                  <a:pt x="2526" y="2703"/>
                </a:lnTo>
                <a:lnTo>
                  <a:pt x="2525" y="2703"/>
                </a:lnTo>
                <a:lnTo>
                  <a:pt x="2523" y="2702"/>
                </a:lnTo>
                <a:lnTo>
                  <a:pt x="2521" y="2702"/>
                </a:lnTo>
                <a:lnTo>
                  <a:pt x="2520" y="2700"/>
                </a:lnTo>
                <a:lnTo>
                  <a:pt x="2518" y="2700"/>
                </a:lnTo>
                <a:lnTo>
                  <a:pt x="2516" y="2698"/>
                </a:lnTo>
                <a:lnTo>
                  <a:pt x="2514" y="2697"/>
                </a:lnTo>
                <a:lnTo>
                  <a:pt x="2511" y="2697"/>
                </a:lnTo>
                <a:lnTo>
                  <a:pt x="2508" y="2698"/>
                </a:lnTo>
                <a:lnTo>
                  <a:pt x="2506" y="2697"/>
                </a:lnTo>
                <a:lnTo>
                  <a:pt x="2504" y="2695"/>
                </a:lnTo>
                <a:lnTo>
                  <a:pt x="2503" y="2695"/>
                </a:lnTo>
                <a:lnTo>
                  <a:pt x="2501" y="2693"/>
                </a:lnTo>
                <a:lnTo>
                  <a:pt x="2497" y="2693"/>
                </a:lnTo>
                <a:lnTo>
                  <a:pt x="2496" y="2693"/>
                </a:lnTo>
                <a:lnTo>
                  <a:pt x="2492" y="2693"/>
                </a:lnTo>
                <a:lnTo>
                  <a:pt x="2489" y="2693"/>
                </a:lnTo>
                <a:lnTo>
                  <a:pt x="2486" y="2693"/>
                </a:lnTo>
                <a:lnTo>
                  <a:pt x="2484" y="2693"/>
                </a:lnTo>
                <a:lnTo>
                  <a:pt x="2480" y="2695"/>
                </a:lnTo>
                <a:lnTo>
                  <a:pt x="2479" y="2695"/>
                </a:lnTo>
                <a:lnTo>
                  <a:pt x="2477" y="2695"/>
                </a:lnTo>
                <a:lnTo>
                  <a:pt x="2474" y="2695"/>
                </a:lnTo>
                <a:lnTo>
                  <a:pt x="2470" y="2697"/>
                </a:lnTo>
                <a:lnTo>
                  <a:pt x="2467" y="2695"/>
                </a:lnTo>
                <a:lnTo>
                  <a:pt x="2467" y="2693"/>
                </a:lnTo>
                <a:lnTo>
                  <a:pt x="2465" y="2693"/>
                </a:lnTo>
                <a:lnTo>
                  <a:pt x="2463" y="2692"/>
                </a:lnTo>
                <a:lnTo>
                  <a:pt x="2462" y="2690"/>
                </a:lnTo>
                <a:lnTo>
                  <a:pt x="2458" y="2690"/>
                </a:lnTo>
                <a:lnTo>
                  <a:pt x="2460" y="2690"/>
                </a:lnTo>
                <a:lnTo>
                  <a:pt x="2460" y="2688"/>
                </a:lnTo>
                <a:lnTo>
                  <a:pt x="2457" y="2688"/>
                </a:lnTo>
                <a:lnTo>
                  <a:pt x="2458" y="2690"/>
                </a:lnTo>
                <a:lnTo>
                  <a:pt x="2455" y="2690"/>
                </a:lnTo>
                <a:lnTo>
                  <a:pt x="2452" y="2688"/>
                </a:lnTo>
                <a:lnTo>
                  <a:pt x="2450" y="2688"/>
                </a:lnTo>
                <a:lnTo>
                  <a:pt x="2452" y="2686"/>
                </a:lnTo>
                <a:lnTo>
                  <a:pt x="2450" y="2685"/>
                </a:lnTo>
                <a:lnTo>
                  <a:pt x="2448" y="2685"/>
                </a:lnTo>
                <a:lnTo>
                  <a:pt x="2445" y="2683"/>
                </a:lnTo>
                <a:lnTo>
                  <a:pt x="2443" y="2683"/>
                </a:lnTo>
                <a:lnTo>
                  <a:pt x="2441" y="2683"/>
                </a:lnTo>
                <a:lnTo>
                  <a:pt x="2443" y="2685"/>
                </a:lnTo>
                <a:lnTo>
                  <a:pt x="2445" y="2686"/>
                </a:lnTo>
                <a:lnTo>
                  <a:pt x="2445" y="2688"/>
                </a:lnTo>
                <a:lnTo>
                  <a:pt x="2441" y="2690"/>
                </a:lnTo>
                <a:lnTo>
                  <a:pt x="2440" y="2690"/>
                </a:lnTo>
                <a:lnTo>
                  <a:pt x="2438" y="2690"/>
                </a:lnTo>
                <a:lnTo>
                  <a:pt x="2436" y="2692"/>
                </a:lnTo>
                <a:lnTo>
                  <a:pt x="2433" y="2692"/>
                </a:lnTo>
                <a:lnTo>
                  <a:pt x="2429" y="2692"/>
                </a:lnTo>
                <a:lnTo>
                  <a:pt x="2428" y="2692"/>
                </a:lnTo>
                <a:lnTo>
                  <a:pt x="2426" y="2690"/>
                </a:lnTo>
                <a:lnTo>
                  <a:pt x="2424" y="2690"/>
                </a:lnTo>
                <a:lnTo>
                  <a:pt x="2423" y="2690"/>
                </a:lnTo>
                <a:lnTo>
                  <a:pt x="2423" y="2688"/>
                </a:lnTo>
                <a:lnTo>
                  <a:pt x="2419" y="2686"/>
                </a:lnTo>
                <a:lnTo>
                  <a:pt x="2419" y="2685"/>
                </a:lnTo>
                <a:lnTo>
                  <a:pt x="2418" y="2685"/>
                </a:lnTo>
                <a:lnTo>
                  <a:pt x="2416" y="2683"/>
                </a:lnTo>
                <a:lnTo>
                  <a:pt x="2416" y="2681"/>
                </a:lnTo>
                <a:lnTo>
                  <a:pt x="2416" y="2680"/>
                </a:lnTo>
                <a:lnTo>
                  <a:pt x="2414" y="2678"/>
                </a:lnTo>
                <a:lnTo>
                  <a:pt x="2413" y="2678"/>
                </a:lnTo>
                <a:lnTo>
                  <a:pt x="2411" y="2676"/>
                </a:lnTo>
                <a:lnTo>
                  <a:pt x="2407" y="2676"/>
                </a:lnTo>
                <a:lnTo>
                  <a:pt x="2404" y="2676"/>
                </a:lnTo>
                <a:lnTo>
                  <a:pt x="2402" y="2675"/>
                </a:lnTo>
                <a:lnTo>
                  <a:pt x="2401" y="2675"/>
                </a:lnTo>
                <a:lnTo>
                  <a:pt x="2399" y="2675"/>
                </a:lnTo>
                <a:lnTo>
                  <a:pt x="2397" y="2676"/>
                </a:lnTo>
                <a:lnTo>
                  <a:pt x="2396" y="2676"/>
                </a:lnTo>
                <a:lnTo>
                  <a:pt x="2394" y="2675"/>
                </a:lnTo>
                <a:lnTo>
                  <a:pt x="2392" y="2675"/>
                </a:lnTo>
                <a:lnTo>
                  <a:pt x="2389" y="2675"/>
                </a:lnTo>
                <a:lnTo>
                  <a:pt x="2387" y="2676"/>
                </a:lnTo>
                <a:lnTo>
                  <a:pt x="2385" y="2676"/>
                </a:lnTo>
                <a:lnTo>
                  <a:pt x="2384" y="2678"/>
                </a:lnTo>
                <a:lnTo>
                  <a:pt x="2382" y="2678"/>
                </a:lnTo>
                <a:lnTo>
                  <a:pt x="2380" y="2678"/>
                </a:lnTo>
                <a:lnTo>
                  <a:pt x="2379" y="2678"/>
                </a:lnTo>
                <a:lnTo>
                  <a:pt x="2377" y="2675"/>
                </a:lnTo>
                <a:lnTo>
                  <a:pt x="2375" y="2675"/>
                </a:lnTo>
                <a:lnTo>
                  <a:pt x="2375" y="2673"/>
                </a:lnTo>
                <a:lnTo>
                  <a:pt x="2377" y="2673"/>
                </a:lnTo>
                <a:lnTo>
                  <a:pt x="2379" y="2671"/>
                </a:lnTo>
                <a:lnTo>
                  <a:pt x="2380" y="2671"/>
                </a:lnTo>
                <a:lnTo>
                  <a:pt x="2382" y="2669"/>
                </a:lnTo>
                <a:lnTo>
                  <a:pt x="2384" y="2668"/>
                </a:lnTo>
                <a:lnTo>
                  <a:pt x="2385" y="2666"/>
                </a:lnTo>
                <a:lnTo>
                  <a:pt x="2387" y="2666"/>
                </a:lnTo>
                <a:lnTo>
                  <a:pt x="2387" y="2664"/>
                </a:lnTo>
                <a:lnTo>
                  <a:pt x="2389" y="2663"/>
                </a:lnTo>
                <a:lnTo>
                  <a:pt x="2390" y="2663"/>
                </a:lnTo>
                <a:lnTo>
                  <a:pt x="2390" y="2661"/>
                </a:lnTo>
                <a:lnTo>
                  <a:pt x="2390" y="2659"/>
                </a:lnTo>
                <a:lnTo>
                  <a:pt x="2389" y="2659"/>
                </a:lnTo>
                <a:lnTo>
                  <a:pt x="2387" y="2659"/>
                </a:lnTo>
                <a:lnTo>
                  <a:pt x="2387" y="2661"/>
                </a:lnTo>
                <a:lnTo>
                  <a:pt x="2385" y="2661"/>
                </a:lnTo>
                <a:lnTo>
                  <a:pt x="2384" y="2663"/>
                </a:lnTo>
                <a:lnTo>
                  <a:pt x="2382" y="2664"/>
                </a:lnTo>
                <a:lnTo>
                  <a:pt x="2380" y="2663"/>
                </a:lnTo>
                <a:lnTo>
                  <a:pt x="2379" y="2659"/>
                </a:lnTo>
                <a:lnTo>
                  <a:pt x="2380" y="2661"/>
                </a:lnTo>
                <a:lnTo>
                  <a:pt x="2382" y="2659"/>
                </a:lnTo>
                <a:lnTo>
                  <a:pt x="2382" y="2658"/>
                </a:lnTo>
                <a:lnTo>
                  <a:pt x="2380" y="2659"/>
                </a:lnTo>
                <a:lnTo>
                  <a:pt x="2380" y="2658"/>
                </a:lnTo>
                <a:lnTo>
                  <a:pt x="2379" y="2659"/>
                </a:lnTo>
                <a:lnTo>
                  <a:pt x="2377" y="2658"/>
                </a:lnTo>
                <a:lnTo>
                  <a:pt x="2377" y="2659"/>
                </a:lnTo>
                <a:lnTo>
                  <a:pt x="2377" y="2661"/>
                </a:lnTo>
                <a:lnTo>
                  <a:pt x="2375" y="2664"/>
                </a:lnTo>
                <a:lnTo>
                  <a:pt x="2375" y="2666"/>
                </a:lnTo>
                <a:lnTo>
                  <a:pt x="2375" y="2664"/>
                </a:lnTo>
                <a:lnTo>
                  <a:pt x="2373" y="2668"/>
                </a:lnTo>
                <a:lnTo>
                  <a:pt x="2375" y="2664"/>
                </a:lnTo>
                <a:lnTo>
                  <a:pt x="2377" y="2661"/>
                </a:lnTo>
                <a:lnTo>
                  <a:pt x="2377" y="2659"/>
                </a:lnTo>
                <a:lnTo>
                  <a:pt x="2377" y="2656"/>
                </a:lnTo>
                <a:lnTo>
                  <a:pt x="2380" y="2654"/>
                </a:lnTo>
                <a:lnTo>
                  <a:pt x="2382" y="2654"/>
                </a:lnTo>
                <a:lnTo>
                  <a:pt x="2384" y="2652"/>
                </a:lnTo>
                <a:lnTo>
                  <a:pt x="2385" y="2654"/>
                </a:lnTo>
                <a:lnTo>
                  <a:pt x="2387" y="2654"/>
                </a:lnTo>
                <a:lnTo>
                  <a:pt x="2389" y="2654"/>
                </a:lnTo>
                <a:lnTo>
                  <a:pt x="2390" y="2654"/>
                </a:lnTo>
                <a:lnTo>
                  <a:pt x="2394" y="2654"/>
                </a:lnTo>
                <a:lnTo>
                  <a:pt x="2394" y="2656"/>
                </a:lnTo>
                <a:lnTo>
                  <a:pt x="2394" y="2654"/>
                </a:lnTo>
                <a:lnTo>
                  <a:pt x="2396" y="2654"/>
                </a:lnTo>
                <a:lnTo>
                  <a:pt x="2399" y="2654"/>
                </a:lnTo>
                <a:lnTo>
                  <a:pt x="2401" y="2654"/>
                </a:lnTo>
                <a:lnTo>
                  <a:pt x="2402" y="2654"/>
                </a:lnTo>
                <a:lnTo>
                  <a:pt x="2404" y="2654"/>
                </a:lnTo>
                <a:lnTo>
                  <a:pt x="2406" y="2652"/>
                </a:lnTo>
                <a:lnTo>
                  <a:pt x="2407" y="2652"/>
                </a:lnTo>
                <a:lnTo>
                  <a:pt x="2407" y="2651"/>
                </a:lnTo>
                <a:lnTo>
                  <a:pt x="2411" y="2649"/>
                </a:lnTo>
                <a:lnTo>
                  <a:pt x="2413" y="2646"/>
                </a:lnTo>
                <a:lnTo>
                  <a:pt x="2414" y="2644"/>
                </a:lnTo>
                <a:lnTo>
                  <a:pt x="2414" y="2642"/>
                </a:lnTo>
                <a:lnTo>
                  <a:pt x="2414" y="2641"/>
                </a:lnTo>
                <a:lnTo>
                  <a:pt x="2414" y="2637"/>
                </a:lnTo>
                <a:lnTo>
                  <a:pt x="2413" y="2635"/>
                </a:lnTo>
                <a:lnTo>
                  <a:pt x="2413" y="2634"/>
                </a:lnTo>
                <a:lnTo>
                  <a:pt x="2411" y="2632"/>
                </a:lnTo>
                <a:lnTo>
                  <a:pt x="2409" y="2627"/>
                </a:lnTo>
                <a:lnTo>
                  <a:pt x="2409" y="2625"/>
                </a:lnTo>
                <a:lnTo>
                  <a:pt x="2411" y="2622"/>
                </a:lnTo>
                <a:lnTo>
                  <a:pt x="2413" y="2622"/>
                </a:lnTo>
                <a:lnTo>
                  <a:pt x="2414" y="2620"/>
                </a:lnTo>
                <a:lnTo>
                  <a:pt x="2414" y="2618"/>
                </a:lnTo>
                <a:lnTo>
                  <a:pt x="2416" y="2617"/>
                </a:lnTo>
                <a:lnTo>
                  <a:pt x="2418" y="2617"/>
                </a:lnTo>
                <a:lnTo>
                  <a:pt x="2418" y="2613"/>
                </a:lnTo>
                <a:lnTo>
                  <a:pt x="2418" y="2612"/>
                </a:lnTo>
                <a:lnTo>
                  <a:pt x="2416" y="2610"/>
                </a:lnTo>
                <a:lnTo>
                  <a:pt x="2416" y="2608"/>
                </a:lnTo>
                <a:lnTo>
                  <a:pt x="2416" y="2605"/>
                </a:lnTo>
                <a:lnTo>
                  <a:pt x="2416" y="2600"/>
                </a:lnTo>
                <a:lnTo>
                  <a:pt x="2416" y="2596"/>
                </a:lnTo>
                <a:lnTo>
                  <a:pt x="2416" y="2595"/>
                </a:lnTo>
                <a:lnTo>
                  <a:pt x="2418" y="2593"/>
                </a:lnTo>
                <a:lnTo>
                  <a:pt x="2419" y="2591"/>
                </a:lnTo>
                <a:lnTo>
                  <a:pt x="2423" y="2591"/>
                </a:lnTo>
                <a:lnTo>
                  <a:pt x="2423" y="2593"/>
                </a:lnTo>
                <a:lnTo>
                  <a:pt x="2421" y="2595"/>
                </a:lnTo>
                <a:lnTo>
                  <a:pt x="2423" y="2596"/>
                </a:lnTo>
                <a:lnTo>
                  <a:pt x="2424" y="2600"/>
                </a:lnTo>
                <a:lnTo>
                  <a:pt x="2424" y="2598"/>
                </a:lnTo>
                <a:lnTo>
                  <a:pt x="2424" y="2596"/>
                </a:lnTo>
                <a:lnTo>
                  <a:pt x="2424" y="2595"/>
                </a:lnTo>
                <a:lnTo>
                  <a:pt x="2424" y="2591"/>
                </a:lnTo>
                <a:lnTo>
                  <a:pt x="2424" y="2589"/>
                </a:lnTo>
                <a:lnTo>
                  <a:pt x="2424" y="2588"/>
                </a:lnTo>
                <a:lnTo>
                  <a:pt x="2423" y="2586"/>
                </a:lnTo>
                <a:lnTo>
                  <a:pt x="2424" y="2584"/>
                </a:lnTo>
                <a:lnTo>
                  <a:pt x="2424" y="2583"/>
                </a:lnTo>
                <a:lnTo>
                  <a:pt x="2424" y="2581"/>
                </a:lnTo>
                <a:lnTo>
                  <a:pt x="2424" y="2579"/>
                </a:lnTo>
                <a:lnTo>
                  <a:pt x="2424" y="2578"/>
                </a:lnTo>
                <a:lnTo>
                  <a:pt x="2423" y="2578"/>
                </a:lnTo>
                <a:lnTo>
                  <a:pt x="2423" y="2574"/>
                </a:lnTo>
                <a:lnTo>
                  <a:pt x="2424" y="2576"/>
                </a:lnTo>
                <a:lnTo>
                  <a:pt x="2424" y="2579"/>
                </a:lnTo>
                <a:lnTo>
                  <a:pt x="2426" y="2581"/>
                </a:lnTo>
                <a:lnTo>
                  <a:pt x="2428" y="2583"/>
                </a:lnTo>
                <a:lnTo>
                  <a:pt x="2429" y="2583"/>
                </a:lnTo>
                <a:lnTo>
                  <a:pt x="2431" y="2584"/>
                </a:lnTo>
                <a:lnTo>
                  <a:pt x="2433" y="2584"/>
                </a:lnTo>
                <a:lnTo>
                  <a:pt x="2435" y="2584"/>
                </a:lnTo>
                <a:lnTo>
                  <a:pt x="2438" y="2584"/>
                </a:lnTo>
                <a:lnTo>
                  <a:pt x="2440" y="2583"/>
                </a:lnTo>
                <a:lnTo>
                  <a:pt x="2443" y="2583"/>
                </a:lnTo>
                <a:lnTo>
                  <a:pt x="2443" y="2581"/>
                </a:lnTo>
                <a:lnTo>
                  <a:pt x="2441" y="2579"/>
                </a:lnTo>
                <a:lnTo>
                  <a:pt x="2438" y="2578"/>
                </a:lnTo>
                <a:lnTo>
                  <a:pt x="2436" y="2578"/>
                </a:lnTo>
                <a:lnTo>
                  <a:pt x="2435" y="2578"/>
                </a:lnTo>
                <a:lnTo>
                  <a:pt x="2433" y="2578"/>
                </a:lnTo>
                <a:lnTo>
                  <a:pt x="2429" y="2578"/>
                </a:lnTo>
                <a:lnTo>
                  <a:pt x="2428" y="2576"/>
                </a:lnTo>
                <a:lnTo>
                  <a:pt x="2426" y="2576"/>
                </a:lnTo>
                <a:lnTo>
                  <a:pt x="2424" y="2576"/>
                </a:lnTo>
                <a:lnTo>
                  <a:pt x="2424" y="2574"/>
                </a:lnTo>
                <a:lnTo>
                  <a:pt x="2423" y="2572"/>
                </a:lnTo>
                <a:lnTo>
                  <a:pt x="2419" y="2572"/>
                </a:lnTo>
                <a:lnTo>
                  <a:pt x="2418" y="2571"/>
                </a:lnTo>
                <a:lnTo>
                  <a:pt x="2416" y="2571"/>
                </a:lnTo>
                <a:lnTo>
                  <a:pt x="2414" y="2569"/>
                </a:lnTo>
                <a:lnTo>
                  <a:pt x="2413" y="2569"/>
                </a:lnTo>
                <a:lnTo>
                  <a:pt x="2409" y="2569"/>
                </a:lnTo>
                <a:lnTo>
                  <a:pt x="2407" y="2571"/>
                </a:lnTo>
                <a:lnTo>
                  <a:pt x="2409" y="2572"/>
                </a:lnTo>
                <a:lnTo>
                  <a:pt x="2407" y="2572"/>
                </a:lnTo>
                <a:lnTo>
                  <a:pt x="2406" y="2572"/>
                </a:lnTo>
                <a:lnTo>
                  <a:pt x="2402" y="2571"/>
                </a:lnTo>
                <a:lnTo>
                  <a:pt x="2401" y="2571"/>
                </a:lnTo>
                <a:lnTo>
                  <a:pt x="2399" y="2569"/>
                </a:lnTo>
                <a:lnTo>
                  <a:pt x="2396" y="2564"/>
                </a:lnTo>
                <a:lnTo>
                  <a:pt x="2394" y="2562"/>
                </a:lnTo>
                <a:lnTo>
                  <a:pt x="2390" y="2561"/>
                </a:lnTo>
                <a:lnTo>
                  <a:pt x="2390" y="2559"/>
                </a:lnTo>
                <a:lnTo>
                  <a:pt x="2389" y="2557"/>
                </a:lnTo>
                <a:lnTo>
                  <a:pt x="2387" y="2557"/>
                </a:lnTo>
                <a:lnTo>
                  <a:pt x="2389" y="2557"/>
                </a:lnTo>
                <a:lnTo>
                  <a:pt x="2392" y="2557"/>
                </a:lnTo>
                <a:lnTo>
                  <a:pt x="2394" y="2557"/>
                </a:lnTo>
                <a:lnTo>
                  <a:pt x="2396" y="2557"/>
                </a:lnTo>
                <a:lnTo>
                  <a:pt x="2397" y="2557"/>
                </a:lnTo>
                <a:lnTo>
                  <a:pt x="2401" y="2555"/>
                </a:lnTo>
                <a:lnTo>
                  <a:pt x="2402" y="2554"/>
                </a:lnTo>
                <a:lnTo>
                  <a:pt x="2404" y="2554"/>
                </a:lnTo>
                <a:lnTo>
                  <a:pt x="2404" y="2552"/>
                </a:lnTo>
                <a:lnTo>
                  <a:pt x="2406" y="2550"/>
                </a:lnTo>
                <a:lnTo>
                  <a:pt x="2406" y="2549"/>
                </a:lnTo>
                <a:lnTo>
                  <a:pt x="2407" y="2549"/>
                </a:lnTo>
                <a:lnTo>
                  <a:pt x="2409" y="2547"/>
                </a:lnTo>
                <a:lnTo>
                  <a:pt x="2411" y="2545"/>
                </a:lnTo>
                <a:lnTo>
                  <a:pt x="2411" y="2544"/>
                </a:lnTo>
                <a:lnTo>
                  <a:pt x="2413" y="2544"/>
                </a:lnTo>
                <a:lnTo>
                  <a:pt x="2413" y="2545"/>
                </a:lnTo>
                <a:lnTo>
                  <a:pt x="2416" y="2547"/>
                </a:lnTo>
                <a:lnTo>
                  <a:pt x="2418" y="2547"/>
                </a:lnTo>
                <a:lnTo>
                  <a:pt x="2419" y="2547"/>
                </a:lnTo>
                <a:lnTo>
                  <a:pt x="2423" y="2545"/>
                </a:lnTo>
                <a:lnTo>
                  <a:pt x="2424" y="2545"/>
                </a:lnTo>
                <a:lnTo>
                  <a:pt x="2424" y="2544"/>
                </a:lnTo>
                <a:lnTo>
                  <a:pt x="2426" y="2542"/>
                </a:lnTo>
                <a:lnTo>
                  <a:pt x="2426" y="2540"/>
                </a:lnTo>
                <a:lnTo>
                  <a:pt x="2424" y="2538"/>
                </a:lnTo>
                <a:lnTo>
                  <a:pt x="2423" y="2538"/>
                </a:lnTo>
                <a:lnTo>
                  <a:pt x="2421" y="2538"/>
                </a:lnTo>
                <a:lnTo>
                  <a:pt x="2418" y="2538"/>
                </a:lnTo>
                <a:lnTo>
                  <a:pt x="2416" y="2542"/>
                </a:lnTo>
                <a:lnTo>
                  <a:pt x="2416" y="2538"/>
                </a:lnTo>
                <a:lnTo>
                  <a:pt x="2414" y="2537"/>
                </a:lnTo>
                <a:lnTo>
                  <a:pt x="2414" y="2535"/>
                </a:lnTo>
                <a:lnTo>
                  <a:pt x="2416" y="2533"/>
                </a:lnTo>
                <a:lnTo>
                  <a:pt x="2416" y="2530"/>
                </a:lnTo>
                <a:lnTo>
                  <a:pt x="2418" y="2530"/>
                </a:lnTo>
                <a:lnTo>
                  <a:pt x="2419" y="2530"/>
                </a:lnTo>
                <a:lnTo>
                  <a:pt x="2421" y="2530"/>
                </a:lnTo>
                <a:lnTo>
                  <a:pt x="2423" y="2528"/>
                </a:lnTo>
                <a:lnTo>
                  <a:pt x="2426" y="2527"/>
                </a:lnTo>
                <a:lnTo>
                  <a:pt x="2428" y="2525"/>
                </a:lnTo>
                <a:lnTo>
                  <a:pt x="2429" y="2525"/>
                </a:lnTo>
                <a:lnTo>
                  <a:pt x="2429" y="2523"/>
                </a:lnTo>
                <a:lnTo>
                  <a:pt x="2431" y="2521"/>
                </a:lnTo>
                <a:lnTo>
                  <a:pt x="2431" y="2520"/>
                </a:lnTo>
                <a:lnTo>
                  <a:pt x="2433" y="2516"/>
                </a:lnTo>
                <a:lnTo>
                  <a:pt x="2433" y="2518"/>
                </a:lnTo>
                <a:lnTo>
                  <a:pt x="2435" y="2516"/>
                </a:lnTo>
                <a:lnTo>
                  <a:pt x="2436" y="2515"/>
                </a:lnTo>
                <a:lnTo>
                  <a:pt x="2436" y="2513"/>
                </a:lnTo>
                <a:lnTo>
                  <a:pt x="2438" y="2510"/>
                </a:lnTo>
                <a:lnTo>
                  <a:pt x="2440" y="2508"/>
                </a:lnTo>
                <a:lnTo>
                  <a:pt x="2440" y="2510"/>
                </a:lnTo>
                <a:lnTo>
                  <a:pt x="2443" y="2508"/>
                </a:lnTo>
                <a:lnTo>
                  <a:pt x="2446" y="2508"/>
                </a:lnTo>
                <a:lnTo>
                  <a:pt x="2448" y="2506"/>
                </a:lnTo>
                <a:lnTo>
                  <a:pt x="2448" y="2503"/>
                </a:lnTo>
                <a:lnTo>
                  <a:pt x="2446" y="2504"/>
                </a:lnTo>
                <a:lnTo>
                  <a:pt x="2445" y="2503"/>
                </a:lnTo>
                <a:lnTo>
                  <a:pt x="2443" y="2503"/>
                </a:lnTo>
                <a:lnTo>
                  <a:pt x="2445" y="2501"/>
                </a:lnTo>
                <a:lnTo>
                  <a:pt x="2443" y="2501"/>
                </a:lnTo>
                <a:lnTo>
                  <a:pt x="2443" y="2499"/>
                </a:lnTo>
                <a:lnTo>
                  <a:pt x="2440" y="2498"/>
                </a:lnTo>
                <a:lnTo>
                  <a:pt x="2441" y="2496"/>
                </a:lnTo>
                <a:lnTo>
                  <a:pt x="2440" y="2496"/>
                </a:lnTo>
                <a:lnTo>
                  <a:pt x="2440" y="2494"/>
                </a:lnTo>
                <a:lnTo>
                  <a:pt x="2440" y="2493"/>
                </a:lnTo>
                <a:lnTo>
                  <a:pt x="2440" y="2491"/>
                </a:lnTo>
                <a:lnTo>
                  <a:pt x="2438" y="2493"/>
                </a:lnTo>
                <a:lnTo>
                  <a:pt x="2438" y="2491"/>
                </a:lnTo>
                <a:lnTo>
                  <a:pt x="2436" y="2491"/>
                </a:lnTo>
                <a:lnTo>
                  <a:pt x="2433" y="2493"/>
                </a:lnTo>
                <a:lnTo>
                  <a:pt x="2431" y="2493"/>
                </a:lnTo>
                <a:lnTo>
                  <a:pt x="2429" y="2496"/>
                </a:lnTo>
                <a:lnTo>
                  <a:pt x="2428" y="2496"/>
                </a:lnTo>
                <a:lnTo>
                  <a:pt x="2426" y="2496"/>
                </a:lnTo>
                <a:lnTo>
                  <a:pt x="2426" y="2499"/>
                </a:lnTo>
                <a:lnTo>
                  <a:pt x="2428" y="2501"/>
                </a:lnTo>
                <a:lnTo>
                  <a:pt x="2426" y="2503"/>
                </a:lnTo>
                <a:lnTo>
                  <a:pt x="2424" y="2504"/>
                </a:lnTo>
                <a:lnTo>
                  <a:pt x="2423" y="2504"/>
                </a:lnTo>
                <a:lnTo>
                  <a:pt x="2421" y="2506"/>
                </a:lnTo>
                <a:lnTo>
                  <a:pt x="2419" y="2508"/>
                </a:lnTo>
                <a:lnTo>
                  <a:pt x="2418" y="2510"/>
                </a:lnTo>
                <a:lnTo>
                  <a:pt x="2416" y="2511"/>
                </a:lnTo>
                <a:lnTo>
                  <a:pt x="2413" y="2511"/>
                </a:lnTo>
                <a:lnTo>
                  <a:pt x="2413" y="2513"/>
                </a:lnTo>
                <a:lnTo>
                  <a:pt x="2414" y="2513"/>
                </a:lnTo>
                <a:lnTo>
                  <a:pt x="2411" y="2515"/>
                </a:lnTo>
                <a:lnTo>
                  <a:pt x="2409" y="2513"/>
                </a:lnTo>
                <a:lnTo>
                  <a:pt x="2409" y="2510"/>
                </a:lnTo>
                <a:lnTo>
                  <a:pt x="2407" y="2513"/>
                </a:lnTo>
                <a:lnTo>
                  <a:pt x="2409" y="2513"/>
                </a:lnTo>
                <a:lnTo>
                  <a:pt x="2407" y="2513"/>
                </a:lnTo>
                <a:lnTo>
                  <a:pt x="2406" y="2515"/>
                </a:lnTo>
                <a:lnTo>
                  <a:pt x="2404" y="2516"/>
                </a:lnTo>
                <a:lnTo>
                  <a:pt x="2402" y="2516"/>
                </a:lnTo>
                <a:lnTo>
                  <a:pt x="2401" y="2518"/>
                </a:lnTo>
                <a:lnTo>
                  <a:pt x="2399" y="2520"/>
                </a:lnTo>
                <a:lnTo>
                  <a:pt x="2397" y="2521"/>
                </a:lnTo>
                <a:lnTo>
                  <a:pt x="2397" y="2525"/>
                </a:lnTo>
                <a:lnTo>
                  <a:pt x="2396" y="2527"/>
                </a:lnTo>
                <a:lnTo>
                  <a:pt x="2396" y="2528"/>
                </a:lnTo>
                <a:lnTo>
                  <a:pt x="2396" y="2527"/>
                </a:lnTo>
                <a:lnTo>
                  <a:pt x="2396" y="2525"/>
                </a:lnTo>
                <a:lnTo>
                  <a:pt x="2394" y="2523"/>
                </a:lnTo>
                <a:lnTo>
                  <a:pt x="2392" y="2523"/>
                </a:lnTo>
                <a:lnTo>
                  <a:pt x="2390" y="2525"/>
                </a:lnTo>
                <a:lnTo>
                  <a:pt x="2389" y="2525"/>
                </a:lnTo>
                <a:lnTo>
                  <a:pt x="2389" y="2527"/>
                </a:lnTo>
                <a:lnTo>
                  <a:pt x="2387" y="2527"/>
                </a:lnTo>
                <a:lnTo>
                  <a:pt x="2384" y="2527"/>
                </a:lnTo>
                <a:lnTo>
                  <a:pt x="2382" y="2528"/>
                </a:lnTo>
                <a:lnTo>
                  <a:pt x="2380" y="2530"/>
                </a:lnTo>
                <a:lnTo>
                  <a:pt x="2379" y="2530"/>
                </a:lnTo>
                <a:lnTo>
                  <a:pt x="2377" y="2532"/>
                </a:lnTo>
                <a:lnTo>
                  <a:pt x="2375" y="2532"/>
                </a:lnTo>
                <a:lnTo>
                  <a:pt x="2373" y="2532"/>
                </a:lnTo>
                <a:lnTo>
                  <a:pt x="2372" y="2533"/>
                </a:lnTo>
                <a:lnTo>
                  <a:pt x="2370" y="2532"/>
                </a:lnTo>
                <a:lnTo>
                  <a:pt x="2370" y="2533"/>
                </a:lnTo>
                <a:lnTo>
                  <a:pt x="2368" y="2535"/>
                </a:lnTo>
                <a:lnTo>
                  <a:pt x="2368" y="2537"/>
                </a:lnTo>
                <a:lnTo>
                  <a:pt x="2367" y="2538"/>
                </a:lnTo>
                <a:lnTo>
                  <a:pt x="2367" y="2542"/>
                </a:lnTo>
                <a:lnTo>
                  <a:pt x="2367" y="2545"/>
                </a:lnTo>
                <a:lnTo>
                  <a:pt x="2365" y="2547"/>
                </a:lnTo>
                <a:lnTo>
                  <a:pt x="2365" y="2549"/>
                </a:lnTo>
                <a:lnTo>
                  <a:pt x="2365" y="2550"/>
                </a:lnTo>
                <a:lnTo>
                  <a:pt x="2365" y="2552"/>
                </a:lnTo>
                <a:lnTo>
                  <a:pt x="2363" y="2552"/>
                </a:lnTo>
                <a:lnTo>
                  <a:pt x="2365" y="2550"/>
                </a:lnTo>
                <a:lnTo>
                  <a:pt x="2363" y="2549"/>
                </a:lnTo>
                <a:lnTo>
                  <a:pt x="2362" y="2549"/>
                </a:lnTo>
                <a:lnTo>
                  <a:pt x="2358" y="2549"/>
                </a:lnTo>
                <a:lnTo>
                  <a:pt x="2358" y="2550"/>
                </a:lnTo>
                <a:lnTo>
                  <a:pt x="2356" y="2552"/>
                </a:lnTo>
                <a:lnTo>
                  <a:pt x="2355" y="2554"/>
                </a:lnTo>
                <a:lnTo>
                  <a:pt x="2353" y="2555"/>
                </a:lnTo>
                <a:lnTo>
                  <a:pt x="2351" y="2557"/>
                </a:lnTo>
                <a:lnTo>
                  <a:pt x="2350" y="2559"/>
                </a:lnTo>
                <a:lnTo>
                  <a:pt x="2348" y="2561"/>
                </a:lnTo>
                <a:lnTo>
                  <a:pt x="2348" y="2562"/>
                </a:lnTo>
                <a:lnTo>
                  <a:pt x="2348" y="2566"/>
                </a:lnTo>
                <a:lnTo>
                  <a:pt x="2346" y="2567"/>
                </a:lnTo>
                <a:lnTo>
                  <a:pt x="2348" y="2571"/>
                </a:lnTo>
                <a:lnTo>
                  <a:pt x="2348" y="2572"/>
                </a:lnTo>
                <a:lnTo>
                  <a:pt x="2346" y="2574"/>
                </a:lnTo>
                <a:lnTo>
                  <a:pt x="2346" y="2576"/>
                </a:lnTo>
                <a:lnTo>
                  <a:pt x="2346" y="2578"/>
                </a:lnTo>
                <a:lnTo>
                  <a:pt x="2345" y="2576"/>
                </a:lnTo>
                <a:lnTo>
                  <a:pt x="2346" y="2578"/>
                </a:lnTo>
                <a:lnTo>
                  <a:pt x="2346" y="2576"/>
                </a:lnTo>
                <a:lnTo>
                  <a:pt x="2346" y="2574"/>
                </a:lnTo>
                <a:lnTo>
                  <a:pt x="2346" y="2571"/>
                </a:lnTo>
                <a:lnTo>
                  <a:pt x="2345" y="2571"/>
                </a:lnTo>
                <a:lnTo>
                  <a:pt x="2345" y="2569"/>
                </a:lnTo>
                <a:lnTo>
                  <a:pt x="2341" y="2569"/>
                </a:lnTo>
                <a:lnTo>
                  <a:pt x="2339" y="2569"/>
                </a:lnTo>
                <a:lnTo>
                  <a:pt x="2336" y="2569"/>
                </a:lnTo>
                <a:lnTo>
                  <a:pt x="2336" y="2571"/>
                </a:lnTo>
                <a:lnTo>
                  <a:pt x="2334" y="2572"/>
                </a:lnTo>
                <a:lnTo>
                  <a:pt x="2333" y="2574"/>
                </a:lnTo>
                <a:lnTo>
                  <a:pt x="2331" y="2574"/>
                </a:lnTo>
                <a:lnTo>
                  <a:pt x="2329" y="2576"/>
                </a:lnTo>
                <a:lnTo>
                  <a:pt x="2328" y="2578"/>
                </a:lnTo>
                <a:lnTo>
                  <a:pt x="2326" y="2579"/>
                </a:lnTo>
                <a:lnTo>
                  <a:pt x="2326" y="2581"/>
                </a:lnTo>
                <a:lnTo>
                  <a:pt x="2324" y="2584"/>
                </a:lnTo>
                <a:lnTo>
                  <a:pt x="2324" y="2588"/>
                </a:lnTo>
                <a:lnTo>
                  <a:pt x="2324" y="2589"/>
                </a:lnTo>
                <a:lnTo>
                  <a:pt x="2324" y="2588"/>
                </a:lnTo>
                <a:lnTo>
                  <a:pt x="2324" y="2586"/>
                </a:lnTo>
                <a:lnTo>
                  <a:pt x="2324" y="2584"/>
                </a:lnTo>
                <a:lnTo>
                  <a:pt x="2324" y="2586"/>
                </a:lnTo>
                <a:lnTo>
                  <a:pt x="2322" y="2586"/>
                </a:lnTo>
                <a:lnTo>
                  <a:pt x="2324" y="2589"/>
                </a:lnTo>
                <a:lnTo>
                  <a:pt x="2322" y="2586"/>
                </a:lnTo>
                <a:lnTo>
                  <a:pt x="2321" y="2586"/>
                </a:lnTo>
                <a:lnTo>
                  <a:pt x="2319" y="2584"/>
                </a:lnTo>
                <a:lnTo>
                  <a:pt x="2317" y="2586"/>
                </a:lnTo>
                <a:lnTo>
                  <a:pt x="2316" y="2588"/>
                </a:lnTo>
                <a:lnTo>
                  <a:pt x="2314" y="2588"/>
                </a:lnTo>
                <a:lnTo>
                  <a:pt x="2312" y="2588"/>
                </a:lnTo>
                <a:lnTo>
                  <a:pt x="2311" y="2589"/>
                </a:lnTo>
                <a:lnTo>
                  <a:pt x="2309" y="2589"/>
                </a:lnTo>
                <a:lnTo>
                  <a:pt x="2307" y="2589"/>
                </a:lnTo>
                <a:lnTo>
                  <a:pt x="2305" y="2593"/>
                </a:lnTo>
                <a:lnTo>
                  <a:pt x="2304" y="2595"/>
                </a:lnTo>
                <a:lnTo>
                  <a:pt x="2300" y="2598"/>
                </a:lnTo>
                <a:lnTo>
                  <a:pt x="2300" y="2600"/>
                </a:lnTo>
                <a:lnTo>
                  <a:pt x="2299" y="2601"/>
                </a:lnTo>
                <a:lnTo>
                  <a:pt x="2299" y="2603"/>
                </a:lnTo>
                <a:lnTo>
                  <a:pt x="2297" y="2606"/>
                </a:lnTo>
                <a:lnTo>
                  <a:pt x="2297" y="2608"/>
                </a:lnTo>
                <a:lnTo>
                  <a:pt x="2295" y="2610"/>
                </a:lnTo>
                <a:lnTo>
                  <a:pt x="2294" y="2610"/>
                </a:lnTo>
                <a:lnTo>
                  <a:pt x="2292" y="2612"/>
                </a:lnTo>
                <a:lnTo>
                  <a:pt x="2292" y="2613"/>
                </a:lnTo>
                <a:lnTo>
                  <a:pt x="2290" y="2615"/>
                </a:lnTo>
                <a:lnTo>
                  <a:pt x="2290" y="2618"/>
                </a:lnTo>
                <a:lnTo>
                  <a:pt x="2288" y="2620"/>
                </a:lnTo>
                <a:lnTo>
                  <a:pt x="2288" y="2622"/>
                </a:lnTo>
                <a:lnTo>
                  <a:pt x="2288" y="2623"/>
                </a:lnTo>
                <a:lnTo>
                  <a:pt x="2288" y="2625"/>
                </a:lnTo>
                <a:lnTo>
                  <a:pt x="2288" y="2627"/>
                </a:lnTo>
                <a:lnTo>
                  <a:pt x="2287" y="2629"/>
                </a:lnTo>
                <a:lnTo>
                  <a:pt x="2287" y="2630"/>
                </a:lnTo>
                <a:lnTo>
                  <a:pt x="2287" y="2632"/>
                </a:lnTo>
                <a:lnTo>
                  <a:pt x="2287" y="2635"/>
                </a:lnTo>
                <a:lnTo>
                  <a:pt x="2287" y="2637"/>
                </a:lnTo>
                <a:lnTo>
                  <a:pt x="2285" y="2639"/>
                </a:lnTo>
                <a:lnTo>
                  <a:pt x="2283" y="2641"/>
                </a:lnTo>
                <a:lnTo>
                  <a:pt x="2282" y="2641"/>
                </a:lnTo>
                <a:lnTo>
                  <a:pt x="2280" y="2642"/>
                </a:lnTo>
                <a:lnTo>
                  <a:pt x="2280" y="2644"/>
                </a:lnTo>
                <a:lnTo>
                  <a:pt x="2280" y="2642"/>
                </a:lnTo>
                <a:lnTo>
                  <a:pt x="2278" y="2642"/>
                </a:lnTo>
                <a:lnTo>
                  <a:pt x="2280" y="2641"/>
                </a:lnTo>
                <a:lnTo>
                  <a:pt x="2280" y="2639"/>
                </a:lnTo>
                <a:lnTo>
                  <a:pt x="2282" y="2639"/>
                </a:lnTo>
                <a:lnTo>
                  <a:pt x="2280" y="2639"/>
                </a:lnTo>
                <a:lnTo>
                  <a:pt x="2282" y="2637"/>
                </a:lnTo>
                <a:lnTo>
                  <a:pt x="2283" y="2637"/>
                </a:lnTo>
                <a:lnTo>
                  <a:pt x="2285" y="2635"/>
                </a:lnTo>
                <a:lnTo>
                  <a:pt x="2287" y="2634"/>
                </a:lnTo>
                <a:lnTo>
                  <a:pt x="2287" y="2630"/>
                </a:lnTo>
                <a:lnTo>
                  <a:pt x="2287" y="2629"/>
                </a:lnTo>
                <a:lnTo>
                  <a:pt x="2287" y="2627"/>
                </a:lnTo>
                <a:lnTo>
                  <a:pt x="2288" y="2627"/>
                </a:lnTo>
                <a:lnTo>
                  <a:pt x="2288" y="2625"/>
                </a:lnTo>
                <a:lnTo>
                  <a:pt x="2287" y="2623"/>
                </a:lnTo>
                <a:lnTo>
                  <a:pt x="2288" y="2623"/>
                </a:lnTo>
                <a:lnTo>
                  <a:pt x="2288" y="2620"/>
                </a:lnTo>
                <a:lnTo>
                  <a:pt x="2288" y="2622"/>
                </a:lnTo>
                <a:lnTo>
                  <a:pt x="2287" y="2620"/>
                </a:lnTo>
                <a:lnTo>
                  <a:pt x="2285" y="2622"/>
                </a:lnTo>
                <a:lnTo>
                  <a:pt x="2285" y="2620"/>
                </a:lnTo>
                <a:lnTo>
                  <a:pt x="2282" y="2620"/>
                </a:lnTo>
                <a:lnTo>
                  <a:pt x="2282" y="2622"/>
                </a:lnTo>
                <a:lnTo>
                  <a:pt x="2280" y="2623"/>
                </a:lnTo>
                <a:lnTo>
                  <a:pt x="2278" y="2625"/>
                </a:lnTo>
                <a:lnTo>
                  <a:pt x="2278" y="2627"/>
                </a:lnTo>
                <a:lnTo>
                  <a:pt x="2278" y="2630"/>
                </a:lnTo>
                <a:lnTo>
                  <a:pt x="2277" y="2632"/>
                </a:lnTo>
                <a:lnTo>
                  <a:pt x="2273" y="2634"/>
                </a:lnTo>
                <a:lnTo>
                  <a:pt x="2271" y="2635"/>
                </a:lnTo>
                <a:lnTo>
                  <a:pt x="2270" y="2639"/>
                </a:lnTo>
                <a:lnTo>
                  <a:pt x="2268" y="2639"/>
                </a:lnTo>
                <a:lnTo>
                  <a:pt x="2270" y="2642"/>
                </a:lnTo>
                <a:lnTo>
                  <a:pt x="2268" y="2642"/>
                </a:lnTo>
                <a:lnTo>
                  <a:pt x="2266" y="2642"/>
                </a:lnTo>
                <a:lnTo>
                  <a:pt x="2265" y="2642"/>
                </a:lnTo>
                <a:lnTo>
                  <a:pt x="2263" y="2642"/>
                </a:lnTo>
                <a:lnTo>
                  <a:pt x="2260" y="2644"/>
                </a:lnTo>
                <a:lnTo>
                  <a:pt x="2261" y="2646"/>
                </a:lnTo>
                <a:lnTo>
                  <a:pt x="2261" y="2647"/>
                </a:lnTo>
                <a:lnTo>
                  <a:pt x="2263" y="2649"/>
                </a:lnTo>
                <a:lnTo>
                  <a:pt x="2263" y="2651"/>
                </a:lnTo>
                <a:lnTo>
                  <a:pt x="2263" y="2654"/>
                </a:lnTo>
                <a:lnTo>
                  <a:pt x="2263" y="2656"/>
                </a:lnTo>
                <a:lnTo>
                  <a:pt x="2261" y="2658"/>
                </a:lnTo>
                <a:lnTo>
                  <a:pt x="2260" y="2658"/>
                </a:lnTo>
                <a:lnTo>
                  <a:pt x="2258" y="2659"/>
                </a:lnTo>
                <a:lnTo>
                  <a:pt x="2260" y="2659"/>
                </a:lnTo>
                <a:lnTo>
                  <a:pt x="2258" y="2661"/>
                </a:lnTo>
                <a:lnTo>
                  <a:pt x="2258" y="2659"/>
                </a:lnTo>
                <a:lnTo>
                  <a:pt x="2258" y="2658"/>
                </a:lnTo>
                <a:lnTo>
                  <a:pt x="2254" y="2658"/>
                </a:lnTo>
                <a:lnTo>
                  <a:pt x="2256" y="2658"/>
                </a:lnTo>
                <a:lnTo>
                  <a:pt x="2258" y="2661"/>
                </a:lnTo>
                <a:lnTo>
                  <a:pt x="2256" y="2661"/>
                </a:lnTo>
                <a:lnTo>
                  <a:pt x="2256" y="2659"/>
                </a:lnTo>
                <a:lnTo>
                  <a:pt x="2254" y="2658"/>
                </a:lnTo>
                <a:lnTo>
                  <a:pt x="2254" y="2656"/>
                </a:lnTo>
                <a:lnTo>
                  <a:pt x="2253" y="2652"/>
                </a:lnTo>
                <a:lnTo>
                  <a:pt x="2254" y="2652"/>
                </a:lnTo>
                <a:lnTo>
                  <a:pt x="2253" y="2652"/>
                </a:lnTo>
                <a:lnTo>
                  <a:pt x="2253" y="2656"/>
                </a:lnTo>
                <a:lnTo>
                  <a:pt x="2251" y="2652"/>
                </a:lnTo>
                <a:lnTo>
                  <a:pt x="2253" y="2651"/>
                </a:lnTo>
                <a:lnTo>
                  <a:pt x="2254" y="2649"/>
                </a:lnTo>
                <a:lnTo>
                  <a:pt x="2256" y="2651"/>
                </a:lnTo>
                <a:lnTo>
                  <a:pt x="2256" y="2649"/>
                </a:lnTo>
                <a:lnTo>
                  <a:pt x="2260" y="2649"/>
                </a:lnTo>
                <a:lnTo>
                  <a:pt x="2258" y="2651"/>
                </a:lnTo>
                <a:lnTo>
                  <a:pt x="2260" y="2651"/>
                </a:lnTo>
                <a:lnTo>
                  <a:pt x="2260" y="2649"/>
                </a:lnTo>
                <a:lnTo>
                  <a:pt x="2260" y="2647"/>
                </a:lnTo>
                <a:lnTo>
                  <a:pt x="2260" y="2646"/>
                </a:lnTo>
                <a:lnTo>
                  <a:pt x="2258" y="2644"/>
                </a:lnTo>
                <a:lnTo>
                  <a:pt x="2258" y="2646"/>
                </a:lnTo>
                <a:lnTo>
                  <a:pt x="2256" y="2644"/>
                </a:lnTo>
                <a:lnTo>
                  <a:pt x="2254" y="2646"/>
                </a:lnTo>
                <a:lnTo>
                  <a:pt x="2256" y="2647"/>
                </a:lnTo>
                <a:lnTo>
                  <a:pt x="2256" y="2649"/>
                </a:lnTo>
                <a:lnTo>
                  <a:pt x="2254" y="2649"/>
                </a:lnTo>
                <a:lnTo>
                  <a:pt x="2253" y="2649"/>
                </a:lnTo>
                <a:lnTo>
                  <a:pt x="2251" y="2647"/>
                </a:lnTo>
                <a:lnTo>
                  <a:pt x="2248" y="2646"/>
                </a:lnTo>
                <a:lnTo>
                  <a:pt x="2248" y="2647"/>
                </a:lnTo>
                <a:lnTo>
                  <a:pt x="2246" y="2646"/>
                </a:lnTo>
                <a:lnTo>
                  <a:pt x="2244" y="2647"/>
                </a:lnTo>
                <a:lnTo>
                  <a:pt x="2246" y="2649"/>
                </a:lnTo>
                <a:lnTo>
                  <a:pt x="2248" y="2649"/>
                </a:lnTo>
                <a:lnTo>
                  <a:pt x="2248" y="2651"/>
                </a:lnTo>
                <a:lnTo>
                  <a:pt x="2248" y="2654"/>
                </a:lnTo>
                <a:lnTo>
                  <a:pt x="2246" y="2652"/>
                </a:lnTo>
                <a:lnTo>
                  <a:pt x="2246" y="2651"/>
                </a:lnTo>
                <a:lnTo>
                  <a:pt x="2243" y="2649"/>
                </a:lnTo>
                <a:lnTo>
                  <a:pt x="2243" y="2651"/>
                </a:lnTo>
                <a:lnTo>
                  <a:pt x="2243" y="2652"/>
                </a:lnTo>
                <a:lnTo>
                  <a:pt x="2244" y="2654"/>
                </a:lnTo>
                <a:lnTo>
                  <a:pt x="2243" y="2651"/>
                </a:lnTo>
                <a:lnTo>
                  <a:pt x="2244" y="2651"/>
                </a:lnTo>
                <a:lnTo>
                  <a:pt x="2244" y="2652"/>
                </a:lnTo>
                <a:lnTo>
                  <a:pt x="2246" y="2654"/>
                </a:lnTo>
                <a:lnTo>
                  <a:pt x="2246" y="2656"/>
                </a:lnTo>
                <a:lnTo>
                  <a:pt x="2244" y="2658"/>
                </a:lnTo>
                <a:lnTo>
                  <a:pt x="2244" y="2656"/>
                </a:lnTo>
                <a:lnTo>
                  <a:pt x="2243" y="2656"/>
                </a:lnTo>
                <a:lnTo>
                  <a:pt x="2243" y="2658"/>
                </a:lnTo>
                <a:lnTo>
                  <a:pt x="2241" y="2658"/>
                </a:lnTo>
                <a:lnTo>
                  <a:pt x="2241" y="2654"/>
                </a:lnTo>
                <a:lnTo>
                  <a:pt x="2241" y="2652"/>
                </a:lnTo>
                <a:lnTo>
                  <a:pt x="2241" y="2654"/>
                </a:lnTo>
                <a:lnTo>
                  <a:pt x="2239" y="2654"/>
                </a:lnTo>
                <a:lnTo>
                  <a:pt x="2239" y="2651"/>
                </a:lnTo>
                <a:lnTo>
                  <a:pt x="2237" y="2649"/>
                </a:lnTo>
                <a:lnTo>
                  <a:pt x="2237" y="2652"/>
                </a:lnTo>
                <a:lnTo>
                  <a:pt x="2239" y="2654"/>
                </a:lnTo>
                <a:lnTo>
                  <a:pt x="2241" y="2654"/>
                </a:lnTo>
                <a:lnTo>
                  <a:pt x="2239" y="2656"/>
                </a:lnTo>
                <a:lnTo>
                  <a:pt x="2239" y="2654"/>
                </a:lnTo>
                <a:lnTo>
                  <a:pt x="2237" y="2656"/>
                </a:lnTo>
                <a:lnTo>
                  <a:pt x="2234" y="2656"/>
                </a:lnTo>
                <a:lnTo>
                  <a:pt x="2234" y="2659"/>
                </a:lnTo>
                <a:lnTo>
                  <a:pt x="2237" y="2658"/>
                </a:lnTo>
                <a:lnTo>
                  <a:pt x="2239" y="2659"/>
                </a:lnTo>
                <a:lnTo>
                  <a:pt x="2241" y="2659"/>
                </a:lnTo>
                <a:lnTo>
                  <a:pt x="2243" y="2659"/>
                </a:lnTo>
                <a:lnTo>
                  <a:pt x="2244" y="2659"/>
                </a:lnTo>
                <a:lnTo>
                  <a:pt x="2246" y="2659"/>
                </a:lnTo>
                <a:lnTo>
                  <a:pt x="2248" y="2658"/>
                </a:lnTo>
                <a:lnTo>
                  <a:pt x="2248" y="2659"/>
                </a:lnTo>
                <a:lnTo>
                  <a:pt x="2248" y="2661"/>
                </a:lnTo>
                <a:lnTo>
                  <a:pt x="2249" y="2659"/>
                </a:lnTo>
                <a:lnTo>
                  <a:pt x="2248" y="2659"/>
                </a:lnTo>
                <a:lnTo>
                  <a:pt x="2251" y="2658"/>
                </a:lnTo>
                <a:lnTo>
                  <a:pt x="2253" y="2659"/>
                </a:lnTo>
                <a:lnTo>
                  <a:pt x="2254" y="2661"/>
                </a:lnTo>
                <a:lnTo>
                  <a:pt x="2256" y="2661"/>
                </a:lnTo>
                <a:lnTo>
                  <a:pt x="2258" y="2663"/>
                </a:lnTo>
                <a:lnTo>
                  <a:pt x="2258" y="2661"/>
                </a:lnTo>
                <a:lnTo>
                  <a:pt x="2260" y="2663"/>
                </a:lnTo>
                <a:lnTo>
                  <a:pt x="2260" y="2664"/>
                </a:lnTo>
                <a:lnTo>
                  <a:pt x="2261" y="2666"/>
                </a:lnTo>
                <a:lnTo>
                  <a:pt x="2261" y="2664"/>
                </a:lnTo>
                <a:lnTo>
                  <a:pt x="2261" y="2663"/>
                </a:lnTo>
                <a:lnTo>
                  <a:pt x="2265" y="2663"/>
                </a:lnTo>
                <a:lnTo>
                  <a:pt x="2265" y="2661"/>
                </a:lnTo>
                <a:lnTo>
                  <a:pt x="2263" y="2659"/>
                </a:lnTo>
                <a:lnTo>
                  <a:pt x="2261" y="2659"/>
                </a:lnTo>
                <a:lnTo>
                  <a:pt x="2261" y="2658"/>
                </a:lnTo>
                <a:lnTo>
                  <a:pt x="2263" y="2658"/>
                </a:lnTo>
                <a:lnTo>
                  <a:pt x="2266" y="2659"/>
                </a:lnTo>
                <a:lnTo>
                  <a:pt x="2266" y="2661"/>
                </a:lnTo>
                <a:lnTo>
                  <a:pt x="2266" y="2663"/>
                </a:lnTo>
                <a:lnTo>
                  <a:pt x="2265" y="2664"/>
                </a:lnTo>
                <a:lnTo>
                  <a:pt x="2265" y="2666"/>
                </a:lnTo>
                <a:lnTo>
                  <a:pt x="2265" y="2664"/>
                </a:lnTo>
                <a:lnTo>
                  <a:pt x="2265" y="2666"/>
                </a:lnTo>
                <a:lnTo>
                  <a:pt x="2265" y="2668"/>
                </a:lnTo>
                <a:lnTo>
                  <a:pt x="2263" y="2669"/>
                </a:lnTo>
                <a:lnTo>
                  <a:pt x="2265" y="2671"/>
                </a:lnTo>
                <a:lnTo>
                  <a:pt x="2265" y="2669"/>
                </a:lnTo>
                <a:lnTo>
                  <a:pt x="2266" y="2669"/>
                </a:lnTo>
                <a:lnTo>
                  <a:pt x="2268" y="2668"/>
                </a:lnTo>
                <a:lnTo>
                  <a:pt x="2266" y="2666"/>
                </a:lnTo>
                <a:lnTo>
                  <a:pt x="2268" y="2666"/>
                </a:lnTo>
                <a:lnTo>
                  <a:pt x="2268" y="2664"/>
                </a:lnTo>
                <a:lnTo>
                  <a:pt x="2270" y="2663"/>
                </a:lnTo>
                <a:lnTo>
                  <a:pt x="2271" y="2661"/>
                </a:lnTo>
                <a:lnTo>
                  <a:pt x="2273" y="2659"/>
                </a:lnTo>
                <a:lnTo>
                  <a:pt x="2275" y="2659"/>
                </a:lnTo>
                <a:lnTo>
                  <a:pt x="2275" y="2661"/>
                </a:lnTo>
                <a:lnTo>
                  <a:pt x="2273" y="2663"/>
                </a:lnTo>
                <a:lnTo>
                  <a:pt x="2271" y="2661"/>
                </a:lnTo>
                <a:lnTo>
                  <a:pt x="2271" y="2663"/>
                </a:lnTo>
                <a:lnTo>
                  <a:pt x="2270" y="2664"/>
                </a:lnTo>
                <a:lnTo>
                  <a:pt x="2270" y="2666"/>
                </a:lnTo>
                <a:lnTo>
                  <a:pt x="2270" y="2668"/>
                </a:lnTo>
                <a:lnTo>
                  <a:pt x="2270" y="2669"/>
                </a:lnTo>
                <a:lnTo>
                  <a:pt x="2271" y="2668"/>
                </a:lnTo>
                <a:lnTo>
                  <a:pt x="2273" y="2666"/>
                </a:lnTo>
                <a:lnTo>
                  <a:pt x="2275" y="2664"/>
                </a:lnTo>
                <a:lnTo>
                  <a:pt x="2277" y="2666"/>
                </a:lnTo>
                <a:lnTo>
                  <a:pt x="2275" y="2669"/>
                </a:lnTo>
                <a:lnTo>
                  <a:pt x="2275" y="2671"/>
                </a:lnTo>
                <a:lnTo>
                  <a:pt x="2277" y="2671"/>
                </a:lnTo>
                <a:lnTo>
                  <a:pt x="2280" y="2669"/>
                </a:lnTo>
                <a:lnTo>
                  <a:pt x="2282" y="2668"/>
                </a:lnTo>
                <a:lnTo>
                  <a:pt x="2282" y="2669"/>
                </a:lnTo>
                <a:lnTo>
                  <a:pt x="2282" y="2671"/>
                </a:lnTo>
                <a:lnTo>
                  <a:pt x="2285" y="2671"/>
                </a:lnTo>
                <a:lnTo>
                  <a:pt x="2287" y="2671"/>
                </a:lnTo>
                <a:lnTo>
                  <a:pt x="2288" y="2671"/>
                </a:lnTo>
                <a:lnTo>
                  <a:pt x="2288" y="2673"/>
                </a:lnTo>
                <a:lnTo>
                  <a:pt x="2292" y="2673"/>
                </a:lnTo>
                <a:lnTo>
                  <a:pt x="2292" y="2675"/>
                </a:lnTo>
                <a:lnTo>
                  <a:pt x="2294" y="2675"/>
                </a:lnTo>
                <a:lnTo>
                  <a:pt x="2295" y="2676"/>
                </a:lnTo>
                <a:lnTo>
                  <a:pt x="2295" y="2678"/>
                </a:lnTo>
                <a:lnTo>
                  <a:pt x="2295" y="2676"/>
                </a:lnTo>
                <a:lnTo>
                  <a:pt x="2294" y="2675"/>
                </a:lnTo>
                <a:lnTo>
                  <a:pt x="2294" y="2676"/>
                </a:lnTo>
                <a:lnTo>
                  <a:pt x="2294" y="2675"/>
                </a:lnTo>
                <a:lnTo>
                  <a:pt x="2295" y="2676"/>
                </a:lnTo>
                <a:lnTo>
                  <a:pt x="2295" y="2678"/>
                </a:lnTo>
                <a:lnTo>
                  <a:pt x="2297" y="2678"/>
                </a:lnTo>
                <a:lnTo>
                  <a:pt x="2297" y="2680"/>
                </a:lnTo>
                <a:lnTo>
                  <a:pt x="2299" y="2681"/>
                </a:lnTo>
                <a:lnTo>
                  <a:pt x="2299" y="2683"/>
                </a:lnTo>
                <a:lnTo>
                  <a:pt x="2297" y="2685"/>
                </a:lnTo>
                <a:lnTo>
                  <a:pt x="2295" y="2686"/>
                </a:lnTo>
                <a:lnTo>
                  <a:pt x="2297" y="2688"/>
                </a:lnTo>
                <a:lnTo>
                  <a:pt x="2295" y="2686"/>
                </a:lnTo>
                <a:lnTo>
                  <a:pt x="2297" y="2686"/>
                </a:lnTo>
                <a:lnTo>
                  <a:pt x="2299" y="2688"/>
                </a:lnTo>
                <a:lnTo>
                  <a:pt x="2300" y="2690"/>
                </a:lnTo>
                <a:lnTo>
                  <a:pt x="2302" y="2690"/>
                </a:lnTo>
                <a:lnTo>
                  <a:pt x="2304" y="2692"/>
                </a:lnTo>
                <a:lnTo>
                  <a:pt x="2305" y="2690"/>
                </a:lnTo>
                <a:lnTo>
                  <a:pt x="2307" y="2690"/>
                </a:lnTo>
                <a:lnTo>
                  <a:pt x="2309" y="2690"/>
                </a:lnTo>
                <a:lnTo>
                  <a:pt x="2311" y="2690"/>
                </a:lnTo>
                <a:lnTo>
                  <a:pt x="2314" y="2692"/>
                </a:lnTo>
                <a:lnTo>
                  <a:pt x="2316" y="2692"/>
                </a:lnTo>
                <a:lnTo>
                  <a:pt x="2317" y="2692"/>
                </a:lnTo>
                <a:lnTo>
                  <a:pt x="2321" y="2690"/>
                </a:lnTo>
                <a:lnTo>
                  <a:pt x="2321" y="2688"/>
                </a:lnTo>
                <a:lnTo>
                  <a:pt x="2317" y="2688"/>
                </a:lnTo>
                <a:lnTo>
                  <a:pt x="2316" y="2686"/>
                </a:lnTo>
                <a:lnTo>
                  <a:pt x="2314" y="2686"/>
                </a:lnTo>
                <a:lnTo>
                  <a:pt x="2312" y="2685"/>
                </a:lnTo>
                <a:lnTo>
                  <a:pt x="2312" y="2686"/>
                </a:lnTo>
                <a:lnTo>
                  <a:pt x="2311" y="2685"/>
                </a:lnTo>
                <a:lnTo>
                  <a:pt x="2309" y="2683"/>
                </a:lnTo>
                <a:lnTo>
                  <a:pt x="2307" y="2681"/>
                </a:lnTo>
                <a:lnTo>
                  <a:pt x="2305" y="2681"/>
                </a:lnTo>
                <a:lnTo>
                  <a:pt x="2304" y="2680"/>
                </a:lnTo>
                <a:lnTo>
                  <a:pt x="2300" y="2678"/>
                </a:lnTo>
                <a:lnTo>
                  <a:pt x="2299" y="2676"/>
                </a:lnTo>
                <a:lnTo>
                  <a:pt x="2297" y="2676"/>
                </a:lnTo>
                <a:lnTo>
                  <a:pt x="2295" y="2675"/>
                </a:lnTo>
                <a:lnTo>
                  <a:pt x="2294" y="2673"/>
                </a:lnTo>
                <a:lnTo>
                  <a:pt x="2292" y="2671"/>
                </a:lnTo>
                <a:lnTo>
                  <a:pt x="2290" y="2671"/>
                </a:lnTo>
                <a:lnTo>
                  <a:pt x="2288" y="2669"/>
                </a:lnTo>
                <a:lnTo>
                  <a:pt x="2287" y="2668"/>
                </a:lnTo>
                <a:lnTo>
                  <a:pt x="2285" y="2666"/>
                </a:lnTo>
                <a:lnTo>
                  <a:pt x="2283" y="2664"/>
                </a:lnTo>
                <a:lnTo>
                  <a:pt x="2283" y="2663"/>
                </a:lnTo>
                <a:lnTo>
                  <a:pt x="2280" y="2661"/>
                </a:lnTo>
                <a:lnTo>
                  <a:pt x="2280" y="2663"/>
                </a:lnTo>
                <a:lnTo>
                  <a:pt x="2278" y="2664"/>
                </a:lnTo>
                <a:lnTo>
                  <a:pt x="2277" y="2663"/>
                </a:lnTo>
                <a:lnTo>
                  <a:pt x="2277" y="2661"/>
                </a:lnTo>
                <a:lnTo>
                  <a:pt x="2277" y="2658"/>
                </a:lnTo>
                <a:lnTo>
                  <a:pt x="2275" y="2654"/>
                </a:lnTo>
                <a:lnTo>
                  <a:pt x="2277" y="2656"/>
                </a:lnTo>
                <a:lnTo>
                  <a:pt x="2275" y="2654"/>
                </a:lnTo>
                <a:lnTo>
                  <a:pt x="2273" y="2652"/>
                </a:lnTo>
                <a:lnTo>
                  <a:pt x="2271" y="2651"/>
                </a:lnTo>
                <a:lnTo>
                  <a:pt x="2270" y="2649"/>
                </a:lnTo>
                <a:lnTo>
                  <a:pt x="2270" y="2651"/>
                </a:lnTo>
                <a:lnTo>
                  <a:pt x="2270" y="2652"/>
                </a:lnTo>
                <a:lnTo>
                  <a:pt x="2268" y="2651"/>
                </a:lnTo>
                <a:lnTo>
                  <a:pt x="2266" y="2651"/>
                </a:lnTo>
                <a:lnTo>
                  <a:pt x="2266" y="2649"/>
                </a:lnTo>
                <a:lnTo>
                  <a:pt x="2265" y="2647"/>
                </a:lnTo>
                <a:lnTo>
                  <a:pt x="2266" y="2647"/>
                </a:lnTo>
                <a:lnTo>
                  <a:pt x="2268" y="2646"/>
                </a:lnTo>
                <a:lnTo>
                  <a:pt x="2270" y="2647"/>
                </a:lnTo>
                <a:lnTo>
                  <a:pt x="2270" y="2646"/>
                </a:lnTo>
                <a:lnTo>
                  <a:pt x="2268" y="2644"/>
                </a:lnTo>
                <a:lnTo>
                  <a:pt x="2270" y="2642"/>
                </a:lnTo>
                <a:lnTo>
                  <a:pt x="2268" y="2644"/>
                </a:lnTo>
                <a:lnTo>
                  <a:pt x="2270" y="2642"/>
                </a:lnTo>
                <a:lnTo>
                  <a:pt x="2270" y="2644"/>
                </a:lnTo>
                <a:lnTo>
                  <a:pt x="2271" y="2646"/>
                </a:lnTo>
                <a:lnTo>
                  <a:pt x="2273" y="2647"/>
                </a:lnTo>
                <a:lnTo>
                  <a:pt x="2273" y="2649"/>
                </a:lnTo>
                <a:lnTo>
                  <a:pt x="2275" y="2651"/>
                </a:lnTo>
                <a:lnTo>
                  <a:pt x="2275" y="2652"/>
                </a:lnTo>
                <a:lnTo>
                  <a:pt x="2277" y="2654"/>
                </a:lnTo>
                <a:lnTo>
                  <a:pt x="2278" y="2656"/>
                </a:lnTo>
                <a:lnTo>
                  <a:pt x="2280" y="2658"/>
                </a:lnTo>
                <a:lnTo>
                  <a:pt x="2280" y="2659"/>
                </a:lnTo>
                <a:lnTo>
                  <a:pt x="2282" y="2661"/>
                </a:lnTo>
                <a:lnTo>
                  <a:pt x="2285" y="2664"/>
                </a:lnTo>
                <a:lnTo>
                  <a:pt x="2287" y="2666"/>
                </a:lnTo>
                <a:lnTo>
                  <a:pt x="2290" y="2669"/>
                </a:lnTo>
                <a:lnTo>
                  <a:pt x="2292" y="2669"/>
                </a:lnTo>
                <a:lnTo>
                  <a:pt x="2294" y="2671"/>
                </a:lnTo>
                <a:lnTo>
                  <a:pt x="2295" y="2673"/>
                </a:lnTo>
                <a:lnTo>
                  <a:pt x="2297" y="2675"/>
                </a:lnTo>
                <a:lnTo>
                  <a:pt x="2299" y="2675"/>
                </a:lnTo>
                <a:lnTo>
                  <a:pt x="2300" y="2676"/>
                </a:lnTo>
                <a:lnTo>
                  <a:pt x="2302" y="2678"/>
                </a:lnTo>
                <a:lnTo>
                  <a:pt x="2304" y="2680"/>
                </a:lnTo>
                <a:lnTo>
                  <a:pt x="2305" y="2680"/>
                </a:lnTo>
                <a:lnTo>
                  <a:pt x="2307" y="2681"/>
                </a:lnTo>
                <a:lnTo>
                  <a:pt x="2309" y="2681"/>
                </a:lnTo>
                <a:lnTo>
                  <a:pt x="2311" y="2683"/>
                </a:lnTo>
                <a:lnTo>
                  <a:pt x="2311" y="2685"/>
                </a:lnTo>
                <a:lnTo>
                  <a:pt x="2312" y="2685"/>
                </a:lnTo>
                <a:lnTo>
                  <a:pt x="2314" y="2686"/>
                </a:lnTo>
                <a:lnTo>
                  <a:pt x="2317" y="2686"/>
                </a:lnTo>
                <a:lnTo>
                  <a:pt x="2321" y="2688"/>
                </a:lnTo>
                <a:lnTo>
                  <a:pt x="2322" y="2688"/>
                </a:lnTo>
                <a:lnTo>
                  <a:pt x="2324" y="2686"/>
                </a:lnTo>
                <a:lnTo>
                  <a:pt x="2326" y="2685"/>
                </a:lnTo>
                <a:lnTo>
                  <a:pt x="2329" y="2683"/>
                </a:lnTo>
                <a:lnTo>
                  <a:pt x="2329" y="2681"/>
                </a:lnTo>
                <a:lnTo>
                  <a:pt x="2331" y="2681"/>
                </a:lnTo>
                <a:lnTo>
                  <a:pt x="2331" y="2680"/>
                </a:lnTo>
                <a:lnTo>
                  <a:pt x="2331" y="2678"/>
                </a:lnTo>
                <a:lnTo>
                  <a:pt x="2331" y="2676"/>
                </a:lnTo>
                <a:lnTo>
                  <a:pt x="2333" y="2673"/>
                </a:lnTo>
                <a:lnTo>
                  <a:pt x="2333" y="2671"/>
                </a:lnTo>
                <a:lnTo>
                  <a:pt x="2333" y="2669"/>
                </a:lnTo>
                <a:lnTo>
                  <a:pt x="2334" y="2669"/>
                </a:lnTo>
                <a:lnTo>
                  <a:pt x="2334" y="2671"/>
                </a:lnTo>
                <a:lnTo>
                  <a:pt x="2336" y="2673"/>
                </a:lnTo>
                <a:lnTo>
                  <a:pt x="2338" y="2673"/>
                </a:lnTo>
                <a:lnTo>
                  <a:pt x="2339" y="2675"/>
                </a:lnTo>
                <a:lnTo>
                  <a:pt x="2341" y="2675"/>
                </a:lnTo>
                <a:lnTo>
                  <a:pt x="2343" y="2673"/>
                </a:lnTo>
                <a:lnTo>
                  <a:pt x="2345" y="2671"/>
                </a:lnTo>
                <a:lnTo>
                  <a:pt x="2345" y="2669"/>
                </a:lnTo>
                <a:lnTo>
                  <a:pt x="2345" y="2668"/>
                </a:lnTo>
                <a:lnTo>
                  <a:pt x="2346" y="2666"/>
                </a:lnTo>
                <a:lnTo>
                  <a:pt x="2348" y="2664"/>
                </a:lnTo>
                <a:lnTo>
                  <a:pt x="2350" y="2664"/>
                </a:lnTo>
                <a:lnTo>
                  <a:pt x="2351" y="2663"/>
                </a:lnTo>
                <a:lnTo>
                  <a:pt x="2353" y="2661"/>
                </a:lnTo>
                <a:lnTo>
                  <a:pt x="2355" y="2661"/>
                </a:lnTo>
                <a:lnTo>
                  <a:pt x="2356" y="2661"/>
                </a:lnTo>
                <a:lnTo>
                  <a:pt x="2358" y="2661"/>
                </a:lnTo>
                <a:lnTo>
                  <a:pt x="2360" y="2661"/>
                </a:lnTo>
                <a:lnTo>
                  <a:pt x="2363" y="2659"/>
                </a:lnTo>
                <a:lnTo>
                  <a:pt x="2367" y="2661"/>
                </a:lnTo>
                <a:lnTo>
                  <a:pt x="2368" y="2659"/>
                </a:lnTo>
                <a:lnTo>
                  <a:pt x="2370" y="2661"/>
                </a:lnTo>
                <a:lnTo>
                  <a:pt x="2372" y="2661"/>
                </a:lnTo>
                <a:lnTo>
                  <a:pt x="2372" y="2663"/>
                </a:lnTo>
                <a:lnTo>
                  <a:pt x="2372" y="2664"/>
                </a:lnTo>
                <a:lnTo>
                  <a:pt x="2370" y="2666"/>
                </a:lnTo>
                <a:lnTo>
                  <a:pt x="2368" y="2666"/>
                </a:lnTo>
                <a:lnTo>
                  <a:pt x="2367" y="2666"/>
                </a:lnTo>
                <a:lnTo>
                  <a:pt x="2365" y="2668"/>
                </a:lnTo>
                <a:lnTo>
                  <a:pt x="2367" y="2668"/>
                </a:lnTo>
                <a:lnTo>
                  <a:pt x="2367" y="2669"/>
                </a:lnTo>
                <a:lnTo>
                  <a:pt x="2365" y="2671"/>
                </a:lnTo>
                <a:lnTo>
                  <a:pt x="2365" y="2673"/>
                </a:lnTo>
                <a:lnTo>
                  <a:pt x="2365" y="2675"/>
                </a:lnTo>
                <a:lnTo>
                  <a:pt x="2365" y="2673"/>
                </a:lnTo>
                <a:lnTo>
                  <a:pt x="2365" y="2675"/>
                </a:lnTo>
                <a:lnTo>
                  <a:pt x="2365" y="2678"/>
                </a:lnTo>
                <a:lnTo>
                  <a:pt x="2367" y="2680"/>
                </a:lnTo>
                <a:lnTo>
                  <a:pt x="2368" y="2681"/>
                </a:lnTo>
                <a:lnTo>
                  <a:pt x="2370" y="2683"/>
                </a:lnTo>
                <a:lnTo>
                  <a:pt x="2370" y="2685"/>
                </a:lnTo>
                <a:lnTo>
                  <a:pt x="2368" y="2686"/>
                </a:lnTo>
                <a:lnTo>
                  <a:pt x="2368" y="2688"/>
                </a:lnTo>
                <a:lnTo>
                  <a:pt x="2367" y="2688"/>
                </a:lnTo>
                <a:lnTo>
                  <a:pt x="2365" y="2688"/>
                </a:lnTo>
                <a:lnTo>
                  <a:pt x="2363" y="2690"/>
                </a:lnTo>
                <a:lnTo>
                  <a:pt x="2362" y="2692"/>
                </a:lnTo>
                <a:lnTo>
                  <a:pt x="2360" y="2693"/>
                </a:lnTo>
                <a:lnTo>
                  <a:pt x="2358" y="2693"/>
                </a:lnTo>
                <a:lnTo>
                  <a:pt x="2355" y="2693"/>
                </a:lnTo>
                <a:lnTo>
                  <a:pt x="2353" y="2695"/>
                </a:lnTo>
                <a:lnTo>
                  <a:pt x="2351" y="2695"/>
                </a:lnTo>
                <a:lnTo>
                  <a:pt x="2350" y="2698"/>
                </a:lnTo>
                <a:lnTo>
                  <a:pt x="2348" y="2698"/>
                </a:lnTo>
                <a:lnTo>
                  <a:pt x="2346" y="2700"/>
                </a:lnTo>
                <a:lnTo>
                  <a:pt x="2345" y="2702"/>
                </a:lnTo>
                <a:lnTo>
                  <a:pt x="2343" y="2698"/>
                </a:lnTo>
                <a:lnTo>
                  <a:pt x="2339" y="2698"/>
                </a:lnTo>
                <a:lnTo>
                  <a:pt x="2338" y="2697"/>
                </a:lnTo>
                <a:lnTo>
                  <a:pt x="2334" y="2697"/>
                </a:lnTo>
                <a:lnTo>
                  <a:pt x="2331" y="2697"/>
                </a:lnTo>
                <a:lnTo>
                  <a:pt x="2329" y="2697"/>
                </a:lnTo>
                <a:lnTo>
                  <a:pt x="2328" y="2698"/>
                </a:lnTo>
                <a:lnTo>
                  <a:pt x="2326" y="2700"/>
                </a:lnTo>
                <a:lnTo>
                  <a:pt x="2324" y="2700"/>
                </a:lnTo>
                <a:lnTo>
                  <a:pt x="2324" y="2702"/>
                </a:lnTo>
                <a:lnTo>
                  <a:pt x="2322" y="2703"/>
                </a:lnTo>
                <a:lnTo>
                  <a:pt x="2322" y="2705"/>
                </a:lnTo>
                <a:lnTo>
                  <a:pt x="2322" y="2707"/>
                </a:lnTo>
                <a:lnTo>
                  <a:pt x="2324" y="2707"/>
                </a:lnTo>
                <a:lnTo>
                  <a:pt x="2324" y="2709"/>
                </a:lnTo>
                <a:lnTo>
                  <a:pt x="2322" y="2710"/>
                </a:lnTo>
                <a:lnTo>
                  <a:pt x="2324" y="2712"/>
                </a:lnTo>
                <a:lnTo>
                  <a:pt x="2322" y="2712"/>
                </a:lnTo>
                <a:lnTo>
                  <a:pt x="2321" y="2712"/>
                </a:lnTo>
                <a:lnTo>
                  <a:pt x="2319" y="2714"/>
                </a:lnTo>
                <a:lnTo>
                  <a:pt x="2317" y="2714"/>
                </a:lnTo>
                <a:lnTo>
                  <a:pt x="2319" y="2717"/>
                </a:lnTo>
                <a:lnTo>
                  <a:pt x="2316" y="2719"/>
                </a:lnTo>
                <a:lnTo>
                  <a:pt x="2316" y="2720"/>
                </a:lnTo>
                <a:lnTo>
                  <a:pt x="2316" y="2722"/>
                </a:lnTo>
                <a:lnTo>
                  <a:pt x="2316" y="2726"/>
                </a:lnTo>
                <a:lnTo>
                  <a:pt x="2314" y="2727"/>
                </a:lnTo>
                <a:lnTo>
                  <a:pt x="2312" y="2727"/>
                </a:lnTo>
                <a:lnTo>
                  <a:pt x="2311" y="2726"/>
                </a:lnTo>
                <a:lnTo>
                  <a:pt x="2309" y="2727"/>
                </a:lnTo>
                <a:lnTo>
                  <a:pt x="2307" y="2727"/>
                </a:lnTo>
                <a:lnTo>
                  <a:pt x="2305" y="2729"/>
                </a:lnTo>
                <a:lnTo>
                  <a:pt x="2304" y="2729"/>
                </a:lnTo>
                <a:lnTo>
                  <a:pt x="2302" y="2731"/>
                </a:lnTo>
                <a:lnTo>
                  <a:pt x="2300" y="2731"/>
                </a:lnTo>
                <a:lnTo>
                  <a:pt x="2299" y="2732"/>
                </a:lnTo>
                <a:lnTo>
                  <a:pt x="2297" y="2732"/>
                </a:lnTo>
                <a:lnTo>
                  <a:pt x="2295" y="2734"/>
                </a:lnTo>
                <a:lnTo>
                  <a:pt x="2295" y="2736"/>
                </a:lnTo>
                <a:lnTo>
                  <a:pt x="2294" y="2736"/>
                </a:lnTo>
                <a:lnTo>
                  <a:pt x="2292" y="2737"/>
                </a:lnTo>
                <a:lnTo>
                  <a:pt x="2292" y="2739"/>
                </a:lnTo>
                <a:lnTo>
                  <a:pt x="2290" y="2739"/>
                </a:lnTo>
                <a:lnTo>
                  <a:pt x="2290" y="2741"/>
                </a:lnTo>
                <a:lnTo>
                  <a:pt x="2288" y="2743"/>
                </a:lnTo>
                <a:lnTo>
                  <a:pt x="2287" y="2744"/>
                </a:lnTo>
                <a:lnTo>
                  <a:pt x="2285" y="2748"/>
                </a:lnTo>
                <a:lnTo>
                  <a:pt x="2285" y="2749"/>
                </a:lnTo>
                <a:lnTo>
                  <a:pt x="2285" y="2751"/>
                </a:lnTo>
                <a:lnTo>
                  <a:pt x="2285" y="2753"/>
                </a:lnTo>
                <a:lnTo>
                  <a:pt x="2285" y="2754"/>
                </a:lnTo>
                <a:lnTo>
                  <a:pt x="2285" y="2756"/>
                </a:lnTo>
                <a:lnTo>
                  <a:pt x="2283" y="2756"/>
                </a:lnTo>
                <a:lnTo>
                  <a:pt x="2282" y="2758"/>
                </a:lnTo>
                <a:lnTo>
                  <a:pt x="2282" y="2761"/>
                </a:lnTo>
                <a:lnTo>
                  <a:pt x="2280" y="2763"/>
                </a:lnTo>
                <a:lnTo>
                  <a:pt x="2278" y="2763"/>
                </a:lnTo>
                <a:lnTo>
                  <a:pt x="2278" y="2765"/>
                </a:lnTo>
                <a:lnTo>
                  <a:pt x="2278" y="2766"/>
                </a:lnTo>
                <a:lnTo>
                  <a:pt x="2278" y="2768"/>
                </a:lnTo>
                <a:lnTo>
                  <a:pt x="2275" y="2770"/>
                </a:lnTo>
                <a:lnTo>
                  <a:pt x="2273" y="2771"/>
                </a:lnTo>
                <a:lnTo>
                  <a:pt x="2271" y="2773"/>
                </a:lnTo>
                <a:lnTo>
                  <a:pt x="2270" y="2773"/>
                </a:lnTo>
                <a:lnTo>
                  <a:pt x="2268" y="2773"/>
                </a:lnTo>
                <a:lnTo>
                  <a:pt x="2266" y="2773"/>
                </a:lnTo>
                <a:lnTo>
                  <a:pt x="2263" y="2775"/>
                </a:lnTo>
                <a:lnTo>
                  <a:pt x="2261" y="2777"/>
                </a:lnTo>
                <a:lnTo>
                  <a:pt x="2260" y="2777"/>
                </a:lnTo>
                <a:lnTo>
                  <a:pt x="2258" y="2775"/>
                </a:lnTo>
                <a:lnTo>
                  <a:pt x="2254" y="2777"/>
                </a:lnTo>
                <a:lnTo>
                  <a:pt x="2253" y="2773"/>
                </a:lnTo>
                <a:lnTo>
                  <a:pt x="2251" y="2771"/>
                </a:lnTo>
                <a:lnTo>
                  <a:pt x="2249" y="2773"/>
                </a:lnTo>
                <a:lnTo>
                  <a:pt x="2246" y="2773"/>
                </a:lnTo>
                <a:lnTo>
                  <a:pt x="2244" y="2773"/>
                </a:lnTo>
                <a:lnTo>
                  <a:pt x="2243" y="2771"/>
                </a:lnTo>
                <a:lnTo>
                  <a:pt x="2241" y="2771"/>
                </a:lnTo>
                <a:lnTo>
                  <a:pt x="2239" y="2770"/>
                </a:lnTo>
                <a:lnTo>
                  <a:pt x="2241" y="2771"/>
                </a:lnTo>
                <a:lnTo>
                  <a:pt x="2241" y="2768"/>
                </a:lnTo>
                <a:lnTo>
                  <a:pt x="2241" y="2770"/>
                </a:lnTo>
                <a:lnTo>
                  <a:pt x="2241" y="2768"/>
                </a:lnTo>
                <a:lnTo>
                  <a:pt x="2243" y="2766"/>
                </a:lnTo>
                <a:lnTo>
                  <a:pt x="2243" y="2768"/>
                </a:lnTo>
                <a:lnTo>
                  <a:pt x="2243" y="2766"/>
                </a:lnTo>
                <a:lnTo>
                  <a:pt x="2244" y="2766"/>
                </a:lnTo>
                <a:lnTo>
                  <a:pt x="2244" y="2765"/>
                </a:lnTo>
                <a:lnTo>
                  <a:pt x="2246" y="2766"/>
                </a:lnTo>
                <a:lnTo>
                  <a:pt x="2244" y="2765"/>
                </a:lnTo>
                <a:lnTo>
                  <a:pt x="2248" y="2765"/>
                </a:lnTo>
                <a:lnTo>
                  <a:pt x="2249" y="2765"/>
                </a:lnTo>
                <a:lnTo>
                  <a:pt x="2248" y="2765"/>
                </a:lnTo>
                <a:lnTo>
                  <a:pt x="2246" y="2765"/>
                </a:lnTo>
                <a:lnTo>
                  <a:pt x="2244" y="2765"/>
                </a:lnTo>
                <a:lnTo>
                  <a:pt x="2244" y="2763"/>
                </a:lnTo>
                <a:lnTo>
                  <a:pt x="2244" y="2761"/>
                </a:lnTo>
                <a:lnTo>
                  <a:pt x="2244" y="2760"/>
                </a:lnTo>
                <a:lnTo>
                  <a:pt x="2243" y="2758"/>
                </a:lnTo>
                <a:lnTo>
                  <a:pt x="2243" y="2756"/>
                </a:lnTo>
                <a:lnTo>
                  <a:pt x="2241" y="2753"/>
                </a:lnTo>
                <a:lnTo>
                  <a:pt x="2241" y="2751"/>
                </a:lnTo>
                <a:lnTo>
                  <a:pt x="2243" y="2749"/>
                </a:lnTo>
                <a:lnTo>
                  <a:pt x="2243" y="2748"/>
                </a:lnTo>
                <a:lnTo>
                  <a:pt x="2243" y="2744"/>
                </a:lnTo>
                <a:lnTo>
                  <a:pt x="2241" y="2743"/>
                </a:lnTo>
                <a:lnTo>
                  <a:pt x="2241" y="2741"/>
                </a:lnTo>
                <a:lnTo>
                  <a:pt x="2239" y="2739"/>
                </a:lnTo>
                <a:lnTo>
                  <a:pt x="2239" y="2737"/>
                </a:lnTo>
                <a:lnTo>
                  <a:pt x="2237" y="2736"/>
                </a:lnTo>
                <a:lnTo>
                  <a:pt x="2236" y="2734"/>
                </a:lnTo>
                <a:lnTo>
                  <a:pt x="2236" y="2732"/>
                </a:lnTo>
                <a:lnTo>
                  <a:pt x="2232" y="2731"/>
                </a:lnTo>
                <a:lnTo>
                  <a:pt x="2231" y="2731"/>
                </a:lnTo>
                <a:lnTo>
                  <a:pt x="2229" y="2729"/>
                </a:lnTo>
                <a:lnTo>
                  <a:pt x="2226" y="2729"/>
                </a:lnTo>
                <a:lnTo>
                  <a:pt x="2224" y="2731"/>
                </a:lnTo>
                <a:lnTo>
                  <a:pt x="2222" y="2732"/>
                </a:lnTo>
                <a:lnTo>
                  <a:pt x="2220" y="2734"/>
                </a:lnTo>
                <a:lnTo>
                  <a:pt x="2219" y="2732"/>
                </a:lnTo>
                <a:lnTo>
                  <a:pt x="2215" y="2732"/>
                </a:lnTo>
                <a:lnTo>
                  <a:pt x="2214" y="2732"/>
                </a:lnTo>
                <a:lnTo>
                  <a:pt x="2214" y="2731"/>
                </a:lnTo>
                <a:lnTo>
                  <a:pt x="2212" y="2731"/>
                </a:lnTo>
                <a:lnTo>
                  <a:pt x="2210" y="2731"/>
                </a:lnTo>
                <a:lnTo>
                  <a:pt x="2209" y="2729"/>
                </a:lnTo>
                <a:lnTo>
                  <a:pt x="2207" y="2727"/>
                </a:lnTo>
                <a:lnTo>
                  <a:pt x="2203" y="2727"/>
                </a:lnTo>
                <a:lnTo>
                  <a:pt x="2205" y="2727"/>
                </a:lnTo>
                <a:lnTo>
                  <a:pt x="2205" y="2726"/>
                </a:lnTo>
                <a:lnTo>
                  <a:pt x="2207" y="2724"/>
                </a:lnTo>
                <a:lnTo>
                  <a:pt x="2205" y="2724"/>
                </a:lnTo>
                <a:lnTo>
                  <a:pt x="2205" y="2722"/>
                </a:lnTo>
                <a:lnTo>
                  <a:pt x="2207" y="2722"/>
                </a:lnTo>
                <a:lnTo>
                  <a:pt x="2209" y="2720"/>
                </a:lnTo>
                <a:lnTo>
                  <a:pt x="2210" y="2719"/>
                </a:lnTo>
                <a:lnTo>
                  <a:pt x="2210" y="2717"/>
                </a:lnTo>
                <a:lnTo>
                  <a:pt x="2210" y="2715"/>
                </a:lnTo>
                <a:lnTo>
                  <a:pt x="2209" y="2717"/>
                </a:lnTo>
                <a:lnTo>
                  <a:pt x="2209" y="2719"/>
                </a:lnTo>
                <a:lnTo>
                  <a:pt x="2207" y="2720"/>
                </a:lnTo>
                <a:lnTo>
                  <a:pt x="2205" y="2720"/>
                </a:lnTo>
                <a:lnTo>
                  <a:pt x="2205" y="2722"/>
                </a:lnTo>
                <a:lnTo>
                  <a:pt x="2203" y="2724"/>
                </a:lnTo>
                <a:lnTo>
                  <a:pt x="2203" y="2726"/>
                </a:lnTo>
                <a:lnTo>
                  <a:pt x="2202" y="2724"/>
                </a:lnTo>
                <a:lnTo>
                  <a:pt x="2200" y="2726"/>
                </a:lnTo>
                <a:lnTo>
                  <a:pt x="2202" y="2726"/>
                </a:lnTo>
                <a:lnTo>
                  <a:pt x="2203" y="2726"/>
                </a:lnTo>
                <a:lnTo>
                  <a:pt x="2202" y="2726"/>
                </a:lnTo>
                <a:lnTo>
                  <a:pt x="2200" y="2726"/>
                </a:lnTo>
                <a:lnTo>
                  <a:pt x="2198" y="2726"/>
                </a:lnTo>
                <a:lnTo>
                  <a:pt x="2197" y="2726"/>
                </a:lnTo>
                <a:lnTo>
                  <a:pt x="2195" y="2727"/>
                </a:lnTo>
                <a:lnTo>
                  <a:pt x="2193" y="2727"/>
                </a:lnTo>
                <a:lnTo>
                  <a:pt x="2190" y="2729"/>
                </a:lnTo>
                <a:lnTo>
                  <a:pt x="2188" y="2731"/>
                </a:lnTo>
                <a:lnTo>
                  <a:pt x="2188" y="2732"/>
                </a:lnTo>
                <a:lnTo>
                  <a:pt x="2185" y="2732"/>
                </a:lnTo>
                <a:lnTo>
                  <a:pt x="2183" y="2732"/>
                </a:lnTo>
                <a:lnTo>
                  <a:pt x="2180" y="2732"/>
                </a:lnTo>
                <a:lnTo>
                  <a:pt x="2180" y="2731"/>
                </a:lnTo>
                <a:lnTo>
                  <a:pt x="2178" y="2731"/>
                </a:lnTo>
                <a:lnTo>
                  <a:pt x="2178" y="2727"/>
                </a:lnTo>
                <a:lnTo>
                  <a:pt x="2180" y="2726"/>
                </a:lnTo>
                <a:lnTo>
                  <a:pt x="2181" y="2722"/>
                </a:lnTo>
                <a:lnTo>
                  <a:pt x="2183" y="2720"/>
                </a:lnTo>
                <a:lnTo>
                  <a:pt x="2185" y="2719"/>
                </a:lnTo>
                <a:lnTo>
                  <a:pt x="2185" y="2717"/>
                </a:lnTo>
                <a:lnTo>
                  <a:pt x="2186" y="2719"/>
                </a:lnTo>
                <a:lnTo>
                  <a:pt x="2186" y="2717"/>
                </a:lnTo>
                <a:lnTo>
                  <a:pt x="2186" y="2715"/>
                </a:lnTo>
                <a:lnTo>
                  <a:pt x="2190" y="2714"/>
                </a:lnTo>
                <a:lnTo>
                  <a:pt x="2188" y="2717"/>
                </a:lnTo>
                <a:lnTo>
                  <a:pt x="2192" y="2715"/>
                </a:lnTo>
                <a:lnTo>
                  <a:pt x="2190" y="2714"/>
                </a:lnTo>
                <a:lnTo>
                  <a:pt x="2192" y="2714"/>
                </a:lnTo>
                <a:lnTo>
                  <a:pt x="2192" y="2712"/>
                </a:lnTo>
                <a:lnTo>
                  <a:pt x="2190" y="2712"/>
                </a:lnTo>
                <a:lnTo>
                  <a:pt x="2192" y="2710"/>
                </a:lnTo>
                <a:lnTo>
                  <a:pt x="2193" y="2707"/>
                </a:lnTo>
                <a:lnTo>
                  <a:pt x="2193" y="2705"/>
                </a:lnTo>
                <a:lnTo>
                  <a:pt x="2195" y="2705"/>
                </a:lnTo>
                <a:lnTo>
                  <a:pt x="2195" y="2703"/>
                </a:lnTo>
                <a:lnTo>
                  <a:pt x="2197" y="2702"/>
                </a:lnTo>
                <a:lnTo>
                  <a:pt x="2198" y="2700"/>
                </a:lnTo>
                <a:lnTo>
                  <a:pt x="2200" y="2698"/>
                </a:lnTo>
                <a:lnTo>
                  <a:pt x="2202" y="2698"/>
                </a:lnTo>
                <a:lnTo>
                  <a:pt x="2202" y="2697"/>
                </a:lnTo>
                <a:lnTo>
                  <a:pt x="2202" y="2695"/>
                </a:lnTo>
                <a:lnTo>
                  <a:pt x="2202" y="2693"/>
                </a:lnTo>
                <a:lnTo>
                  <a:pt x="2202" y="2692"/>
                </a:lnTo>
                <a:lnTo>
                  <a:pt x="2202" y="2693"/>
                </a:lnTo>
                <a:lnTo>
                  <a:pt x="2203" y="2695"/>
                </a:lnTo>
                <a:lnTo>
                  <a:pt x="2205" y="2695"/>
                </a:lnTo>
                <a:lnTo>
                  <a:pt x="2209" y="2693"/>
                </a:lnTo>
                <a:lnTo>
                  <a:pt x="2209" y="2692"/>
                </a:lnTo>
                <a:lnTo>
                  <a:pt x="2210" y="2690"/>
                </a:lnTo>
                <a:lnTo>
                  <a:pt x="2212" y="2688"/>
                </a:lnTo>
                <a:lnTo>
                  <a:pt x="2212" y="2686"/>
                </a:lnTo>
                <a:lnTo>
                  <a:pt x="2212" y="2685"/>
                </a:lnTo>
                <a:lnTo>
                  <a:pt x="2215" y="2683"/>
                </a:lnTo>
                <a:lnTo>
                  <a:pt x="2215" y="2685"/>
                </a:lnTo>
                <a:lnTo>
                  <a:pt x="2217" y="2683"/>
                </a:lnTo>
                <a:lnTo>
                  <a:pt x="2219" y="2683"/>
                </a:lnTo>
                <a:lnTo>
                  <a:pt x="2219" y="2681"/>
                </a:lnTo>
                <a:lnTo>
                  <a:pt x="2220" y="2680"/>
                </a:lnTo>
                <a:lnTo>
                  <a:pt x="2222" y="2680"/>
                </a:lnTo>
                <a:lnTo>
                  <a:pt x="2224" y="2681"/>
                </a:lnTo>
                <a:lnTo>
                  <a:pt x="2224" y="2680"/>
                </a:lnTo>
                <a:lnTo>
                  <a:pt x="2222" y="2676"/>
                </a:lnTo>
                <a:lnTo>
                  <a:pt x="2224" y="2675"/>
                </a:lnTo>
                <a:lnTo>
                  <a:pt x="2226" y="2675"/>
                </a:lnTo>
                <a:lnTo>
                  <a:pt x="2224" y="2673"/>
                </a:lnTo>
                <a:lnTo>
                  <a:pt x="2222" y="2673"/>
                </a:lnTo>
                <a:lnTo>
                  <a:pt x="2220" y="2675"/>
                </a:lnTo>
                <a:lnTo>
                  <a:pt x="2219" y="2675"/>
                </a:lnTo>
                <a:lnTo>
                  <a:pt x="2219" y="2673"/>
                </a:lnTo>
                <a:lnTo>
                  <a:pt x="2217" y="2671"/>
                </a:lnTo>
                <a:lnTo>
                  <a:pt x="2217" y="2669"/>
                </a:lnTo>
                <a:lnTo>
                  <a:pt x="2217" y="2668"/>
                </a:lnTo>
                <a:lnTo>
                  <a:pt x="2217" y="2666"/>
                </a:lnTo>
                <a:lnTo>
                  <a:pt x="2215" y="2664"/>
                </a:lnTo>
                <a:lnTo>
                  <a:pt x="2214" y="2663"/>
                </a:lnTo>
                <a:lnTo>
                  <a:pt x="2212" y="2661"/>
                </a:lnTo>
                <a:lnTo>
                  <a:pt x="2212" y="2664"/>
                </a:lnTo>
                <a:lnTo>
                  <a:pt x="2210" y="2666"/>
                </a:lnTo>
                <a:lnTo>
                  <a:pt x="2214" y="2668"/>
                </a:lnTo>
                <a:lnTo>
                  <a:pt x="2212" y="2668"/>
                </a:lnTo>
                <a:lnTo>
                  <a:pt x="2210" y="2668"/>
                </a:lnTo>
                <a:lnTo>
                  <a:pt x="2210" y="2669"/>
                </a:lnTo>
                <a:lnTo>
                  <a:pt x="2212" y="2671"/>
                </a:lnTo>
                <a:lnTo>
                  <a:pt x="2210" y="2671"/>
                </a:lnTo>
                <a:lnTo>
                  <a:pt x="2209" y="2673"/>
                </a:lnTo>
                <a:lnTo>
                  <a:pt x="2205" y="2671"/>
                </a:lnTo>
                <a:lnTo>
                  <a:pt x="2205" y="2669"/>
                </a:lnTo>
                <a:lnTo>
                  <a:pt x="2202" y="2668"/>
                </a:lnTo>
                <a:lnTo>
                  <a:pt x="2202" y="2671"/>
                </a:lnTo>
                <a:lnTo>
                  <a:pt x="2200" y="2671"/>
                </a:lnTo>
                <a:lnTo>
                  <a:pt x="2202" y="2671"/>
                </a:lnTo>
                <a:lnTo>
                  <a:pt x="2202" y="2669"/>
                </a:lnTo>
                <a:lnTo>
                  <a:pt x="2200" y="2668"/>
                </a:lnTo>
                <a:lnTo>
                  <a:pt x="2197" y="2669"/>
                </a:lnTo>
                <a:lnTo>
                  <a:pt x="2197" y="2671"/>
                </a:lnTo>
                <a:lnTo>
                  <a:pt x="2195" y="2669"/>
                </a:lnTo>
                <a:lnTo>
                  <a:pt x="2197" y="2668"/>
                </a:lnTo>
                <a:lnTo>
                  <a:pt x="2195" y="2666"/>
                </a:lnTo>
                <a:lnTo>
                  <a:pt x="2195" y="2668"/>
                </a:lnTo>
                <a:lnTo>
                  <a:pt x="2193" y="2669"/>
                </a:lnTo>
                <a:lnTo>
                  <a:pt x="2193" y="2671"/>
                </a:lnTo>
                <a:lnTo>
                  <a:pt x="2190" y="2671"/>
                </a:lnTo>
                <a:lnTo>
                  <a:pt x="2188" y="2669"/>
                </a:lnTo>
                <a:lnTo>
                  <a:pt x="2186" y="2671"/>
                </a:lnTo>
                <a:lnTo>
                  <a:pt x="2186" y="2673"/>
                </a:lnTo>
                <a:lnTo>
                  <a:pt x="2188" y="2673"/>
                </a:lnTo>
                <a:lnTo>
                  <a:pt x="2185" y="2675"/>
                </a:lnTo>
                <a:lnTo>
                  <a:pt x="2183" y="2676"/>
                </a:lnTo>
                <a:lnTo>
                  <a:pt x="2181" y="2675"/>
                </a:lnTo>
                <a:lnTo>
                  <a:pt x="2178" y="2676"/>
                </a:lnTo>
                <a:lnTo>
                  <a:pt x="2176" y="2676"/>
                </a:lnTo>
                <a:lnTo>
                  <a:pt x="2175" y="2678"/>
                </a:lnTo>
                <a:lnTo>
                  <a:pt x="2171" y="2680"/>
                </a:lnTo>
                <a:lnTo>
                  <a:pt x="2169" y="2680"/>
                </a:lnTo>
                <a:lnTo>
                  <a:pt x="2168" y="2681"/>
                </a:lnTo>
                <a:lnTo>
                  <a:pt x="2166" y="2683"/>
                </a:lnTo>
                <a:lnTo>
                  <a:pt x="2169" y="2683"/>
                </a:lnTo>
                <a:lnTo>
                  <a:pt x="2171" y="2683"/>
                </a:lnTo>
                <a:lnTo>
                  <a:pt x="2173" y="2683"/>
                </a:lnTo>
                <a:lnTo>
                  <a:pt x="2175" y="2683"/>
                </a:lnTo>
                <a:lnTo>
                  <a:pt x="2178" y="2683"/>
                </a:lnTo>
                <a:lnTo>
                  <a:pt x="2180" y="2681"/>
                </a:lnTo>
                <a:lnTo>
                  <a:pt x="2180" y="2683"/>
                </a:lnTo>
                <a:lnTo>
                  <a:pt x="2183" y="2681"/>
                </a:lnTo>
                <a:lnTo>
                  <a:pt x="2183" y="2680"/>
                </a:lnTo>
                <a:lnTo>
                  <a:pt x="2185" y="2680"/>
                </a:lnTo>
                <a:lnTo>
                  <a:pt x="2186" y="2680"/>
                </a:lnTo>
                <a:lnTo>
                  <a:pt x="2190" y="2680"/>
                </a:lnTo>
                <a:lnTo>
                  <a:pt x="2193" y="2680"/>
                </a:lnTo>
                <a:lnTo>
                  <a:pt x="2190" y="2680"/>
                </a:lnTo>
                <a:lnTo>
                  <a:pt x="2188" y="2681"/>
                </a:lnTo>
                <a:lnTo>
                  <a:pt x="2186" y="2681"/>
                </a:lnTo>
                <a:lnTo>
                  <a:pt x="2185" y="2681"/>
                </a:lnTo>
                <a:lnTo>
                  <a:pt x="2183" y="2681"/>
                </a:lnTo>
                <a:lnTo>
                  <a:pt x="2181" y="2683"/>
                </a:lnTo>
                <a:lnTo>
                  <a:pt x="2180" y="2683"/>
                </a:lnTo>
                <a:lnTo>
                  <a:pt x="2176" y="2683"/>
                </a:lnTo>
                <a:lnTo>
                  <a:pt x="2175" y="2683"/>
                </a:lnTo>
                <a:lnTo>
                  <a:pt x="2173" y="2683"/>
                </a:lnTo>
                <a:lnTo>
                  <a:pt x="2169" y="2683"/>
                </a:lnTo>
                <a:lnTo>
                  <a:pt x="2168" y="2683"/>
                </a:lnTo>
                <a:lnTo>
                  <a:pt x="2166" y="2683"/>
                </a:lnTo>
                <a:lnTo>
                  <a:pt x="2164" y="2685"/>
                </a:lnTo>
                <a:lnTo>
                  <a:pt x="2163" y="2685"/>
                </a:lnTo>
                <a:lnTo>
                  <a:pt x="2161" y="2685"/>
                </a:lnTo>
                <a:lnTo>
                  <a:pt x="2158" y="2685"/>
                </a:lnTo>
                <a:lnTo>
                  <a:pt x="2156" y="2685"/>
                </a:lnTo>
                <a:lnTo>
                  <a:pt x="2152" y="2685"/>
                </a:lnTo>
                <a:lnTo>
                  <a:pt x="2149" y="2685"/>
                </a:lnTo>
                <a:lnTo>
                  <a:pt x="2147" y="2685"/>
                </a:lnTo>
                <a:lnTo>
                  <a:pt x="2146" y="2685"/>
                </a:lnTo>
                <a:lnTo>
                  <a:pt x="2142" y="2685"/>
                </a:lnTo>
                <a:lnTo>
                  <a:pt x="2141" y="2685"/>
                </a:lnTo>
                <a:lnTo>
                  <a:pt x="2144" y="2685"/>
                </a:lnTo>
                <a:lnTo>
                  <a:pt x="2146" y="2683"/>
                </a:lnTo>
                <a:lnTo>
                  <a:pt x="2146" y="2685"/>
                </a:lnTo>
                <a:lnTo>
                  <a:pt x="2147" y="2685"/>
                </a:lnTo>
                <a:lnTo>
                  <a:pt x="2149" y="2685"/>
                </a:lnTo>
                <a:lnTo>
                  <a:pt x="2151" y="2685"/>
                </a:lnTo>
                <a:lnTo>
                  <a:pt x="2149" y="2681"/>
                </a:lnTo>
                <a:lnTo>
                  <a:pt x="2151" y="2681"/>
                </a:lnTo>
                <a:lnTo>
                  <a:pt x="2149" y="2680"/>
                </a:lnTo>
                <a:lnTo>
                  <a:pt x="2147" y="2681"/>
                </a:lnTo>
                <a:lnTo>
                  <a:pt x="2146" y="2680"/>
                </a:lnTo>
                <a:lnTo>
                  <a:pt x="2144" y="2681"/>
                </a:lnTo>
                <a:lnTo>
                  <a:pt x="2142" y="2680"/>
                </a:lnTo>
                <a:lnTo>
                  <a:pt x="2141" y="2678"/>
                </a:lnTo>
                <a:lnTo>
                  <a:pt x="2139" y="2678"/>
                </a:lnTo>
                <a:lnTo>
                  <a:pt x="2139" y="2680"/>
                </a:lnTo>
                <a:lnTo>
                  <a:pt x="2137" y="2680"/>
                </a:lnTo>
                <a:lnTo>
                  <a:pt x="2137" y="2678"/>
                </a:lnTo>
                <a:lnTo>
                  <a:pt x="2135" y="2680"/>
                </a:lnTo>
                <a:lnTo>
                  <a:pt x="2134" y="2678"/>
                </a:lnTo>
                <a:lnTo>
                  <a:pt x="2132" y="2678"/>
                </a:lnTo>
                <a:lnTo>
                  <a:pt x="2130" y="2676"/>
                </a:lnTo>
                <a:lnTo>
                  <a:pt x="2130" y="2678"/>
                </a:lnTo>
                <a:lnTo>
                  <a:pt x="2132" y="2678"/>
                </a:lnTo>
                <a:lnTo>
                  <a:pt x="2130" y="2680"/>
                </a:lnTo>
                <a:lnTo>
                  <a:pt x="2129" y="2680"/>
                </a:lnTo>
                <a:lnTo>
                  <a:pt x="2129" y="2681"/>
                </a:lnTo>
                <a:lnTo>
                  <a:pt x="2127" y="2680"/>
                </a:lnTo>
                <a:lnTo>
                  <a:pt x="2127" y="2681"/>
                </a:lnTo>
                <a:lnTo>
                  <a:pt x="2125" y="2680"/>
                </a:lnTo>
                <a:lnTo>
                  <a:pt x="2125" y="2678"/>
                </a:lnTo>
                <a:lnTo>
                  <a:pt x="2129" y="2676"/>
                </a:lnTo>
                <a:lnTo>
                  <a:pt x="2130" y="2676"/>
                </a:lnTo>
                <a:lnTo>
                  <a:pt x="2134" y="2675"/>
                </a:lnTo>
                <a:lnTo>
                  <a:pt x="2135" y="2673"/>
                </a:lnTo>
                <a:lnTo>
                  <a:pt x="2135" y="2669"/>
                </a:lnTo>
                <a:lnTo>
                  <a:pt x="2137" y="2669"/>
                </a:lnTo>
                <a:lnTo>
                  <a:pt x="2135" y="2668"/>
                </a:lnTo>
                <a:lnTo>
                  <a:pt x="2134" y="2666"/>
                </a:lnTo>
                <a:lnTo>
                  <a:pt x="2132" y="2666"/>
                </a:lnTo>
                <a:lnTo>
                  <a:pt x="2132" y="2668"/>
                </a:lnTo>
                <a:lnTo>
                  <a:pt x="2132" y="2666"/>
                </a:lnTo>
                <a:lnTo>
                  <a:pt x="2129" y="2666"/>
                </a:lnTo>
                <a:lnTo>
                  <a:pt x="2129" y="2668"/>
                </a:lnTo>
                <a:lnTo>
                  <a:pt x="2127" y="2668"/>
                </a:lnTo>
                <a:lnTo>
                  <a:pt x="2129" y="2668"/>
                </a:lnTo>
                <a:lnTo>
                  <a:pt x="2130" y="2666"/>
                </a:lnTo>
                <a:lnTo>
                  <a:pt x="2132" y="2668"/>
                </a:lnTo>
                <a:lnTo>
                  <a:pt x="2129" y="2668"/>
                </a:lnTo>
                <a:lnTo>
                  <a:pt x="2127" y="2668"/>
                </a:lnTo>
                <a:lnTo>
                  <a:pt x="2125" y="2668"/>
                </a:lnTo>
                <a:lnTo>
                  <a:pt x="2124" y="2666"/>
                </a:lnTo>
                <a:lnTo>
                  <a:pt x="2124" y="2668"/>
                </a:lnTo>
                <a:lnTo>
                  <a:pt x="2122" y="2668"/>
                </a:lnTo>
                <a:lnTo>
                  <a:pt x="2120" y="2668"/>
                </a:lnTo>
                <a:lnTo>
                  <a:pt x="2118" y="2669"/>
                </a:lnTo>
                <a:lnTo>
                  <a:pt x="2120" y="2671"/>
                </a:lnTo>
                <a:lnTo>
                  <a:pt x="2118" y="2671"/>
                </a:lnTo>
                <a:lnTo>
                  <a:pt x="2117" y="2669"/>
                </a:lnTo>
                <a:lnTo>
                  <a:pt x="2115" y="2669"/>
                </a:lnTo>
                <a:lnTo>
                  <a:pt x="2113" y="2668"/>
                </a:lnTo>
                <a:lnTo>
                  <a:pt x="2112" y="2668"/>
                </a:lnTo>
                <a:lnTo>
                  <a:pt x="2110" y="2666"/>
                </a:lnTo>
                <a:lnTo>
                  <a:pt x="2108" y="2664"/>
                </a:lnTo>
                <a:lnTo>
                  <a:pt x="2110" y="2666"/>
                </a:lnTo>
                <a:lnTo>
                  <a:pt x="2112" y="2666"/>
                </a:lnTo>
                <a:lnTo>
                  <a:pt x="2113" y="2666"/>
                </a:lnTo>
                <a:lnTo>
                  <a:pt x="2117" y="2664"/>
                </a:lnTo>
                <a:lnTo>
                  <a:pt x="2118" y="2664"/>
                </a:lnTo>
                <a:lnTo>
                  <a:pt x="2120" y="2663"/>
                </a:lnTo>
                <a:lnTo>
                  <a:pt x="2122" y="2664"/>
                </a:lnTo>
                <a:lnTo>
                  <a:pt x="2124" y="2664"/>
                </a:lnTo>
                <a:lnTo>
                  <a:pt x="2125" y="2664"/>
                </a:lnTo>
                <a:lnTo>
                  <a:pt x="2127" y="2663"/>
                </a:lnTo>
                <a:lnTo>
                  <a:pt x="2129" y="2663"/>
                </a:lnTo>
                <a:lnTo>
                  <a:pt x="2132" y="2664"/>
                </a:lnTo>
                <a:lnTo>
                  <a:pt x="2134" y="2663"/>
                </a:lnTo>
                <a:lnTo>
                  <a:pt x="2135" y="2663"/>
                </a:lnTo>
                <a:lnTo>
                  <a:pt x="2135" y="2661"/>
                </a:lnTo>
                <a:lnTo>
                  <a:pt x="2137" y="2661"/>
                </a:lnTo>
                <a:lnTo>
                  <a:pt x="2141" y="2661"/>
                </a:lnTo>
                <a:lnTo>
                  <a:pt x="2139" y="2659"/>
                </a:lnTo>
                <a:lnTo>
                  <a:pt x="2142" y="2661"/>
                </a:lnTo>
                <a:lnTo>
                  <a:pt x="2144" y="2661"/>
                </a:lnTo>
                <a:lnTo>
                  <a:pt x="2146" y="2661"/>
                </a:lnTo>
                <a:lnTo>
                  <a:pt x="2147" y="2661"/>
                </a:lnTo>
                <a:lnTo>
                  <a:pt x="2149" y="2661"/>
                </a:lnTo>
                <a:lnTo>
                  <a:pt x="2151" y="2659"/>
                </a:lnTo>
                <a:lnTo>
                  <a:pt x="2152" y="2658"/>
                </a:lnTo>
                <a:lnTo>
                  <a:pt x="2152" y="2656"/>
                </a:lnTo>
                <a:lnTo>
                  <a:pt x="2154" y="2656"/>
                </a:lnTo>
                <a:lnTo>
                  <a:pt x="2154" y="2652"/>
                </a:lnTo>
                <a:lnTo>
                  <a:pt x="2156" y="2652"/>
                </a:lnTo>
                <a:lnTo>
                  <a:pt x="2158" y="2652"/>
                </a:lnTo>
                <a:lnTo>
                  <a:pt x="2158" y="2651"/>
                </a:lnTo>
                <a:lnTo>
                  <a:pt x="2159" y="2651"/>
                </a:lnTo>
                <a:lnTo>
                  <a:pt x="2158" y="2651"/>
                </a:lnTo>
                <a:lnTo>
                  <a:pt x="2159" y="2649"/>
                </a:lnTo>
                <a:lnTo>
                  <a:pt x="2159" y="2647"/>
                </a:lnTo>
                <a:lnTo>
                  <a:pt x="2159" y="2649"/>
                </a:lnTo>
                <a:lnTo>
                  <a:pt x="2158" y="2649"/>
                </a:lnTo>
                <a:lnTo>
                  <a:pt x="2158" y="2652"/>
                </a:lnTo>
                <a:lnTo>
                  <a:pt x="2156" y="2652"/>
                </a:lnTo>
                <a:lnTo>
                  <a:pt x="2156" y="2651"/>
                </a:lnTo>
                <a:lnTo>
                  <a:pt x="2158" y="2651"/>
                </a:lnTo>
                <a:lnTo>
                  <a:pt x="2159" y="2647"/>
                </a:lnTo>
                <a:lnTo>
                  <a:pt x="2159" y="2646"/>
                </a:lnTo>
                <a:lnTo>
                  <a:pt x="2161" y="2644"/>
                </a:lnTo>
                <a:lnTo>
                  <a:pt x="2163" y="2644"/>
                </a:lnTo>
                <a:lnTo>
                  <a:pt x="2163" y="2642"/>
                </a:lnTo>
                <a:lnTo>
                  <a:pt x="2159" y="2644"/>
                </a:lnTo>
                <a:lnTo>
                  <a:pt x="2159" y="2646"/>
                </a:lnTo>
                <a:lnTo>
                  <a:pt x="2158" y="2646"/>
                </a:lnTo>
                <a:lnTo>
                  <a:pt x="2159" y="2646"/>
                </a:lnTo>
                <a:lnTo>
                  <a:pt x="2159" y="2642"/>
                </a:lnTo>
                <a:lnTo>
                  <a:pt x="2161" y="2641"/>
                </a:lnTo>
                <a:lnTo>
                  <a:pt x="2159" y="2642"/>
                </a:lnTo>
                <a:lnTo>
                  <a:pt x="2158" y="2644"/>
                </a:lnTo>
                <a:lnTo>
                  <a:pt x="2158" y="2646"/>
                </a:lnTo>
                <a:lnTo>
                  <a:pt x="2156" y="2646"/>
                </a:lnTo>
                <a:lnTo>
                  <a:pt x="2154" y="2647"/>
                </a:lnTo>
                <a:lnTo>
                  <a:pt x="2152" y="2647"/>
                </a:lnTo>
                <a:lnTo>
                  <a:pt x="2151" y="2649"/>
                </a:lnTo>
                <a:lnTo>
                  <a:pt x="2151" y="2647"/>
                </a:lnTo>
                <a:lnTo>
                  <a:pt x="2151" y="2649"/>
                </a:lnTo>
                <a:lnTo>
                  <a:pt x="2152" y="2649"/>
                </a:lnTo>
                <a:lnTo>
                  <a:pt x="2152" y="2651"/>
                </a:lnTo>
                <a:lnTo>
                  <a:pt x="2151" y="2652"/>
                </a:lnTo>
                <a:lnTo>
                  <a:pt x="2149" y="2652"/>
                </a:lnTo>
                <a:lnTo>
                  <a:pt x="2149" y="2654"/>
                </a:lnTo>
                <a:lnTo>
                  <a:pt x="2147" y="2654"/>
                </a:lnTo>
                <a:lnTo>
                  <a:pt x="2146" y="2654"/>
                </a:lnTo>
                <a:lnTo>
                  <a:pt x="2144" y="2654"/>
                </a:lnTo>
                <a:lnTo>
                  <a:pt x="2142" y="2652"/>
                </a:lnTo>
                <a:lnTo>
                  <a:pt x="2141" y="2654"/>
                </a:lnTo>
                <a:lnTo>
                  <a:pt x="2139" y="2656"/>
                </a:lnTo>
                <a:lnTo>
                  <a:pt x="2137" y="2658"/>
                </a:lnTo>
                <a:lnTo>
                  <a:pt x="2137" y="2656"/>
                </a:lnTo>
                <a:lnTo>
                  <a:pt x="2135" y="2654"/>
                </a:lnTo>
                <a:lnTo>
                  <a:pt x="2132" y="2654"/>
                </a:lnTo>
                <a:lnTo>
                  <a:pt x="2130" y="2654"/>
                </a:lnTo>
                <a:lnTo>
                  <a:pt x="2129" y="2652"/>
                </a:lnTo>
                <a:lnTo>
                  <a:pt x="2127" y="2651"/>
                </a:lnTo>
                <a:lnTo>
                  <a:pt x="2127" y="2649"/>
                </a:lnTo>
                <a:lnTo>
                  <a:pt x="2125" y="2647"/>
                </a:lnTo>
                <a:lnTo>
                  <a:pt x="2124" y="2647"/>
                </a:lnTo>
                <a:lnTo>
                  <a:pt x="2124" y="2646"/>
                </a:lnTo>
                <a:lnTo>
                  <a:pt x="2122" y="2644"/>
                </a:lnTo>
                <a:lnTo>
                  <a:pt x="2124" y="2642"/>
                </a:lnTo>
                <a:lnTo>
                  <a:pt x="2124" y="2641"/>
                </a:lnTo>
                <a:lnTo>
                  <a:pt x="2125" y="2637"/>
                </a:lnTo>
                <a:lnTo>
                  <a:pt x="2124" y="2635"/>
                </a:lnTo>
                <a:lnTo>
                  <a:pt x="2124" y="2637"/>
                </a:lnTo>
                <a:lnTo>
                  <a:pt x="2122" y="2639"/>
                </a:lnTo>
                <a:lnTo>
                  <a:pt x="2120" y="2641"/>
                </a:lnTo>
                <a:lnTo>
                  <a:pt x="2120" y="2642"/>
                </a:lnTo>
                <a:lnTo>
                  <a:pt x="2120" y="2644"/>
                </a:lnTo>
                <a:lnTo>
                  <a:pt x="2120" y="2647"/>
                </a:lnTo>
                <a:lnTo>
                  <a:pt x="2124" y="2649"/>
                </a:lnTo>
                <a:lnTo>
                  <a:pt x="2124" y="2652"/>
                </a:lnTo>
                <a:lnTo>
                  <a:pt x="2124" y="2654"/>
                </a:lnTo>
                <a:lnTo>
                  <a:pt x="2124" y="2656"/>
                </a:lnTo>
                <a:lnTo>
                  <a:pt x="2122" y="2658"/>
                </a:lnTo>
                <a:lnTo>
                  <a:pt x="2120" y="2658"/>
                </a:lnTo>
                <a:lnTo>
                  <a:pt x="2118" y="2658"/>
                </a:lnTo>
                <a:lnTo>
                  <a:pt x="2117" y="2658"/>
                </a:lnTo>
                <a:lnTo>
                  <a:pt x="2115" y="2658"/>
                </a:lnTo>
                <a:lnTo>
                  <a:pt x="2112" y="2658"/>
                </a:lnTo>
                <a:lnTo>
                  <a:pt x="2110" y="2659"/>
                </a:lnTo>
                <a:lnTo>
                  <a:pt x="2110" y="2661"/>
                </a:lnTo>
                <a:lnTo>
                  <a:pt x="2110" y="2663"/>
                </a:lnTo>
                <a:lnTo>
                  <a:pt x="2107" y="2661"/>
                </a:lnTo>
                <a:lnTo>
                  <a:pt x="2105" y="2661"/>
                </a:lnTo>
                <a:lnTo>
                  <a:pt x="2103" y="2663"/>
                </a:lnTo>
                <a:lnTo>
                  <a:pt x="2105" y="2661"/>
                </a:lnTo>
                <a:lnTo>
                  <a:pt x="2107" y="2659"/>
                </a:lnTo>
                <a:lnTo>
                  <a:pt x="2105" y="2658"/>
                </a:lnTo>
                <a:lnTo>
                  <a:pt x="2107" y="2656"/>
                </a:lnTo>
                <a:lnTo>
                  <a:pt x="2107" y="2652"/>
                </a:lnTo>
                <a:lnTo>
                  <a:pt x="2105" y="2651"/>
                </a:lnTo>
                <a:lnTo>
                  <a:pt x="2103" y="2651"/>
                </a:lnTo>
                <a:lnTo>
                  <a:pt x="2105" y="2652"/>
                </a:lnTo>
                <a:lnTo>
                  <a:pt x="2105" y="2654"/>
                </a:lnTo>
                <a:lnTo>
                  <a:pt x="2103" y="2654"/>
                </a:lnTo>
                <a:lnTo>
                  <a:pt x="2101" y="2654"/>
                </a:lnTo>
                <a:lnTo>
                  <a:pt x="2100" y="2651"/>
                </a:lnTo>
                <a:lnTo>
                  <a:pt x="2100" y="2654"/>
                </a:lnTo>
                <a:lnTo>
                  <a:pt x="2101" y="2654"/>
                </a:lnTo>
                <a:lnTo>
                  <a:pt x="2103" y="2654"/>
                </a:lnTo>
                <a:lnTo>
                  <a:pt x="2105" y="2658"/>
                </a:lnTo>
                <a:lnTo>
                  <a:pt x="2103" y="2659"/>
                </a:lnTo>
                <a:lnTo>
                  <a:pt x="2101" y="2661"/>
                </a:lnTo>
                <a:lnTo>
                  <a:pt x="2103" y="2663"/>
                </a:lnTo>
                <a:lnTo>
                  <a:pt x="2100" y="2664"/>
                </a:lnTo>
                <a:lnTo>
                  <a:pt x="2100" y="2666"/>
                </a:lnTo>
                <a:lnTo>
                  <a:pt x="2096" y="2666"/>
                </a:lnTo>
                <a:lnTo>
                  <a:pt x="2095" y="2666"/>
                </a:lnTo>
                <a:lnTo>
                  <a:pt x="2093" y="2666"/>
                </a:lnTo>
                <a:lnTo>
                  <a:pt x="2091" y="2666"/>
                </a:lnTo>
                <a:lnTo>
                  <a:pt x="2090" y="2668"/>
                </a:lnTo>
                <a:lnTo>
                  <a:pt x="2088" y="2668"/>
                </a:lnTo>
                <a:lnTo>
                  <a:pt x="2086" y="2669"/>
                </a:lnTo>
                <a:lnTo>
                  <a:pt x="2084" y="2669"/>
                </a:lnTo>
                <a:lnTo>
                  <a:pt x="2086" y="2669"/>
                </a:lnTo>
                <a:lnTo>
                  <a:pt x="2084" y="2669"/>
                </a:lnTo>
                <a:lnTo>
                  <a:pt x="2083" y="2666"/>
                </a:lnTo>
                <a:lnTo>
                  <a:pt x="2084" y="2669"/>
                </a:lnTo>
                <a:lnTo>
                  <a:pt x="2084" y="2671"/>
                </a:lnTo>
                <a:lnTo>
                  <a:pt x="2083" y="2671"/>
                </a:lnTo>
                <a:lnTo>
                  <a:pt x="2081" y="2673"/>
                </a:lnTo>
                <a:lnTo>
                  <a:pt x="2079" y="2673"/>
                </a:lnTo>
                <a:lnTo>
                  <a:pt x="2078" y="2675"/>
                </a:lnTo>
                <a:lnTo>
                  <a:pt x="2078" y="2676"/>
                </a:lnTo>
                <a:lnTo>
                  <a:pt x="2076" y="2676"/>
                </a:lnTo>
                <a:lnTo>
                  <a:pt x="2074" y="2678"/>
                </a:lnTo>
                <a:lnTo>
                  <a:pt x="2073" y="2680"/>
                </a:lnTo>
                <a:lnTo>
                  <a:pt x="2074" y="2681"/>
                </a:lnTo>
                <a:lnTo>
                  <a:pt x="2076" y="2683"/>
                </a:lnTo>
                <a:lnTo>
                  <a:pt x="2076" y="2685"/>
                </a:lnTo>
                <a:lnTo>
                  <a:pt x="2076" y="2686"/>
                </a:lnTo>
                <a:lnTo>
                  <a:pt x="2078" y="2688"/>
                </a:lnTo>
                <a:lnTo>
                  <a:pt x="2076" y="2690"/>
                </a:lnTo>
                <a:lnTo>
                  <a:pt x="2074" y="2692"/>
                </a:lnTo>
                <a:lnTo>
                  <a:pt x="2074" y="2693"/>
                </a:lnTo>
                <a:lnTo>
                  <a:pt x="2073" y="2692"/>
                </a:lnTo>
                <a:lnTo>
                  <a:pt x="2071" y="2690"/>
                </a:lnTo>
                <a:lnTo>
                  <a:pt x="2073" y="2692"/>
                </a:lnTo>
                <a:lnTo>
                  <a:pt x="2073" y="2693"/>
                </a:lnTo>
                <a:lnTo>
                  <a:pt x="2074" y="2693"/>
                </a:lnTo>
                <a:lnTo>
                  <a:pt x="2074" y="2697"/>
                </a:lnTo>
                <a:lnTo>
                  <a:pt x="2074" y="2700"/>
                </a:lnTo>
                <a:lnTo>
                  <a:pt x="2073" y="2702"/>
                </a:lnTo>
                <a:lnTo>
                  <a:pt x="2073" y="2703"/>
                </a:lnTo>
                <a:lnTo>
                  <a:pt x="2073" y="2707"/>
                </a:lnTo>
                <a:lnTo>
                  <a:pt x="2071" y="2709"/>
                </a:lnTo>
                <a:lnTo>
                  <a:pt x="2071" y="2712"/>
                </a:lnTo>
                <a:lnTo>
                  <a:pt x="2069" y="2714"/>
                </a:lnTo>
                <a:lnTo>
                  <a:pt x="2069" y="2715"/>
                </a:lnTo>
                <a:lnTo>
                  <a:pt x="2067" y="2717"/>
                </a:lnTo>
                <a:lnTo>
                  <a:pt x="2067" y="2719"/>
                </a:lnTo>
                <a:lnTo>
                  <a:pt x="2066" y="2720"/>
                </a:lnTo>
                <a:lnTo>
                  <a:pt x="2066" y="2722"/>
                </a:lnTo>
                <a:lnTo>
                  <a:pt x="2064" y="2724"/>
                </a:lnTo>
                <a:lnTo>
                  <a:pt x="2064" y="2726"/>
                </a:lnTo>
                <a:lnTo>
                  <a:pt x="2064" y="2727"/>
                </a:lnTo>
                <a:lnTo>
                  <a:pt x="2064" y="2729"/>
                </a:lnTo>
                <a:lnTo>
                  <a:pt x="2062" y="2731"/>
                </a:lnTo>
                <a:lnTo>
                  <a:pt x="2061" y="2732"/>
                </a:lnTo>
                <a:lnTo>
                  <a:pt x="2059" y="2734"/>
                </a:lnTo>
                <a:lnTo>
                  <a:pt x="2057" y="2737"/>
                </a:lnTo>
                <a:lnTo>
                  <a:pt x="2056" y="2741"/>
                </a:lnTo>
                <a:lnTo>
                  <a:pt x="2054" y="2743"/>
                </a:lnTo>
                <a:lnTo>
                  <a:pt x="2052" y="2744"/>
                </a:lnTo>
                <a:lnTo>
                  <a:pt x="2052" y="2746"/>
                </a:lnTo>
                <a:lnTo>
                  <a:pt x="2050" y="2748"/>
                </a:lnTo>
                <a:lnTo>
                  <a:pt x="2049" y="2751"/>
                </a:lnTo>
                <a:lnTo>
                  <a:pt x="2045" y="2754"/>
                </a:lnTo>
                <a:lnTo>
                  <a:pt x="2044" y="2756"/>
                </a:lnTo>
                <a:lnTo>
                  <a:pt x="2044" y="2758"/>
                </a:lnTo>
                <a:lnTo>
                  <a:pt x="2042" y="2758"/>
                </a:lnTo>
                <a:lnTo>
                  <a:pt x="2042" y="2761"/>
                </a:lnTo>
                <a:lnTo>
                  <a:pt x="2040" y="2763"/>
                </a:lnTo>
                <a:lnTo>
                  <a:pt x="2042" y="2765"/>
                </a:lnTo>
                <a:lnTo>
                  <a:pt x="2040" y="2765"/>
                </a:lnTo>
                <a:lnTo>
                  <a:pt x="2042" y="2765"/>
                </a:lnTo>
                <a:lnTo>
                  <a:pt x="2044" y="2768"/>
                </a:lnTo>
                <a:lnTo>
                  <a:pt x="2045" y="2765"/>
                </a:lnTo>
                <a:lnTo>
                  <a:pt x="2045" y="2766"/>
                </a:lnTo>
                <a:lnTo>
                  <a:pt x="2045" y="2765"/>
                </a:lnTo>
                <a:lnTo>
                  <a:pt x="2047" y="2765"/>
                </a:lnTo>
                <a:lnTo>
                  <a:pt x="2045" y="2766"/>
                </a:lnTo>
                <a:lnTo>
                  <a:pt x="2044" y="2768"/>
                </a:lnTo>
                <a:lnTo>
                  <a:pt x="2042" y="2770"/>
                </a:lnTo>
                <a:lnTo>
                  <a:pt x="2042" y="2771"/>
                </a:lnTo>
                <a:lnTo>
                  <a:pt x="2039" y="2770"/>
                </a:lnTo>
                <a:lnTo>
                  <a:pt x="2042" y="2771"/>
                </a:lnTo>
                <a:lnTo>
                  <a:pt x="2044" y="2773"/>
                </a:lnTo>
                <a:lnTo>
                  <a:pt x="2045" y="2773"/>
                </a:lnTo>
                <a:lnTo>
                  <a:pt x="2047" y="2775"/>
                </a:lnTo>
                <a:lnTo>
                  <a:pt x="2047" y="2778"/>
                </a:lnTo>
                <a:lnTo>
                  <a:pt x="2050" y="2780"/>
                </a:lnTo>
                <a:lnTo>
                  <a:pt x="2050" y="2782"/>
                </a:lnTo>
                <a:lnTo>
                  <a:pt x="2050" y="2783"/>
                </a:lnTo>
                <a:lnTo>
                  <a:pt x="2049" y="2782"/>
                </a:lnTo>
                <a:lnTo>
                  <a:pt x="2047" y="2782"/>
                </a:lnTo>
                <a:lnTo>
                  <a:pt x="2047" y="2785"/>
                </a:lnTo>
                <a:lnTo>
                  <a:pt x="2049" y="2785"/>
                </a:lnTo>
                <a:lnTo>
                  <a:pt x="2049" y="2787"/>
                </a:lnTo>
                <a:lnTo>
                  <a:pt x="2050" y="2785"/>
                </a:lnTo>
                <a:lnTo>
                  <a:pt x="2052" y="2785"/>
                </a:lnTo>
                <a:lnTo>
                  <a:pt x="2050" y="2787"/>
                </a:lnTo>
                <a:lnTo>
                  <a:pt x="2050" y="2788"/>
                </a:lnTo>
                <a:lnTo>
                  <a:pt x="2050" y="2790"/>
                </a:lnTo>
                <a:lnTo>
                  <a:pt x="2050" y="2794"/>
                </a:lnTo>
                <a:lnTo>
                  <a:pt x="2050" y="2797"/>
                </a:lnTo>
                <a:lnTo>
                  <a:pt x="2052" y="2797"/>
                </a:lnTo>
                <a:lnTo>
                  <a:pt x="2052" y="2800"/>
                </a:lnTo>
                <a:lnTo>
                  <a:pt x="2052" y="2802"/>
                </a:lnTo>
                <a:lnTo>
                  <a:pt x="2052" y="2806"/>
                </a:lnTo>
                <a:lnTo>
                  <a:pt x="2052" y="2807"/>
                </a:lnTo>
                <a:lnTo>
                  <a:pt x="2052" y="2806"/>
                </a:lnTo>
                <a:lnTo>
                  <a:pt x="2052" y="2807"/>
                </a:lnTo>
                <a:lnTo>
                  <a:pt x="2052" y="2809"/>
                </a:lnTo>
                <a:lnTo>
                  <a:pt x="2052" y="2811"/>
                </a:lnTo>
                <a:lnTo>
                  <a:pt x="2050" y="2812"/>
                </a:lnTo>
                <a:lnTo>
                  <a:pt x="2049" y="2814"/>
                </a:lnTo>
                <a:lnTo>
                  <a:pt x="2050" y="2812"/>
                </a:lnTo>
                <a:lnTo>
                  <a:pt x="2052" y="2811"/>
                </a:lnTo>
                <a:lnTo>
                  <a:pt x="2052" y="2807"/>
                </a:lnTo>
                <a:lnTo>
                  <a:pt x="2050" y="2809"/>
                </a:lnTo>
                <a:lnTo>
                  <a:pt x="2050" y="2811"/>
                </a:lnTo>
                <a:lnTo>
                  <a:pt x="2049" y="2811"/>
                </a:lnTo>
                <a:lnTo>
                  <a:pt x="2047" y="2812"/>
                </a:lnTo>
                <a:lnTo>
                  <a:pt x="2045" y="2812"/>
                </a:lnTo>
                <a:lnTo>
                  <a:pt x="2042" y="2814"/>
                </a:lnTo>
                <a:lnTo>
                  <a:pt x="2040" y="2814"/>
                </a:lnTo>
                <a:lnTo>
                  <a:pt x="2039" y="2814"/>
                </a:lnTo>
                <a:lnTo>
                  <a:pt x="2037" y="2816"/>
                </a:lnTo>
                <a:lnTo>
                  <a:pt x="2035" y="2816"/>
                </a:lnTo>
                <a:lnTo>
                  <a:pt x="2033" y="2817"/>
                </a:lnTo>
                <a:lnTo>
                  <a:pt x="2032" y="2819"/>
                </a:lnTo>
                <a:lnTo>
                  <a:pt x="2030" y="2819"/>
                </a:lnTo>
                <a:lnTo>
                  <a:pt x="2028" y="2821"/>
                </a:lnTo>
                <a:lnTo>
                  <a:pt x="2028" y="2823"/>
                </a:lnTo>
                <a:lnTo>
                  <a:pt x="2027" y="2824"/>
                </a:lnTo>
                <a:lnTo>
                  <a:pt x="2027" y="2828"/>
                </a:lnTo>
                <a:lnTo>
                  <a:pt x="2025" y="2829"/>
                </a:lnTo>
                <a:lnTo>
                  <a:pt x="2025" y="2831"/>
                </a:lnTo>
                <a:lnTo>
                  <a:pt x="2025" y="2833"/>
                </a:lnTo>
                <a:lnTo>
                  <a:pt x="2025" y="2834"/>
                </a:lnTo>
                <a:lnTo>
                  <a:pt x="2023" y="2834"/>
                </a:lnTo>
                <a:lnTo>
                  <a:pt x="2023" y="2836"/>
                </a:lnTo>
                <a:lnTo>
                  <a:pt x="2023" y="2838"/>
                </a:lnTo>
                <a:lnTo>
                  <a:pt x="2023" y="2841"/>
                </a:lnTo>
                <a:lnTo>
                  <a:pt x="2022" y="2843"/>
                </a:lnTo>
                <a:lnTo>
                  <a:pt x="2022" y="2845"/>
                </a:lnTo>
                <a:lnTo>
                  <a:pt x="2020" y="2846"/>
                </a:lnTo>
                <a:lnTo>
                  <a:pt x="2020" y="2848"/>
                </a:lnTo>
                <a:lnTo>
                  <a:pt x="2018" y="2850"/>
                </a:lnTo>
                <a:lnTo>
                  <a:pt x="2018" y="2851"/>
                </a:lnTo>
                <a:lnTo>
                  <a:pt x="2018" y="2855"/>
                </a:lnTo>
                <a:lnTo>
                  <a:pt x="2018" y="2857"/>
                </a:lnTo>
                <a:lnTo>
                  <a:pt x="2016" y="2855"/>
                </a:lnTo>
                <a:lnTo>
                  <a:pt x="2016" y="2857"/>
                </a:lnTo>
                <a:lnTo>
                  <a:pt x="2018" y="2855"/>
                </a:lnTo>
                <a:lnTo>
                  <a:pt x="2015" y="2857"/>
                </a:lnTo>
                <a:lnTo>
                  <a:pt x="2015" y="2860"/>
                </a:lnTo>
                <a:lnTo>
                  <a:pt x="2016" y="2862"/>
                </a:lnTo>
                <a:lnTo>
                  <a:pt x="2018" y="2863"/>
                </a:lnTo>
                <a:lnTo>
                  <a:pt x="2018" y="2865"/>
                </a:lnTo>
                <a:lnTo>
                  <a:pt x="2020" y="2867"/>
                </a:lnTo>
                <a:lnTo>
                  <a:pt x="2020" y="2868"/>
                </a:lnTo>
                <a:lnTo>
                  <a:pt x="2023" y="2870"/>
                </a:lnTo>
                <a:lnTo>
                  <a:pt x="2020" y="2868"/>
                </a:lnTo>
                <a:lnTo>
                  <a:pt x="2020" y="2867"/>
                </a:lnTo>
                <a:lnTo>
                  <a:pt x="2018" y="2867"/>
                </a:lnTo>
                <a:lnTo>
                  <a:pt x="2018" y="2868"/>
                </a:lnTo>
                <a:lnTo>
                  <a:pt x="2020" y="2868"/>
                </a:lnTo>
                <a:lnTo>
                  <a:pt x="2018" y="2868"/>
                </a:lnTo>
                <a:lnTo>
                  <a:pt x="2020" y="2868"/>
                </a:lnTo>
                <a:lnTo>
                  <a:pt x="2022" y="2870"/>
                </a:lnTo>
                <a:lnTo>
                  <a:pt x="2020" y="2870"/>
                </a:lnTo>
                <a:lnTo>
                  <a:pt x="2020" y="2868"/>
                </a:lnTo>
                <a:lnTo>
                  <a:pt x="2020" y="2870"/>
                </a:lnTo>
                <a:lnTo>
                  <a:pt x="2020" y="2872"/>
                </a:lnTo>
                <a:lnTo>
                  <a:pt x="2020" y="2870"/>
                </a:lnTo>
                <a:lnTo>
                  <a:pt x="2022" y="2872"/>
                </a:lnTo>
                <a:lnTo>
                  <a:pt x="2020" y="2874"/>
                </a:lnTo>
                <a:lnTo>
                  <a:pt x="2020" y="2875"/>
                </a:lnTo>
                <a:lnTo>
                  <a:pt x="2022" y="2875"/>
                </a:lnTo>
                <a:lnTo>
                  <a:pt x="2023" y="2879"/>
                </a:lnTo>
                <a:lnTo>
                  <a:pt x="2022" y="2882"/>
                </a:lnTo>
                <a:lnTo>
                  <a:pt x="2022" y="2884"/>
                </a:lnTo>
                <a:lnTo>
                  <a:pt x="2022" y="2885"/>
                </a:lnTo>
                <a:lnTo>
                  <a:pt x="2022" y="2887"/>
                </a:lnTo>
                <a:lnTo>
                  <a:pt x="2022" y="2889"/>
                </a:lnTo>
                <a:lnTo>
                  <a:pt x="2022" y="2891"/>
                </a:lnTo>
                <a:lnTo>
                  <a:pt x="2023" y="2892"/>
                </a:lnTo>
                <a:lnTo>
                  <a:pt x="2022" y="2892"/>
                </a:lnTo>
                <a:lnTo>
                  <a:pt x="2022" y="2894"/>
                </a:lnTo>
                <a:lnTo>
                  <a:pt x="2023" y="2892"/>
                </a:lnTo>
                <a:lnTo>
                  <a:pt x="2022" y="2894"/>
                </a:lnTo>
                <a:lnTo>
                  <a:pt x="2022" y="2896"/>
                </a:lnTo>
                <a:lnTo>
                  <a:pt x="2023" y="2897"/>
                </a:lnTo>
                <a:lnTo>
                  <a:pt x="2023" y="2899"/>
                </a:lnTo>
                <a:lnTo>
                  <a:pt x="2023" y="2901"/>
                </a:lnTo>
                <a:lnTo>
                  <a:pt x="2023" y="2902"/>
                </a:lnTo>
                <a:lnTo>
                  <a:pt x="2025" y="2904"/>
                </a:lnTo>
                <a:lnTo>
                  <a:pt x="2025" y="2906"/>
                </a:lnTo>
                <a:lnTo>
                  <a:pt x="2025" y="2908"/>
                </a:lnTo>
                <a:lnTo>
                  <a:pt x="2028" y="2911"/>
                </a:lnTo>
                <a:lnTo>
                  <a:pt x="2028" y="2914"/>
                </a:lnTo>
                <a:lnTo>
                  <a:pt x="2027" y="2916"/>
                </a:lnTo>
                <a:lnTo>
                  <a:pt x="2027" y="2918"/>
                </a:lnTo>
                <a:lnTo>
                  <a:pt x="2027" y="2919"/>
                </a:lnTo>
                <a:lnTo>
                  <a:pt x="2025" y="2921"/>
                </a:lnTo>
                <a:lnTo>
                  <a:pt x="2023" y="2923"/>
                </a:lnTo>
                <a:lnTo>
                  <a:pt x="2023" y="2925"/>
                </a:lnTo>
                <a:lnTo>
                  <a:pt x="2023" y="2923"/>
                </a:lnTo>
                <a:lnTo>
                  <a:pt x="2022" y="2923"/>
                </a:lnTo>
                <a:lnTo>
                  <a:pt x="2020" y="2923"/>
                </a:lnTo>
                <a:lnTo>
                  <a:pt x="2018" y="2923"/>
                </a:lnTo>
                <a:lnTo>
                  <a:pt x="2015" y="2923"/>
                </a:lnTo>
                <a:lnTo>
                  <a:pt x="2013" y="2925"/>
                </a:lnTo>
                <a:lnTo>
                  <a:pt x="2010" y="2925"/>
                </a:lnTo>
                <a:lnTo>
                  <a:pt x="2008" y="2925"/>
                </a:lnTo>
                <a:lnTo>
                  <a:pt x="2006" y="2928"/>
                </a:lnTo>
                <a:lnTo>
                  <a:pt x="2005" y="2928"/>
                </a:lnTo>
                <a:lnTo>
                  <a:pt x="2005" y="2931"/>
                </a:lnTo>
                <a:lnTo>
                  <a:pt x="2005" y="2935"/>
                </a:lnTo>
                <a:lnTo>
                  <a:pt x="2005" y="2938"/>
                </a:lnTo>
                <a:lnTo>
                  <a:pt x="2005" y="2940"/>
                </a:lnTo>
                <a:lnTo>
                  <a:pt x="2003" y="2940"/>
                </a:lnTo>
                <a:lnTo>
                  <a:pt x="1999" y="2942"/>
                </a:lnTo>
                <a:lnTo>
                  <a:pt x="1999" y="2943"/>
                </a:lnTo>
                <a:lnTo>
                  <a:pt x="1998" y="2943"/>
                </a:lnTo>
                <a:lnTo>
                  <a:pt x="1999" y="2945"/>
                </a:lnTo>
                <a:lnTo>
                  <a:pt x="2001" y="2945"/>
                </a:lnTo>
                <a:lnTo>
                  <a:pt x="2001" y="2947"/>
                </a:lnTo>
                <a:lnTo>
                  <a:pt x="2001" y="2948"/>
                </a:lnTo>
                <a:lnTo>
                  <a:pt x="2001" y="2952"/>
                </a:lnTo>
                <a:lnTo>
                  <a:pt x="2001" y="2954"/>
                </a:lnTo>
                <a:lnTo>
                  <a:pt x="2001" y="2957"/>
                </a:lnTo>
                <a:lnTo>
                  <a:pt x="2003" y="2959"/>
                </a:lnTo>
                <a:lnTo>
                  <a:pt x="2003" y="2960"/>
                </a:lnTo>
                <a:lnTo>
                  <a:pt x="2003" y="2962"/>
                </a:lnTo>
                <a:lnTo>
                  <a:pt x="2005" y="2965"/>
                </a:lnTo>
                <a:lnTo>
                  <a:pt x="2005" y="2967"/>
                </a:lnTo>
                <a:lnTo>
                  <a:pt x="2005" y="2969"/>
                </a:lnTo>
                <a:lnTo>
                  <a:pt x="2006" y="2972"/>
                </a:lnTo>
                <a:lnTo>
                  <a:pt x="2006" y="2974"/>
                </a:lnTo>
                <a:lnTo>
                  <a:pt x="2006" y="2976"/>
                </a:lnTo>
                <a:lnTo>
                  <a:pt x="2008" y="2977"/>
                </a:lnTo>
                <a:lnTo>
                  <a:pt x="2006" y="2977"/>
                </a:lnTo>
                <a:lnTo>
                  <a:pt x="2005" y="2977"/>
                </a:lnTo>
                <a:lnTo>
                  <a:pt x="2003" y="2977"/>
                </a:lnTo>
                <a:lnTo>
                  <a:pt x="1999" y="2977"/>
                </a:lnTo>
                <a:lnTo>
                  <a:pt x="1998" y="2979"/>
                </a:lnTo>
                <a:lnTo>
                  <a:pt x="1998" y="2981"/>
                </a:lnTo>
                <a:lnTo>
                  <a:pt x="1999" y="2982"/>
                </a:lnTo>
                <a:lnTo>
                  <a:pt x="1998" y="2982"/>
                </a:lnTo>
                <a:lnTo>
                  <a:pt x="1998" y="2984"/>
                </a:lnTo>
                <a:lnTo>
                  <a:pt x="1996" y="2984"/>
                </a:lnTo>
                <a:lnTo>
                  <a:pt x="1996" y="2986"/>
                </a:lnTo>
                <a:lnTo>
                  <a:pt x="1996" y="2988"/>
                </a:lnTo>
                <a:lnTo>
                  <a:pt x="1996" y="2989"/>
                </a:lnTo>
                <a:lnTo>
                  <a:pt x="1998" y="2989"/>
                </a:lnTo>
                <a:lnTo>
                  <a:pt x="1996" y="2989"/>
                </a:lnTo>
                <a:lnTo>
                  <a:pt x="1994" y="2991"/>
                </a:lnTo>
                <a:lnTo>
                  <a:pt x="1993" y="2991"/>
                </a:lnTo>
                <a:lnTo>
                  <a:pt x="1991" y="2993"/>
                </a:lnTo>
                <a:lnTo>
                  <a:pt x="1989" y="2994"/>
                </a:lnTo>
                <a:lnTo>
                  <a:pt x="1989" y="2998"/>
                </a:lnTo>
                <a:lnTo>
                  <a:pt x="1988" y="2999"/>
                </a:lnTo>
                <a:lnTo>
                  <a:pt x="1989" y="2999"/>
                </a:lnTo>
                <a:lnTo>
                  <a:pt x="1989" y="3001"/>
                </a:lnTo>
                <a:lnTo>
                  <a:pt x="1991" y="3001"/>
                </a:lnTo>
                <a:lnTo>
                  <a:pt x="1991" y="2999"/>
                </a:lnTo>
                <a:lnTo>
                  <a:pt x="1993" y="3001"/>
                </a:lnTo>
                <a:lnTo>
                  <a:pt x="1993" y="2998"/>
                </a:lnTo>
                <a:lnTo>
                  <a:pt x="1996" y="2998"/>
                </a:lnTo>
                <a:lnTo>
                  <a:pt x="1998" y="2998"/>
                </a:lnTo>
                <a:lnTo>
                  <a:pt x="1999" y="2998"/>
                </a:lnTo>
                <a:lnTo>
                  <a:pt x="1999" y="2999"/>
                </a:lnTo>
                <a:lnTo>
                  <a:pt x="2001" y="2998"/>
                </a:lnTo>
                <a:lnTo>
                  <a:pt x="2003" y="2999"/>
                </a:lnTo>
                <a:lnTo>
                  <a:pt x="2005" y="2999"/>
                </a:lnTo>
                <a:lnTo>
                  <a:pt x="2003" y="3001"/>
                </a:lnTo>
                <a:lnTo>
                  <a:pt x="2005" y="3001"/>
                </a:lnTo>
                <a:lnTo>
                  <a:pt x="2005" y="3003"/>
                </a:lnTo>
                <a:lnTo>
                  <a:pt x="2006" y="3005"/>
                </a:lnTo>
                <a:lnTo>
                  <a:pt x="2008" y="3003"/>
                </a:lnTo>
                <a:lnTo>
                  <a:pt x="2008" y="3005"/>
                </a:lnTo>
                <a:lnTo>
                  <a:pt x="2010" y="3005"/>
                </a:lnTo>
                <a:lnTo>
                  <a:pt x="2008" y="3008"/>
                </a:lnTo>
                <a:lnTo>
                  <a:pt x="2008" y="3010"/>
                </a:lnTo>
                <a:lnTo>
                  <a:pt x="2010" y="3010"/>
                </a:lnTo>
                <a:lnTo>
                  <a:pt x="2010" y="3011"/>
                </a:lnTo>
                <a:lnTo>
                  <a:pt x="2013" y="3013"/>
                </a:lnTo>
                <a:lnTo>
                  <a:pt x="2015" y="3015"/>
                </a:lnTo>
                <a:lnTo>
                  <a:pt x="2016" y="3015"/>
                </a:lnTo>
                <a:lnTo>
                  <a:pt x="2018" y="3016"/>
                </a:lnTo>
                <a:lnTo>
                  <a:pt x="2020" y="3018"/>
                </a:lnTo>
                <a:lnTo>
                  <a:pt x="2022" y="3020"/>
                </a:lnTo>
                <a:lnTo>
                  <a:pt x="2023" y="3020"/>
                </a:lnTo>
                <a:lnTo>
                  <a:pt x="2025" y="3022"/>
                </a:lnTo>
                <a:lnTo>
                  <a:pt x="2025" y="3023"/>
                </a:lnTo>
                <a:lnTo>
                  <a:pt x="2027" y="3023"/>
                </a:lnTo>
                <a:lnTo>
                  <a:pt x="2027" y="3025"/>
                </a:lnTo>
                <a:lnTo>
                  <a:pt x="2028" y="3027"/>
                </a:lnTo>
                <a:lnTo>
                  <a:pt x="2028" y="3030"/>
                </a:lnTo>
                <a:lnTo>
                  <a:pt x="2030" y="3032"/>
                </a:lnTo>
                <a:lnTo>
                  <a:pt x="2027" y="3030"/>
                </a:lnTo>
                <a:lnTo>
                  <a:pt x="2027" y="3032"/>
                </a:lnTo>
                <a:lnTo>
                  <a:pt x="2027" y="3033"/>
                </a:lnTo>
                <a:lnTo>
                  <a:pt x="2027" y="3037"/>
                </a:lnTo>
                <a:lnTo>
                  <a:pt x="2028" y="3037"/>
                </a:lnTo>
                <a:lnTo>
                  <a:pt x="2028" y="3039"/>
                </a:lnTo>
                <a:lnTo>
                  <a:pt x="2032" y="3040"/>
                </a:lnTo>
                <a:lnTo>
                  <a:pt x="2032" y="3042"/>
                </a:lnTo>
                <a:lnTo>
                  <a:pt x="2033" y="3044"/>
                </a:lnTo>
                <a:lnTo>
                  <a:pt x="2035" y="3045"/>
                </a:lnTo>
                <a:lnTo>
                  <a:pt x="2035" y="3047"/>
                </a:lnTo>
                <a:lnTo>
                  <a:pt x="2037" y="3049"/>
                </a:lnTo>
                <a:lnTo>
                  <a:pt x="2039" y="3049"/>
                </a:lnTo>
                <a:lnTo>
                  <a:pt x="2040" y="3050"/>
                </a:lnTo>
                <a:lnTo>
                  <a:pt x="2042" y="3050"/>
                </a:lnTo>
                <a:lnTo>
                  <a:pt x="2042" y="3052"/>
                </a:lnTo>
                <a:lnTo>
                  <a:pt x="2044" y="3054"/>
                </a:lnTo>
                <a:lnTo>
                  <a:pt x="2045" y="3054"/>
                </a:lnTo>
                <a:lnTo>
                  <a:pt x="2047" y="3056"/>
                </a:lnTo>
                <a:lnTo>
                  <a:pt x="2049" y="3056"/>
                </a:lnTo>
                <a:lnTo>
                  <a:pt x="2052" y="3056"/>
                </a:lnTo>
                <a:lnTo>
                  <a:pt x="2054" y="3057"/>
                </a:lnTo>
                <a:lnTo>
                  <a:pt x="2057" y="3057"/>
                </a:lnTo>
                <a:lnTo>
                  <a:pt x="2059" y="3057"/>
                </a:lnTo>
                <a:lnTo>
                  <a:pt x="2062" y="3059"/>
                </a:lnTo>
                <a:lnTo>
                  <a:pt x="2064" y="3059"/>
                </a:lnTo>
                <a:lnTo>
                  <a:pt x="2066" y="3059"/>
                </a:lnTo>
                <a:lnTo>
                  <a:pt x="2069" y="3061"/>
                </a:lnTo>
                <a:lnTo>
                  <a:pt x="2071" y="3059"/>
                </a:lnTo>
                <a:lnTo>
                  <a:pt x="2074" y="3061"/>
                </a:lnTo>
                <a:lnTo>
                  <a:pt x="2078" y="3061"/>
                </a:lnTo>
                <a:lnTo>
                  <a:pt x="2079" y="3061"/>
                </a:lnTo>
                <a:lnTo>
                  <a:pt x="2081" y="3062"/>
                </a:lnTo>
                <a:lnTo>
                  <a:pt x="2083" y="3061"/>
                </a:lnTo>
                <a:lnTo>
                  <a:pt x="2083" y="3062"/>
                </a:lnTo>
                <a:lnTo>
                  <a:pt x="2084" y="3061"/>
                </a:lnTo>
                <a:lnTo>
                  <a:pt x="2088" y="3062"/>
                </a:lnTo>
                <a:lnTo>
                  <a:pt x="2091" y="3062"/>
                </a:lnTo>
                <a:lnTo>
                  <a:pt x="2091" y="3061"/>
                </a:lnTo>
                <a:lnTo>
                  <a:pt x="2093" y="3061"/>
                </a:lnTo>
                <a:lnTo>
                  <a:pt x="2096" y="3061"/>
                </a:lnTo>
                <a:lnTo>
                  <a:pt x="2096" y="3064"/>
                </a:lnTo>
                <a:lnTo>
                  <a:pt x="2095" y="3066"/>
                </a:lnTo>
                <a:lnTo>
                  <a:pt x="2093" y="3067"/>
                </a:lnTo>
                <a:lnTo>
                  <a:pt x="2096" y="3069"/>
                </a:lnTo>
                <a:lnTo>
                  <a:pt x="2095" y="3071"/>
                </a:lnTo>
                <a:lnTo>
                  <a:pt x="2096" y="3073"/>
                </a:lnTo>
                <a:lnTo>
                  <a:pt x="2095" y="3076"/>
                </a:lnTo>
                <a:lnTo>
                  <a:pt x="2093" y="3076"/>
                </a:lnTo>
                <a:lnTo>
                  <a:pt x="2093" y="3078"/>
                </a:lnTo>
                <a:lnTo>
                  <a:pt x="2090" y="3076"/>
                </a:lnTo>
                <a:lnTo>
                  <a:pt x="2090" y="3078"/>
                </a:lnTo>
                <a:lnTo>
                  <a:pt x="2093" y="3078"/>
                </a:lnTo>
                <a:lnTo>
                  <a:pt x="2093" y="3079"/>
                </a:lnTo>
                <a:lnTo>
                  <a:pt x="2091" y="3079"/>
                </a:lnTo>
                <a:lnTo>
                  <a:pt x="2091" y="3081"/>
                </a:lnTo>
                <a:lnTo>
                  <a:pt x="2088" y="3083"/>
                </a:lnTo>
                <a:lnTo>
                  <a:pt x="2086" y="3083"/>
                </a:lnTo>
                <a:lnTo>
                  <a:pt x="2086" y="3084"/>
                </a:lnTo>
                <a:lnTo>
                  <a:pt x="2084" y="3084"/>
                </a:lnTo>
                <a:lnTo>
                  <a:pt x="2083" y="3083"/>
                </a:lnTo>
                <a:lnTo>
                  <a:pt x="2081" y="3084"/>
                </a:lnTo>
                <a:lnTo>
                  <a:pt x="2079" y="3084"/>
                </a:lnTo>
                <a:lnTo>
                  <a:pt x="2078" y="3086"/>
                </a:lnTo>
                <a:lnTo>
                  <a:pt x="2076" y="3088"/>
                </a:lnTo>
                <a:lnTo>
                  <a:pt x="2074" y="3086"/>
                </a:lnTo>
                <a:lnTo>
                  <a:pt x="2073" y="3084"/>
                </a:lnTo>
                <a:lnTo>
                  <a:pt x="2071" y="3084"/>
                </a:lnTo>
                <a:lnTo>
                  <a:pt x="2071" y="3086"/>
                </a:lnTo>
                <a:lnTo>
                  <a:pt x="2069" y="3086"/>
                </a:lnTo>
                <a:lnTo>
                  <a:pt x="2066" y="3084"/>
                </a:lnTo>
                <a:lnTo>
                  <a:pt x="2064" y="3084"/>
                </a:lnTo>
                <a:lnTo>
                  <a:pt x="2061" y="3084"/>
                </a:lnTo>
                <a:lnTo>
                  <a:pt x="2059" y="3084"/>
                </a:lnTo>
                <a:lnTo>
                  <a:pt x="2057" y="3084"/>
                </a:lnTo>
                <a:lnTo>
                  <a:pt x="2056" y="3084"/>
                </a:lnTo>
                <a:lnTo>
                  <a:pt x="2054" y="3084"/>
                </a:lnTo>
                <a:lnTo>
                  <a:pt x="2052" y="3084"/>
                </a:lnTo>
                <a:lnTo>
                  <a:pt x="2050" y="3086"/>
                </a:lnTo>
                <a:lnTo>
                  <a:pt x="2047" y="3086"/>
                </a:lnTo>
                <a:lnTo>
                  <a:pt x="2045" y="3088"/>
                </a:lnTo>
                <a:lnTo>
                  <a:pt x="2044" y="3090"/>
                </a:lnTo>
                <a:lnTo>
                  <a:pt x="2042" y="3091"/>
                </a:lnTo>
                <a:lnTo>
                  <a:pt x="2042" y="3093"/>
                </a:lnTo>
                <a:lnTo>
                  <a:pt x="2040" y="3096"/>
                </a:lnTo>
                <a:lnTo>
                  <a:pt x="2039" y="3096"/>
                </a:lnTo>
                <a:lnTo>
                  <a:pt x="2037" y="3096"/>
                </a:lnTo>
                <a:lnTo>
                  <a:pt x="2033" y="3095"/>
                </a:lnTo>
                <a:lnTo>
                  <a:pt x="2032" y="3095"/>
                </a:lnTo>
                <a:lnTo>
                  <a:pt x="2030" y="3095"/>
                </a:lnTo>
                <a:lnTo>
                  <a:pt x="2028" y="3096"/>
                </a:lnTo>
                <a:lnTo>
                  <a:pt x="2027" y="3096"/>
                </a:lnTo>
                <a:lnTo>
                  <a:pt x="2025" y="3096"/>
                </a:lnTo>
                <a:lnTo>
                  <a:pt x="2022" y="3098"/>
                </a:lnTo>
                <a:lnTo>
                  <a:pt x="2022" y="3100"/>
                </a:lnTo>
                <a:lnTo>
                  <a:pt x="2020" y="3100"/>
                </a:lnTo>
                <a:lnTo>
                  <a:pt x="2018" y="3100"/>
                </a:lnTo>
                <a:lnTo>
                  <a:pt x="2018" y="3101"/>
                </a:lnTo>
                <a:lnTo>
                  <a:pt x="2016" y="3101"/>
                </a:lnTo>
                <a:lnTo>
                  <a:pt x="2018" y="3101"/>
                </a:lnTo>
                <a:lnTo>
                  <a:pt x="2016" y="3101"/>
                </a:lnTo>
                <a:lnTo>
                  <a:pt x="2016" y="3105"/>
                </a:lnTo>
                <a:lnTo>
                  <a:pt x="2016" y="3107"/>
                </a:lnTo>
                <a:lnTo>
                  <a:pt x="2016" y="3108"/>
                </a:lnTo>
                <a:lnTo>
                  <a:pt x="2016" y="3110"/>
                </a:lnTo>
                <a:lnTo>
                  <a:pt x="2015" y="3113"/>
                </a:lnTo>
                <a:lnTo>
                  <a:pt x="2013" y="3113"/>
                </a:lnTo>
                <a:lnTo>
                  <a:pt x="2013" y="3117"/>
                </a:lnTo>
                <a:lnTo>
                  <a:pt x="2011" y="3117"/>
                </a:lnTo>
                <a:lnTo>
                  <a:pt x="2011" y="3120"/>
                </a:lnTo>
                <a:lnTo>
                  <a:pt x="2011" y="3122"/>
                </a:lnTo>
                <a:lnTo>
                  <a:pt x="2010" y="3125"/>
                </a:lnTo>
                <a:lnTo>
                  <a:pt x="2008" y="3125"/>
                </a:lnTo>
                <a:lnTo>
                  <a:pt x="2006" y="3129"/>
                </a:lnTo>
                <a:lnTo>
                  <a:pt x="2003" y="3130"/>
                </a:lnTo>
                <a:lnTo>
                  <a:pt x="2003" y="3132"/>
                </a:lnTo>
                <a:lnTo>
                  <a:pt x="1999" y="3132"/>
                </a:lnTo>
                <a:lnTo>
                  <a:pt x="1999" y="3134"/>
                </a:lnTo>
                <a:lnTo>
                  <a:pt x="1998" y="3136"/>
                </a:lnTo>
                <a:lnTo>
                  <a:pt x="1998" y="3137"/>
                </a:lnTo>
                <a:lnTo>
                  <a:pt x="1996" y="3137"/>
                </a:lnTo>
                <a:lnTo>
                  <a:pt x="1994" y="3139"/>
                </a:lnTo>
                <a:lnTo>
                  <a:pt x="1993" y="3139"/>
                </a:lnTo>
                <a:lnTo>
                  <a:pt x="1991" y="3142"/>
                </a:lnTo>
                <a:lnTo>
                  <a:pt x="1989" y="3142"/>
                </a:lnTo>
                <a:lnTo>
                  <a:pt x="1988" y="3144"/>
                </a:lnTo>
                <a:lnTo>
                  <a:pt x="1986" y="3146"/>
                </a:lnTo>
                <a:lnTo>
                  <a:pt x="1982" y="3147"/>
                </a:lnTo>
                <a:lnTo>
                  <a:pt x="1984" y="3149"/>
                </a:lnTo>
                <a:lnTo>
                  <a:pt x="1982" y="3151"/>
                </a:lnTo>
                <a:lnTo>
                  <a:pt x="1981" y="3151"/>
                </a:lnTo>
                <a:lnTo>
                  <a:pt x="1981" y="3154"/>
                </a:lnTo>
                <a:lnTo>
                  <a:pt x="1981" y="3156"/>
                </a:lnTo>
                <a:lnTo>
                  <a:pt x="1979" y="3158"/>
                </a:lnTo>
                <a:lnTo>
                  <a:pt x="1979" y="3159"/>
                </a:lnTo>
                <a:lnTo>
                  <a:pt x="1977" y="3159"/>
                </a:lnTo>
                <a:lnTo>
                  <a:pt x="1976" y="3161"/>
                </a:lnTo>
                <a:lnTo>
                  <a:pt x="1976" y="3164"/>
                </a:lnTo>
                <a:lnTo>
                  <a:pt x="1974" y="3166"/>
                </a:lnTo>
                <a:lnTo>
                  <a:pt x="1972" y="3166"/>
                </a:lnTo>
                <a:lnTo>
                  <a:pt x="1972" y="3168"/>
                </a:lnTo>
                <a:lnTo>
                  <a:pt x="1971" y="3170"/>
                </a:lnTo>
                <a:lnTo>
                  <a:pt x="1969" y="3170"/>
                </a:lnTo>
                <a:lnTo>
                  <a:pt x="1972" y="3173"/>
                </a:lnTo>
                <a:lnTo>
                  <a:pt x="1971" y="3175"/>
                </a:lnTo>
                <a:lnTo>
                  <a:pt x="1969" y="3176"/>
                </a:lnTo>
                <a:lnTo>
                  <a:pt x="1967" y="3178"/>
                </a:lnTo>
                <a:lnTo>
                  <a:pt x="1965" y="3180"/>
                </a:lnTo>
                <a:lnTo>
                  <a:pt x="1965" y="3181"/>
                </a:lnTo>
                <a:lnTo>
                  <a:pt x="1964" y="3181"/>
                </a:lnTo>
                <a:lnTo>
                  <a:pt x="1962" y="3183"/>
                </a:lnTo>
                <a:lnTo>
                  <a:pt x="1962" y="3181"/>
                </a:lnTo>
                <a:lnTo>
                  <a:pt x="1962" y="3180"/>
                </a:lnTo>
                <a:lnTo>
                  <a:pt x="1964" y="3178"/>
                </a:lnTo>
                <a:lnTo>
                  <a:pt x="1964" y="3176"/>
                </a:lnTo>
                <a:lnTo>
                  <a:pt x="1964" y="3175"/>
                </a:lnTo>
                <a:lnTo>
                  <a:pt x="1964" y="3173"/>
                </a:lnTo>
                <a:lnTo>
                  <a:pt x="1965" y="3171"/>
                </a:lnTo>
                <a:lnTo>
                  <a:pt x="1964" y="3170"/>
                </a:lnTo>
                <a:lnTo>
                  <a:pt x="1965" y="3168"/>
                </a:lnTo>
                <a:lnTo>
                  <a:pt x="1964" y="3166"/>
                </a:lnTo>
                <a:lnTo>
                  <a:pt x="1960" y="3164"/>
                </a:lnTo>
                <a:lnTo>
                  <a:pt x="1962" y="3163"/>
                </a:lnTo>
                <a:lnTo>
                  <a:pt x="1960" y="3163"/>
                </a:lnTo>
                <a:lnTo>
                  <a:pt x="1962" y="3161"/>
                </a:lnTo>
                <a:lnTo>
                  <a:pt x="1964" y="3159"/>
                </a:lnTo>
                <a:lnTo>
                  <a:pt x="1964" y="3158"/>
                </a:lnTo>
                <a:lnTo>
                  <a:pt x="1965" y="3158"/>
                </a:lnTo>
                <a:lnTo>
                  <a:pt x="1967" y="3156"/>
                </a:lnTo>
                <a:lnTo>
                  <a:pt x="1969" y="3154"/>
                </a:lnTo>
                <a:lnTo>
                  <a:pt x="1971" y="3153"/>
                </a:lnTo>
                <a:lnTo>
                  <a:pt x="1972" y="3151"/>
                </a:lnTo>
                <a:lnTo>
                  <a:pt x="1974" y="3149"/>
                </a:lnTo>
                <a:lnTo>
                  <a:pt x="1976" y="3147"/>
                </a:lnTo>
                <a:lnTo>
                  <a:pt x="1977" y="3146"/>
                </a:lnTo>
                <a:lnTo>
                  <a:pt x="1979" y="3144"/>
                </a:lnTo>
                <a:lnTo>
                  <a:pt x="1981" y="3144"/>
                </a:lnTo>
                <a:lnTo>
                  <a:pt x="1982" y="3144"/>
                </a:lnTo>
                <a:lnTo>
                  <a:pt x="1982" y="3141"/>
                </a:lnTo>
                <a:lnTo>
                  <a:pt x="1984" y="3139"/>
                </a:lnTo>
                <a:lnTo>
                  <a:pt x="1986" y="3141"/>
                </a:lnTo>
                <a:lnTo>
                  <a:pt x="1988" y="3139"/>
                </a:lnTo>
                <a:lnTo>
                  <a:pt x="1989" y="3137"/>
                </a:lnTo>
                <a:lnTo>
                  <a:pt x="1988" y="3136"/>
                </a:lnTo>
                <a:lnTo>
                  <a:pt x="1988" y="3134"/>
                </a:lnTo>
                <a:lnTo>
                  <a:pt x="1986" y="3132"/>
                </a:lnTo>
                <a:lnTo>
                  <a:pt x="1984" y="3132"/>
                </a:lnTo>
                <a:lnTo>
                  <a:pt x="1982" y="3134"/>
                </a:lnTo>
                <a:lnTo>
                  <a:pt x="1981" y="3134"/>
                </a:lnTo>
                <a:lnTo>
                  <a:pt x="1977" y="3136"/>
                </a:lnTo>
                <a:lnTo>
                  <a:pt x="1976" y="3136"/>
                </a:lnTo>
                <a:lnTo>
                  <a:pt x="1974" y="3139"/>
                </a:lnTo>
                <a:lnTo>
                  <a:pt x="1972" y="3139"/>
                </a:lnTo>
                <a:lnTo>
                  <a:pt x="1972" y="3141"/>
                </a:lnTo>
                <a:lnTo>
                  <a:pt x="1971" y="3141"/>
                </a:lnTo>
                <a:lnTo>
                  <a:pt x="1969" y="3139"/>
                </a:lnTo>
                <a:lnTo>
                  <a:pt x="1967" y="3139"/>
                </a:lnTo>
                <a:lnTo>
                  <a:pt x="1965" y="3141"/>
                </a:lnTo>
                <a:lnTo>
                  <a:pt x="1964" y="3141"/>
                </a:lnTo>
                <a:lnTo>
                  <a:pt x="1962" y="3141"/>
                </a:lnTo>
                <a:lnTo>
                  <a:pt x="1960" y="3142"/>
                </a:lnTo>
                <a:lnTo>
                  <a:pt x="1959" y="3142"/>
                </a:lnTo>
                <a:lnTo>
                  <a:pt x="1957" y="3142"/>
                </a:lnTo>
                <a:lnTo>
                  <a:pt x="1955" y="3142"/>
                </a:lnTo>
                <a:lnTo>
                  <a:pt x="1954" y="3144"/>
                </a:lnTo>
                <a:lnTo>
                  <a:pt x="1952" y="3144"/>
                </a:lnTo>
                <a:lnTo>
                  <a:pt x="1950" y="3144"/>
                </a:lnTo>
                <a:lnTo>
                  <a:pt x="1948" y="3144"/>
                </a:lnTo>
                <a:lnTo>
                  <a:pt x="1947" y="3142"/>
                </a:lnTo>
                <a:lnTo>
                  <a:pt x="1947" y="3139"/>
                </a:lnTo>
                <a:lnTo>
                  <a:pt x="1945" y="3137"/>
                </a:lnTo>
                <a:lnTo>
                  <a:pt x="1943" y="3136"/>
                </a:lnTo>
                <a:lnTo>
                  <a:pt x="1945" y="3134"/>
                </a:lnTo>
                <a:lnTo>
                  <a:pt x="1943" y="3136"/>
                </a:lnTo>
                <a:lnTo>
                  <a:pt x="1943" y="3132"/>
                </a:lnTo>
                <a:lnTo>
                  <a:pt x="1942" y="3132"/>
                </a:lnTo>
                <a:lnTo>
                  <a:pt x="1942" y="3134"/>
                </a:lnTo>
                <a:lnTo>
                  <a:pt x="1942" y="3132"/>
                </a:lnTo>
                <a:lnTo>
                  <a:pt x="1940" y="3132"/>
                </a:lnTo>
                <a:lnTo>
                  <a:pt x="1942" y="3132"/>
                </a:lnTo>
                <a:lnTo>
                  <a:pt x="1942" y="3130"/>
                </a:lnTo>
                <a:lnTo>
                  <a:pt x="1940" y="3130"/>
                </a:lnTo>
                <a:lnTo>
                  <a:pt x="1938" y="3129"/>
                </a:lnTo>
                <a:lnTo>
                  <a:pt x="1935" y="3130"/>
                </a:lnTo>
                <a:lnTo>
                  <a:pt x="1933" y="3130"/>
                </a:lnTo>
                <a:lnTo>
                  <a:pt x="1930" y="3130"/>
                </a:lnTo>
                <a:lnTo>
                  <a:pt x="1928" y="3130"/>
                </a:lnTo>
                <a:lnTo>
                  <a:pt x="1926" y="3132"/>
                </a:lnTo>
                <a:lnTo>
                  <a:pt x="1925" y="3132"/>
                </a:lnTo>
                <a:lnTo>
                  <a:pt x="1923" y="3132"/>
                </a:lnTo>
                <a:lnTo>
                  <a:pt x="1920" y="3132"/>
                </a:lnTo>
                <a:lnTo>
                  <a:pt x="1918" y="3132"/>
                </a:lnTo>
                <a:lnTo>
                  <a:pt x="1916" y="3134"/>
                </a:lnTo>
                <a:lnTo>
                  <a:pt x="1914" y="3132"/>
                </a:lnTo>
                <a:lnTo>
                  <a:pt x="1913" y="3132"/>
                </a:lnTo>
                <a:lnTo>
                  <a:pt x="1911" y="3132"/>
                </a:lnTo>
                <a:lnTo>
                  <a:pt x="1908" y="3132"/>
                </a:lnTo>
                <a:lnTo>
                  <a:pt x="1906" y="3132"/>
                </a:lnTo>
                <a:lnTo>
                  <a:pt x="1904" y="3130"/>
                </a:lnTo>
                <a:lnTo>
                  <a:pt x="1901" y="3130"/>
                </a:lnTo>
                <a:lnTo>
                  <a:pt x="1901" y="3132"/>
                </a:lnTo>
                <a:lnTo>
                  <a:pt x="1899" y="3130"/>
                </a:lnTo>
                <a:lnTo>
                  <a:pt x="1897" y="3130"/>
                </a:lnTo>
                <a:lnTo>
                  <a:pt x="1896" y="3132"/>
                </a:lnTo>
                <a:lnTo>
                  <a:pt x="1892" y="3130"/>
                </a:lnTo>
                <a:lnTo>
                  <a:pt x="1892" y="3129"/>
                </a:lnTo>
                <a:lnTo>
                  <a:pt x="1892" y="3127"/>
                </a:lnTo>
                <a:lnTo>
                  <a:pt x="1894" y="3127"/>
                </a:lnTo>
                <a:lnTo>
                  <a:pt x="1892" y="3125"/>
                </a:lnTo>
                <a:lnTo>
                  <a:pt x="1891" y="3125"/>
                </a:lnTo>
                <a:lnTo>
                  <a:pt x="1891" y="3122"/>
                </a:lnTo>
                <a:lnTo>
                  <a:pt x="1889" y="3122"/>
                </a:lnTo>
                <a:lnTo>
                  <a:pt x="1889" y="3125"/>
                </a:lnTo>
                <a:lnTo>
                  <a:pt x="1889" y="3127"/>
                </a:lnTo>
                <a:lnTo>
                  <a:pt x="1892" y="3127"/>
                </a:lnTo>
                <a:lnTo>
                  <a:pt x="1891" y="3127"/>
                </a:lnTo>
                <a:lnTo>
                  <a:pt x="1892" y="3129"/>
                </a:lnTo>
                <a:lnTo>
                  <a:pt x="1889" y="3129"/>
                </a:lnTo>
                <a:lnTo>
                  <a:pt x="1887" y="3130"/>
                </a:lnTo>
                <a:lnTo>
                  <a:pt x="1886" y="3132"/>
                </a:lnTo>
                <a:lnTo>
                  <a:pt x="1886" y="3134"/>
                </a:lnTo>
                <a:lnTo>
                  <a:pt x="1884" y="3134"/>
                </a:lnTo>
                <a:lnTo>
                  <a:pt x="1882" y="3136"/>
                </a:lnTo>
                <a:lnTo>
                  <a:pt x="1880" y="3137"/>
                </a:lnTo>
                <a:lnTo>
                  <a:pt x="1879" y="3139"/>
                </a:lnTo>
                <a:lnTo>
                  <a:pt x="1879" y="3141"/>
                </a:lnTo>
                <a:lnTo>
                  <a:pt x="1877" y="3142"/>
                </a:lnTo>
                <a:lnTo>
                  <a:pt x="1875" y="3142"/>
                </a:lnTo>
                <a:lnTo>
                  <a:pt x="1872" y="3142"/>
                </a:lnTo>
                <a:lnTo>
                  <a:pt x="1870" y="3142"/>
                </a:lnTo>
                <a:lnTo>
                  <a:pt x="1872" y="3142"/>
                </a:lnTo>
                <a:lnTo>
                  <a:pt x="1870" y="3142"/>
                </a:lnTo>
                <a:lnTo>
                  <a:pt x="1867" y="3144"/>
                </a:lnTo>
                <a:lnTo>
                  <a:pt x="1867" y="3141"/>
                </a:lnTo>
                <a:lnTo>
                  <a:pt x="1863" y="3139"/>
                </a:lnTo>
                <a:lnTo>
                  <a:pt x="1862" y="3137"/>
                </a:lnTo>
                <a:lnTo>
                  <a:pt x="1860" y="3137"/>
                </a:lnTo>
                <a:lnTo>
                  <a:pt x="1858" y="3139"/>
                </a:lnTo>
                <a:lnTo>
                  <a:pt x="1857" y="3139"/>
                </a:lnTo>
                <a:lnTo>
                  <a:pt x="1855" y="3141"/>
                </a:lnTo>
                <a:lnTo>
                  <a:pt x="1853" y="3142"/>
                </a:lnTo>
                <a:lnTo>
                  <a:pt x="1852" y="3144"/>
                </a:lnTo>
                <a:lnTo>
                  <a:pt x="1852" y="3146"/>
                </a:lnTo>
                <a:lnTo>
                  <a:pt x="1852" y="3147"/>
                </a:lnTo>
                <a:lnTo>
                  <a:pt x="1852" y="3149"/>
                </a:lnTo>
                <a:lnTo>
                  <a:pt x="1853" y="3149"/>
                </a:lnTo>
                <a:lnTo>
                  <a:pt x="1852" y="3149"/>
                </a:lnTo>
                <a:lnTo>
                  <a:pt x="1850" y="3151"/>
                </a:lnTo>
                <a:lnTo>
                  <a:pt x="1848" y="3153"/>
                </a:lnTo>
                <a:lnTo>
                  <a:pt x="1846" y="3154"/>
                </a:lnTo>
                <a:lnTo>
                  <a:pt x="1843" y="3158"/>
                </a:lnTo>
                <a:lnTo>
                  <a:pt x="1841" y="3159"/>
                </a:lnTo>
                <a:lnTo>
                  <a:pt x="1840" y="3159"/>
                </a:lnTo>
                <a:lnTo>
                  <a:pt x="1836" y="3159"/>
                </a:lnTo>
                <a:lnTo>
                  <a:pt x="1835" y="3159"/>
                </a:lnTo>
                <a:lnTo>
                  <a:pt x="1831" y="3158"/>
                </a:lnTo>
                <a:lnTo>
                  <a:pt x="1829" y="3158"/>
                </a:lnTo>
                <a:lnTo>
                  <a:pt x="1828" y="3158"/>
                </a:lnTo>
                <a:lnTo>
                  <a:pt x="1828" y="3156"/>
                </a:lnTo>
                <a:lnTo>
                  <a:pt x="1826" y="3158"/>
                </a:lnTo>
                <a:lnTo>
                  <a:pt x="1824" y="3159"/>
                </a:lnTo>
                <a:lnTo>
                  <a:pt x="1823" y="3159"/>
                </a:lnTo>
                <a:lnTo>
                  <a:pt x="1821" y="3161"/>
                </a:lnTo>
                <a:lnTo>
                  <a:pt x="1821" y="3164"/>
                </a:lnTo>
                <a:lnTo>
                  <a:pt x="1821" y="3166"/>
                </a:lnTo>
                <a:lnTo>
                  <a:pt x="1824" y="3166"/>
                </a:lnTo>
                <a:lnTo>
                  <a:pt x="1824" y="3168"/>
                </a:lnTo>
                <a:lnTo>
                  <a:pt x="1826" y="3170"/>
                </a:lnTo>
                <a:lnTo>
                  <a:pt x="1826" y="3171"/>
                </a:lnTo>
                <a:lnTo>
                  <a:pt x="1829" y="3171"/>
                </a:lnTo>
                <a:lnTo>
                  <a:pt x="1829" y="3173"/>
                </a:lnTo>
                <a:lnTo>
                  <a:pt x="1833" y="3173"/>
                </a:lnTo>
                <a:lnTo>
                  <a:pt x="1835" y="3173"/>
                </a:lnTo>
                <a:lnTo>
                  <a:pt x="1833" y="3175"/>
                </a:lnTo>
                <a:lnTo>
                  <a:pt x="1831" y="3176"/>
                </a:lnTo>
                <a:lnTo>
                  <a:pt x="1829" y="3176"/>
                </a:lnTo>
                <a:lnTo>
                  <a:pt x="1831" y="3180"/>
                </a:lnTo>
                <a:lnTo>
                  <a:pt x="1831" y="3181"/>
                </a:lnTo>
                <a:lnTo>
                  <a:pt x="1833" y="3183"/>
                </a:lnTo>
                <a:lnTo>
                  <a:pt x="1835" y="3183"/>
                </a:lnTo>
                <a:lnTo>
                  <a:pt x="1838" y="3185"/>
                </a:lnTo>
                <a:lnTo>
                  <a:pt x="1840" y="3185"/>
                </a:lnTo>
                <a:lnTo>
                  <a:pt x="1841" y="3183"/>
                </a:lnTo>
                <a:lnTo>
                  <a:pt x="1840" y="3180"/>
                </a:lnTo>
                <a:lnTo>
                  <a:pt x="1841" y="3178"/>
                </a:lnTo>
                <a:lnTo>
                  <a:pt x="1841" y="3180"/>
                </a:lnTo>
                <a:lnTo>
                  <a:pt x="1843" y="3181"/>
                </a:lnTo>
                <a:lnTo>
                  <a:pt x="1845" y="3183"/>
                </a:lnTo>
                <a:lnTo>
                  <a:pt x="1848" y="3183"/>
                </a:lnTo>
                <a:lnTo>
                  <a:pt x="1848" y="3185"/>
                </a:lnTo>
                <a:lnTo>
                  <a:pt x="1850" y="3183"/>
                </a:lnTo>
                <a:lnTo>
                  <a:pt x="1852" y="3185"/>
                </a:lnTo>
                <a:lnTo>
                  <a:pt x="1852" y="3187"/>
                </a:lnTo>
                <a:lnTo>
                  <a:pt x="1855" y="3187"/>
                </a:lnTo>
                <a:lnTo>
                  <a:pt x="1857" y="3187"/>
                </a:lnTo>
                <a:lnTo>
                  <a:pt x="1858" y="3190"/>
                </a:lnTo>
                <a:lnTo>
                  <a:pt x="1860" y="3192"/>
                </a:lnTo>
                <a:lnTo>
                  <a:pt x="1862" y="3192"/>
                </a:lnTo>
                <a:lnTo>
                  <a:pt x="1863" y="3193"/>
                </a:lnTo>
                <a:lnTo>
                  <a:pt x="1865" y="3195"/>
                </a:lnTo>
                <a:lnTo>
                  <a:pt x="1865" y="3197"/>
                </a:lnTo>
                <a:lnTo>
                  <a:pt x="1863" y="3198"/>
                </a:lnTo>
                <a:lnTo>
                  <a:pt x="1862" y="3198"/>
                </a:lnTo>
                <a:lnTo>
                  <a:pt x="1860" y="3198"/>
                </a:lnTo>
                <a:lnTo>
                  <a:pt x="1858" y="3195"/>
                </a:lnTo>
                <a:lnTo>
                  <a:pt x="1855" y="3193"/>
                </a:lnTo>
                <a:lnTo>
                  <a:pt x="1853" y="3192"/>
                </a:lnTo>
                <a:lnTo>
                  <a:pt x="1852" y="3190"/>
                </a:lnTo>
                <a:lnTo>
                  <a:pt x="1852" y="3188"/>
                </a:lnTo>
                <a:lnTo>
                  <a:pt x="1848" y="3188"/>
                </a:lnTo>
                <a:lnTo>
                  <a:pt x="1846" y="3190"/>
                </a:lnTo>
                <a:lnTo>
                  <a:pt x="1845" y="3188"/>
                </a:lnTo>
                <a:lnTo>
                  <a:pt x="1845" y="3190"/>
                </a:lnTo>
                <a:lnTo>
                  <a:pt x="1843" y="3188"/>
                </a:lnTo>
                <a:lnTo>
                  <a:pt x="1841" y="3188"/>
                </a:lnTo>
                <a:lnTo>
                  <a:pt x="1840" y="3187"/>
                </a:lnTo>
                <a:lnTo>
                  <a:pt x="1836" y="3185"/>
                </a:lnTo>
                <a:lnTo>
                  <a:pt x="1836" y="3187"/>
                </a:lnTo>
                <a:lnTo>
                  <a:pt x="1833" y="3187"/>
                </a:lnTo>
                <a:lnTo>
                  <a:pt x="1831" y="3187"/>
                </a:lnTo>
                <a:lnTo>
                  <a:pt x="1829" y="3188"/>
                </a:lnTo>
                <a:lnTo>
                  <a:pt x="1828" y="3188"/>
                </a:lnTo>
                <a:lnTo>
                  <a:pt x="1828" y="3190"/>
                </a:lnTo>
                <a:lnTo>
                  <a:pt x="1826" y="3190"/>
                </a:lnTo>
                <a:lnTo>
                  <a:pt x="1826" y="3193"/>
                </a:lnTo>
                <a:lnTo>
                  <a:pt x="1828" y="3195"/>
                </a:lnTo>
                <a:lnTo>
                  <a:pt x="1829" y="3197"/>
                </a:lnTo>
                <a:lnTo>
                  <a:pt x="1831" y="3197"/>
                </a:lnTo>
                <a:lnTo>
                  <a:pt x="1831" y="3198"/>
                </a:lnTo>
                <a:lnTo>
                  <a:pt x="1833" y="3198"/>
                </a:lnTo>
                <a:lnTo>
                  <a:pt x="1835" y="3200"/>
                </a:lnTo>
                <a:lnTo>
                  <a:pt x="1838" y="3200"/>
                </a:lnTo>
                <a:lnTo>
                  <a:pt x="1840" y="3200"/>
                </a:lnTo>
                <a:lnTo>
                  <a:pt x="1841" y="3202"/>
                </a:lnTo>
                <a:lnTo>
                  <a:pt x="1843" y="3202"/>
                </a:lnTo>
                <a:lnTo>
                  <a:pt x="1845" y="3204"/>
                </a:lnTo>
                <a:lnTo>
                  <a:pt x="1845" y="3205"/>
                </a:lnTo>
                <a:lnTo>
                  <a:pt x="1846" y="3207"/>
                </a:lnTo>
                <a:lnTo>
                  <a:pt x="1845" y="3207"/>
                </a:lnTo>
                <a:lnTo>
                  <a:pt x="1846" y="3207"/>
                </a:lnTo>
                <a:lnTo>
                  <a:pt x="1848" y="3209"/>
                </a:lnTo>
                <a:lnTo>
                  <a:pt x="1846" y="3212"/>
                </a:lnTo>
                <a:lnTo>
                  <a:pt x="1845" y="3214"/>
                </a:lnTo>
                <a:lnTo>
                  <a:pt x="1846" y="3214"/>
                </a:lnTo>
                <a:lnTo>
                  <a:pt x="1845" y="3214"/>
                </a:lnTo>
                <a:lnTo>
                  <a:pt x="1843" y="3215"/>
                </a:lnTo>
                <a:lnTo>
                  <a:pt x="1843" y="3214"/>
                </a:lnTo>
                <a:lnTo>
                  <a:pt x="1841" y="3214"/>
                </a:lnTo>
                <a:lnTo>
                  <a:pt x="1841" y="3212"/>
                </a:lnTo>
                <a:lnTo>
                  <a:pt x="1840" y="3212"/>
                </a:lnTo>
                <a:lnTo>
                  <a:pt x="1838" y="3210"/>
                </a:lnTo>
                <a:lnTo>
                  <a:pt x="1836" y="3210"/>
                </a:lnTo>
                <a:lnTo>
                  <a:pt x="1836" y="3209"/>
                </a:lnTo>
                <a:lnTo>
                  <a:pt x="1835" y="3207"/>
                </a:lnTo>
                <a:lnTo>
                  <a:pt x="1833" y="3205"/>
                </a:lnTo>
                <a:lnTo>
                  <a:pt x="1833" y="3204"/>
                </a:lnTo>
                <a:lnTo>
                  <a:pt x="1829" y="3204"/>
                </a:lnTo>
                <a:lnTo>
                  <a:pt x="1829" y="3202"/>
                </a:lnTo>
                <a:lnTo>
                  <a:pt x="1826" y="3200"/>
                </a:lnTo>
                <a:lnTo>
                  <a:pt x="1824" y="3198"/>
                </a:lnTo>
                <a:lnTo>
                  <a:pt x="1823" y="3198"/>
                </a:lnTo>
                <a:lnTo>
                  <a:pt x="1821" y="3198"/>
                </a:lnTo>
                <a:lnTo>
                  <a:pt x="1818" y="3198"/>
                </a:lnTo>
                <a:lnTo>
                  <a:pt x="1816" y="3197"/>
                </a:lnTo>
                <a:lnTo>
                  <a:pt x="1814" y="3197"/>
                </a:lnTo>
                <a:lnTo>
                  <a:pt x="1812" y="3197"/>
                </a:lnTo>
                <a:lnTo>
                  <a:pt x="1811" y="3197"/>
                </a:lnTo>
                <a:lnTo>
                  <a:pt x="1809" y="3198"/>
                </a:lnTo>
                <a:lnTo>
                  <a:pt x="1809" y="3200"/>
                </a:lnTo>
                <a:lnTo>
                  <a:pt x="1807" y="3202"/>
                </a:lnTo>
                <a:lnTo>
                  <a:pt x="1807" y="3204"/>
                </a:lnTo>
                <a:lnTo>
                  <a:pt x="1807" y="3202"/>
                </a:lnTo>
                <a:lnTo>
                  <a:pt x="1806" y="3200"/>
                </a:lnTo>
                <a:lnTo>
                  <a:pt x="1804" y="3202"/>
                </a:lnTo>
                <a:lnTo>
                  <a:pt x="1802" y="3200"/>
                </a:lnTo>
                <a:lnTo>
                  <a:pt x="1801" y="3200"/>
                </a:lnTo>
                <a:lnTo>
                  <a:pt x="1799" y="3200"/>
                </a:lnTo>
                <a:lnTo>
                  <a:pt x="1797" y="3200"/>
                </a:lnTo>
                <a:lnTo>
                  <a:pt x="1795" y="3198"/>
                </a:lnTo>
                <a:lnTo>
                  <a:pt x="1792" y="3198"/>
                </a:lnTo>
                <a:lnTo>
                  <a:pt x="1789" y="3197"/>
                </a:lnTo>
                <a:lnTo>
                  <a:pt x="1787" y="3195"/>
                </a:lnTo>
                <a:lnTo>
                  <a:pt x="1784" y="3195"/>
                </a:lnTo>
                <a:lnTo>
                  <a:pt x="1782" y="3195"/>
                </a:lnTo>
                <a:lnTo>
                  <a:pt x="1782" y="3193"/>
                </a:lnTo>
                <a:lnTo>
                  <a:pt x="1780" y="3192"/>
                </a:lnTo>
                <a:lnTo>
                  <a:pt x="1778" y="3188"/>
                </a:lnTo>
                <a:lnTo>
                  <a:pt x="1777" y="3188"/>
                </a:lnTo>
                <a:lnTo>
                  <a:pt x="1777" y="3187"/>
                </a:lnTo>
                <a:lnTo>
                  <a:pt x="1778" y="3187"/>
                </a:lnTo>
                <a:lnTo>
                  <a:pt x="1782" y="3187"/>
                </a:lnTo>
                <a:lnTo>
                  <a:pt x="1784" y="3185"/>
                </a:lnTo>
                <a:lnTo>
                  <a:pt x="1784" y="3183"/>
                </a:lnTo>
                <a:lnTo>
                  <a:pt x="1784" y="3181"/>
                </a:lnTo>
                <a:lnTo>
                  <a:pt x="1782" y="3180"/>
                </a:lnTo>
                <a:lnTo>
                  <a:pt x="1782" y="3178"/>
                </a:lnTo>
                <a:lnTo>
                  <a:pt x="1780" y="3176"/>
                </a:lnTo>
                <a:lnTo>
                  <a:pt x="1778" y="3176"/>
                </a:lnTo>
                <a:lnTo>
                  <a:pt x="1777" y="3178"/>
                </a:lnTo>
                <a:lnTo>
                  <a:pt x="1775" y="3178"/>
                </a:lnTo>
                <a:lnTo>
                  <a:pt x="1777" y="3178"/>
                </a:lnTo>
                <a:lnTo>
                  <a:pt x="1777" y="3180"/>
                </a:lnTo>
                <a:lnTo>
                  <a:pt x="1777" y="3181"/>
                </a:lnTo>
                <a:lnTo>
                  <a:pt x="1775" y="3183"/>
                </a:lnTo>
                <a:lnTo>
                  <a:pt x="1773" y="3183"/>
                </a:lnTo>
                <a:lnTo>
                  <a:pt x="1772" y="3183"/>
                </a:lnTo>
                <a:lnTo>
                  <a:pt x="1772" y="3187"/>
                </a:lnTo>
                <a:lnTo>
                  <a:pt x="1770" y="3187"/>
                </a:lnTo>
                <a:lnTo>
                  <a:pt x="1768" y="3187"/>
                </a:lnTo>
                <a:lnTo>
                  <a:pt x="1767" y="3188"/>
                </a:lnTo>
                <a:lnTo>
                  <a:pt x="1767" y="3187"/>
                </a:lnTo>
                <a:lnTo>
                  <a:pt x="1768" y="3190"/>
                </a:lnTo>
                <a:lnTo>
                  <a:pt x="1767" y="3190"/>
                </a:lnTo>
                <a:lnTo>
                  <a:pt x="1765" y="3190"/>
                </a:lnTo>
                <a:lnTo>
                  <a:pt x="1765" y="3192"/>
                </a:lnTo>
                <a:lnTo>
                  <a:pt x="1767" y="3193"/>
                </a:lnTo>
                <a:lnTo>
                  <a:pt x="1767" y="3195"/>
                </a:lnTo>
                <a:lnTo>
                  <a:pt x="1767" y="3197"/>
                </a:lnTo>
                <a:lnTo>
                  <a:pt x="1768" y="3197"/>
                </a:lnTo>
                <a:lnTo>
                  <a:pt x="1770" y="3198"/>
                </a:lnTo>
                <a:lnTo>
                  <a:pt x="1768" y="3200"/>
                </a:lnTo>
                <a:lnTo>
                  <a:pt x="1768" y="3202"/>
                </a:lnTo>
                <a:lnTo>
                  <a:pt x="1768" y="3204"/>
                </a:lnTo>
                <a:lnTo>
                  <a:pt x="1768" y="3205"/>
                </a:lnTo>
                <a:lnTo>
                  <a:pt x="1768" y="3209"/>
                </a:lnTo>
                <a:lnTo>
                  <a:pt x="1768" y="3210"/>
                </a:lnTo>
                <a:lnTo>
                  <a:pt x="1767" y="3212"/>
                </a:lnTo>
                <a:lnTo>
                  <a:pt x="1767" y="3214"/>
                </a:lnTo>
                <a:lnTo>
                  <a:pt x="1767" y="3215"/>
                </a:lnTo>
                <a:lnTo>
                  <a:pt x="1768" y="3217"/>
                </a:lnTo>
                <a:lnTo>
                  <a:pt x="1768" y="3221"/>
                </a:lnTo>
                <a:lnTo>
                  <a:pt x="1770" y="3222"/>
                </a:lnTo>
                <a:lnTo>
                  <a:pt x="1770" y="3224"/>
                </a:lnTo>
                <a:lnTo>
                  <a:pt x="1772" y="3224"/>
                </a:lnTo>
                <a:lnTo>
                  <a:pt x="1773" y="3226"/>
                </a:lnTo>
                <a:lnTo>
                  <a:pt x="1775" y="3226"/>
                </a:lnTo>
                <a:lnTo>
                  <a:pt x="1777" y="3227"/>
                </a:lnTo>
                <a:lnTo>
                  <a:pt x="1778" y="3229"/>
                </a:lnTo>
                <a:lnTo>
                  <a:pt x="1780" y="3232"/>
                </a:lnTo>
                <a:lnTo>
                  <a:pt x="1782" y="3232"/>
                </a:lnTo>
                <a:lnTo>
                  <a:pt x="1784" y="3234"/>
                </a:lnTo>
                <a:lnTo>
                  <a:pt x="1785" y="3236"/>
                </a:lnTo>
                <a:lnTo>
                  <a:pt x="1787" y="3236"/>
                </a:lnTo>
                <a:lnTo>
                  <a:pt x="1789" y="3238"/>
                </a:lnTo>
                <a:lnTo>
                  <a:pt x="1789" y="3239"/>
                </a:lnTo>
                <a:lnTo>
                  <a:pt x="1789" y="3241"/>
                </a:lnTo>
                <a:lnTo>
                  <a:pt x="1790" y="3244"/>
                </a:lnTo>
                <a:lnTo>
                  <a:pt x="1792" y="3248"/>
                </a:lnTo>
                <a:lnTo>
                  <a:pt x="1794" y="3249"/>
                </a:lnTo>
                <a:lnTo>
                  <a:pt x="1794" y="3251"/>
                </a:lnTo>
                <a:lnTo>
                  <a:pt x="1797" y="3251"/>
                </a:lnTo>
                <a:lnTo>
                  <a:pt x="1797" y="3253"/>
                </a:lnTo>
                <a:lnTo>
                  <a:pt x="1799" y="3253"/>
                </a:lnTo>
                <a:lnTo>
                  <a:pt x="1801" y="3253"/>
                </a:lnTo>
                <a:lnTo>
                  <a:pt x="1802" y="3253"/>
                </a:lnTo>
                <a:lnTo>
                  <a:pt x="1804" y="3255"/>
                </a:lnTo>
                <a:lnTo>
                  <a:pt x="1806" y="3258"/>
                </a:lnTo>
                <a:lnTo>
                  <a:pt x="1809" y="3260"/>
                </a:lnTo>
                <a:lnTo>
                  <a:pt x="1811" y="3261"/>
                </a:lnTo>
                <a:lnTo>
                  <a:pt x="1812" y="3263"/>
                </a:lnTo>
                <a:lnTo>
                  <a:pt x="1814" y="3265"/>
                </a:lnTo>
                <a:lnTo>
                  <a:pt x="1816" y="3266"/>
                </a:lnTo>
                <a:lnTo>
                  <a:pt x="1818" y="3268"/>
                </a:lnTo>
                <a:lnTo>
                  <a:pt x="1819" y="3270"/>
                </a:lnTo>
                <a:lnTo>
                  <a:pt x="1819" y="3272"/>
                </a:lnTo>
                <a:lnTo>
                  <a:pt x="1821" y="3272"/>
                </a:lnTo>
                <a:lnTo>
                  <a:pt x="1823" y="3275"/>
                </a:lnTo>
                <a:lnTo>
                  <a:pt x="1821" y="3277"/>
                </a:lnTo>
                <a:lnTo>
                  <a:pt x="1821" y="3278"/>
                </a:lnTo>
                <a:lnTo>
                  <a:pt x="1819" y="3278"/>
                </a:lnTo>
                <a:lnTo>
                  <a:pt x="1818" y="3280"/>
                </a:lnTo>
                <a:lnTo>
                  <a:pt x="1816" y="3280"/>
                </a:lnTo>
                <a:lnTo>
                  <a:pt x="1816" y="3282"/>
                </a:lnTo>
                <a:lnTo>
                  <a:pt x="1814" y="3282"/>
                </a:lnTo>
                <a:lnTo>
                  <a:pt x="1811" y="3284"/>
                </a:lnTo>
                <a:lnTo>
                  <a:pt x="1809" y="3284"/>
                </a:lnTo>
                <a:lnTo>
                  <a:pt x="1807" y="3284"/>
                </a:lnTo>
                <a:lnTo>
                  <a:pt x="1807" y="3282"/>
                </a:lnTo>
                <a:lnTo>
                  <a:pt x="1807" y="3280"/>
                </a:lnTo>
                <a:lnTo>
                  <a:pt x="1809" y="3280"/>
                </a:lnTo>
                <a:lnTo>
                  <a:pt x="1809" y="3278"/>
                </a:lnTo>
                <a:lnTo>
                  <a:pt x="1811" y="3280"/>
                </a:lnTo>
                <a:lnTo>
                  <a:pt x="1809" y="3282"/>
                </a:lnTo>
                <a:lnTo>
                  <a:pt x="1809" y="3284"/>
                </a:lnTo>
                <a:lnTo>
                  <a:pt x="1811" y="3282"/>
                </a:lnTo>
                <a:lnTo>
                  <a:pt x="1811" y="3280"/>
                </a:lnTo>
                <a:lnTo>
                  <a:pt x="1812" y="3280"/>
                </a:lnTo>
                <a:lnTo>
                  <a:pt x="1814" y="3280"/>
                </a:lnTo>
                <a:lnTo>
                  <a:pt x="1814" y="3278"/>
                </a:lnTo>
                <a:lnTo>
                  <a:pt x="1816" y="3278"/>
                </a:lnTo>
                <a:lnTo>
                  <a:pt x="1816" y="3277"/>
                </a:lnTo>
                <a:lnTo>
                  <a:pt x="1812" y="3275"/>
                </a:lnTo>
                <a:lnTo>
                  <a:pt x="1812" y="3272"/>
                </a:lnTo>
                <a:lnTo>
                  <a:pt x="1811" y="3270"/>
                </a:lnTo>
                <a:lnTo>
                  <a:pt x="1809" y="3268"/>
                </a:lnTo>
                <a:lnTo>
                  <a:pt x="1807" y="3268"/>
                </a:lnTo>
                <a:lnTo>
                  <a:pt x="1806" y="3268"/>
                </a:lnTo>
                <a:lnTo>
                  <a:pt x="1802" y="3268"/>
                </a:lnTo>
                <a:lnTo>
                  <a:pt x="1801" y="3266"/>
                </a:lnTo>
                <a:lnTo>
                  <a:pt x="1797" y="3266"/>
                </a:lnTo>
                <a:lnTo>
                  <a:pt x="1797" y="3270"/>
                </a:lnTo>
                <a:lnTo>
                  <a:pt x="1799" y="3270"/>
                </a:lnTo>
                <a:lnTo>
                  <a:pt x="1795" y="3272"/>
                </a:lnTo>
                <a:lnTo>
                  <a:pt x="1794" y="3272"/>
                </a:lnTo>
                <a:lnTo>
                  <a:pt x="1792" y="3273"/>
                </a:lnTo>
                <a:lnTo>
                  <a:pt x="1792" y="3275"/>
                </a:lnTo>
                <a:lnTo>
                  <a:pt x="1794" y="3278"/>
                </a:lnTo>
                <a:lnTo>
                  <a:pt x="1795" y="3280"/>
                </a:lnTo>
                <a:lnTo>
                  <a:pt x="1795" y="3282"/>
                </a:lnTo>
                <a:lnTo>
                  <a:pt x="1797" y="3280"/>
                </a:lnTo>
                <a:lnTo>
                  <a:pt x="1795" y="3278"/>
                </a:lnTo>
                <a:lnTo>
                  <a:pt x="1797" y="3278"/>
                </a:lnTo>
                <a:lnTo>
                  <a:pt x="1797" y="3280"/>
                </a:lnTo>
                <a:lnTo>
                  <a:pt x="1799" y="3280"/>
                </a:lnTo>
                <a:lnTo>
                  <a:pt x="1799" y="3282"/>
                </a:lnTo>
                <a:lnTo>
                  <a:pt x="1801" y="3284"/>
                </a:lnTo>
                <a:lnTo>
                  <a:pt x="1801" y="3282"/>
                </a:lnTo>
                <a:lnTo>
                  <a:pt x="1802" y="3284"/>
                </a:lnTo>
                <a:lnTo>
                  <a:pt x="1804" y="3284"/>
                </a:lnTo>
                <a:lnTo>
                  <a:pt x="1804" y="3287"/>
                </a:lnTo>
                <a:lnTo>
                  <a:pt x="1804" y="3289"/>
                </a:lnTo>
                <a:lnTo>
                  <a:pt x="1802" y="3289"/>
                </a:lnTo>
                <a:lnTo>
                  <a:pt x="1804" y="3290"/>
                </a:lnTo>
                <a:lnTo>
                  <a:pt x="1806" y="3290"/>
                </a:lnTo>
                <a:lnTo>
                  <a:pt x="1806" y="3289"/>
                </a:lnTo>
                <a:lnTo>
                  <a:pt x="1807" y="3287"/>
                </a:lnTo>
                <a:lnTo>
                  <a:pt x="1809" y="3287"/>
                </a:lnTo>
                <a:lnTo>
                  <a:pt x="1809" y="3289"/>
                </a:lnTo>
                <a:lnTo>
                  <a:pt x="1807" y="3290"/>
                </a:lnTo>
                <a:lnTo>
                  <a:pt x="1806" y="3292"/>
                </a:lnTo>
                <a:lnTo>
                  <a:pt x="1806" y="3294"/>
                </a:lnTo>
                <a:lnTo>
                  <a:pt x="1806" y="3295"/>
                </a:lnTo>
                <a:lnTo>
                  <a:pt x="1802" y="3295"/>
                </a:lnTo>
                <a:lnTo>
                  <a:pt x="1802" y="3297"/>
                </a:lnTo>
                <a:lnTo>
                  <a:pt x="1801" y="3297"/>
                </a:lnTo>
                <a:lnTo>
                  <a:pt x="1799" y="3297"/>
                </a:lnTo>
                <a:lnTo>
                  <a:pt x="1797" y="3301"/>
                </a:lnTo>
                <a:lnTo>
                  <a:pt x="1795" y="3302"/>
                </a:lnTo>
                <a:lnTo>
                  <a:pt x="1794" y="3302"/>
                </a:lnTo>
                <a:lnTo>
                  <a:pt x="1790" y="3302"/>
                </a:lnTo>
                <a:lnTo>
                  <a:pt x="1789" y="3302"/>
                </a:lnTo>
                <a:lnTo>
                  <a:pt x="1787" y="3301"/>
                </a:lnTo>
                <a:lnTo>
                  <a:pt x="1785" y="3301"/>
                </a:lnTo>
                <a:lnTo>
                  <a:pt x="1784" y="3302"/>
                </a:lnTo>
                <a:lnTo>
                  <a:pt x="1782" y="3304"/>
                </a:lnTo>
                <a:lnTo>
                  <a:pt x="1784" y="3304"/>
                </a:lnTo>
                <a:lnTo>
                  <a:pt x="1782" y="3306"/>
                </a:lnTo>
                <a:lnTo>
                  <a:pt x="1784" y="3304"/>
                </a:lnTo>
                <a:lnTo>
                  <a:pt x="1782" y="3306"/>
                </a:lnTo>
                <a:lnTo>
                  <a:pt x="1784" y="3307"/>
                </a:lnTo>
                <a:lnTo>
                  <a:pt x="1785" y="3307"/>
                </a:lnTo>
                <a:lnTo>
                  <a:pt x="1785" y="3306"/>
                </a:lnTo>
                <a:lnTo>
                  <a:pt x="1785" y="3307"/>
                </a:lnTo>
                <a:lnTo>
                  <a:pt x="1787" y="3306"/>
                </a:lnTo>
                <a:lnTo>
                  <a:pt x="1790" y="3306"/>
                </a:lnTo>
                <a:lnTo>
                  <a:pt x="1790" y="3304"/>
                </a:lnTo>
                <a:lnTo>
                  <a:pt x="1792" y="3306"/>
                </a:lnTo>
                <a:lnTo>
                  <a:pt x="1795" y="3309"/>
                </a:lnTo>
                <a:lnTo>
                  <a:pt x="1797" y="3309"/>
                </a:lnTo>
                <a:lnTo>
                  <a:pt x="1799" y="3307"/>
                </a:lnTo>
                <a:lnTo>
                  <a:pt x="1799" y="3309"/>
                </a:lnTo>
                <a:lnTo>
                  <a:pt x="1801" y="3309"/>
                </a:lnTo>
                <a:lnTo>
                  <a:pt x="1802" y="3307"/>
                </a:lnTo>
                <a:lnTo>
                  <a:pt x="1806" y="3309"/>
                </a:lnTo>
                <a:lnTo>
                  <a:pt x="1807" y="3309"/>
                </a:lnTo>
                <a:lnTo>
                  <a:pt x="1809" y="3309"/>
                </a:lnTo>
                <a:lnTo>
                  <a:pt x="1811" y="3307"/>
                </a:lnTo>
                <a:lnTo>
                  <a:pt x="1812" y="3311"/>
                </a:lnTo>
                <a:lnTo>
                  <a:pt x="1812" y="3312"/>
                </a:lnTo>
                <a:lnTo>
                  <a:pt x="1816" y="3316"/>
                </a:lnTo>
                <a:lnTo>
                  <a:pt x="1814" y="3316"/>
                </a:lnTo>
                <a:lnTo>
                  <a:pt x="1818" y="3314"/>
                </a:lnTo>
                <a:lnTo>
                  <a:pt x="1816" y="3316"/>
                </a:lnTo>
                <a:lnTo>
                  <a:pt x="1818" y="3316"/>
                </a:lnTo>
                <a:lnTo>
                  <a:pt x="1818" y="3314"/>
                </a:lnTo>
                <a:lnTo>
                  <a:pt x="1821" y="3314"/>
                </a:lnTo>
                <a:lnTo>
                  <a:pt x="1819" y="3312"/>
                </a:lnTo>
                <a:lnTo>
                  <a:pt x="1821" y="3311"/>
                </a:lnTo>
                <a:lnTo>
                  <a:pt x="1823" y="3312"/>
                </a:lnTo>
                <a:lnTo>
                  <a:pt x="1824" y="3314"/>
                </a:lnTo>
                <a:lnTo>
                  <a:pt x="1826" y="3312"/>
                </a:lnTo>
                <a:lnTo>
                  <a:pt x="1828" y="3312"/>
                </a:lnTo>
                <a:lnTo>
                  <a:pt x="1829" y="3316"/>
                </a:lnTo>
                <a:lnTo>
                  <a:pt x="1828" y="3318"/>
                </a:lnTo>
                <a:lnTo>
                  <a:pt x="1826" y="3319"/>
                </a:lnTo>
                <a:lnTo>
                  <a:pt x="1828" y="3318"/>
                </a:lnTo>
                <a:lnTo>
                  <a:pt x="1829" y="3321"/>
                </a:lnTo>
                <a:lnTo>
                  <a:pt x="1833" y="3321"/>
                </a:lnTo>
                <a:lnTo>
                  <a:pt x="1829" y="3321"/>
                </a:lnTo>
                <a:lnTo>
                  <a:pt x="1829" y="3323"/>
                </a:lnTo>
                <a:lnTo>
                  <a:pt x="1831" y="3323"/>
                </a:lnTo>
                <a:lnTo>
                  <a:pt x="1835" y="3321"/>
                </a:lnTo>
                <a:lnTo>
                  <a:pt x="1835" y="3323"/>
                </a:lnTo>
                <a:lnTo>
                  <a:pt x="1838" y="3321"/>
                </a:lnTo>
                <a:lnTo>
                  <a:pt x="1841" y="3323"/>
                </a:lnTo>
                <a:lnTo>
                  <a:pt x="1841" y="3319"/>
                </a:lnTo>
                <a:lnTo>
                  <a:pt x="1843" y="3319"/>
                </a:lnTo>
                <a:lnTo>
                  <a:pt x="1843" y="3321"/>
                </a:lnTo>
                <a:lnTo>
                  <a:pt x="1845" y="3323"/>
                </a:lnTo>
                <a:lnTo>
                  <a:pt x="1845" y="3324"/>
                </a:lnTo>
                <a:lnTo>
                  <a:pt x="1846" y="3324"/>
                </a:lnTo>
                <a:lnTo>
                  <a:pt x="1846" y="3326"/>
                </a:lnTo>
                <a:lnTo>
                  <a:pt x="1848" y="3326"/>
                </a:lnTo>
                <a:lnTo>
                  <a:pt x="1848" y="3328"/>
                </a:lnTo>
                <a:lnTo>
                  <a:pt x="1850" y="3329"/>
                </a:lnTo>
                <a:lnTo>
                  <a:pt x="1853" y="3331"/>
                </a:lnTo>
                <a:lnTo>
                  <a:pt x="1855" y="3329"/>
                </a:lnTo>
                <a:lnTo>
                  <a:pt x="1855" y="3331"/>
                </a:lnTo>
                <a:lnTo>
                  <a:pt x="1857" y="3329"/>
                </a:lnTo>
                <a:lnTo>
                  <a:pt x="1858" y="3331"/>
                </a:lnTo>
                <a:lnTo>
                  <a:pt x="1858" y="3329"/>
                </a:lnTo>
                <a:lnTo>
                  <a:pt x="1860" y="3331"/>
                </a:lnTo>
                <a:lnTo>
                  <a:pt x="1862" y="3331"/>
                </a:lnTo>
                <a:lnTo>
                  <a:pt x="1863" y="3331"/>
                </a:lnTo>
                <a:lnTo>
                  <a:pt x="1865" y="3331"/>
                </a:lnTo>
                <a:lnTo>
                  <a:pt x="1867" y="3331"/>
                </a:lnTo>
                <a:lnTo>
                  <a:pt x="1869" y="3333"/>
                </a:lnTo>
                <a:lnTo>
                  <a:pt x="1870" y="3335"/>
                </a:lnTo>
                <a:lnTo>
                  <a:pt x="1872" y="3335"/>
                </a:lnTo>
                <a:lnTo>
                  <a:pt x="1874" y="3335"/>
                </a:lnTo>
                <a:lnTo>
                  <a:pt x="1874" y="3336"/>
                </a:lnTo>
                <a:lnTo>
                  <a:pt x="1875" y="3336"/>
                </a:lnTo>
                <a:lnTo>
                  <a:pt x="1875" y="3338"/>
                </a:lnTo>
                <a:lnTo>
                  <a:pt x="1875" y="3340"/>
                </a:lnTo>
                <a:lnTo>
                  <a:pt x="1875" y="3341"/>
                </a:lnTo>
                <a:lnTo>
                  <a:pt x="1875" y="3340"/>
                </a:lnTo>
                <a:lnTo>
                  <a:pt x="1874" y="3341"/>
                </a:lnTo>
                <a:lnTo>
                  <a:pt x="1872" y="3341"/>
                </a:lnTo>
                <a:lnTo>
                  <a:pt x="1872" y="3343"/>
                </a:lnTo>
                <a:lnTo>
                  <a:pt x="1874" y="3346"/>
                </a:lnTo>
                <a:lnTo>
                  <a:pt x="1874" y="3348"/>
                </a:lnTo>
                <a:lnTo>
                  <a:pt x="1874" y="3350"/>
                </a:lnTo>
                <a:lnTo>
                  <a:pt x="1875" y="3352"/>
                </a:lnTo>
                <a:lnTo>
                  <a:pt x="1875" y="3355"/>
                </a:lnTo>
                <a:lnTo>
                  <a:pt x="1875" y="3357"/>
                </a:lnTo>
                <a:lnTo>
                  <a:pt x="1877" y="3357"/>
                </a:lnTo>
                <a:lnTo>
                  <a:pt x="1879" y="3358"/>
                </a:lnTo>
                <a:lnTo>
                  <a:pt x="1875" y="3358"/>
                </a:lnTo>
                <a:lnTo>
                  <a:pt x="1877" y="3360"/>
                </a:lnTo>
                <a:lnTo>
                  <a:pt x="1879" y="3360"/>
                </a:lnTo>
                <a:lnTo>
                  <a:pt x="1879" y="3362"/>
                </a:lnTo>
                <a:lnTo>
                  <a:pt x="1880" y="3362"/>
                </a:lnTo>
                <a:lnTo>
                  <a:pt x="1879" y="3363"/>
                </a:lnTo>
                <a:lnTo>
                  <a:pt x="1882" y="3365"/>
                </a:lnTo>
                <a:lnTo>
                  <a:pt x="1882" y="3367"/>
                </a:lnTo>
                <a:lnTo>
                  <a:pt x="1882" y="3369"/>
                </a:lnTo>
                <a:lnTo>
                  <a:pt x="1880" y="3370"/>
                </a:lnTo>
                <a:lnTo>
                  <a:pt x="1882" y="3372"/>
                </a:lnTo>
                <a:lnTo>
                  <a:pt x="1882" y="3374"/>
                </a:lnTo>
                <a:lnTo>
                  <a:pt x="1880" y="3375"/>
                </a:lnTo>
                <a:lnTo>
                  <a:pt x="1877" y="3375"/>
                </a:lnTo>
                <a:lnTo>
                  <a:pt x="1875" y="3375"/>
                </a:lnTo>
                <a:lnTo>
                  <a:pt x="1875" y="3372"/>
                </a:lnTo>
                <a:lnTo>
                  <a:pt x="1874" y="3372"/>
                </a:lnTo>
                <a:lnTo>
                  <a:pt x="1872" y="3370"/>
                </a:lnTo>
                <a:lnTo>
                  <a:pt x="1872" y="3369"/>
                </a:lnTo>
                <a:lnTo>
                  <a:pt x="1870" y="3367"/>
                </a:lnTo>
                <a:lnTo>
                  <a:pt x="1867" y="3365"/>
                </a:lnTo>
                <a:lnTo>
                  <a:pt x="1867" y="3367"/>
                </a:lnTo>
                <a:lnTo>
                  <a:pt x="1867" y="3365"/>
                </a:lnTo>
                <a:lnTo>
                  <a:pt x="1865" y="3367"/>
                </a:lnTo>
                <a:lnTo>
                  <a:pt x="1863" y="3367"/>
                </a:lnTo>
                <a:lnTo>
                  <a:pt x="1863" y="3369"/>
                </a:lnTo>
                <a:lnTo>
                  <a:pt x="1863" y="3367"/>
                </a:lnTo>
                <a:lnTo>
                  <a:pt x="1863" y="3365"/>
                </a:lnTo>
                <a:lnTo>
                  <a:pt x="1862" y="3365"/>
                </a:lnTo>
                <a:lnTo>
                  <a:pt x="1862" y="3363"/>
                </a:lnTo>
                <a:lnTo>
                  <a:pt x="1860" y="3363"/>
                </a:lnTo>
                <a:lnTo>
                  <a:pt x="1860" y="3360"/>
                </a:lnTo>
                <a:lnTo>
                  <a:pt x="1857" y="3360"/>
                </a:lnTo>
                <a:lnTo>
                  <a:pt x="1857" y="3358"/>
                </a:lnTo>
                <a:lnTo>
                  <a:pt x="1855" y="3360"/>
                </a:lnTo>
                <a:lnTo>
                  <a:pt x="1853" y="3360"/>
                </a:lnTo>
                <a:lnTo>
                  <a:pt x="1855" y="3358"/>
                </a:lnTo>
                <a:lnTo>
                  <a:pt x="1853" y="3360"/>
                </a:lnTo>
                <a:lnTo>
                  <a:pt x="1852" y="3358"/>
                </a:lnTo>
                <a:lnTo>
                  <a:pt x="1853" y="3358"/>
                </a:lnTo>
                <a:lnTo>
                  <a:pt x="1852" y="3358"/>
                </a:lnTo>
                <a:lnTo>
                  <a:pt x="1850" y="3358"/>
                </a:lnTo>
                <a:lnTo>
                  <a:pt x="1850" y="3357"/>
                </a:lnTo>
                <a:lnTo>
                  <a:pt x="1852" y="3355"/>
                </a:lnTo>
                <a:lnTo>
                  <a:pt x="1852" y="3353"/>
                </a:lnTo>
                <a:lnTo>
                  <a:pt x="1850" y="3353"/>
                </a:lnTo>
                <a:lnTo>
                  <a:pt x="1848" y="3353"/>
                </a:lnTo>
                <a:lnTo>
                  <a:pt x="1846" y="3353"/>
                </a:lnTo>
                <a:lnTo>
                  <a:pt x="1845" y="3355"/>
                </a:lnTo>
                <a:lnTo>
                  <a:pt x="1843" y="3355"/>
                </a:lnTo>
                <a:lnTo>
                  <a:pt x="1841" y="3358"/>
                </a:lnTo>
                <a:lnTo>
                  <a:pt x="1840" y="3358"/>
                </a:lnTo>
                <a:lnTo>
                  <a:pt x="1841" y="3360"/>
                </a:lnTo>
                <a:lnTo>
                  <a:pt x="1838" y="3360"/>
                </a:lnTo>
                <a:lnTo>
                  <a:pt x="1836" y="3360"/>
                </a:lnTo>
                <a:lnTo>
                  <a:pt x="1835" y="3360"/>
                </a:lnTo>
                <a:lnTo>
                  <a:pt x="1833" y="3360"/>
                </a:lnTo>
                <a:lnTo>
                  <a:pt x="1829" y="3363"/>
                </a:lnTo>
                <a:lnTo>
                  <a:pt x="1828" y="3363"/>
                </a:lnTo>
                <a:lnTo>
                  <a:pt x="1828" y="3365"/>
                </a:lnTo>
                <a:lnTo>
                  <a:pt x="1824" y="3367"/>
                </a:lnTo>
                <a:lnTo>
                  <a:pt x="1823" y="3367"/>
                </a:lnTo>
                <a:lnTo>
                  <a:pt x="1821" y="3367"/>
                </a:lnTo>
                <a:lnTo>
                  <a:pt x="1821" y="3369"/>
                </a:lnTo>
                <a:lnTo>
                  <a:pt x="1819" y="3370"/>
                </a:lnTo>
                <a:lnTo>
                  <a:pt x="1821" y="3372"/>
                </a:lnTo>
                <a:lnTo>
                  <a:pt x="1824" y="3372"/>
                </a:lnTo>
                <a:lnTo>
                  <a:pt x="1826" y="3372"/>
                </a:lnTo>
                <a:lnTo>
                  <a:pt x="1828" y="3372"/>
                </a:lnTo>
                <a:lnTo>
                  <a:pt x="1829" y="3374"/>
                </a:lnTo>
                <a:lnTo>
                  <a:pt x="1831" y="3374"/>
                </a:lnTo>
                <a:lnTo>
                  <a:pt x="1831" y="3375"/>
                </a:lnTo>
                <a:lnTo>
                  <a:pt x="1829" y="3377"/>
                </a:lnTo>
                <a:lnTo>
                  <a:pt x="1828" y="3377"/>
                </a:lnTo>
                <a:lnTo>
                  <a:pt x="1828" y="3379"/>
                </a:lnTo>
                <a:lnTo>
                  <a:pt x="1831" y="3380"/>
                </a:lnTo>
                <a:lnTo>
                  <a:pt x="1831" y="3384"/>
                </a:lnTo>
                <a:lnTo>
                  <a:pt x="1833" y="3384"/>
                </a:lnTo>
                <a:lnTo>
                  <a:pt x="1833" y="3387"/>
                </a:lnTo>
                <a:lnTo>
                  <a:pt x="1836" y="3389"/>
                </a:lnTo>
                <a:lnTo>
                  <a:pt x="1838" y="3389"/>
                </a:lnTo>
                <a:lnTo>
                  <a:pt x="1840" y="3391"/>
                </a:lnTo>
                <a:lnTo>
                  <a:pt x="1841" y="3391"/>
                </a:lnTo>
                <a:lnTo>
                  <a:pt x="1843" y="3391"/>
                </a:lnTo>
                <a:lnTo>
                  <a:pt x="1845" y="3389"/>
                </a:lnTo>
                <a:lnTo>
                  <a:pt x="1845" y="3387"/>
                </a:lnTo>
                <a:lnTo>
                  <a:pt x="1841" y="3386"/>
                </a:lnTo>
                <a:lnTo>
                  <a:pt x="1840" y="3386"/>
                </a:lnTo>
                <a:lnTo>
                  <a:pt x="1841" y="3386"/>
                </a:lnTo>
                <a:lnTo>
                  <a:pt x="1843" y="3384"/>
                </a:lnTo>
                <a:lnTo>
                  <a:pt x="1845" y="3384"/>
                </a:lnTo>
                <a:lnTo>
                  <a:pt x="1846" y="3386"/>
                </a:lnTo>
                <a:lnTo>
                  <a:pt x="1845" y="3387"/>
                </a:lnTo>
                <a:lnTo>
                  <a:pt x="1846" y="3389"/>
                </a:lnTo>
                <a:lnTo>
                  <a:pt x="1845" y="3389"/>
                </a:lnTo>
                <a:lnTo>
                  <a:pt x="1848" y="3391"/>
                </a:lnTo>
                <a:lnTo>
                  <a:pt x="1846" y="3392"/>
                </a:lnTo>
                <a:lnTo>
                  <a:pt x="1850" y="3392"/>
                </a:lnTo>
                <a:lnTo>
                  <a:pt x="1852" y="3392"/>
                </a:lnTo>
                <a:lnTo>
                  <a:pt x="1855" y="3394"/>
                </a:lnTo>
                <a:lnTo>
                  <a:pt x="1855" y="3396"/>
                </a:lnTo>
                <a:lnTo>
                  <a:pt x="1853" y="3397"/>
                </a:lnTo>
                <a:lnTo>
                  <a:pt x="1852" y="3399"/>
                </a:lnTo>
                <a:lnTo>
                  <a:pt x="1850" y="3399"/>
                </a:lnTo>
                <a:lnTo>
                  <a:pt x="1848" y="3399"/>
                </a:lnTo>
                <a:lnTo>
                  <a:pt x="1845" y="3399"/>
                </a:lnTo>
                <a:lnTo>
                  <a:pt x="1843" y="3401"/>
                </a:lnTo>
                <a:lnTo>
                  <a:pt x="1841" y="3401"/>
                </a:lnTo>
                <a:lnTo>
                  <a:pt x="1840" y="3403"/>
                </a:lnTo>
                <a:lnTo>
                  <a:pt x="1841" y="3403"/>
                </a:lnTo>
                <a:lnTo>
                  <a:pt x="1840" y="3404"/>
                </a:lnTo>
                <a:lnTo>
                  <a:pt x="1841" y="3404"/>
                </a:lnTo>
                <a:lnTo>
                  <a:pt x="1843" y="3406"/>
                </a:lnTo>
                <a:lnTo>
                  <a:pt x="1840" y="3406"/>
                </a:lnTo>
                <a:lnTo>
                  <a:pt x="1838" y="3406"/>
                </a:lnTo>
                <a:lnTo>
                  <a:pt x="1838" y="3408"/>
                </a:lnTo>
                <a:lnTo>
                  <a:pt x="1838" y="3409"/>
                </a:lnTo>
                <a:lnTo>
                  <a:pt x="1838" y="3411"/>
                </a:lnTo>
                <a:lnTo>
                  <a:pt x="1835" y="3409"/>
                </a:lnTo>
                <a:lnTo>
                  <a:pt x="1836" y="3408"/>
                </a:lnTo>
                <a:lnTo>
                  <a:pt x="1835" y="3409"/>
                </a:lnTo>
                <a:lnTo>
                  <a:pt x="1833" y="3408"/>
                </a:lnTo>
                <a:lnTo>
                  <a:pt x="1835" y="3408"/>
                </a:lnTo>
                <a:lnTo>
                  <a:pt x="1833" y="3406"/>
                </a:lnTo>
                <a:lnTo>
                  <a:pt x="1831" y="3408"/>
                </a:lnTo>
                <a:lnTo>
                  <a:pt x="1829" y="3404"/>
                </a:lnTo>
                <a:lnTo>
                  <a:pt x="1831" y="3404"/>
                </a:lnTo>
                <a:lnTo>
                  <a:pt x="1833" y="3401"/>
                </a:lnTo>
                <a:lnTo>
                  <a:pt x="1835" y="3401"/>
                </a:lnTo>
                <a:lnTo>
                  <a:pt x="1833" y="3399"/>
                </a:lnTo>
                <a:lnTo>
                  <a:pt x="1831" y="3399"/>
                </a:lnTo>
                <a:lnTo>
                  <a:pt x="1829" y="3399"/>
                </a:lnTo>
                <a:lnTo>
                  <a:pt x="1828" y="3397"/>
                </a:lnTo>
                <a:lnTo>
                  <a:pt x="1826" y="3399"/>
                </a:lnTo>
                <a:lnTo>
                  <a:pt x="1824" y="3399"/>
                </a:lnTo>
                <a:lnTo>
                  <a:pt x="1823" y="3396"/>
                </a:lnTo>
                <a:lnTo>
                  <a:pt x="1821" y="3396"/>
                </a:lnTo>
                <a:lnTo>
                  <a:pt x="1819" y="3396"/>
                </a:lnTo>
                <a:lnTo>
                  <a:pt x="1821" y="3396"/>
                </a:lnTo>
                <a:lnTo>
                  <a:pt x="1819" y="3396"/>
                </a:lnTo>
                <a:lnTo>
                  <a:pt x="1816" y="3397"/>
                </a:lnTo>
                <a:lnTo>
                  <a:pt x="1814" y="3397"/>
                </a:lnTo>
                <a:lnTo>
                  <a:pt x="1814" y="3396"/>
                </a:lnTo>
                <a:lnTo>
                  <a:pt x="1812" y="3394"/>
                </a:lnTo>
                <a:lnTo>
                  <a:pt x="1811" y="3392"/>
                </a:lnTo>
                <a:lnTo>
                  <a:pt x="1809" y="3394"/>
                </a:lnTo>
                <a:lnTo>
                  <a:pt x="1807" y="3396"/>
                </a:lnTo>
                <a:lnTo>
                  <a:pt x="1809" y="3397"/>
                </a:lnTo>
                <a:lnTo>
                  <a:pt x="1809" y="3399"/>
                </a:lnTo>
                <a:lnTo>
                  <a:pt x="1809" y="3401"/>
                </a:lnTo>
                <a:lnTo>
                  <a:pt x="1811" y="3403"/>
                </a:lnTo>
                <a:lnTo>
                  <a:pt x="1811" y="3404"/>
                </a:lnTo>
                <a:lnTo>
                  <a:pt x="1812" y="3404"/>
                </a:lnTo>
                <a:lnTo>
                  <a:pt x="1812" y="3408"/>
                </a:lnTo>
                <a:lnTo>
                  <a:pt x="1814" y="3408"/>
                </a:lnTo>
                <a:lnTo>
                  <a:pt x="1816" y="3409"/>
                </a:lnTo>
                <a:lnTo>
                  <a:pt x="1816" y="3411"/>
                </a:lnTo>
                <a:lnTo>
                  <a:pt x="1818" y="3411"/>
                </a:lnTo>
                <a:lnTo>
                  <a:pt x="1818" y="3413"/>
                </a:lnTo>
                <a:lnTo>
                  <a:pt x="1819" y="3414"/>
                </a:lnTo>
                <a:lnTo>
                  <a:pt x="1819" y="3416"/>
                </a:lnTo>
                <a:lnTo>
                  <a:pt x="1821" y="3416"/>
                </a:lnTo>
                <a:lnTo>
                  <a:pt x="1823" y="3418"/>
                </a:lnTo>
                <a:lnTo>
                  <a:pt x="1823" y="3420"/>
                </a:lnTo>
                <a:lnTo>
                  <a:pt x="1824" y="3420"/>
                </a:lnTo>
                <a:lnTo>
                  <a:pt x="1823" y="3421"/>
                </a:lnTo>
                <a:lnTo>
                  <a:pt x="1823" y="3423"/>
                </a:lnTo>
                <a:lnTo>
                  <a:pt x="1824" y="3425"/>
                </a:lnTo>
                <a:lnTo>
                  <a:pt x="1824" y="3426"/>
                </a:lnTo>
                <a:lnTo>
                  <a:pt x="1828" y="3425"/>
                </a:lnTo>
                <a:lnTo>
                  <a:pt x="1828" y="3426"/>
                </a:lnTo>
                <a:lnTo>
                  <a:pt x="1829" y="3426"/>
                </a:lnTo>
                <a:lnTo>
                  <a:pt x="1829" y="3428"/>
                </a:lnTo>
                <a:lnTo>
                  <a:pt x="1828" y="3428"/>
                </a:lnTo>
                <a:lnTo>
                  <a:pt x="1831" y="3430"/>
                </a:lnTo>
                <a:lnTo>
                  <a:pt x="1831" y="3432"/>
                </a:lnTo>
                <a:lnTo>
                  <a:pt x="1831" y="3433"/>
                </a:lnTo>
                <a:lnTo>
                  <a:pt x="1831" y="3435"/>
                </a:lnTo>
                <a:lnTo>
                  <a:pt x="1833" y="3437"/>
                </a:lnTo>
                <a:lnTo>
                  <a:pt x="1835" y="3438"/>
                </a:lnTo>
                <a:lnTo>
                  <a:pt x="1835" y="3440"/>
                </a:lnTo>
                <a:lnTo>
                  <a:pt x="1836" y="3442"/>
                </a:lnTo>
                <a:lnTo>
                  <a:pt x="1835" y="3442"/>
                </a:lnTo>
                <a:lnTo>
                  <a:pt x="1836" y="3443"/>
                </a:lnTo>
                <a:lnTo>
                  <a:pt x="1838" y="3445"/>
                </a:lnTo>
                <a:lnTo>
                  <a:pt x="1840" y="3447"/>
                </a:lnTo>
                <a:lnTo>
                  <a:pt x="1838" y="3447"/>
                </a:lnTo>
                <a:lnTo>
                  <a:pt x="1841" y="3447"/>
                </a:lnTo>
                <a:lnTo>
                  <a:pt x="1840" y="3449"/>
                </a:lnTo>
                <a:lnTo>
                  <a:pt x="1840" y="3452"/>
                </a:lnTo>
                <a:lnTo>
                  <a:pt x="1838" y="3450"/>
                </a:lnTo>
                <a:lnTo>
                  <a:pt x="1836" y="3452"/>
                </a:lnTo>
                <a:lnTo>
                  <a:pt x="1838" y="3454"/>
                </a:lnTo>
                <a:lnTo>
                  <a:pt x="1838" y="3455"/>
                </a:lnTo>
                <a:lnTo>
                  <a:pt x="1838" y="3457"/>
                </a:lnTo>
                <a:lnTo>
                  <a:pt x="1838" y="3459"/>
                </a:lnTo>
                <a:lnTo>
                  <a:pt x="1840" y="3460"/>
                </a:lnTo>
                <a:lnTo>
                  <a:pt x="1841" y="3462"/>
                </a:lnTo>
                <a:lnTo>
                  <a:pt x="1843" y="3462"/>
                </a:lnTo>
                <a:lnTo>
                  <a:pt x="1845" y="3462"/>
                </a:lnTo>
                <a:lnTo>
                  <a:pt x="1846" y="3464"/>
                </a:lnTo>
                <a:lnTo>
                  <a:pt x="1845" y="3467"/>
                </a:lnTo>
                <a:lnTo>
                  <a:pt x="1848" y="3467"/>
                </a:lnTo>
                <a:lnTo>
                  <a:pt x="1848" y="3469"/>
                </a:lnTo>
                <a:lnTo>
                  <a:pt x="1850" y="3469"/>
                </a:lnTo>
                <a:lnTo>
                  <a:pt x="1850" y="3471"/>
                </a:lnTo>
                <a:lnTo>
                  <a:pt x="1846" y="3471"/>
                </a:lnTo>
                <a:lnTo>
                  <a:pt x="1846" y="3472"/>
                </a:lnTo>
                <a:lnTo>
                  <a:pt x="1843" y="3472"/>
                </a:lnTo>
                <a:lnTo>
                  <a:pt x="1841" y="3469"/>
                </a:lnTo>
                <a:lnTo>
                  <a:pt x="1841" y="3467"/>
                </a:lnTo>
                <a:lnTo>
                  <a:pt x="1840" y="3466"/>
                </a:lnTo>
                <a:lnTo>
                  <a:pt x="1838" y="3466"/>
                </a:lnTo>
                <a:lnTo>
                  <a:pt x="1836" y="3467"/>
                </a:lnTo>
                <a:lnTo>
                  <a:pt x="1835" y="3466"/>
                </a:lnTo>
                <a:lnTo>
                  <a:pt x="1833" y="3464"/>
                </a:lnTo>
                <a:lnTo>
                  <a:pt x="1831" y="3462"/>
                </a:lnTo>
                <a:lnTo>
                  <a:pt x="1829" y="3462"/>
                </a:lnTo>
                <a:lnTo>
                  <a:pt x="1829" y="3460"/>
                </a:lnTo>
                <a:lnTo>
                  <a:pt x="1829" y="3459"/>
                </a:lnTo>
                <a:lnTo>
                  <a:pt x="1828" y="3459"/>
                </a:lnTo>
                <a:lnTo>
                  <a:pt x="1826" y="3457"/>
                </a:lnTo>
                <a:lnTo>
                  <a:pt x="1826" y="3459"/>
                </a:lnTo>
                <a:lnTo>
                  <a:pt x="1824" y="3459"/>
                </a:lnTo>
                <a:lnTo>
                  <a:pt x="1824" y="3455"/>
                </a:lnTo>
                <a:lnTo>
                  <a:pt x="1823" y="3452"/>
                </a:lnTo>
                <a:lnTo>
                  <a:pt x="1823" y="3450"/>
                </a:lnTo>
                <a:lnTo>
                  <a:pt x="1821" y="3449"/>
                </a:lnTo>
                <a:lnTo>
                  <a:pt x="1819" y="3449"/>
                </a:lnTo>
                <a:lnTo>
                  <a:pt x="1816" y="3450"/>
                </a:lnTo>
                <a:lnTo>
                  <a:pt x="1814" y="3450"/>
                </a:lnTo>
                <a:lnTo>
                  <a:pt x="1812" y="3450"/>
                </a:lnTo>
                <a:lnTo>
                  <a:pt x="1811" y="3452"/>
                </a:lnTo>
                <a:lnTo>
                  <a:pt x="1809" y="3454"/>
                </a:lnTo>
                <a:lnTo>
                  <a:pt x="1811" y="3455"/>
                </a:lnTo>
                <a:lnTo>
                  <a:pt x="1809" y="3457"/>
                </a:lnTo>
                <a:lnTo>
                  <a:pt x="1807" y="3459"/>
                </a:lnTo>
                <a:lnTo>
                  <a:pt x="1807" y="3460"/>
                </a:lnTo>
                <a:lnTo>
                  <a:pt x="1809" y="3460"/>
                </a:lnTo>
                <a:lnTo>
                  <a:pt x="1811" y="3462"/>
                </a:lnTo>
                <a:lnTo>
                  <a:pt x="1809" y="3462"/>
                </a:lnTo>
                <a:lnTo>
                  <a:pt x="1807" y="3460"/>
                </a:lnTo>
                <a:lnTo>
                  <a:pt x="1807" y="3462"/>
                </a:lnTo>
                <a:lnTo>
                  <a:pt x="1809" y="3464"/>
                </a:lnTo>
                <a:lnTo>
                  <a:pt x="1809" y="3466"/>
                </a:lnTo>
                <a:lnTo>
                  <a:pt x="1807" y="3466"/>
                </a:lnTo>
                <a:lnTo>
                  <a:pt x="1806" y="3466"/>
                </a:lnTo>
                <a:lnTo>
                  <a:pt x="1806" y="3467"/>
                </a:lnTo>
                <a:lnTo>
                  <a:pt x="1807" y="3469"/>
                </a:lnTo>
                <a:lnTo>
                  <a:pt x="1807" y="3472"/>
                </a:lnTo>
                <a:lnTo>
                  <a:pt x="1809" y="3474"/>
                </a:lnTo>
                <a:lnTo>
                  <a:pt x="1809" y="3477"/>
                </a:lnTo>
                <a:lnTo>
                  <a:pt x="1809" y="3479"/>
                </a:lnTo>
                <a:lnTo>
                  <a:pt x="1811" y="3481"/>
                </a:lnTo>
                <a:lnTo>
                  <a:pt x="1809" y="3483"/>
                </a:lnTo>
                <a:lnTo>
                  <a:pt x="1809" y="3481"/>
                </a:lnTo>
                <a:lnTo>
                  <a:pt x="1809" y="3479"/>
                </a:lnTo>
                <a:lnTo>
                  <a:pt x="1807" y="3477"/>
                </a:lnTo>
                <a:lnTo>
                  <a:pt x="1806" y="3477"/>
                </a:lnTo>
                <a:lnTo>
                  <a:pt x="1804" y="3476"/>
                </a:lnTo>
                <a:lnTo>
                  <a:pt x="1804" y="3477"/>
                </a:lnTo>
                <a:lnTo>
                  <a:pt x="1802" y="3476"/>
                </a:lnTo>
                <a:lnTo>
                  <a:pt x="1801" y="3474"/>
                </a:lnTo>
                <a:lnTo>
                  <a:pt x="1801" y="3471"/>
                </a:lnTo>
                <a:lnTo>
                  <a:pt x="1802" y="3472"/>
                </a:lnTo>
                <a:lnTo>
                  <a:pt x="1802" y="3469"/>
                </a:lnTo>
                <a:lnTo>
                  <a:pt x="1801" y="3469"/>
                </a:lnTo>
                <a:lnTo>
                  <a:pt x="1802" y="3467"/>
                </a:lnTo>
                <a:lnTo>
                  <a:pt x="1801" y="3467"/>
                </a:lnTo>
                <a:lnTo>
                  <a:pt x="1801" y="3466"/>
                </a:lnTo>
                <a:lnTo>
                  <a:pt x="1799" y="3466"/>
                </a:lnTo>
                <a:lnTo>
                  <a:pt x="1801" y="3464"/>
                </a:lnTo>
                <a:lnTo>
                  <a:pt x="1799" y="3464"/>
                </a:lnTo>
                <a:lnTo>
                  <a:pt x="1801" y="3460"/>
                </a:lnTo>
                <a:lnTo>
                  <a:pt x="1797" y="3460"/>
                </a:lnTo>
                <a:lnTo>
                  <a:pt x="1797" y="3459"/>
                </a:lnTo>
                <a:lnTo>
                  <a:pt x="1795" y="3455"/>
                </a:lnTo>
                <a:lnTo>
                  <a:pt x="1794" y="3455"/>
                </a:lnTo>
                <a:lnTo>
                  <a:pt x="1794" y="3454"/>
                </a:lnTo>
                <a:lnTo>
                  <a:pt x="1790" y="3452"/>
                </a:lnTo>
                <a:lnTo>
                  <a:pt x="1790" y="3450"/>
                </a:lnTo>
                <a:lnTo>
                  <a:pt x="1789" y="3449"/>
                </a:lnTo>
                <a:lnTo>
                  <a:pt x="1787" y="3447"/>
                </a:lnTo>
                <a:lnTo>
                  <a:pt x="1785" y="3449"/>
                </a:lnTo>
                <a:lnTo>
                  <a:pt x="1782" y="3447"/>
                </a:lnTo>
                <a:lnTo>
                  <a:pt x="1784" y="3447"/>
                </a:lnTo>
                <a:lnTo>
                  <a:pt x="1784" y="3443"/>
                </a:lnTo>
                <a:lnTo>
                  <a:pt x="1784" y="3442"/>
                </a:lnTo>
                <a:lnTo>
                  <a:pt x="1782" y="3440"/>
                </a:lnTo>
                <a:lnTo>
                  <a:pt x="1780" y="3440"/>
                </a:lnTo>
                <a:lnTo>
                  <a:pt x="1778" y="3440"/>
                </a:lnTo>
                <a:lnTo>
                  <a:pt x="1777" y="3440"/>
                </a:lnTo>
                <a:lnTo>
                  <a:pt x="1775" y="3442"/>
                </a:lnTo>
                <a:lnTo>
                  <a:pt x="1773" y="3442"/>
                </a:lnTo>
                <a:lnTo>
                  <a:pt x="1772" y="3443"/>
                </a:lnTo>
                <a:lnTo>
                  <a:pt x="1770" y="3445"/>
                </a:lnTo>
                <a:lnTo>
                  <a:pt x="1770" y="3447"/>
                </a:lnTo>
                <a:lnTo>
                  <a:pt x="1772" y="3449"/>
                </a:lnTo>
                <a:lnTo>
                  <a:pt x="1772" y="3450"/>
                </a:lnTo>
                <a:lnTo>
                  <a:pt x="1772" y="3454"/>
                </a:lnTo>
                <a:lnTo>
                  <a:pt x="1772" y="3455"/>
                </a:lnTo>
                <a:lnTo>
                  <a:pt x="1773" y="3457"/>
                </a:lnTo>
                <a:lnTo>
                  <a:pt x="1775" y="3457"/>
                </a:lnTo>
                <a:lnTo>
                  <a:pt x="1773" y="3459"/>
                </a:lnTo>
                <a:lnTo>
                  <a:pt x="1773" y="3460"/>
                </a:lnTo>
                <a:lnTo>
                  <a:pt x="1772" y="3462"/>
                </a:lnTo>
                <a:lnTo>
                  <a:pt x="1770" y="3464"/>
                </a:lnTo>
                <a:lnTo>
                  <a:pt x="1770" y="3462"/>
                </a:lnTo>
                <a:lnTo>
                  <a:pt x="1768" y="3460"/>
                </a:lnTo>
                <a:lnTo>
                  <a:pt x="1767" y="3459"/>
                </a:lnTo>
                <a:lnTo>
                  <a:pt x="1763" y="3459"/>
                </a:lnTo>
                <a:lnTo>
                  <a:pt x="1763" y="3460"/>
                </a:lnTo>
                <a:lnTo>
                  <a:pt x="1761" y="3459"/>
                </a:lnTo>
                <a:lnTo>
                  <a:pt x="1760" y="3459"/>
                </a:lnTo>
                <a:lnTo>
                  <a:pt x="1758" y="3457"/>
                </a:lnTo>
                <a:lnTo>
                  <a:pt x="1758" y="3455"/>
                </a:lnTo>
                <a:lnTo>
                  <a:pt x="1758" y="3454"/>
                </a:lnTo>
                <a:lnTo>
                  <a:pt x="1758" y="3452"/>
                </a:lnTo>
                <a:lnTo>
                  <a:pt x="1758" y="3450"/>
                </a:lnTo>
                <a:lnTo>
                  <a:pt x="1756" y="3449"/>
                </a:lnTo>
                <a:lnTo>
                  <a:pt x="1755" y="3450"/>
                </a:lnTo>
                <a:lnTo>
                  <a:pt x="1756" y="3449"/>
                </a:lnTo>
                <a:lnTo>
                  <a:pt x="1755" y="3445"/>
                </a:lnTo>
                <a:lnTo>
                  <a:pt x="1753" y="3445"/>
                </a:lnTo>
                <a:lnTo>
                  <a:pt x="1751" y="3443"/>
                </a:lnTo>
                <a:lnTo>
                  <a:pt x="1750" y="3442"/>
                </a:lnTo>
                <a:lnTo>
                  <a:pt x="1750" y="3440"/>
                </a:lnTo>
                <a:lnTo>
                  <a:pt x="1750" y="3438"/>
                </a:lnTo>
                <a:lnTo>
                  <a:pt x="1748" y="3435"/>
                </a:lnTo>
                <a:lnTo>
                  <a:pt x="1748" y="3433"/>
                </a:lnTo>
                <a:lnTo>
                  <a:pt x="1750" y="3432"/>
                </a:lnTo>
                <a:lnTo>
                  <a:pt x="1751" y="3430"/>
                </a:lnTo>
                <a:lnTo>
                  <a:pt x="1753" y="3428"/>
                </a:lnTo>
                <a:lnTo>
                  <a:pt x="1753" y="3425"/>
                </a:lnTo>
                <a:lnTo>
                  <a:pt x="1753" y="3423"/>
                </a:lnTo>
                <a:lnTo>
                  <a:pt x="1753" y="3420"/>
                </a:lnTo>
                <a:lnTo>
                  <a:pt x="1751" y="3418"/>
                </a:lnTo>
                <a:lnTo>
                  <a:pt x="1750" y="3416"/>
                </a:lnTo>
                <a:lnTo>
                  <a:pt x="1748" y="3413"/>
                </a:lnTo>
                <a:lnTo>
                  <a:pt x="1746" y="3411"/>
                </a:lnTo>
                <a:lnTo>
                  <a:pt x="1744" y="3409"/>
                </a:lnTo>
                <a:lnTo>
                  <a:pt x="1743" y="3408"/>
                </a:lnTo>
                <a:lnTo>
                  <a:pt x="1741" y="3406"/>
                </a:lnTo>
                <a:lnTo>
                  <a:pt x="1738" y="3404"/>
                </a:lnTo>
                <a:lnTo>
                  <a:pt x="1736" y="3404"/>
                </a:lnTo>
                <a:lnTo>
                  <a:pt x="1733" y="3403"/>
                </a:lnTo>
                <a:lnTo>
                  <a:pt x="1731" y="3401"/>
                </a:lnTo>
                <a:lnTo>
                  <a:pt x="1729" y="3401"/>
                </a:lnTo>
                <a:lnTo>
                  <a:pt x="1727" y="3404"/>
                </a:lnTo>
                <a:lnTo>
                  <a:pt x="1727" y="3401"/>
                </a:lnTo>
                <a:lnTo>
                  <a:pt x="1727" y="3399"/>
                </a:lnTo>
                <a:lnTo>
                  <a:pt x="1727" y="3397"/>
                </a:lnTo>
                <a:lnTo>
                  <a:pt x="1726" y="3396"/>
                </a:lnTo>
                <a:lnTo>
                  <a:pt x="1724" y="3394"/>
                </a:lnTo>
                <a:lnTo>
                  <a:pt x="1724" y="3392"/>
                </a:lnTo>
                <a:lnTo>
                  <a:pt x="1721" y="3392"/>
                </a:lnTo>
                <a:lnTo>
                  <a:pt x="1719" y="3391"/>
                </a:lnTo>
                <a:lnTo>
                  <a:pt x="1717" y="3391"/>
                </a:lnTo>
                <a:lnTo>
                  <a:pt x="1716" y="3391"/>
                </a:lnTo>
                <a:lnTo>
                  <a:pt x="1714" y="3391"/>
                </a:lnTo>
                <a:lnTo>
                  <a:pt x="1714" y="3389"/>
                </a:lnTo>
                <a:lnTo>
                  <a:pt x="1714" y="3386"/>
                </a:lnTo>
                <a:lnTo>
                  <a:pt x="1714" y="3384"/>
                </a:lnTo>
                <a:lnTo>
                  <a:pt x="1716" y="3384"/>
                </a:lnTo>
                <a:lnTo>
                  <a:pt x="1717" y="3384"/>
                </a:lnTo>
                <a:lnTo>
                  <a:pt x="1719" y="3382"/>
                </a:lnTo>
                <a:lnTo>
                  <a:pt x="1721" y="3380"/>
                </a:lnTo>
                <a:lnTo>
                  <a:pt x="1722" y="3377"/>
                </a:lnTo>
                <a:lnTo>
                  <a:pt x="1722" y="3379"/>
                </a:lnTo>
                <a:lnTo>
                  <a:pt x="1724" y="3377"/>
                </a:lnTo>
                <a:lnTo>
                  <a:pt x="1722" y="3377"/>
                </a:lnTo>
                <a:lnTo>
                  <a:pt x="1722" y="3375"/>
                </a:lnTo>
                <a:lnTo>
                  <a:pt x="1724" y="3374"/>
                </a:lnTo>
                <a:lnTo>
                  <a:pt x="1724" y="3372"/>
                </a:lnTo>
                <a:lnTo>
                  <a:pt x="1724" y="3370"/>
                </a:lnTo>
                <a:lnTo>
                  <a:pt x="1726" y="3369"/>
                </a:lnTo>
                <a:lnTo>
                  <a:pt x="1726" y="3367"/>
                </a:lnTo>
                <a:lnTo>
                  <a:pt x="1724" y="3365"/>
                </a:lnTo>
                <a:lnTo>
                  <a:pt x="1724" y="3362"/>
                </a:lnTo>
                <a:lnTo>
                  <a:pt x="1727" y="3363"/>
                </a:lnTo>
                <a:lnTo>
                  <a:pt x="1729" y="3362"/>
                </a:lnTo>
                <a:lnTo>
                  <a:pt x="1731" y="3363"/>
                </a:lnTo>
                <a:lnTo>
                  <a:pt x="1734" y="3365"/>
                </a:lnTo>
                <a:lnTo>
                  <a:pt x="1736" y="3365"/>
                </a:lnTo>
                <a:lnTo>
                  <a:pt x="1739" y="3365"/>
                </a:lnTo>
                <a:lnTo>
                  <a:pt x="1739" y="3363"/>
                </a:lnTo>
                <a:lnTo>
                  <a:pt x="1743" y="3363"/>
                </a:lnTo>
                <a:lnTo>
                  <a:pt x="1743" y="3362"/>
                </a:lnTo>
                <a:lnTo>
                  <a:pt x="1744" y="3358"/>
                </a:lnTo>
                <a:lnTo>
                  <a:pt x="1744" y="3357"/>
                </a:lnTo>
                <a:lnTo>
                  <a:pt x="1744" y="3353"/>
                </a:lnTo>
                <a:lnTo>
                  <a:pt x="1746" y="3352"/>
                </a:lnTo>
                <a:lnTo>
                  <a:pt x="1750" y="3350"/>
                </a:lnTo>
                <a:lnTo>
                  <a:pt x="1750" y="3348"/>
                </a:lnTo>
                <a:lnTo>
                  <a:pt x="1751" y="3350"/>
                </a:lnTo>
                <a:lnTo>
                  <a:pt x="1753" y="3350"/>
                </a:lnTo>
                <a:lnTo>
                  <a:pt x="1756" y="3348"/>
                </a:lnTo>
                <a:lnTo>
                  <a:pt x="1758" y="3350"/>
                </a:lnTo>
                <a:lnTo>
                  <a:pt x="1760" y="3350"/>
                </a:lnTo>
                <a:lnTo>
                  <a:pt x="1760" y="3352"/>
                </a:lnTo>
                <a:lnTo>
                  <a:pt x="1763" y="3352"/>
                </a:lnTo>
                <a:lnTo>
                  <a:pt x="1763" y="3353"/>
                </a:lnTo>
                <a:lnTo>
                  <a:pt x="1765" y="3352"/>
                </a:lnTo>
                <a:lnTo>
                  <a:pt x="1767" y="3353"/>
                </a:lnTo>
                <a:lnTo>
                  <a:pt x="1768" y="3355"/>
                </a:lnTo>
                <a:lnTo>
                  <a:pt x="1772" y="3355"/>
                </a:lnTo>
                <a:lnTo>
                  <a:pt x="1772" y="3357"/>
                </a:lnTo>
                <a:lnTo>
                  <a:pt x="1775" y="3357"/>
                </a:lnTo>
                <a:lnTo>
                  <a:pt x="1778" y="3357"/>
                </a:lnTo>
                <a:lnTo>
                  <a:pt x="1778" y="3355"/>
                </a:lnTo>
                <a:lnTo>
                  <a:pt x="1780" y="3357"/>
                </a:lnTo>
                <a:lnTo>
                  <a:pt x="1782" y="3358"/>
                </a:lnTo>
                <a:lnTo>
                  <a:pt x="1785" y="3358"/>
                </a:lnTo>
                <a:lnTo>
                  <a:pt x="1789" y="3357"/>
                </a:lnTo>
                <a:lnTo>
                  <a:pt x="1792" y="3358"/>
                </a:lnTo>
                <a:lnTo>
                  <a:pt x="1794" y="3358"/>
                </a:lnTo>
                <a:lnTo>
                  <a:pt x="1795" y="3360"/>
                </a:lnTo>
                <a:lnTo>
                  <a:pt x="1797" y="3360"/>
                </a:lnTo>
                <a:lnTo>
                  <a:pt x="1799" y="3360"/>
                </a:lnTo>
                <a:lnTo>
                  <a:pt x="1799" y="3362"/>
                </a:lnTo>
                <a:lnTo>
                  <a:pt x="1802" y="3362"/>
                </a:lnTo>
                <a:lnTo>
                  <a:pt x="1804" y="3363"/>
                </a:lnTo>
                <a:lnTo>
                  <a:pt x="1806" y="3363"/>
                </a:lnTo>
                <a:lnTo>
                  <a:pt x="1807" y="3367"/>
                </a:lnTo>
                <a:lnTo>
                  <a:pt x="1809" y="3367"/>
                </a:lnTo>
                <a:lnTo>
                  <a:pt x="1811" y="3367"/>
                </a:lnTo>
                <a:lnTo>
                  <a:pt x="1812" y="3367"/>
                </a:lnTo>
                <a:lnTo>
                  <a:pt x="1814" y="3367"/>
                </a:lnTo>
                <a:lnTo>
                  <a:pt x="1816" y="3367"/>
                </a:lnTo>
                <a:lnTo>
                  <a:pt x="1816" y="3365"/>
                </a:lnTo>
                <a:lnTo>
                  <a:pt x="1818" y="3365"/>
                </a:lnTo>
                <a:lnTo>
                  <a:pt x="1818" y="3363"/>
                </a:lnTo>
                <a:lnTo>
                  <a:pt x="1814" y="3362"/>
                </a:lnTo>
                <a:lnTo>
                  <a:pt x="1812" y="3362"/>
                </a:lnTo>
                <a:lnTo>
                  <a:pt x="1811" y="3362"/>
                </a:lnTo>
                <a:lnTo>
                  <a:pt x="1809" y="3362"/>
                </a:lnTo>
                <a:lnTo>
                  <a:pt x="1811" y="3358"/>
                </a:lnTo>
                <a:lnTo>
                  <a:pt x="1812" y="3358"/>
                </a:lnTo>
                <a:lnTo>
                  <a:pt x="1814" y="3358"/>
                </a:lnTo>
                <a:lnTo>
                  <a:pt x="1814" y="3357"/>
                </a:lnTo>
                <a:lnTo>
                  <a:pt x="1818" y="3357"/>
                </a:lnTo>
                <a:lnTo>
                  <a:pt x="1819" y="3358"/>
                </a:lnTo>
                <a:lnTo>
                  <a:pt x="1819" y="3357"/>
                </a:lnTo>
                <a:lnTo>
                  <a:pt x="1821" y="3357"/>
                </a:lnTo>
                <a:lnTo>
                  <a:pt x="1824" y="3357"/>
                </a:lnTo>
                <a:lnTo>
                  <a:pt x="1826" y="3355"/>
                </a:lnTo>
                <a:lnTo>
                  <a:pt x="1829" y="3352"/>
                </a:lnTo>
                <a:lnTo>
                  <a:pt x="1828" y="3350"/>
                </a:lnTo>
                <a:lnTo>
                  <a:pt x="1826" y="3352"/>
                </a:lnTo>
                <a:lnTo>
                  <a:pt x="1826" y="3350"/>
                </a:lnTo>
                <a:lnTo>
                  <a:pt x="1829" y="3350"/>
                </a:lnTo>
                <a:lnTo>
                  <a:pt x="1829" y="3348"/>
                </a:lnTo>
                <a:lnTo>
                  <a:pt x="1828" y="3348"/>
                </a:lnTo>
                <a:lnTo>
                  <a:pt x="1826" y="3348"/>
                </a:lnTo>
                <a:lnTo>
                  <a:pt x="1823" y="3348"/>
                </a:lnTo>
                <a:lnTo>
                  <a:pt x="1824" y="3346"/>
                </a:lnTo>
                <a:lnTo>
                  <a:pt x="1823" y="3346"/>
                </a:lnTo>
                <a:lnTo>
                  <a:pt x="1821" y="3346"/>
                </a:lnTo>
                <a:lnTo>
                  <a:pt x="1821" y="3348"/>
                </a:lnTo>
                <a:lnTo>
                  <a:pt x="1819" y="3348"/>
                </a:lnTo>
                <a:lnTo>
                  <a:pt x="1818" y="3348"/>
                </a:lnTo>
                <a:lnTo>
                  <a:pt x="1819" y="3348"/>
                </a:lnTo>
                <a:lnTo>
                  <a:pt x="1818" y="3346"/>
                </a:lnTo>
                <a:lnTo>
                  <a:pt x="1814" y="3346"/>
                </a:lnTo>
                <a:lnTo>
                  <a:pt x="1812" y="3346"/>
                </a:lnTo>
                <a:lnTo>
                  <a:pt x="1811" y="3348"/>
                </a:lnTo>
                <a:lnTo>
                  <a:pt x="1812" y="3348"/>
                </a:lnTo>
                <a:lnTo>
                  <a:pt x="1814" y="3348"/>
                </a:lnTo>
                <a:lnTo>
                  <a:pt x="1811" y="3348"/>
                </a:lnTo>
                <a:lnTo>
                  <a:pt x="1811" y="3350"/>
                </a:lnTo>
                <a:lnTo>
                  <a:pt x="1809" y="3346"/>
                </a:lnTo>
                <a:lnTo>
                  <a:pt x="1807" y="3346"/>
                </a:lnTo>
                <a:lnTo>
                  <a:pt x="1806" y="3348"/>
                </a:lnTo>
                <a:lnTo>
                  <a:pt x="1804" y="3348"/>
                </a:lnTo>
                <a:lnTo>
                  <a:pt x="1802" y="3348"/>
                </a:lnTo>
                <a:lnTo>
                  <a:pt x="1802" y="3346"/>
                </a:lnTo>
                <a:lnTo>
                  <a:pt x="1804" y="3345"/>
                </a:lnTo>
                <a:lnTo>
                  <a:pt x="1801" y="3343"/>
                </a:lnTo>
                <a:lnTo>
                  <a:pt x="1799" y="3343"/>
                </a:lnTo>
                <a:lnTo>
                  <a:pt x="1797" y="3343"/>
                </a:lnTo>
                <a:lnTo>
                  <a:pt x="1795" y="3341"/>
                </a:lnTo>
                <a:lnTo>
                  <a:pt x="1797" y="3340"/>
                </a:lnTo>
                <a:lnTo>
                  <a:pt x="1795" y="3340"/>
                </a:lnTo>
                <a:lnTo>
                  <a:pt x="1794" y="3338"/>
                </a:lnTo>
                <a:lnTo>
                  <a:pt x="1792" y="3340"/>
                </a:lnTo>
                <a:lnTo>
                  <a:pt x="1794" y="3340"/>
                </a:lnTo>
                <a:lnTo>
                  <a:pt x="1794" y="3341"/>
                </a:lnTo>
                <a:lnTo>
                  <a:pt x="1792" y="3340"/>
                </a:lnTo>
                <a:lnTo>
                  <a:pt x="1792" y="3341"/>
                </a:lnTo>
                <a:lnTo>
                  <a:pt x="1790" y="3343"/>
                </a:lnTo>
                <a:lnTo>
                  <a:pt x="1792" y="3343"/>
                </a:lnTo>
                <a:lnTo>
                  <a:pt x="1792" y="3346"/>
                </a:lnTo>
                <a:lnTo>
                  <a:pt x="1790" y="3346"/>
                </a:lnTo>
                <a:lnTo>
                  <a:pt x="1789" y="3345"/>
                </a:lnTo>
                <a:lnTo>
                  <a:pt x="1787" y="3343"/>
                </a:lnTo>
                <a:lnTo>
                  <a:pt x="1789" y="3341"/>
                </a:lnTo>
                <a:lnTo>
                  <a:pt x="1787" y="3341"/>
                </a:lnTo>
                <a:lnTo>
                  <a:pt x="1785" y="3340"/>
                </a:lnTo>
                <a:lnTo>
                  <a:pt x="1784" y="3338"/>
                </a:lnTo>
                <a:lnTo>
                  <a:pt x="1782" y="3336"/>
                </a:lnTo>
                <a:lnTo>
                  <a:pt x="1780" y="3336"/>
                </a:lnTo>
                <a:lnTo>
                  <a:pt x="1780" y="3338"/>
                </a:lnTo>
                <a:lnTo>
                  <a:pt x="1778" y="3340"/>
                </a:lnTo>
                <a:lnTo>
                  <a:pt x="1780" y="3341"/>
                </a:lnTo>
                <a:lnTo>
                  <a:pt x="1780" y="3343"/>
                </a:lnTo>
                <a:lnTo>
                  <a:pt x="1780" y="3345"/>
                </a:lnTo>
                <a:lnTo>
                  <a:pt x="1778" y="3343"/>
                </a:lnTo>
                <a:lnTo>
                  <a:pt x="1777" y="3345"/>
                </a:lnTo>
                <a:lnTo>
                  <a:pt x="1775" y="3343"/>
                </a:lnTo>
                <a:lnTo>
                  <a:pt x="1775" y="3345"/>
                </a:lnTo>
                <a:lnTo>
                  <a:pt x="1772" y="3343"/>
                </a:lnTo>
                <a:lnTo>
                  <a:pt x="1772" y="3345"/>
                </a:lnTo>
                <a:lnTo>
                  <a:pt x="1772" y="3343"/>
                </a:lnTo>
                <a:lnTo>
                  <a:pt x="1770" y="3346"/>
                </a:lnTo>
                <a:lnTo>
                  <a:pt x="1768" y="3346"/>
                </a:lnTo>
                <a:lnTo>
                  <a:pt x="1768" y="3345"/>
                </a:lnTo>
                <a:lnTo>
                  <a:pt x="1767" y="3345"/>
                </a:lnTo>
                <a:lnTo>
                  <a:pt x="1765" y="3345"/>
                </a:lnTo>
                <a:lnTo>
                  <a:pt x="1763" y="3345"/>
                </a:lnTo>
                <a:lnTo>
                  <a:pt x="1761" y="3343"/>
                </a:lnTo>
                <a:lnTo>
                  <a:pt x="1760" y="3343"/>
                </a:lnTo>
                <a:lnTo>
                  <a:pt x="1758" y="3343"/>
                </a:lnTo>
                <a:lnTo>
                  <a:pt x="1756" y="3343"/>
                </a:lnTo>
                <a:lnTo>
                  <a:pt x="1755" y="3343"/>
                </a:lnTo>
                <a:lnTo>
                  <a:pt x="1753" y="3345"/>
                </a:lnTo>
                <a:lnTo>
                  <a:pt x="1751" y="3346"/>
                </a:lnTo>
                <a:lnTo>
                  <a:pt x="1750" y="3346"/>
                </a:lnTo>
                <a:lnTo>
                  <a:pt x="1748" y="3345"/>
                </a:lnTo>
                <a:lnTo>
                  <a:pt x="1746" y="3346"/>
                </a:lnTo>
                <a:lnTo>
                  <a:pt x="1746" y="3348"/>
                </a:lnTo>
                <a:lnTo>
                  <a:pt x="1746" y="3350"/>
                </a:lnTo>
                <a:lnTo>
                  <a:pt x="1743" y="3350"/>
                </a:lnTo>
                <a:lnTo>
                  <a:pt x="1741" y="3350"/>
                </a:lnTo>
                <a:lnTo>
                  <a:pt x="1738" y="3350"/>
                </a:lnTo>
                <a:lnTo>
                  <a:pt x="1736" y="3352"/>
                </a:lnTo>
                <a:lnTo>
                  <a:pt x="1734" y="3352"/>
                </a:lnTo>
                <a:lnTo>
                  <a:pt x="1733" y="3353"/>
                </a:lnTo>
                <a:lnTo>
                  <a:pt x="1731" y="3355"/>
                </a:lnTo>
                <a:lnTo>
                  <a:pt x="1727" y="3353"/>
                </a:lnTo>
                <a:lnTo>
                  <a:pt x="1726" y="3353"/>
                </a:lnTo>
                <a:lnTo>
                  <a:pt x="1726" y="3352"/>
                </a:lnTo>
                <a:lnTo>
                  <a:pt x="1724" y="3350"/>
                </a:lnTo>
                <a:lnTo>
                  <a:pt x="1722" y="3350"/>
                </a:lnTo>
                <a:lnTo>
                  <a:pt x="1722" y="3348"/>
                </a:lnTo>
                <a:lnTo>
                  <a:pt x="1722" y="3345"/>
                </a:lnTo>
                <a:lnTo>
                  <a:pt x="1721" y="3345"/>
                </a:lnTo>
                <a:lnTo>
                  <a:pt x="1719" y="3343"/>
                </a:lnTo>
                <a:lnTo>
                  <a:pt x="1717" y="3343"/>
                </a:lnTo>
                <a:lnTo>
                  <a:pt x="1721" y="3345"/>
                </a:lnTo>
                <a:lnTo>
                  <a:pt x="1721" y="3346"/>
                </a:lnTo>
                <a:lnTo>
                  <a:pt x="1722" y="3348"/>
                </a:lnTo>
                <a:lnTo>
                  <a:pt x="1722" y="3350"/>
                </a:lnTo>
                <a:lnTo>
                  <a:pt x="1724" y="3350"/>
                </a:lnTo>
                <a:lnTo>
                  <a:pt x="1726" y="3352"/>
                </a:lnTo>
                <a:lnTo>
                  <a:pt x="1726" y="3353"/>
                </a:lnTo>
                <a:lnTo>
                  <a:pt x="1726" y="3352"/>
                </a:lnTo>
                <a:lnTo>
                  <a:pt x="1724" y="3350"/>
                </a:lnTo>
                <a:lnTo>
                  <a:pt x="1722" y="3350"/>
                </a:lnTo>
                <a:lnTo>
                  <a:pt x="1722" y="3348"/>
                </a:lnTo>
                <a:lnTo>
                  <a:pt x="1721" y="3346"/>
                </a:lnTo>
                <a:lnTo>
                  <a:pt x="1721" y="3350"/>
                </a:lnTo>
                <a:lnTo>
                  <a:pt x="1719" y="3352"/>
                </a:lnTo>
                <a:lnTo>
                  <a:pt x="1719" y="3355"/>
                </a:lnTo>
                <a:lnTo>
                  <a:pt x="1719" y="3353"/>
                </a:lnTo>
                <a:lnTo>
                  <a:pt x="1719" y="3352"/>
                </a:lnTo>
                <a:lnTo>
                  <a:pt x="1717" y="3352"/>
                </a:lnTo>
                <a:lnTo>
                  <a:pt x="1717" y="3353"/>
                </a:lnTo>
                <a:lnTo>
                  <a:pt x="1716" y="3355"/>
                </a:lnTo>
                <a:lnTo>
                  <a:pt x="1716" y="3357"/>
                </a:lnTo>
                <a:lnTo>
                  <a:pt x="1717" y="3357"/>
                </a:lnTo>
                <a:lnTo>
                  <a:pt x="1719" y="3357"/>
                </a:lnTo>
                <a:lnTo>
                  <a:pt x="1716" y="3357"/>
                </a:lnTo>
                <a:lnTo>
                  <a:pt x="1714" y="3357"/>
                </a:lnTo>
                <a:lnTo>
                  <a:pt x="1712" y="3358"/>
                </a:lnTo>
                <a:lnTo>
                  <a:pt x="1710" y="3358"/>
                </a:lnTo>
                <a:lnTo>
                  <a:pt x="1710" y="3355"/>
                </a:lnTo>
                <a:lnTo>
                  <a:pt x="1709" y="3355"/>
                </a:lnTo>
                <a:lnTo>
                  <a:pt x="1709" y="3353"/>
                </a:lnTo>
                <a:lnTo>
                  <a:pt x="1707" y="3353"/>
                </a:lnTo>
                <a:lnTo>
                  <a:pt x="1707" y="3352"/>
                </a:lnTo>
                <a:lnTo>
                  <a:pt x="1709" y="3353"/>
                </a:lnTo>
                <a:lnTo>
                  <a:pt x="1709" y="3352"/>
                </a:lnTo>
                <a:lnTo>
                  <a:pt x="1709" y="3350"/>
                </a:lnTo>
                <a:lnTo>
                  <a:pt x="1710" y="3350"/>
                </a:lnTo>
                <a:lnTo>
                  <a:pt x="1709" y="3350"/>
                </a:lnTo>
                <a:lnTo>
                  <a:pt x="1709" y="3348"/>
                </a:lnTo>
                <a:lnTo>
                  <a:pt x="1707" y="3348"/>
                </a:lnTo>
                <a:lnTo>
                  <a:pt x="1707" y="3346"/>
                </a:lnTo>
                <a:lnTo>
                  <a:pt x="1705" y="3345"/>
                </a:lnTo>
                <a:lnTo>
                  <a:pt x="1707" y="3345"/>
                </a:lnTo>
                <a:lnTo>
                  <a:pt x="1705" y="3345"/>
                </a:lnTo>
                <a:lnTo>
                  <a:pt x="1705" y="3341"/>
                </a:lnTo>
                <a:lnTo>
                  <a:pt x="1704" y="3345"/>
                </a:lnTo>
                <a:lnTo>
                  <a:pt x="1702" y="3345"/>
                </a:lnTo>
                <a:lnTo>
                  <a:pt x="1700" y="3343"/>
                </a:lnTo>
                <a:lnTo>
                  <a:pt x="1702" y="3343"/>
                </a:lnTo>
                <a:lnTo>
                  <a:pt x="1700" y="3341"/>
                </a:lnTo>
                <a:lnTo>
                  <a:pt x="1702" y="3341"/>
                </a:lnTo>
                <a:lnTo>
                  <a:pt x="1702" y="3338"/>
                </a:lnTo>
                <a:lnTo>
                  <a:pt x="1700" y="3338"/>
                </a:lnTo>
                <a:lnTo>
                  <a:pt x="1700" y="3336"/>
                </a:lnTo>
                <a:lnTo>
                  <a:pt x="1699" y="3335"/>
                </a:lnTo>
                <a:lnTo>
                  <a:pt x="1699" y="3333"/>
                </a:lnTo>
                <a:lnTo>
                  <a:pt x="1697" y="3333"/>
                </a:lnTo>
                <a:lnTo>
                  <a:pt x="1695" y="3333"/>
                </a:lnTo>
                <a:lnTo>
                  <a:pt x="1693" y="3331"/>
                </a:lnTo>
                <a:lnTo>
                  <a:pt x="1692" y="3329"/>
                </a:lnTo>
                <a:lnTo>
                  <a:pt x="1692" y="3328"/>
                </a:lnTo>
                <a:lnTo>
                  <a:pt x="1692" y="3326"/>
                </a:lnTo>
                <a:lnTo>
                  <a:pt x="1690" y="3324"/>
                </a:lnTo>
                <a:lnTo>
                  <a:pt x="1688" y="3326"/>
                </a:lnTo>
                <a:lnTo>
                  <a:pt x="1687" y="3328"/>
                </a:lnTo>
                <a:lnTo>
                  <a:pt x="1685" y="3329"/>
                </a:lnTo>
                <a:lnTo>
                  <a:pt x="1685" y="3326"/>
                </a:lnTo>
                <a:lnTo>
                  <a:pt x="1683" y="3326"/>
                </a:lnTo>
                <a:lnTo>
                  <a:pt x="1683" y="3323"/>
                </a:lnTo>
                <a:lnTo>
                  <a:pt x="1682" y="3323"/>
                </a:lnTo>
                <a:lnTo>
                  <a:pt x="1682" y="3324"/>
                </a:lnTo>
                <a:lnTo>
                  <a:pt x="1682" y="3323"/>
                </a:lnTo>
                <a:lnTo>
                  <a:pt x="1683" y="3321"/>
                </a:lnTo>
                <a:lnTo>
                  <a:pt x="1682" y="3323"/>
                </a:lnTo>
                <a:lnTo>
                  <a:pt x="1683" y="3321"/>
                </a:lnTo>
                <a:lnTo>
                  <a:pt x="1687" y="3321"/>
                </a:lnTo>
                <a:lnTo>
                  <a:pt x="1685" y="3321"/>
                </a:lnTo>
                <a:lnTo>
                  <a:pt x="1685" y="3319"/>
                </a:lnTo>
                <a:lnTo>
                  <a:pt x="1682" y="3318"/>
                </a:lnTo>
                <a:lnTo>
                  <a:pt x="1683" y="3314"/>
                </a:lnTo>
                <a:lnTo>
                  <a:pt x="1685" y="3316"/>
                </a:lnTo>
                <a:lnTo>
                  <a:pt x="1687" y="3318"/>
                </a:lnTo>
                <a:lnTo>
                  <a:pt x="1688" y="3316"/>
                </a:lnTo>
                <a:lnTo>
                  <a:pt x="1688" y="3314"/>
                </a:lnTo>
                <a:lnTo>
                  <a:pt x="1688" y="3316"/>
                </a:lnTo>
                <a:lnTo>
                  <a:pt x="1690" y="3316"/>
                </a:lnTo>
                <a:lnTo>
                  <a:pt x="1688" y="3316"/>
                </a:lnTo>
                <a:lnTo>
                  <a:pt x="1692" y="3316"/>
                </a:lnTo>
                <a:lnTo>
                  <a:pt x="1692" y="3314"/>
                </a:lnTo>
                <a:lnTo>
                  <a:pt x="1693" y="3314"/>
                </a:lnTo>
                <a:lnTo>
                  <a:pt x="1695" y="3314"/>
                </a:lnTo>
                <a:lnTo>
                  <a:pt x="1695" y="3316"/>
                </a:lnTo>
                <a:lnTo>
                  <a:pt x="1697" y="3314"/>
                </a:lnTo>
                <a:lnTo>
                  <a:pt x="1697" y="3316"/>
                </a:lnTo>
                <a:lnTo>
                  <a:pt x="1700" y="3318"/>
                </a:lnTo>
                <a:lnTo>
                  <a:pt x="1702" y="3319"/>
                </a:lnTo>
                <a:lnTo>
                  <a:pt x="1702" y="3316"/>
                </a:lnTo>
                <a:lnTo>
                  <a:pt x="1702" y="3314"/>
                </a:lnTo>
                <a:lnTo>
                  <a:pt x="1705" y="3316"/>
                </a:lnTo>
                <a:lnTo>
                  <a:pt x="1707" y="3318"/>
                </a:lnTo>
                <a:lnTo>
                  <a:pt x="1705" y="3314"/>
                </a:lnTo>
                <a:lnTo>
                  <a:pt x="1704" y="3314"/>
                </a:lnTo>
                <a:lnTo>
                  <a:pt x="1704" y="3311"/>
                </a:lnTo>
                <a:lnTo>
                  <a:pt x="1704" y="3309"/>
                </a:lnTo>
                <a:lnTo>
                  <a:pt x="1704" y="3307"/>
                </a:lnTo>
                <a:lnTo>
                  <a:pt x="1702" y="3306"/>
                </a:lnTo>
                <a:lnTo>
                  <a:pt x="1699" y="3306"/>
                </a:lnTo>
                <a:lnTo>
                  <a:pt x="1699" y="3307"/>
                </a:lnTo>
                <a:lnTo>
                  <a:pt x="1699" y="3306"/>
                </a:lnTo>
                <a:lnTo>
                  <a:pt x="1697" y="3307"/>
                </a:lnTo>
                <a:lnTo>
                  <a:pt x="1699" y="3307"/>
                </a:lnTo>
                <a:lnTo>
                  <a:pt x="1697" y="3307"/>
                </a:lnTo>
                <a:lnTo>
                  <a:pt x="1699" y="3307"/>
                </a:lnTo>
                <a:lnTo>
                  <a:pt x="1697" y="3307"/>
                </a:lnTo>
                <a:lnTo>
                  <a:pt x="1695" y="3309"/>
                </a:lnTo>
                <a:lnTo>
                  <a:pt x="1693" y="3307"/>
                </a:lnTo>
                <a:lnTo>
                  <a:pt x="1692" y="3307"/>
                </a:lnTo>
                <a:lnTo>
                  <a:pt x="1692" y="3306"/>
                </a:lnTo>
                <a:lnTo>
                  <a:pt x="1688" y="3306"/>
                </a:lnTo>
                <a:lnTo>
                  <a:pt x="1688" y="3307"/>
                </a:lnTo>
                <a:lnTo>
                  <a:pt x="1690" y="3307"/>
                </a:lnTo>
                <a:lnTo>
                  <a:pt x="1692" y="3309"/>
                </a:lnTo>
                <a:lnTo>
                  <a:pt x="1692" y="3307"/>
                </a:lnTo>
                <a:lnTo>
                  <a:pt x="1692" y="3309"/>
                </a:lnTo>
                <a:lnTo>
                  <a:pt x="1690" y="3307"/>
                </a:lnTo>
                <a:lnTo>
                  <a:pt x="1687" y="3309"/>
                </a:lnTo>
                <a:lnTo>
                  <a:pt x="1687" y="3306"/>
                </a:lnTo>
                <a:lnTo>
                  <a:pt x="1685" y="3306"/>
                </a:lnTo>
                <a:lnTo>
                  <a:pt x="1685" y="3304"/>
                </a:lnTo>
                <a:lnTo>
                  <a:pt x="1685" y="3302"/>
                </a:lnTo>
                <a:lnTo>
                  <a:pt x="1683" y="3304"/>
                </a:lnTo>
                <a:lnTo>
                  <a:pt x="1683" y="3306"/>
                </a:lnTo>
                <a:lnTo>
                  <a:pt x="1682" y="3306"/>
                </a:lnTo>
                <a:lnTo>
                  <a:pt x="1685" y="3306"/>
                </a:lnTo>
                <a:lnTo>
                  <a:pt x="1683" y="3307"/>
                </a:lnTo>
                <a:lnTo>
                  <a:pt x="1685" y="3307"/>
                </a:lnTo>
                <a:lnTo>
                  <a:pt x="1687" y="3309"/>
                </a:lnTo>
                <a:lnTo>
                  <a:pt x="1685" y="3309"/>
                </a:lnTo>
                <a:lnTo>
                  <a:pt x="1685" y="3307"/>
                </a:lnTo>
                <a:lnTo>
                  <a:pt x="1683" y="3307"/>
                </a:lnTo>
                <a:lnTo>
                  <a:pt x="1682" y="3309"/>
                </a:lnTo>
                <a:lnTo>
                  <a:pt x="1682" y="3311"/>
                </a:lnTo>
                <a:lnTo>
                  <a:pt x="1683" y="3312"/>
                </a:lnTo>
                <a:lnTo>
                  <a:pt x="1683" y="3311"/>
                </a:lnTo>
                <a:lnTo>
                  <a:pt x="1685" y="3312"/>
                </a:lnTo>
                <a:lnTo>
                  <a:pt x="1687" y="3312"/>
                </a:lnTo>
                <a:lnTo>
                  <a:pt x="1687" y="3314"/>
                </a:lnTo>
                <a:lnTo>
                  <a:pt x="1683" y="3312"/>
                </a:lnTo>
                <a:lnTo>
                  <a:pt x="1683" y="3314"/>
                </a:lnTo>
                <a:lnTo>
                  <a:pt x="1682" y="3312"/>
                </a:lnTo>
                <a:lnTo>
                  <a:pt x="1683" y="3314"/>
                </a:lnTo>
                <a:lnTo>
                  <a:pt x="1682" y="3316"/>
                </a:lnTo>
                <a:lnTo>
                  <a:pt x="1680" y="3314"/>
                </a:lnTo>
                <a:lnTo>
                  <a:pt x="1678" y="3312"/>
                </a:lnTo>
                <a:lnTo>
                  <a:pt x="1680" y="3311"/>
                </a:lnTo>
                <a:lnTo>
                  <a:pt x="1678" y="3309"/>
                </a:lnTo>
                <a:lnTo>
                  <a:pt x="1678" y="3307"/>
                </a:lnTo>
                <a:lnTo>
                  <a:pt x="1676" y="3306"/>
                </a:lnTo>
                <a:lnTo>
                  <a:pt x="1675" y="3306"/>
                </a:lnTo>
                <a:lnTo>
                  <a:pt x="1671" y="3304"/>
                </a:lnTo>
                <a:lnTo>
                  <a:pt x="1670" y="3302"/>
                </a:lnTo>
                <a:lnTo>
                  <a:pt x="1668" y="3301"/>
                </a:lnTo>
                <a:lnTo>
                  <a:pt x="1665" y="3299"/>
                </a:lnTo>
                <a:lnTo>
                  <a:pt x="1665" y="3297"/>
                </a:lnTo>
                <a:lnTo>
                  <a:pt x="1663" y="3295"/>
                </a:lnTo>
                <a:lnTo>
                  <a:pt x="1665" y="3294"/>
                </a:lnTo>
                <a:lnTo>
                  <a:pt x="1663" y="3295"/>
                </a:lnTo>
                <a:lnTo>
                  <a:pt x="1661" y="3294"/>
                </a:lnTo>
                <a:lnTo>
                  <a:pt x="1661" y="3295"/>
                </a:lnTo>
                <a:lnTo>
                  <a:pt x="1659" y="3294"/>
                </a:lnTo>
                <a:lnTo>
                  <a:pt x="1656" y="3295"/>
                </a:lnTo>
                <a:lnTo>
                  <a:pt x="1656" y="3294"/>
                </a:lnTo>
                <a:lnTo>
                  <a:pt x="1654" y="3294"/>
                </a:lnTo>
                <a:lnTo>
                  <a:pt x="1653" y="3292"/>
                </a:lnTo>
                <a:lnTo>
                  <a:pt x="1651" y="3289"/>
                </a:lnTo>
                <a:lnTo>
                  <a:pt x="1653" y="3289"/>
                </a:lnTo>
                <a:lnTo>
                  <a:pt x="1649" y="3287"/>
                </a:lnTo>
                <a:lnTo>
                  <a:pt x="1648" y="3284"/>
                </a:lnTo>
                <a:lnTo>
                  <a:pt x="1649" y="3284"/>
                </a:lnTo>
                <a:lnTo>
                  <a:pt x="1651" y="3284"/>
                </a:lnTo>
                <a:lnTo>
                  <a:pt x="1649" y="3282"/>
                </a:lnTo>
                <a:lnTo>
                  <a:pt x="1648" y="3280"/>
                </a:lnTo>
                <a:lnTo>
                  <a:pt x="1649" y="3282"/>
                </a:lnTo>
                <a:lnTo>
                  <a:pt x="1649" y="3280"/>
                </a:lnTo>
                <a:lnTo>
                  <a:pt x="1648" y="3278"/>
                </a:lnTo>
                <a:lnTo>
                  <a:pt x="1648" y="3280"/>
                </a:lnTo>
                <a:lnTo>
                  <a:pt x="1644" y="3280"/>
                </a:lnTo>
                <a:lnTo>
                  <a:pt x="1644" y="3278"/>
                </a:lnTo>
                <a:lnTo>
                  <a:pt x="1646" y="3278"/>
                </a:lnTo>
                <a:lnTo>
                  <a:pt x="1642" y="3278"/>
                </a:lnTo>
                <a:lnTo>
                  <a:pt x="1644" y="3277"/>
                </a:lnTo>
                <a:lnTo>
                  <a:pt x="1644" y="3275"/>
                </a:lnTo>
                <a:lnTo>
                  <a:pt x="1642" y="3275"/>
                </a:lnTo>
                <a:lnTo>
                  <a:pt x="1644" y="3273"/>
                </a:lnTo>
                <a:lnTo>
                  <a:pt x="1644" y="3272"/>
                </a:lnTo>
                <a:lnTo>
                  <a:pt x="1642" y="3272"/>
                </a:lnTo>
                <a:lnTo>
                  <a:pt x="1641" y="3270"/>
                </a:lnTo>
                <a:lnTo>
                  <a:pt x="1639" y="3270"/>
                </a:lnTo>
                <a:lnTo>
                  <a:pt x="1637" y="3268"/>
                </a:lnTo>
                <a:lnTo>
                  <a:pt x="1636" y="3270"/>
                </a:lnTo>
                <a:lnTo>
                  <a:pt x="1634" y="3268"/>
                </a:lnTo>
                <a:lnTo>
                  <a:pt x="1632" y="3268"/>
                </a:lnTo>
                <a:lnTo>
                  <a:pt x="1632" y="3265"/>
                </a:lnTo>
                <a:lnTo>
                  <a:pt x="1634" y="3265"/>
                </a:lnTo>
                <a:lnTo>
                  <a:pt x="1636" y="3263"/>
                </a:lnTo>
                <a:lnTo>
                  <a:pt x="1636" y="3261"/>
                </a:lnTo>
                <a:lnTo>
                  <a:pt x="1636" y="3260"/>
                </a:lnTo>
                <a:lnTo>
                  <a:pt x="1632" y="3260"/>
                </a:lnTo>
                <a:lnTo>
                  <a:pt x="1634" y="3263"/>
                </a:lnTo>
                <a:lnTo>
                  <a:pt x="1632" y="3263"/>
                </a:lnTo>
                <a:lnTo>
                  <a:pt x="1634" y="3263"/>
                </a:lnTo>
                <a:lnTo>
                  <a:pt x="1634" y="3265"/>
                </a:lnTo>
                <a:lnTo>
                  <a:pt x="1632" y="3265"/>
                </a:lnTo>
                <a:lnTo>
                  <a:pt x="1632" y="3263"/>
                </a:lnTo>
                <a:lnTo>
                  <a:pt x="1632" y="3265"/>
                </a:lnTo>
                <a:lnTo>
                  <a:pt x="1632" y="3261"/>
                </a:lnTo>
                <a:lnTo>
                  <a:pt x="1632" y="3260"/>
                </a:lnTo>
                <a:lnTo>
                  <a:pt x="1632" y="3256"/>
                </a:lnTo>
                <a:lnTo>
                  <a:pt x="1629" y="3255"/>
                </a:lnTo>
                <a:lnTo>
                  <a:pt x="1627" y="3255"/>
                </a:lnTo>
                <a:lnTo>
                  <a:pt x="1627" y="3251"/>
                </a:lnTo>
                <a:lnTo>
                  <a:pt x="1625" y="3249"/>
                </a:lnTo>
                <a:lnTo>
                  <a:pt x="1625" y="3248"/>
                </a:lnTo>
                <a:lnTo>
                  <a:pt x="1624" y="3248"/>
                </a:lnTo>
                <a:lnTo>
                  <a:pt x="1622" y="3244"/>
                </a:lnTo>
                <a:lnTo>
                  <a:pt x="1620" y="3244"/>
                </a:lnTo>
                <a:lnTo>
                  <a:pt x="1619" y="3244"/>
                </a:lnTo>
                <a:lnTo>
                  <a:pt x="1619" y="3243"/>
                </a:lnTo>
                <a:lnTo>
                  <a:pt x="1617" y="3243"/>
                </a:lnTo>
                <a:lnTo>
                  <a:pt x="1617" y="3244"/>
                </a:lnTo>
                <a:lnTo>
                  <a:pt x="1617" y="3243"/>
                </a:lnTo>
                <a:lnTo>
                  <a:pt x="1615" y="3243"/>
                </a:lnTo>
                <a:lnTo>
                  <a:pt x="1615" y="3241"/>
                </a:lnTo>
                <a:lnTo>
                  <a:pt x="1614" y="3241"/>
                </a:lnTo>
                <a:lnTo>
                  <a:pt x="1610" y="3241"/>
                </a:lnTo>
                <a:lnTo>
                  <a:pt x="1610" y="3239"/>
                </a:lnTo>
                <a:lnTo>
                  <a:pt x="1607" y="3238"/>
                </a:lnTo>
                <a:lnTo>
                  <a:pt x="1605" y="3238"/>
                </a:lnTo>
                <a:lnTo>
                  <a:pt x="1602" y="3236"/>
                </a:lnTo>
                <a:lnTo>
                  <a:pt x="1600" y="3236"/>
                </a:lnTo>
                <a:lnTo>
                  <a:pt x="1598" y="3234"/>
                </a:lnTo>
                <a:lnTo>
                  <a:pt x="1597" y="3232"/>
                </a:lnTo>
                <a:lnTo>
                  <a:pt x="1595" y="3231"/>
                </a:lnTo>
                <a:lnTo>
                  <a:pt x="1593" y="3231"/>
                </a:lnTo>
                <a:lnTo>
                  <a:pt x="1593" y="3229"/>
                </a:lnTo>
                <a:lnTo>
                  <a:pt x="1593" y="3226"/>
                </a:lnTo>
                <a:lnTo>
                  <a:pt x="1591" y="3224"/>
                </a:lnTo>
                <a:lnTo>
                  <a:pt x="1590" y="3222"/>
                </a:lnTo>
                <a:lnTo>
                  <a:pt x="1588" y="3222"/>
                </a:lnTo>
                <a:lnTo>
                  <a:pt x="1590" y="3221"/>
                </a:lnTo>
                <a:lnTo>
                  <a:pt x="1591" y="3221"/>
                </a:lnTo>
                <a:lnTo>
                  <a:pt x="1593" y="3222"/>
                </a:lnTo>
                <a:lnTo>
                  <a:pt x="1595" y="3224"/>
                </a:lnTo>
                <a:lnTo>
                  <a:pt x="1595" y="3227"/>
                </a:lnTo>
                <a:lnTo>
                  <a:pt x="1597" y="3227"/>
                </a:lnTo>
                <a:lnTo>
                  <a:pt x="1598" y="3227"/>
                </a:lnTo>
                <a:lnTo>
                  <a:pt x="1600" y="3226"/>
                </a:lnTo>
                <a:lnTo>
                  <a:pt x="1598" y="3222"/>
                </a:lnTo>
                <a:lnTo>
                  <a:pt x="1598" y="3221"/>
                </a:lnTo>
                <a:lnTo>
                  <a:pt x="1598" y="3219"/>
                </a:lnTo>
                <a:lnTo>
                  <a:pt x="1597" y="3217"/>
                </a:lnTo>
                <a:lnTo>
                  <a:pt x="1595" y="3215"/>
                </a:lnTo>
                <a:lnTo>
                  <a:pt x="1595" y="3217"/>
                </a:lnTo>
                <a:lnTo>
                  <a:pt x="1595" y="3215"/>
                </a:lnTo>
                <a:lnTo>
                  <a:pt x="1593" y="3215"/>
                </a:lnTo>
                <a:lnTo>
                  <a:pt x="1591" y="3214"/>
                </a:lnTo>
                <a:lnTo>
                  <a:pt x="1591" y="3212"/>
                </a:lnTo>
                <a:lnTo>
                  <a:pt x="1590" y="3210"/>
                </a:lnTo>
                <a:lnTo>
                  <a:pt x="1590" y="3209"/>
                </a:lnTo>
                <a:lnTo>
                  <a:pt x="1588" y="3205"/>
                </a:lnTo>
                <a:lnTo>
                  <a:pt x="1586" y="3205"/>
                </a:lnTo>
                <a:lnTo>
                  <a:pt x="1588" y="3202"/>
                </a:lnTo>
                <a:lnTo>
                  <a:pt x="1590" y="3200"/>
                </a:lnTo>
                <a:lnTo>
                  <a:pt x="1590" y="3197"/>
                </a:lnTo>
                <a:lnTo>
                  <a:pt x="1590" y="3195"/>
                </a:lnTo>
                <a:lnTo>
                  <a:pt x="1588" y="3193"/>
                </a:lnTo>
                <a:lnTo>
                  <a:pt x="1590" y="3192"/>
                </a:lnTo>
                <a:lnTo>
                  <a:pt x="1590" y="3190"/>
                </a:lnTo>
                <a:lnTo>
                  <a:pt x="1590" y="3188"/>
                </a:lnTo>
                <a:lnTo>
                  <a:pt x="1590" y="3187"/>
                </a:lnTo>
                <a:lnTo>
                  <a:pt x="1591" y="3185"/>
                </a:lnTo>
                <a:lnTo>
                  <a:pt x="1593" y="3183"/>
                </a:lnTo>
                <a:lnTo>
                  <a:pt x="1593" y="3181"/>
                </a:lnTo>
                <a:lnTo>
                  <a:pt x="1591" y="3180"/>
                </a:lnTo>
                <a:lnTo>
                  <a:pt x="1590" y="3176"/>
                </a:lnTo>
                <a:lnTo>
                  <a:pt x="1591" y="3175"/>
                </a:lnTo>
                <a:lnTo>
                  <a:pt x="1591" y="3173"/>
                </a:lnTo>
                <a:lnTo>
                  <a:pt x="1590" y="3171"/>
                </a:lnTo>
                <a:lnTo>
                  <a:pt x="1590" y="3170"/>
                </a:lnTo>
                <a:lnTo>
                  <a:pt x="1591" y="3168"/>
                </a:lnTo>
                <a:lnTo>
                  <a:pt x="1591" y="3166"/>
                </a:lnTo>
                <a:lnTo>
                  <a:pt x="1591" y="3164"/>
                </a:lnTo>
                <a:lnTo>
                  <a:pt x="1593" y="3161"/>
                </a:lnTo>
                <a:lnTo>
                  <a:pt x="1591" y="3159"/>
                </a:lnTo>
                <a:lnTo>
                  <a:pt x="1590" y="3158"/>
                </a:lnTo>
                <a:lnTo>
                  <a:pt x="1588" y="3158"/>
                </a:lnTo>
                <a:lnTo>
                  <a:pt x="1588" y="3159"/>
                </a:lnTo>
                <a:lnTo>
                  <a:pt x="1586" y="3158"/>
                </a:lnTo>
                <a:lnTo>
                  <a:pt x="1586" y="3154"/>
                </a:lnTo>
                <a:lnTo>
                  <a:pt x="1586" y="3153"/>
                </a:lnTo>
                <a:lnTo>
                  <a:pt x="1585" y="3151"/>
                </a:lnTo>
                <a:lnTo>
                  <a:pt x="1586" y="3151"/>
                </a:lnTo>
                <a:lnTo>
                  <a:pt x="1588" y="3149"/>
                </a:lnTo>
                <a:lnTo>
                  <a:pt x="1590" y="3147"/>
                </a:lnTo>
                <a:lnTo>
                  <a:pt x="1590" y="3144"/>
                </a:lnTo>
                <a:lnTo>
                  <a:pt x="1590" y="3142"/>
                </a:lnTo>
                <a:lnTo>
                  <a:pt x="1586" y="3141"/>
                </a:lnTo>
                <a:lnTo>
                  <a:pt x="1585" y="3139"/>
                </a:lnTo>
                <a:lnTo>
                  <a:pt x="1588" y="3139"/>
                </a:lnTo>
                <a:lnTo>
                  <a:pt x="1590" y="3139"/>
                </a:lnTo>
                <a:lnTo>
                  <a:pt x="1591" y="3139"/>
                </a:lnTo>
                <a:lnTo>
                  <a:pt x="1591" y="3137"/>
                </a:lnTo>
                <a:lnTo>
                  <a:pt x="1593" y="3136"/>
                </a:lnTo>
                <a:lnTo>
                  <a:pt x="1593" y="3134"/>
                </a:lnTo>
                <a:lnTo>
                  <a:pt x="1591" y="3136"/>
                </a:lnTo>
                <a:lnTo>
                  <a:pt x="1591" y="3132"/>
                </a:lnTo>
                <a:lnTo>
                  <a:pt x="1591" y="3130"/>
                </a:lnTo>
                <a:lnTo>
                  <a:pt x="1591" y="3129"/>
                </a:lnTo>
                <a:lnTo>
                  <a:pt x="1591" y="3125"/>
                </a:lnTo>
                <a:lnTo>
                  <a:pt x="1591" y="3124"/>
                </a:lnTo>
                <a:lnTo>
                  <a:pt x="1591" y="3122"/>
                </a:lnTo>
                <a:lnTo>
                  <a:pt x="1590" y="3122"/>
                </a:lnTo>
                <a:lnTo>
                  <a:pt x="1588" y="3120"/>
                </a:lnTo>
                <a:lnTo>
                  <a:pt x="1586" y="3120"/>
                </a:lnTo>
                <a:lnTo>
                  <a:pt x="1585" y="3120"/>
                </a:lnTo>
                <a:lnTo>
                  <a:pt x="1583" y="3119"/>
                </a:lnTo>
                <a:lnTo>
                  <a:pt x="1581" y="3119"/>
                </a:lnTo>
                <a:lnTo>
                  <a:pt x="1580" y="3120"/>
                </a:lnTo>
                <a:lnTo>
                  <a:pt x="1580" y="3119"/>
                </a:lnTo>
                <a:lnTo>
                  <a:pt x="1578" y="3120"/>
                </a:lnTo>
                <a:lnTo>
                  <a:pt x="1576" y="3119"/>
                </a:lnTo>
                <a:lnTo>
                  <a:pt x="1573" y="3117"/>
                </a:lnTo>
                <a:lnTo>
                  <a:pt x="1571" y="3117"/>
                </a:lnTo>
                <a:lnTo>
                  <a:pt x="1569" y="3117"/>
                </a:lnTo>
                <a:lnTo>
                  <a:pt x="1566" y="3115"/>
                </a:lnTo>
                <a:lnTo>
                  <a:pt x="1568" y="3115"/>
                </a:lnTo>
                <a:lnTo>
                  <a:pt x="1566" y="3113"/>
                </a:lnTo>
                <a:lnTo>
                  <a:pt x="1566" y="3112"/>
                </a:lnTo>
                <a:lnTo>
                  <a:pt x="1566" y="3110"/>
                </a:lnTo>
                <a:lnTo>
                  <a:pt x="1566" y="3108"/>
                </a:lnTo>
                <a:lnTo>
                  <a:pt x="1563" y="3107"/>
                </a:lnTo>
                <a:lnTo>
                  <a:pt x="1561" y="3107"/>
                </a:lnTo>
                <a:lnTo>
                  <a:pt x="1563" y="3105"/>
                </a:lnTo>
                <a:lnTo>
                  <a:pt x="1561" y="3103"/>
                </a:lnTo>
                <a:lnTo>
                  <a:pt x="1557" y="3103"/>
                </a:lnTo>
                <a:lnTo>
                  <a:pt x="1557" y="3101"/>
                </a:lnTo>
                <a:lnTo>
                  <a:pt x="1556" y="3100"/>
                </a:lnTo>
                <a:lnTo>
                  <a:pt x="1554" y="3098"/>
                </a:lnTo>
                <a:lnTo>
                  <a:pt x="1552" y="3098"/>
                </a:lnTo>
                <a:lnTo>
                  <a:pt x="1551" y="3095"/>
                </a:lnTo>
                <a:lnTo>
                  <a:pt x="1549" y="3093"/>
                </a:lnTo>
                <a:lnTo>
                  <a:pt x="1547" y="3093"/>
                </a:lnTo>
                <a:lnTo>
                  <a:pt x="1547" y="3095"/>
                </a:lnTo>
                <a:lnTo>
                  <a:pt x="1546" y="3093"/>
                </a:lnTo>
                <a:lnTo>
                  <a:pt x="1546" y="3095"/>
                </a:lnTo>
                <a:lnTo>
                  <a:pt x="1544" y="3095"/>
                </a:lnTo>
                <a:lnTo>
                  <a:pt x="1542" y="3093"/>
                </a:lnTo>
                <a:lnTo>
                  <a:pt x="1540" y="3091"/>
                </a:lnTo>
                <a:lnTo>
                  <a:pt x="1539" y="3090"/>
                </a:lnTo>
                <a:lnTo>
                  <a:pt x="1540" y="3090"/>
                </a:lnTo>
                <a:lnTo>
                  <a:pt x="1539" y="3088"/>
                </a:lnTo>
                <a:lnTo>
                  <a:pt x="1537" y="3088"/>
                </a:lnTo>
                <a:lnTo>
                  <a:pt x="1537" y="3090"/>
                </a:lnTo>
                <a:lnTo>
                  <a:pt x="1535" y="3090"/>
                </a:lnTo>
                <a:lnTo>
                  <a:pt x="1532" y="3088"/>
                </a:lnTo>
                <a:lnTo>
                  <a:pt x="1534" y="3086"/>
                </a:lnTo>
                <a:lnTo>
                  <a:pt x="1532" y="3086"/>
                </a:lnTo>
                <a:lnTo>
                  <a:pt x="1532" y="3084"/>
                </a:lnTo>
                <a:lnTo>
                  <a:pt x="1535" y="3084"/>
                </a:lnTo>
                <a:lnTo>
                  <a:pt x="1537" y="3086"/>
                </a:lnTo>
                <a:lnTo>
                  <a:pt x="1539" y="3086"/>
                </a:lnTo>
                <a:lnTo>
                  <a:pt x="1540" y="3086"/>
                </a:lnTo>
                <a:lnTo>
                  <a:pt x="1540" y="3084"/>
                </a:lnTo>
                <a:lnTo>
                  <a:pt x="1539" y="3083"/>
                </a:lnTo>
                <a:lnTo>
                  <a:pt x="1539" y="3081"/>
                </a:lnTo>
                <a:lnTo>
                  <a:pt x="1540" y="3081"/>
                </a:lnTo>
                <a:lnTo>
                  <a:pt x="1542" y="3083"/>
                </a:lnTo>
                <a:lnTo>
                  <a:pt x="1542" y="3084"/>
                </a:lnTo>
                <a:lnTo>
                  <a:pt x="1542" y="3083"/>
                </a:lnTo>
                <a:lnTo>
                  <a:pt x="1542" y="3079"/>
                </a:lnTo>
                <a:lnTo>
                  <a:pt x="1540" y="3079"/>
                </a:lnTo>
                <a:lnTo>
                  <a:pt x="1539" y="3079"/>
                </a:lnTo>
                <a:lnTo>
                  <a:pt x="1537" y="3078"/>
                </a:lnTo>
                <a:lnTo>
                  <a:pt x="1535" y="3079"/>
                </a:lnTo>
                <a:lnTo>
                  <a:pt x="1537" y="3081"/>
                </a:lnTo>
                <a:lnTo>
                  <a:pt x="1537" y="3083"/>
                </a:lnTo>
                <a:lnTo>
                  <a:pt x="1534" y="3084"/>
                </a:lnTo>
                <a:lnTo>
                  <a:pt x="1532" y="3083"/>
                </a:lnTo>
                <a:lnTo>
                  <a:pt x="1529" y="3083"/>
                </a:lnTo>
                <a:lnTo>
                  <a:pt x="1529" y="3084"/>
                </a:lnTo>
                <a:lnTo>
                  <a:pt x="1530" y="3086"/>
                </a:lnTo>
                <a:lnTo>
                  <a:pt x="1529" y="3086"/>
                </a:lnTo>
                <a:lnTo>
                  <a:pt x="1530" y="3088"/>
                </a:lnTo>
                <a:lnTo>
                  <a:pt x="1529" y="3086"/>
                </a:lnTo>
                <a:lnTo>
                  <a:pt x="1527" y="3084"/>
                </a:lnTo>
                <a:lnTo>
                  <a:pt x="1525" y="3084"/>
                </a:lnTo>
                <a:lnTo>
                  <a:pt x="1523" y="3084"/>
                </a:lnTo>
                <a:lnTo>
                  <a:pt x="1525" y="3084"/>
                </a:lnTo>
                <a:lnTo>
                  <a:pt x="1523" y="3083"/>
                </a:lnTo>
                <a:lnTo>
                  <a:pt x="1522" y="3083"/>
                </a:lnTo>
                <a:lnTo>
                  <a:pt x="1522" y="3081"/>
                </a:lnTo>
                <a:lnTo>
                  <a:pt x="1518" y="3081"/>
                </a:lnTo>
                <a:lnTo>
                  <a:pt x="1517" y="3079"/>
                </a:lnTo>
                <a:lnTo>
                  <a:pt x="1513" y="3078"/>
                </a:lnTo>
                <a:lnTo>
                  <a:pt x="1512" y="3076"/>
                </a:lnTo>
                <a:lnTo>
                  <a:pt x="1513" y="3074"/>
                </a:lnTo>
                <a:lnTo>
                  <a:pt x="1512" y="3074"/>
                </a:lnTo>
                <a:lnTo>
                  <a:pt x="1510" y="3074"/>
                </a:lnTo>
                <a:lnTo>
                  <a:pt x="1508" y="3073"/>
                </a:lnTo>
                <a:lnTo>
                  <a:pt x="1506" y="3073"/>
                </a:lnTo>
                <a:lnTo>
                  <a:pt x="1505" y="3073"/>
                </a:lnTo>
                <a:lnTo>
                  <a:pt x="1503" y="3071"/>
                </a:lnTo>
                <a:lnTo>
                  <a:pt x="1505" y="3073"/>
                </a:lnTo>
                <a:lnTo>
                  <a:pt x="1505" y="3071"/>
                </a:lnTo>
                <a:lnTo>
                  <a:pt x="1506" y="3071"/>
                </a:lnTo>
                <a:lnTo>
                  <a:pt x="1505" y="3071"/>
                </a:lnTo>
                <a:lnTo>
                  <a:pt x="1503" y="3069"/>
                </a:lnTo>
                <a:lnTo>
                  <a:pt x="1501" y="3069"/>
                </a:lnTo>
                <a:lnTo>
                  <a:pt x="1498" y="3069"/>
                </a:lnTo>
                <a:lnTo>
                  <a:pt x="1498" y="3067"/>
                </a:lnTo>
                <a:lnTo>
                  <a:pt x="1495" y="3066"/>
                </a:lnTo>
                <a:lnTo>
                  <a:pt x="1493" y="3066"/>
                </a:lnTo>
                <a:lnTo>
                  <a:pt x="1495" y="3064"/>
                </a:lnTo>
                <a:lnTo>
                  <a:pt x="1493" y="3064"/>
                </a:lnTo>
                <a:lnTo>
                  <a:pt x="1491" y="3062"/>
                </a:lnTo>
                <a:lnTo>
                  <a:pt x="1489" y="3062"/>
                </a:lnTo>
                <a:lnTo>
                  <a:pt x="1488" y="3064"/>
                </a:lnTo>
                <a:lnTo>
                  <a:pt x="1486" y="3062"/>
                </a:lnTo>
                <a:lnTo>
                  <a:pt x="1484" y="3062"/>
                </a:lnTo>
                <a:lnTo>
                  <a:pt x="1484" y="3061"/>
                </a:lnTo>
                <a:lnTo>
                  <a:pt x="1484" y="3062"/>
                </a:lnTo>
                <a:lnTo>
                  <a:pt x="1486" y="3064"/>
                </a:lnTo>
                <a:lnTo>
                  <a:pt x="1488" y="3066"/>
                </a:lnTo>
                <a:lnTo>
                  <a:pt x="1486" y="3064"/>
                </a:lnTo>
                <a:lnTo>
                  <a:pt x="1483" y="3064"/>
                </a:lnTo>
                <a:lnTo>
                  <a:pt x="1483" y="3062"/>
                </a:lnTo>
                <a:lnTo>
                  <a:pt x="1481" y="3062"/>
                </a:lnTo>
                <a:lnTo>
                  <a:pt x="1478" y="3062"/>
                </a:lnTo>
                <a:lnTo>
                  <a:pt x="1476" y="3061"/>
                </a:lnTo>
                <a:lnTo>
                  <a:pt x="1474" y="3061"/>
                </a:lnTo>
                <a:lnTo>
                  <a:pt x="1472" y="3061"/>
                </a:lnTo>
                <a:lnTo>
                  <a:pt x="1471" y="3061"/>
                </a:lnTo>
                <a:lnTo>
                  <a:pt x="1469" y="3061"/>
                </a:lnTo>
                <a:lnTo>
                  <a:pt x="1471" y="3059"/>
                </a:lnTo>
                <a:lnTo>
                  <a:pt x="1469" y="3057"/>
                </a:lnTo>
                <a:lnTo>
                  <a:pt x="1466" y="3057"/>
                </a:lnTo>
                <a:lnTo>
                  <a:pt x="1464" y="3057"/>
                </a:lnTo>
                <a:lnTo>
                  <a:pt x="1462" y="3056"/>
                </a:lnTo>
                <a:lnTo>
                  <a:pt x="1461" y="3056"/>
                </a:lnTo>
                <a:lnTo>
                  <a:pt x="1457" y="3054"/>
                </a:lnTo>
                <a:lnTo>
                  <a:pt x="1455" y="3054"/>
                </a:lnTo>
                <a:lnTo>
                  <a:pt x="1454" y="3054"/>
                </a:lnTo>
                <a:lnTo>
                  <a:pt x="1452" y="3054"/>
                </a:lnTo>
                <a:lnTo>
                  <a:pt x="1450" y="3054"/>
                </a:lnTo>
                <a:lnTo>
                  <a:pt x="1449" y="3054"/>
                </a:lnTo>
                <a:lnTo>
                  <a:pt x="1447" y="3052"/>
                </a:lnTo>
                <a:lnTo>
                  <a:pt x="1449" y="3052"/>
                </a:lnTo>
                <a:lnTo>
                  <a:pt x="1447" y="3050"/>
                </a:lnTo>
                <a:lnTo>
                  <a:pt x="1449" y="3050"/>
                </a:lnTo>
                <a:lnTo>
                  <a:pt x="1450" y="3052"/>
                </a:lnTo>
                <a:lnTo>
                  <a:pt x="1454" y="3050"/>
                </a:lnTo>
                <a:lnTo>
                  <a:pt x="1455" y="3050"/>
                </a:lnTo>
                <a:lnTo>
                  <a:pt x="1457" y="3050"/>
                </a:lnTo>
                <a:lnTo>
                  <a:pt x="1459" y="3050"/>
                </a:lnTo>
                <a:lnTo>
                  <a:pt x="1461" y="3052"/>
                </a:lnTo>
                <a:lnTo>
                  <a:pt x="1461" y="3050"/>
                </a:lnTo>
                <a:lnTo>
                  <a:pt x="1461" y="3052"/>
                </a:lnTo>
                <a:lnTo>
                  <a:pt x="1462" y="3052"/>
                </a:lnTo>
                <a:lnTo>
                  <a:pt x="1464" y="3052"/>
                </a:lnTo>
                <a:lnTo>
                  <a:pt x="1466" y="3052"/>
                </a:lnTo>
                <a:lnTo>
                  <a:pt x="1467" y="3054"/>
                </a:lnTo>
                <a:lnTo>
                  <a:pt x="1469" y="3054"/>
                </a:lnTo>
                <a:lnTo>
                  <a:pt x="1471" y="3057"/>
                </a:lnTo>
                <a:lnTo>
                  <a:pt x="1472" y="3057"/>
                </a:lnTo>
                <a:lnTo>
                  <a:pt x="1474" y="3057"/>
                </a:lnTo>
                <a:lnTo>
                  <a:pt x="1474" y="3056"/>
                </a:lnTo>
                <a:lnTo>
                  <a:pt x="1476" y="3057"/>
                </a:lnTo>
                <a:lnTo>
                  <a:pt x="1478" y="3057"/>
                </a:lnTo>
                <a:lnTo>
                  <a:pt x="1479" y="3057"/>
                </a:lnTo>
                <a:lnTo>
                  <a:pt x="1481" y="3059"/>
                </a:lnTo>
                <a:lnTo>
                  <a:pt x="1483" y="3059"/>
                </a:lnTo>
                <a:lnTo>
                  <a:pt x="1481" y="3059"/>
                </a:lnTo>
                <a:lnTo>
                  <a:pt x="1483" y="3059"/>
                </a:lnTo>
                <a:lnTo>
                  <a:pt x="1484" y="3061"/>
                </a:lnTo>
                <a:lnTo>
                  <a:pt x="1486" y="3061"/>
                </a:lnTo>
                <a:lnTo>
                  <a:pt x="1483" y="3059"/>
                </a:lnTo>
                <a:lnTo>
                  <a:pt x="1484" y="3059"/>
                </a:lnTo>
                <a:lnTo>
                  <a:pt x="1483" y="3059"/>
                </a:lnTo>
                <a:lnTo>
                  <a:pt x="1481" y="3057"/>
                </a:lnTo>
                <a:lnTo>
                  <a:pt x="1479" y="3057"/>
                </a:lnTo>
                <a:lnTo>
                  <a:pt x="1478" y="3056"/>
                </a:lnTo>
                <a:lnTo>
                  <a:pt x="1476" y="3056"/>
                </a:lnTo>
                <a:lnTo>
                  <a:pt x="1478" y="3056"/>
                </a:lnTo>
                <a:lnTo>
                  <a:pt x="1479" y="3056"/>
                </a:lnTo>
                <a:lnTo>
                  <a:pt x="1478" y="3054"/>
                </a:lnTo>
                <a:lnTo>
                  <a:pt x="1474" y="3056"/>
                </a:lnTo>
                <a:lnTo>
                  <a:pt x="1472" y="3052"/>
                </a:lnTo>
                <a:lnTo>
                  <a:pt x="1471" y="3052"/>
                </a:lnTo>
                <a:lnTo>
                  <a:pt x="1471" y="3050"/>
                </a:lnTo>
                <a:lnTo>
                  <a:pt x="1471" y="3049"/>
                </a:lnTo>
                <a:lnTo>
                  <a:pt x="1469" y="3050"/>
                </a:lnTo>
                <a:lnTo>
                  <a:pt x="1471" y="3049"/>
                </a:lnTo>
                <a:lnTo>
                  <a:pt x="1469" y="3049"/>
                </a:lnTo>
                <a:lnTo>
                  <a:pt x="1471" y="3047"/>
                </a:lnTo>
                <a:lnTo>
                  <a:pt x="1469" y="3049"/>
                </a:lnTo>
                <a:lnTo>
                  <a:pt x="1467" y="3047"/>
                </a:lnTo>
                <a:lnTo>
                  <a:pt x="1467" y="3049"/>
                </a:lnTo>
                <a:lnTo>
                  <a:pt x="1466" y="3047"/>
                </a:lnTo>
                <a:lnTo>
                  <a:pt x="1464" y="3045"/>
                </a:lnTo>
                <a:lnTo>
                  <a:pt x="1462" y="3044"/>
                </a:lnTo>
                <a:lnTo>
                  <a:pt x="1461" y="3044"/>
                </a:lnTo>
                <a:lnTo>
                  <a:pt x="1459" y="3042"/>
                </a:lnTo>
                <a:lnTo>
                  <a:pt x="1457" y="3040"/>
                </a:lnTo>
                <a:lnTo>
                  <a:pt x="1454" y="3040"/>
                </a:lnTo>
                <a:lnTo>
                  <a:pt x="1454" y="3039"/>
                </a:lnTo>
                <a:lnTo>
                  <a:pt x="1450" y="3039"/>
                </a:lnTo>
                <a:lnTo>
                  <a:pt x="1450" y="3037"/>
                </a:lnTo>
                <a:lnTo>
                  <a:pt x="1449" y="3037"/>
                </a:lnTo>
                <a:lnTo>
                  <a:pt x="1447" y="3033"/>
                </a:lnTo>
                <a:lnTo>
                  <a:pt x="1445" y="3033"/>
                </a:lnTo>
                <a:lnTo>
                  <a:pt x="1445" y="3032"/>
                </a:lnTo>
                <a:lnTo>
                  <a:pt x="1444" y="3032"/>
                </a:lnTo>
                <a:lnTo>
                  <a:pt x="1442" y="3030"/>
                </a:lnTo>
                <a:lnTo>
                  <a:pt x="1442" y="3028"/>
                </a:lnTo>
                <a:lnTo>
                  <a:pt x="1440" y="3028"/>
                </a:lnTo>
                <a:lnTo>
                  <a:pt x="1438" y="3025"/>
                </a:lnTo>
                <a:lnTo>
                  <a:pt x="1435" y="3027"/>
                </a:lnTo>
                <a:lnTo>
                  <a:pt x="1432" y="3027"/>
                </a:lnTo>
                <a:lnTo>
                  <a:pt x="1432" y="3025"/>
                </a:lnTo>
                <a:lnTo>
                  <a:pt x="1432" y="3027"/>
                </a:lnTo>
                <a:lnTo>
                  <a:pt x="1430" y="3025"/>
                </a:lnTo>
                <a:lnTo>
                  <a:pt x="1428" y="3025"/>
                </a:lnTo>
                <a:lnTo>
                  <a:pt x="1428" y="3023"/>
                </a:lnTo>
                <a:lnTo>
                  <a:pt x="1425" y="3025"/>
                </a:lnTo>
                <a:lnTo>
                  <a:pt x="1425" y="3023"/>
                </a:lnTo>
                <a:lnTo>
                  <a:pt x="1421" y="3023"/>
                </a:lnTo>
                <a:lnTo>
                  <a:pt x="1421" y="3022"/>
                </a:lnTo>
                <a:lnTo>
                  <a:pt x="1420" y="3020"/>
                </a:lnTo>
                <a:lnTo>
                  <a:pt x="1418" y="3020"/>
                </a:lnTo>
                <a:lnTo>
                  <a:pt x="1415" y="3022"/>
                </a:lnTo>
                <a:lnTo>
                  <a:pt x="1415" y="3020"/>
                </a:lnTo>
                <a:lnTo>
                  <a:pt x="1411" y="3020"/>
                </a:lnTo>
                <a:lnTo>
                  <a:pt x="1413" y="3020"/>
                </a:lnTo>
                <a:lnTo>
                  <a:pt x="1413" y="3018"/>
                </a:lnTo>
                <a:lnTo>
                  <a:pt x="1416" y="3018"/>
                </a:lnTo>
                <a:lnTo>
                  <a:pt x="1413" y="3018"/>
                </a:lnTo>
                <a:lnTo>
                  <a:pt x="1410" y="3018"/>
                </a:lnTo>
                <a:lnTo>
                  <a:pt x="1408" y="3018"/>
                </a:lnTo>
                <a:lnTo>
                  <a:pt x="1406" y="3020"/>
                </a:lnTo>
                <a:lnTo>
                  <a:pt x="1404" y="3020"/>
                </a:lnTo>
                <a:lnTo>
                  <a:pt x="1403" y="3020"/>
                </a:lnTo>
                <a:lnTo>
                  <a:pt x="1401" y="3022"/>
                </a:lnTo>
                <a:lnTo>
                  <a:pt x="1398" y="3022"/>
                </a:lnTo>
                <a:lnTo>
                  <a:pt x="1401" y="3022"/>
                </a:lnTo>
                <a:lnTo>
                  <a:pt x="1401" y="3023"/>
                </a:lnTo>
                <a:lnTo>
                  <a:pt x="1399" y="3023"/>
                </a:lnTo>
                <a:lnTo>
                  <a:pt x="1398" y="3023"/>
                </a:lnTo>
                <a:lnTo>
                  <a:pt x="1399" y="3023"/>
                </a:lnTo>
                <a:lnTo>
                  <a:pt x="1398" y="3025"/>
                </a:lnTo>
                <a:lnTo>
                  <a:pt x="1396" y="3023"/>
                </a:lnTo>
                <a:lnTo>
                  <a:pt x="1394" y="3025"/>
                </a:lnTo>
                <a:lnTo>
                  <a:pt x="1394" y="3023"/>
                </a:lnTo>
                <a:lnTo>
                  <a:pt x="1393" y="3023"/>
                </a:lnTo>
                <a:lnTo>
                  <a:pt x="1391" y="3023"/>
                </a:lnTo>
                <a:lnTo>
                  <a:pt x="1389" y="3023"/>
                </a:lnTo>
                <a:lnTo>
                  <a:pt x="1391" y="3022"/>
                </a:lnTo>
                <a:lnTo>
                  <a:pt x="1389" y="3022"/>
                </a:lnTo>
                <a:lnTo>
                  <a:pt x="1391" y="3022"/>
                </a:lnTo>
                <a:lnTo>
                  <a:pt x="1391" y="3020"/>
                </a:lnTo>
                <a:lnTo>
                  <a:pt x="1389" y="3022"/>
                </a:lnTo>
                <a:lnTo>
                  <a:pt x="1389" y="3020"/>
                </a:lnTo>
                <a:lnTo>
                  <a:pt x="1387" y="3020"/>
                </a:lnTo>
                <a:lnTo>
                  <a:pt x="1389" y="3018"/>
                </a:lnTo>
                <a:lnTo>
                  <a:pt x="1387" y="3018"/>
                </a:lnTo>
                <a:lnTo>
                  <a:pt x="1387" y="3016"/>
                </a:lnTo>
                <a:lnTo>
                  <a:pt x="1387" y="3015"/>
                </a:lnTo>
                <a:lnTo>
                  <a:pt x="1387" y="3013"/>
                </a:lnTo>
                <a:lnTo>
                  <a:pt x="1391" y="3013"/>
                </a:lnTo>
                <a:lnTo>
                  <a:pt x="1387" y="3013"/>
                </a:lnTo>
                <a:lnTo>
                  <a:pt x="1386" y="3013"/>
                </a:lnTo>
                <a:lnTo>
                  <a:pt x="1387" y="3013"/>
                </a:lnTo>
                <a:lnTo>
                  <a:pt x="1389" y="3013"/>
                </a:lnTo>
                <a:lnTo>
                  <a:pt x="1387" y="3011"/>
                </a:lnTo>
                <a:lnTo>
                  <a:pt x="1389" y="3011"/>
                </a:lnTo>
                <a:lnTo>
                  <a:pt x="1389" y="3010"/>
                </a:lnTo>
                <a:lnTo>
                  <a:pt x="1387" y="3010"/>
                </a:lnTo>
                <a:lnTo>
                  <a:pt x="1387" y="3011"/>
                </a:lnTo>
                <a:lnTo>
                  <a:pt x="1386" y="3010"/>
                </a:lnTo>
                <a:lnTo>
                  <a:pt x="1384" y="3010"/>
                </a:lnTo>
                <a:lnTo>
                  <a:pt x="1384" y="3008"/>
                </a:lnTo>
                <a:lnTo>
                  <a:pt x="1382" y="3008"/>
                </a:lnTo>
                <a:lnTo>
                  <a:pt x="1379" y="3006"/>
                </a:lnTo>
                <a:lnTo>
                  <a:pt x="1377" y="3006"/>
                </a:lnTo>
                <a:lnTo>
                  <a:pt x="1377" y="3005"/>
                </a:lnTo>
                <a:lnTo>
                  <a:pt x="1376" y="3006"/>
                </a:lnTo>
                <a:lnTo>
                  <a:pt x="1374" y="3003"/>
                </a:lnTo>
                <a:lnTo>
                  <a:pt x="1372" y="3003"/>
                </a:lnTo>
                <a:lnTo>
                  <a:pt x="1370" y="3003"/>
                </a:lnTo>
                <a:lnTo>
                  <a:pt x="1372" y="3001"/>
                </a:lnTo>
                <a:lnTo>
                  <a:pt x="1374" y="3003"/>
                </a:lnTo>
                <a:lnTo>
                  <a:pt x="1374" y="3001"/>
                </a:lnTo>
                <a:lnTo>
                  <a:pt x="1370" y="2999"/>
                </a:lnTo>
                <a:lnTo>
                  <a:pt x="1369" y="2999"/>
                </a:lnTo>
                <a:lnTo>
                  <a:pt x="1367" y="2999"/>
                </a:lnTo>
                <a:lnTo>
                  <a:pt x="1365" y="2996"/>
                </a:lnTo>
                <a:lnTo>
                  <a:pt x="1364" y="2996"/>
                </a:lnTo>
                <a:lnTo>
                  <a:pt x="1362" y="2996"/>
                </a:lnTo>
                <a:lnTo>
                  <a:pt x="1360" y="2993"/>
                </a:lnTo>
                <a:lnTo>
                  <a:pt x="1359" y="2993"/>
                </a:lnTo>
                <a:lnTo>
                  <a:pt x="1359" y="2991"/>
                </a:lnTo>
                <a:lnTo>
                  <a:pt x="1357" y="2991"/>
                </a:lnTo>
                <a:lnTo>
                  <a:pt x="1355" y="2988"/>
                </a:lnTo>
                <a:lnTo>
                  <a:pt x="1353" y="2988"/>
                </a:lnTo>
                <a:lnTo>
                  <a:pt x="1353" y="2986"/>
                </a:lnTo>
                <a:lnTo>
                  <a:pt x="1352" y="2984"/>
                </a:lnTo>
                <a:lnTo>
                  <a:pt x="1350" y="2982"/>
                </a:lnTo>
                <a:lnTo>
                  <a:pt x="1348" y="2981"/>
                </a:lnTo>
                <a:lnTo>
                  <a:pt x="1347" y="2979"/>
                </a:lnTo>
                <a:lnTo>
                  <a:pt x="1345" y="2979"/>
                </a:lnTo>
                <a:lnTo>
                  <a:pt x="1345" y="2977"/>
                </a:lnTo>
                <a:lnTo>
                  <a:pt x="1347" y="2976"/>
                </a:lnTo>
                <a:lnTo>
                  <a:pt x="1343" y="2974"/>
                </a:lnTo>
                <a:lnTo>
                  <a:pt x="1343" y="2972"/>
                </a:lnTo>
                <a:lnTo>
                  <a:pt x="1345" y="2971"/>
                </a:lnTo>
                <a:lnTo>
                  <a:pt x="1347" y="2974"/>
                </a:lnTo>
                <a:lnTo>
                  <a:pt x="1348" y="2972"/>
                </a:lnTo>
                <a:lnTo>
                  <a:pt x="1347" y="2971"/>
                </a:lnTo>
                <a:lnTo>
                  <a:pt x="1348" y="2971"/>
                </a:lnTo>
                <a:lnTo>
                  <a:pt x="1347" y="2971"/>
                </a:lnTo>
                <a:lnTo>
                  <a:pt x="1348" y="2971"/>
                </a:lnTo>
                <a:lnTo>
                  <a:pt x="1350" y="2972"/>
                </a:lnTo>
                <a:lnTo>
                  <a:pt x="1352" y="2974"/>
                </a:lnTo>
                <a:lnTo>
                  <a:pt x="1352" y="2972"/>
                </a:lnTo>
                <a:lnTo>
                  <a:pt x="1352" y="2971"/>
                </a:lnTo>
                <a:lnTo>
                  <a:pt x="1350" y="2969"/>
                </a:lnTo>
                <a:lnTo>
                  <a:pt x="1350" y="2967"/>
                </a:lnTo>
                <a:lnTo>
                  <a:pt x="1353" y="2969"/>
                </a:lnTo>
                <a:lnTo>
                  <a:pt x="1353" y="2971"/>
                </a:lnTo>
                <a:lnTo>
                  <a:pt x="1355" y="2971"/>
                </a:lnTo>
                <a:lnTo>
                  <a:pt x="1357" y="2972"/>
                </a:lnTo>
                <a:lnTo>
                  <a:pt x="1360" y="2971"/>
                </a:lnTo>
                <a:lnTo>
                  <a:pt x="1360" y="2972"/>
                </a:lnTo>
                <a:lnTo>
                  <a:pt x="1364" y="2972"/>
                </a:lnTo>
                <a:lnTo>
                  <a:pt x="1364" y="2974"/>
                </a:lnTo>
                <a:lnTo>
                  <a:pt x="1362" y="2976"/>
                </a:lnTo>
                <a:lnTo>
                  <a:pt x="1364" y="2977"/>
                </a:lnTo>
                <a:lnTo>
                  <a:pt x="1367" y="2976"/>
                </a:lnTo>
                <a:lnTo>
                  <a:pt x="1367" y="2977"/>
                </a:lnTo>
                <a:lnTo>
                  <a:pt x="1369" y="2977"/>
                </a:lnTo>
                <a:lnTo>
                  <a:pt x="1369" y="2981"/>
                </a:lnTo>
                <a:lnTo>
                  <a:pt x="1370" y="2979"/>
                </a:lnTo>
                <a:lnTo>
                  <a:pt x="1369" y="2977"/>
                </a:lnTo>
                <a:lnTo>
                  <a:pt x="1367" y="2976"/>
                </a:lnTo>
                <a:lnTo>
                  <a:pt x="1365" y="2974"/>
                </a:lnTo>
                <a:lnTo>
                  <a:pt x="1364" y="2974"/>
                </a:lnTo>
                <a:lnTo>
                  <a:pt x="1364" y="2972"/>
                </a:lnTo>
                <a:lnTo>
                  <a:pt x="1364" y="2971"/>
                </a:lnTo>
                <a:lnTo>
                  <a:pt x="1362" y="2971"/>
                </a:lnTo>
                <a:lnTo>
                  <a:pt x="1360" y="2971"/>
                </a:lnTo>
                <a:lnTo>
                  <a:pt x="1359" y="2969"/>
                </a:lnTo>
                <a:lnTo>
                  <a:pt x="1357" y="2967"/>
                </a:lnTo>
                <a:lnTo>
                  <a:pt x="1353" y="2967"/>
                </a:lnTo>
                <a:lnTo>
                  <a:pt x="1352" y="2965"/>
                </a:lnTo>
                <a:lnTo>
                  <a:pt x="1350" y="2965"/>
                </a:lnTo>
                <a:lnTo>
                  <a:pt x="1350" y="2964"/>
                </a:lnTo>
                <a:lnTo>
                  <a:pt x="1347" y="2960"/>
                </a:lnTo>
                <a:lnTo>
                  <a:pt x="1345" y="2959"/>
                </a:lnTo>
                <a:lnTo>
                  <a:pt x="1343" y="2959"/>
                </a:lnTo>
                <a:lnTo>
                  <a:pt x="1343" y="2957"/>
                </a:lnTo>
                <a:lnTo>
                  <a:pt x="1342" y="2955"/>
                </a:lnTo>
                <a:lnTo>
                  <a:pt x="1340" y="2954"/>
                </a:lnTo>
                <a:lnTo>
                  <a:pt x="1336" y="2952"/>
                </a:lnTo>
                <a:lnTo>
                  <a:pt x="1335" y="2952"/>
                </a:lnTo>
                <a:lnTo>
                  <a:pt x="1333" y="2948"/>
                </a:lnTo>
                <a:lnTo>
                  <a:pt x="1333" y="2947"/>
                </a:lnTo>
                <a:lnTo>
                  <a:pt x="1331" y="2947"/>
                </a:lnTo>
                <a:lnTo>
                  <a:pt x="1331" y="2945"/>
                </a:lnTo>
                <a:lnTo>
                  <a:pt x="1330" y="2943"/>
                </a:lnTo>
                <a:lnTo>
                  <a:pt x="1330" y="2942"/>
                </a:lnTo>
                <a:lnTo>
                  <a:pt x="1330" y="2940"/>
                </a:lnTo>
                <a:lnTo>
                  <a:pt x="1330" y="2938"/>
                </a:lnTo>
                <a:lnTo>
                  <a:pt x="1328" y="2936"/>
                </a:lnTo>
                <a:lnTo>
                  <a:pt x="1328" y="2933"/>
                </a:lnTo>
                <a:lnTo>
                  <a:pt x="1330" y="2931"/>
                </a:lnTo>
                <a:lnTo>
                  <a:pt x="1330" y="2930"/>
                </a:lnTo>
                <a:lnTo>
                  <a:pt x="1330" y="2928"/>
                </a:lnTo>
                <a:lnTo>
                  <a:pt x="1330" y="2926"/>
                </a:lnTo>
                <a:lnTo>
                  <a:pt x="1330" y="2925"/>
                </a:lnTo>
                <a:lnTo>
                  <a:pt x="1328" y="2923"/>
                </a:lnTo>
                <a:lnTo>
                  <a:pt x="1328" y="2921"/>
                </a:lnTo>
                <a:lnTo>
                  <a:pt x="1328" y="2919"/>
                </a:lnTo>
                <a:lnTo>
                  <a:pt x="1328" y="2918"/>
                </a:lnTo>
                <a:lnTo>
                  <a:pt x="1326" y="2916"/>
                </a:lnTo>
                <a:lnTo>
                  <a:pt x="1325" y="2914"/>
                </a:lnTo>
                <a:lnTo>
                  <a:pt x="1326" y="2913"/>
                </a:lnTo>
                <a:lnTo>
                  <a:pt x="1325" y="2914"/>
                </a:lnTo>
                <a:lnTo>
                  <a:pt x="1325" y="2913"/>
                </a:lnTo>
                <a:lnTo>
                  <a:pt x="1325" y="2914"/>
                </a:lnTo>
                <a:lnTo>
                  <a:pt x="1323" y="2913"/>
                </a:lnTo>
                <a:lnTo>
                  <a:pt x="1319" y="2913"/>
                </a:lnTo>
                <a:lnTo>
                  <a:pt x="1319" y="2911"/>
                </a:lnTo>
                <a:lnTo>
                  <a:pt x="1318" y="2909"/>
                </a:lnTo>
                <a:lnTo>
                  <a:pt x="1316" y="2908"/>
                </a:lnTo>
                <a:lnTo>
                  <a:pt x="1313" y="2908"/>
                </a:lnTo>
                <a:lnTo>
                  <a:pt x="1313" y="2906"/>
                </a:lnTo>
                <a:lnTo>
                  <a:pt x="1311" y="2904"/>
                </a:lnTo>
                <a:lnTo>
                  <a:pt x="1311" y="2902"/>
                </a:lnTo>
                <a:lnTo>
                  <a:pt x="1309" y="2901"/>
                </a:lnTo>
                <a:lnTo>
                  <a:pt x="1311" y="2902"/>
                </a:lnTo>
                <a:lnTo>
                  <a:pt x="1309" y="2902"/>
                </a:lnTo>
                <a:lnTo>
                  <a:pt x="1308" y="2902"/>
                </a:lnTo>
                <a:lnTo>
                  <a:pt x="1306" y="2901"/>
                </a:lnTo>
                <a:lnTo>
                  <a:pt x="1304" y="2899"/>
                </a:lnTo>
                <a:lnTo>
                  <a:pt x="1304" y="2901"/>
                </a:lnTo>
                <a:lnTo>
                  <a:pt x="1302" y="2899"/>
                </a:lnTo>
                <a:lnTo>
                  <a:pt x="1301" y="2899"/>
                </a:lnTo>
                <a:lnTo>
                  <a:pt x="1299" y="2899"/>
                </a:lnTo>
                <a:lnTo>
                  <a:pt x="1297" y="2899"/>
                </a:lnTo>
                <a:lnTo>
                  <a:pt x="1297" y="2902"/>
                </a:lnTo>
                <a:lnTo>
                  <a:pt x="1296" y="2904"/>
                </a:lnTo>
                <a:lnTo>
                  <a:pt x="1296" y="2906"/>
                </a:lnTo>
                <a:lnTo>
                  <a:pt x="1296" y="2909"/>
                </a:lnTo>
                <a:lnTo>
                  <a:pt x="1296" y="2911"/>
                </a:lnTo>
                <a:lnTo>
                  <a:pt x="1294" y="2914"/>
                </a:lnTo>
                <a:lnTo>
                  <a:pt x="1294" y="2916"/>
                </a:lnTo>
                <a:lnTo>
                  <a:pt x="1292" y="2914"/>
                </a:lnTo>
                <a:lnTo>
                  <a:pt x="1294" y="2916"/>
                </a:lnTo>
                <a:lnTo>
                  <a:pt x="1292" y="2918"/>
                </a:lnTo>
                <a:lnTo>
                  <a:pt x="1291" y="2918"/>
                </a:lnTo>
                <a:lnTo>
                  <a:pt x="1292" y="2921"/>
                </a:lnTo>
                <a:lnTo>
                  <a:pt x="1291" y="2919"/>
                </a:lnTo>
                <a:lnTo>
                  <a:pt x="1292" y="2921"/>
                </a:lnTo>
                <a:lnTo>
                  <a:pt x="1292" y="2923"/>
                </a:lnTo>
                <a:lnTo>
                  <a:pt x="1292" y="2925"/>
                </a:lnTo>
                <a:lnTo>
                  <a:pt x="1292" y="2926"/>
                </a:lnTo>
                <a:lnTo>
                  <a:pt x="1289" y="2926"/>
                </a:lnTo>
                <a:lnTo>
                  <a:pt x="1287" y="2928"/>
                </a:lnTo>
                <a:lnTo>
                  <a:pt x="1287" y="2926"/>
                </a:lnTo>
                <a:lnTo>
                  <a:pt x="1289" y="2926"/>
                </a:lnTo>
                <a:lnTo>
                  <a:pt x="1287" y="2923"/>
                </a:lnTo>
                <a:lnTo>
                  <a:pt x="1287" y="2925"/>
                </a:lnTo>
                <a:lnTo>
                  <a:pt x="1285" y="2921"/>
                </a:lnTo>
                <a:lnTo>
                  <a:pt x="1285" y="2925"/>
                </a:lnTo>
                <a:lnTo>
                  <a:pt x="1287" y="2926"/>
                </a:lnTo>
                <a:lnTo>
                  <a:pt x="1287" y="2928"/>
                </a:lnTo>
                <a:lnTo>
                  <a:pt x="1285" y="2928"/>
                </a:lnTo>
                <a:lnTo>
                  <a:pt x="1287" y="2928"/>
                </a:lnTo>
                <a:lnTo>
                  <a:pt x="1285" y="2930"/>
                </a:lnTo>
                <a:lnTo>
                  <a:pt x="1285" y="2931"/>
                </a:lnTo>
                <a:lnTo>
                  <a:pt x="1284" y="2931"/>
                </a:lnTo>
                <a:lnTo>
                  <a:pt x="1284" y="2933"/>
                </a:lnTo>
                <a:lnTo>
                  <a:pt x="1284" y="2935"/>
                </a:lnTo>
                <a:lnTo>
                  <a:pt x="1284" y="2936"/>
                </a:lnTo>
                <a:lnTo>
                  <a:pt x="1285" y="2938"/>
                </a:lnTo>
                <a:lnTo>
                  <a:pt x="1282" y="2938"/>
                </a:lnTo>
                <a:lnTo>
                  <a:pt x="1280" y="2938"/>
                </a:lnTo>
                <a:lnTo>
                  <a:pt x="1280" y="2936"/>
                </a:lnTo>
                <a:lnTo>
                  <a:pt x="1279" y="2936"/>
                </a:lnTo>
                <a:lnTo>
                  <a:pt x="1280" y="2938"/>
                </a:lnTo>
                <a:lnTo>
                  <a:pt x="1280" y="2940"/>
                </a:lnTo>
                <a:lnTo>
                  <a:pt x="1280" y="2938"/>
                </a:lnTo>
                <a:lnTo>
                  <a:pt x="1279" y="2938"/>
                </a:lnTo>
                <a:lnTo>
                  <a:pt x="1279" y="2936"/>
                </a:lnTo>
                <a:lnTo>
                  <a:pt x="1277" y="2936"/>
                </a:lnTo>
                <a:lnTo>
                  <a:pt x="1277" y="2935"/>
                </a:lnTo>
                <a:lnTo>
                  <a:pt x="1277" y="2936"/>
                </a:lnTo>
                <a:lnTo>
                  <a:pt x="1277" y="2935"/>
                </a:lnTo>
                <a:lnTo>
                  <a:pt x="1274" y="2935"/>
                </a:lnTo>
                <a:lnTo>
                  <a:pt x="1274" y="2933"/>
                </a:lnTo>
                <a:lnTo>
                  <a:pt x="1277" y="2935"/>
                </a:lnTo>
                <a:lnTo>
                  <a:pt x="1277" y="2933"/>
                </a:lnTo>
                <a:lnTo>
                  <a:pt x="1275" y="2933"/>
                </a:lnTo>
                <a:lnTo>
                  <a:pt x="1274" y="2933"/>
                </a:lnTo>
                <a:lnTo>
                  <a:pt x="1275" y="2931"/>
                </a:lnTo>
                <a:lnTo>
                  <a:pt x="1274" y="2930"/>
                </a:lnTo>
                <a:lnTo>
                  <a:pt x="1274" y="2928"/>
                </a:lnTo>
                <a:lnTo>
                  <a:pt x="1272" y="2926"/>
                </a:lnTo>
                <a:lnTo>
                  <a:pt x="1270" y="2926"/>
                </a:lnTo>
                <a:lnTo>
                  <a:pt x="1270" y="2923"/>
                </a:lnTo>
                <a:lnTo>
                  <a:pt x="1268" y="2923"/>
                </a:lnTo>
                <a:lnTo>
                  <a:pt x="1268" y="2921"/>
                </a:lnTo>
                <a:lnTo>
                  <a:pt x="1267" y="2921"/>
                </a:lnTo>
                <a:lnTo>
                  <a:pt x="1265" y="2921"/>
                </a:lnTo>
                <a:lnTo>
                  <a:pt x="1265" y="2918"/>
                </a:lnTo>
                <a:lnTo>
                  <a:pt x="1263" y="2918"/>
                </a:lnTo>
                <a:lnTo>
                  <a:pt x="1265" y="2918"/>
                </a:lnTo>
                <a:lnTo>
                  <a:pt x="1265" y="2916"/>
                </a:lnTo>
                <a:lnTo>
                  <a:pt x="1268" y="2916"/>
                </a:lnTo>
                <a:lnTo>
                  <a:pt x="1270" y="2916"/>
                </a:lnTo>
                <a:lnTo>
                  <a:pt x="1268" y="2914"/>
                </a:lnTo>
                <a:lnTo>
                  <a:pt x="1268" y="2916"/>
                </a:lnTo>
                <a:lnTo>
                  <a:pt x="1265" y="2916"/>
                </a:lnTo>
                <a:lnTo>
                  <a:pt x="1263" y="2916"/>
                </a:lnTo>
                <a:lnTo>
                  <a:pt x="1263" y="2914"/>
                </a:lnTo>
                <a:lnTo>
                  <a:pt x="1262" y="2911"/>
                </a:lnTo>
                <a:lnTo>
                  <a:pt x="1263" y="2911"/>
                </a:lnTo>
                <a:lnTo>
                  <a:pt x="1263" y="2908"/>
                </a:lnTo>
                <a:lnTo>
                  <a:pt x="1262" y="2906"/>
                </a:lnTo>
                <a:lnTo>
                  <a:pt x="1263" y="2906"/>
                </a:lnTo>
                <a:lnTo>
                  <a:pt x="1262" y="2904"/>
                </a:lnTo>
                <a:lnTo>
                  <a:pt x="1263" y="2902"/>
                </a:lnTo>
                <a:lnTo>
                  <a:pt x="1262" y="2902"/>
                </a:lnTo>
                <a:lnTo>
                  <a:pt x="1260" y="2902"/>
                </a:lnTo>
                <a:lnTo>
                  <a:pt x="1260" y="2901"/>
                </a:lnTo>
                <a:lnTo>
                  <a:pt x="1260" y="2899"/>
                </a:lnTo>
                <a:lnTo>
                  <a:pt x="1260" y="2897"/>
                </a:lnTo>
                <a:lnTo>
                  <a:pt x="1258" y="2896"/>
                </a:lnTo>
                <a:lnTo>
                  <a:pt x="1258" y="2894"/>
                </a:lnTo>
                <a:lnTo>
                  <a:pt x="1258" y="2892"/>
                </a:lnTo>
                <a:lnTo>
                  <a:pt x="1257" y="2891"/>
                </a:lnTo>
                <a:lnTo>
                  <a:pt x="1258" y="2891"/>
                </a:lnTo>
                <a:lnTo>
                  <a:pt x="1260" y="2891"/>
                </a:lnTo>
                <a:lnTo>
                  <a:pt x="1262" y="2892"/>
                </a:lnTo>
                <a:lnTo>
                  <a:pt x="1262" y="2889"/>
                </a:lnTo>
                <a:lnTo>
                  <a:pt x="1260" y="2887"/>
                </a:lnTo>
                <a:lnTo>
                  <a:pt x="1262" y="2889"/>
                </a:lnTo>
                <a:lnTo>
                  <a:pt x="1263" y="2887"/>
                </a:lnTo>
                <a:lnTo>
                  <a:pt x="1265" y="2887"/>
                </a:lnTo>
                <a:lnTo>
                  <a:pt x="1267" y="2887"/>
                </a:lnTo>
                <a:lnTo>
                  <a:pt x="1268" y="2887"/>
                </a:lnTo>
                <a:lnTo>
                  <a:pt x="1268" y="2885"/>
                </a:lnTo>
                <a:lnTo>
                  <a:pt x="1267" y="2884"/>
                </a:lnTo>
                <a:lnTo>
                  <a:pt x="1268" y="2884"/>
                </a:lnTo>
                <a:lnTo>
                  <a:pt x="1268" y="2882"/>
                </a:lnTo>
                <a:lnTo>
                  <a:pt x="1272" y="2882"/>
                </a:lnTo>
                <a:lnTo>
                  <a:pt x="1270" y="2882"/>
                </a:lnTo>
                <a:lnTo>
                  <a:pt x="1270" y="2880"/>
                </a:lnTo>
                <a:lnTo>
                  <a:pt x="1268" y="2880"/>
                </a:lnTo>
                <a:lnTo>
                  <a:pt x="1270" y="2879"/>
                </a:lnTo>
                <a:lnTo>
                  <a:pt x="1268" y="2877"/>
                </a:lnTo>
                <a:lnTo>
                  <a:pt x="1267" y="2875"/>
                </a:lnTo>
                <a:lnTo>
                  <a:pt x="1265" y="2874"/>
                </a:lnTo>
                <a:lnTo>
                  <a:pt x="1263" y="2872"/>
                </a:lnTo>
                <a:lnTo>
                  <a:pt x="1263" y="2870"/>
                </a:lnTo>
                <a:lnTo>
                  <a:pt x="1260" y="2870"/>
                </a:lnTo>
                <a:lnTo>
                  <a:pt x="1258" y="2870"/>
                </a:lnTo>
                <a:lnTo>
                  <a:pt x="1258" y="2872"/>
                </a:lnTo>
                <a:lnTo>
                  <a:pt x="1257" y="2872"/>
                </a:lnTo>
                <a:lnTo>
                  <a:pt x="1258" y="2874"/>
                </a:lnTo>
                <a:lnTo>
                  <a:pt x="1257" y="2872"/>
                </a:lnTo>
                <a:lnTo>
                  <a:pt x="1255" y="2872"/>
                </a:lnTo>
                <a:lnTo>
                  <a:pt x="1257" y="2872"/>
                </a:lnTo>
                <a:lnTo>
                  <a:pt x="1257" y="2874"/>
                </a:lnTo>
                <a:lnTo>
                  <a:pt x="1258" y="2874"/>
                </a:lnTo>
                <a:lnTo>
                  <a:pt x="1257" y="2875"/>
                </a:lnTo>
                <a:lnTo>
                  <a:pt x="1255" y="2875"/>
                </a:lnTo>
                <a:lnTo>
                  <a:pt x="1253" y="2875"/>
                </a:lnTo>
                <a:lnTo>
                  <a:pt x="1251" y="2875"/>
                </a:lnTo>
                <a:lnTo>
                  <a:pt x="1251" y="2877"/>
                </a:lnTo>
                <a:lnTo>
                  <a:pt x="1251" y="2879"/>
                </a:lnTo>
                <a:lnTo>
                  <a:pt x="1253" y="2877"/>
                </a:lnTo>
                <a:lnTo>
                  <a:pt x="1255" y="2875"/>
                </a:lnTo>
                <a:lnTo>
                  <a:pt x="1253" y="2879"/>
                </a:lnTo>
                <a:lnTo>
                  <a:pt x="1251" y="2879"/>
                </a:lnTo>
                <a:lnTo>
                  <a:pt x="1250" y="2879"/>
                </a:lnTo>
                <a:lnTo>
                  <a:pt x="1251" y="2877"/>
                </a:lnTo>
                <a:lnTo>
                  <a:pt x="1251" y="2875"/>
                </a:lnTo>
                <a:lnTo>
                  <a:pt x="1250" y="2874"/>
                </a:lnTo>
                <a:lnTo>
                  <a:pt x="1248" y="2874"/>
                </a:lnTo>
                <a:lnTo>
                  <a:pt x="1245" y="2874"/>
                </a:lnTo>
                <a:lnTo>
                  <a:pt x="1243" y="2874"/>
                </a:lnTo>
                <a:lnTo>
                  <a:pt x="1245" y="2872"/>
                </a:lnTo>
                <a:lnTo>
                  <a:pt x="1243" y="2868"/>
                </a:lnTo>
                <a:lnTo>
                  <a:pt x="1245" y="2872"/>
                </a:lnTo>
                <a:lnTo>
                  <a:pt x="1243" y="2874"/>
                </a:lnTo>
                <a:lnTo>
                  <a:pt x="1243" y="2872"/>
                </a:lnTo>
                <a:lnTo>
                  <a:pt x="1241" y="2872"/>
                </a:lnTo>
                <a:lnTo>
                  <a:pt x="1240" y="2874"/>
                </a:lnTo>
                <a:lnTo>
                  <a:pt x="1238" y="2872"/>
                </a:lnTo>
                <a:lnTo>
                  <a:pt x="1238" y="2874"/>
                </a:lnTo>
                <a:lnTo>
                  <a:pt x="1238" y="2875"/>
                </a:lnTo>
                <a:lnTo>
                  <a:pt x="1236" y="2875"/>
                </a:lnTo>
                <a:lnTo>
                  <a:pt x="1236" y="2877"/>
                </a:lnTo>
                <a:lnTo>
                  <a:pt x="1238" y="2877"/>
                </a:lnTo>
                <a:lnTo>
                  <a:pt x="1238" y="2879"/>
                </a:lnTo>
                <a:lnTo>
                  <a:pt x="1240" y="2877"/>
                </a:lnTo>
                <a:lnTo>
                  <a:pt x="1238" y="2880"/>
                </a:lnTo>
                <a:lnTo>
                  <a:pt x="1236" y="2880"/>
                </a:lnTo>
                <a:lnTo>
                  <a:pt x="1236" y="2879"/>
                </a:lnTo>
                <a:lnTo>
                  <a:pt x="1234" y="2880"/>
                </a:lnTo>
                <a:lnTo>
                  <a:pt x="1236" y="2880"/>
                </a:lnTo>
                <a:lnTo>
                  <a:pt x="1238" y="2882"/>
                </a:lnTo>
                <a:lnTo>
                  <a:pt x="1234" y="2882"/>
                </a:lnTo>
                <a:lnTo>
                  <a:pt x="1233" y="2882"/>
                </a:lnTo>
                <a:lnTo>
                  <a:pt x="1231" y="2882"/>
                </a:lnTo>
                <a:lnTo>
                  <a:pt x="1233" y="2882"/>
                </a:lnTo>
                <a:lnTo>
                  <a:pt x="1231" y="2882"/>
                </a:lnTo>
                <a:lnTo>
                  <a:pt x="1231" y="2880"/>
                </a:lnTo>
                <a:lnTo>
                  <a:pt x="1229" y="2879"/>
                </a:lnTo>
                <a:lnTo>
                  <a:pt x="1231" y="2880"/>
                </a:lnTo>
                <a:lnTo>
                  <a:pt x="1231" y="2882"/>
                </a:lnTo>
                <a:lnTo>
                  <a:pt x="1228" y="2884"/>
                </a:lnTo>
                <a:lnTo>
                  <a:pt x="1228" y="2882"/>
                </a:lnTo>
                <a:lnTo>
                  <a:pt x="1228" y="2880"/>
                </a:lnTo>
                <a:lnTo>
                  <a:pt x="1228" y="2882"/>
                </a:lnTo>
                <a:lnTo>
                  <a:pt x="1228" y="2884"/>
                </a:lnTo>
                <a:lnTo>
                  <a:pt x="1226" y="2885"/>
                </a:lnTo>
                <a:lnTo>
                  <a:pt x="1224" y="2885"/>
                </a:lnTo>
                <a:lnTo>
                  <a:pt x="1223" y="2887"/>
                </a:lnTo>
                <a:lnTo>
                  <a:pt x="1221" y="2889"/>
                </a:lnTo>
                <a:lnTo>
                  <a:pt x="1219" y="2889"/>
                </a:lnTo>
                <a:lnTo>
                  <a:pt x="1219" y="2891"/>
                </a:lnTo>
                <a:lnTo>
                  <a:pt x="1219" y="2889"/>
                </a:lnTo>
                <a:lnTo>
                  <a:pt x="1219" y="2891"/>
                </a:lnTo>
                <a:lnTo>
                  <a:pt x="1217" y="2891"/>
                </a:lnTo>
                <a:lnTo>
                  <a:pt x="1216" y="2891"/>
                </a:lnTo>
                <a:lnTo>
                  <a:pt x="1214" y="2892"/>
                </a:lnTo>
                <a:lnTo>
                  <a:pt x="1212" y="2894"/>
                </a:lnTo>
                <a:lnTo>
                  <a:pt x="1211" y="2894"/>
                </a:lnTo>
                <a:lnTo>
                  <a:pt x="1209" y="2896"/>
                </a:lnTo>
                <a:lnTo>
                  <a:pt x="1207" y="2896"/>
                </a:lnTo>
                <a:lnTo>
                  <a:pt x="1206" y="2897"/>
                </a:lnTo>
                <a:lnTo>
                  <a:pt x="1204" y="2897"/>
                </a:lnTo>
                <a:lnTo>
                  <a:pt x="1206" y="2896"/>
                </a:lnTo>
                <a:lnTo>
                  <a:pt x="1207" y="2896"/>
                </a:lnTo>
                <a:lnTo>
                  <a:pt x="1207" y="2894"/>
                </a:lnTo>
                <a:lnTo>
                  <a:pt x="1209" y="2894"/>
                </a:lnTo>
                <a:lnTo>
                  <a:pt x="1211" y="2894"/>
                </a:lnTo>
                <a:lnTo>
                  <a:pt x="1211" y="2892"/>
                </a:lnTo>
                <a:lnTo>
                  <a:pt x="1211" y="2891"/>
                </a:lnTo>
                <a:lnTo>
                  <a:pt x="1211" y="2894"/>
                </a:lnTo>
                <a:lnTo>
                  <a:pt x="1212" y="2891"/>
                </a:lnTo>
                <a:lnTo>
                  <a:pt x="1214" y="2891"/>
                </a:lnTo>
                <a:lnTo>
                  <a:pt x="1212" y="2889"/>
                </a:lnTo>
                <a:lnTo>
                  <a:pt x="1211" y="2891"/>
                </a:lnTo>
                <a:lnTo>
                  <a:pt x="1209" y="2892"/>
                </a:lnTo>
                <a:lnTo>
                  <a:pt x="1211" y="2891"/>
                </a:lnTo>
                <a:lnTo>
                  <a:pt x="1207" y="2887"/>
                </a:lnTo>
                <a:lnTo>
                  <a:pt x="1207" y="2889"/>
                </a:lnTo>
                <a:lnTo>
                  <a:pt x="1206" y="2891"/>
                </a:lnTo>
                <a:lnTo>
                  <a:pt x="1206" y="2892"/>
                </a:lnTo>
                <a:lnTo>
                  <a:pt x="1204" y="2891"/>
                </a:lnTo>
                <a:lnTo>
                  <a:pt x="1204" y="2892"/>
                </a:lnTo>
                <a:lnTo>
                  <a:pt x="1202" y="2891"/>
                </a:lnTo>
                <a:lnTo>
                  <a:pt x="1202" y="2892"/>
                </a:lnTo>
                <a:lnTo>
                  <a:pt x="1200" y="2892"/>
                </a:lnTo>
                <a:lnTo>
                  <a:pt x="1200" y="2894"/>
                </a:lnTo>
                <a:lnTo>
                  <a:pt x="1200" y="2892"/>
                </a:lnTo>
                <a:lnTo>
                  <a:pt x="1200" y="2894"/>
                </a:lnTo>
                <a:lnTo>
                  <a:pt x="1197" y="2894"/>
                </a:lnTo>
                <a:lnTo>
                  <a:pt x="1197" y="2896"/>
                </a:lnTo>
                <a:lnTo>
                  <a:pt x="1197" y="2894"/>
                </a:lnTo>
                <a:lnTo>
                  <a:pt x="1195" y="2894"/>
                </a:lnTo>
                <a:lnTo>
                  <a:pt x="1197" y="2896"/>
                </a:lnTo>
                <a:lnTo>
                  <a:pt x="1199" y="2897"/>
                </a:lnTo>
                <a:lnTo>
                  <a:pt x="1202" y="2897"/>
                </a:lnTo>
                <a:lnTo>
                  <a:pt x="1200" y="2897"/>
                </a:lnTo>
                <a:lnTo>
                  <a:pt x="1202" y="2897"/>
                </a:lnTo>
                <a:lnTo>
                  <a:pt x="1200" y="2897"/>
                </a:lnTo>
                <a:lnTo>
                  <a:pt x="1199" y="2897"/>
                </a:lnTo>
                <a:lnTo>
                  <a:pt x="1197" y="2896"/>
                </a:lnTo>
                <a:lnTo>
                  <a:pt x="1195" y="2894"/>
                </a:lnTo>
                <a:lnTo>
                  <a:pt x="1195" y="2896"/>
                </a:lnTo>
                <a:lnTo>
                  <a:pt x="1195" y="2894"/>
                </a:lnTo>
                <a:lnTo>
                  <a:pt x="1195" y="2896"/>
                </a:lnTo>
                <a:lnTo>
                  <a:pt x="1195" y="2897"/>
                </a:lnTo>
                <a:lnTo>
                  <a:pt x="1194" y="2897"/>
                </a:lnTo>
                <a:lnTo>
                  <a:pt x="1197" y="2897"/>
                </a:lnTo>
                <a:lnTo>
                  <a:pt x="1195" y="2899"/>
                </a:lnTo>
                <a:lnTo>
                  <a:pt x="1197" y="2899"/>
                </a:lnTo>
                <a:lnTo>
                  <a:pt x="1197" y="2901"/>
                </a:lnTo>
                <a:lnTo>
                  <a:pt x="1195" y="2901"/>
                </a:lnTo>
                <a:lnTo>
                  <a:pt x="1195" y="2902"/>
                </a:lnTo>
                <a:lnTo>
                  <a:pt x="1195" y="2901"/>
                </a:lnTo>
                <a:lnTo>
                  <a:pt x="1195" y="2902"/>
                </a:lnTo>
                <a:lnTo>
                  <a:pt x="1194" y="2902"/>
                </a:lnTo>
                <a:lnTo>
                  <a:pt x="1195" y="2899"/>
                </a:lnTo>
                <a:lnTo>
                  <a:pt x="1194" y="2901"/>
                </a:lnTo>
                <a:lnTo>
                  <a:pt x="1194" y="2902"/>
                </a:lnTo>
                <a:lnTo>
                  <a:pt x="1195" y="2902"/>
                </a:lnTo>
                <a:lnTo>
                  <a:pt x="1195" y="2904"/>
                </a:lnTo>
                <a:lnTo>
                  <a:pt x="1194" y="2902"/>
                </a:lnTo>
                <a:lnTo>
                  <a:pt x="1194" y="2901"/>
                </a:lnTo>
                <a:lnTo>
                  <a:pt x="1192" y="2901"/>
                </a:lnTo>
                <a:lnTo>
                  <a:pt x="1192" y="2902"/>
                </a:lnTo>
                <a:lnTo>
                  <a:pt x="1190" y="2901"/>
                </a:lnTo>
                <a:lnTo>
                  <a:pt x="1190" y="2902"/>
                </a:lnTo>
                <a:lnTo>
                  <a:pt x="1192" y="2902"/>
                </a:lnTo>
                <a:lnTo>
                  <a:pt x="1190" y="2902"/>
                </a:lnTo>
                <a:lnTo>
                  <a:pt x="1190" y="2906"/>
                </a:lnTo>
                <a:lnTo>
                  <a:pt x="1192" y="2906"/>
                </a:lnTo>
                <a:lnTo>
                  <a:pt x="1194" y="2906"/>
                </a:lnTo>
                <a:lnTo>
                  <a:pt x="1192" y="2906"/>
                </a:lnTo>
                <a:lnTo>
                  <a:pt x="1190" y="2906"/>
                </a:lnTo>
                <a:lnTo>
                  <a:pt x="1190" y="2908"/>
                </a:lnTo>
                <a:lnTo>
                  <a:pt x="1192" y="2908"/>
                </a:lnTo>
                <a:lnTo>
                  <a:pt x="1190" y="2908"/>
                </a:lnTo>
                <a:lnTo>
                  <a:pt x="1190" y="2909"/>
                </a:lnTo>
                <a:lnTo>
                  <a:pt x="1192" y="2909"/>
                </a:lnTo>
                <a:lnTo>
                  <a:pt x="1192" y="2908"/>
                </a:lnTo>
                <a:lnTo>
                  <a:pt x="1192" y="2911"/>
                </a:lnTo>
                <a:lnTo>
                  <a:pt x="1194" y="2909"/>
                </a:lnTo>
                <a:lnTo>
                  <a:pt x="1194" y="2908"/>
                </a:lnTo>
                <a:lnTo>
                  <a:pt x="1195" y="2908"/>
                </a:lnTo>
                <a:lnTo>
                  <a:pt x="1194" y="2909"/>
                </a:lnTo>
                <a:lnTo>
                  <a:pt x="1195" y="2911"/>
                </a:lnTo>
                <a:lnTo>
                  <a:pt x="1194" y="2911"/>
                </a:lnTo>
                <a:lnTo>
                  <a:pt x="1195" y="2913"/>
                </a:lnTo>
                <a:lnTo>
                  <a:pt x="1197" y="2914"/>
                </a:lnTo>
                <a:lnTo>
                  <a:pt x="1197" y="2913"/>
                </a:lnTo>
                <a:lnTo>
                  <a:pt x="1199" y="2914"/>
                </a:lnTo>
                <a:lnTo>
                  <a:pt x="1199" y="2913"/>
                </a:lnTo>
                <a:lnTo>
                  <a:pt x="1199" y="2911"/>
                </a:lnTo>
                <a:lnTo>
                  <a:pt x="1199" y="2913"/>
                </a:lnTo>
                <a:lnTo>
                  <a:pt x="1199" y="2914"/>
                </a:lnTo>
                <a:lnTo>
                  <a:pt x="1200" y="2916"/>
                </a:lnTo>
                <a:lnTo>
                  <a:pt x="1200" y="2918"/>
                </a:lnTo>
                <a:lnTo>
                  <a:pt x="1200" y="2919"/>
                </a:lnTo>
                <a:lnTo>
                  <a:pt x="1200" y="2921"/>
                </a:lnTo>
                <a:lnTo>
                  <a:pt x="1199" y="2919"/>
                </a:lnTo>
                <a:lnTo>
                  <a:pt x="1199" y="2923"/>
                </a:lnTo>
                <a:lnTo>
                  <a:pt x="1200" y="2923"/>
                </a:lnTo>
                <a:lnTo>
                  <a:pt x="1202" y="2925"/>
                </a:lnTo>
                <a:lnTo>
                  <a:pt x="1202" y="2923"/>
                </a:lnTo>
                <a:lnTo>
                  <a:pt x="1204" y="2926"/>
                </a:lnTo>
                <a:lnTo>
                  <a:pt x="1202" y="2926"/>
                </a:lnTo>
                <a:lnTo>
                  <a:pt x="1204" y="2926"/>
                </a:lnTo>
                <a:lnTo>
                  <a:pt x="1206" y="2925"/>
                </a:lnTo>
                <a:lnTo>
                  <a:pt x="1206" y="2928"/>
                </a:lnTo>
                <a:lnTo>
                  <a:pt x="1207" y="2928"/>
                </a:lnTo>
                <a:lnTo>
                  <a:pt x="1207" y="2930"/>
                </a:lnTo>
                <a:lnTo>
                  <a:pt x="1209" y="2930"/>
                </a:lnTo>
                <a:lnTo>
                  <a:pt x="1209" y="2931"/>
                </a:lnTo>
                <a:lnTo>
                  <a:pt x="1211" y="2933"/>
                </a:lnTo>
                <a:lnTo>
                  <a:pt x="1209" y="2931"/>
                </a:lnTo>
                <a:lnTo>
                  <a:pt x="1211" y="2933"/>
                </a:lnTo>
                <a:lnTo>
                  <a:pt x="1209" y="2931"/>
                </a:lnTo>
                <a:lnTo>
                  <a:pt x="1209" y="2933"/>
                </a:lnTo>
                <a:lnTo>
                  <a:pt x="1209" y="2935"/>
                </a:lnTo>
                <a:lnTo>
                  <a:pt x="1209" y="2933"/>
                </a:lnTo>
                <a:lnTo>
                  <a:pt x="1209" y="2935"/>
                </a:lnTo>
                <a:lnTo>
                  <a:pt x="1209" y="2936"/>
                </a:lnTo>
                <a:lnTo>
                  <a:pt x="1209" y="2935"/>
                </a:lnTo>
                <a:lnTo>
                  <a:pt x="1209" y="2936"/>
                </a:lnTo>
                <a:lnTo>
                  <a:pt x="1207" y="2936"/>
                </a:lnTo>
                <a:lnTo>
                  <a:pt x="1207" y="2938"/>
                </a:lnTo>
                <a:lnTo>
                  <a:pt x="1209" y="2936"/>
                </a:lnTo>
                <a:lnTo>
                  <a:pt x="1207" y="2938"/>
                </a:lnTo>
                <a:lnTo>
                  <a:pt x="1206" y="2938"/>
                </a:lnTo>
                <a:lnTo>
                  <a:pt x="1207" y="2935"/>
                </a:lnTo>
                <a:lnTo>
                  <a:pt x="1206" y="2935"/>
                </a:lnTo>
                <a:lnTo>
                  <a:pt x="1204" y="2936"/>
                </a:lnTo>
                <a:lnTo>
                  <a:pt x="1206" y="2938"/>
                </a:lnTo>
                <a:lnTo>
                  <a:pt x="1204" y="2940"/>
                </a:lnTo>
                <a:lnTo>
                  <a:pt x="1206" y="2942"/>
                </a:lnTo>
                <a:lnTo>
                  <a:pt x="1204" y="2943"/>
                </a:lnTo>
                <a:lnTo>
                  <a:pt x="1200" y="2943"/>
                </a:lnTo>
                <a:lnTo>
                  <a:pt x="1204" y="2943"/>
                </a:lnTo>
                <a:lnTo>
                  <a:pt x="1204" y="2942"/>
                </a:lnTo>
                <a:lnTo>
                  <a:pt x="1202" y="2940"/>
                </a:lnTo>
                <a:lnTo>
                  <a:pt x="1200" y="2938"/>
                </a:lnTo>
                <a:lnTo>
                  <a:pt x="1199" y="2940"/>
                </a:lnTo>
                <a:lnTo>
                  <a:pt x="1199" y="2938"/>
                </a:lnTo>
                <a:lnTo>
                  <a:pt x="1197" y="2942"/>
                </a:lnTo>
                <a:lnTo>
                  <a:pt x="1199" y="2942"/>
                </a:lnTo>
                <a:lnTo>
                  <a:pt x="1197" y="2943"/>
                </a:lnTo>
                <a:lnTo>
                  <a:pt x="1197" y="2947"/>
                </a:lnTo>
                <a:lnTo>
                  <a:pt x="1197" y="2948"/>
                </a:lnTo>
                <a:lnTo>
                  <a:pt x="1197" y="2950"/>
                </a:lnTo>
                <a:lnTo>
                  <a:pt x="1197" y="2952"/>
                </a:lnTo>
                <a:lnTo>
                  <a:pt x="1199" y="2955"/>
                </a:lnTo>
                <a:lnTo>
                  <a:pt x="1199" y="2957"/>
                </a:lnTo>
                <a:lnTo>
                  <a:pt x="1199" y="2959"/>
                </a:lnTo>
                <a:lnTo>
                  <a:pt x="1199" y="2962"/>
                </a:lnTo>
                <a:lnTo>
                  <a:pt x="1200" y="2964"/>
                </a:lnTo>
                <a:lnTo>
                  <a:pt x="1199" y="2964"/>
                </a:lnTo>
                <a:lnTo>
                  <a:pt x="1199" y="2965"/>
                </a:lnTo>
                <a:lnTo>
                  <a:pt x="1197" y="2967"/>
                </a:lnTo>
                <a:lnTo>
                  <a:pt x="1195" y="2969"/>
                </a:lnTo>
                <a:lnTo>
                  <a:pt x="1197" y="2967"/>
                </a:lnTo>
                <a:lnTo>
                  <a:pt x="1199" y="2965"/>
                </a:lnTo>
                <a:lnTo>
                  <a:pt x="1199" y="2967"/>
                </a:lnTo>
                <a:lnTo>
                  <a:pt x="1199" y="2964"/>
                </a:lnTo>
                <a:lnTo>
                  <a:pt x="1200" y="2964"/>
                </a:lnTo>
                <a:lnTo>
                  <a:pt x="1200" y="2965"/>
                </a:lnTo>
                <a:lnTo>
                  <a:pt x="1200" y="2969"/>
                </a:lnTo>
                <a:lnTo>
                  <a:pt x="1202" y="2971"/>
                </a:lnTo>
                <a:lnTo>
                  <a:pt x="1202" y="2972"/>
                </a:lnTo>
                <a:lnTo>
                  <a:pt x="1202" y="2976"/>
                </a:lnTo>
                <a:lnTo>
                  <a:pt x="1204" y="2977"/>
                </a:lnTo>
                <a:lnTo>
                  <a:pt x="1206" y="2982"/>
                </a:lnTo>
                <a:lnTo>
                  <a:pt x="1206" y="2984"/>
                </a:lnTo>
                <a:lnTo>
                  <a:pt x="1207" y="2986"/>
                </a:lnTo>
                <a:lnTo>
                  <a:pt x="1209" y="2986"/>
                </a:lnTo>
                <a:lnTo>
                  <a:pt x="1211" y="2988"/>
                </a:lnTo>
                <a:lnTo>
                  <a:pt x="1211" y="2989"/>
                </a:lnTo>
                <a:lnTo>
                  <a:pt x="1214" y="2991"/>
                </a:lnTo>
                <a:lnTo>
                  <a:pt x="1214" y="2993"/>
                </a:lnTo>
                <a:lnTo>
                  <a:pt x="1216" y="2993"/>
                </a:lnTo>
                <a:lnTo>
                  <a:pt x="1217" y="2994"/>
                </a:lnTo>
                <a:lnTo>
                  <a:pt x="1217" y="2996"/>
                </a:lnTo>
                <a:lnTo>
                  <a:pt x="1219" y="2998"/>
                </a:lnTo>
                <a:lnTo>
                  <a:pt x="1221" y="2999"/>
                </a:lnTo>
                <a:lnTo>
                  <a:pt x="1224" y="2999"/>
                </a:lnTo>
                <a:lnTo>
                  <a:pt x="1228" y="2999"/>
                </a:lnTo>
                <a:lnTo>
                  <a:pt x="1229" y="3001"/>
                </a:lnTo>
                <a:lnTo>
                  <a:pt x="1231" y="3001"/>
                </a:lnTo>
                <a:lnTo>
                  <a:pt x="1231" y="3003"/>
                </a:lnTo>
                <a:lnTo>
                  <a:pt x="1233" y="3003"/>
                </a:lnTo>
                <a:lnTo>
                  <a:pt x="1234" y="3005"/>
                </a:lnTo>
                <a:lnTo>
                  <a:pt x="1236" y="3006"/>
                </a:lnTo>
                <a:lnTo>
                  <a:pt x="1238" y="3008"/>
                </a:lnTo>
                <a:lnTo>
                  <a:pt x="1240" y="3008"/>
                </a:lnTo>
                <a:lnTo>
                  <a:pt x="1241" y="3010"/>
                </a:lnTo>
                <a:lnTo>
                  <a:pt x="1241" y="3011"/>
                </a:lnTo>
                <a:lnTo>
                  <a:pt x="1245" y="3013"/>
                </a:lnTo>
                <a:lnTo>
                  <a:pt x="1246" y="3015"/>
                </a:lnTo>
                <a:lnTo>
                  <a:pt x="1248" y="3016"/>
                </a:lnTo>
                <a:lnTo>
                  <a:pt x="1250" y="3016"/>
                </a:lnTo>
                <a:lnTo>
                  <a:pt x="1251" y="3018"/>
                </a:lnTo>
                <a:lnTo>
                  <a:pt x="1253" y="3018"/>
                </a:lnTo>
                <a:lnTo>
                  <a:pt x="1255" y="3020"/>
                </a:lnTo>
                <a:lnTo>
                  <a:pt x="1257" y="3022"/>
                </a:lnTo>
                <a:lnTo>
                  <a:pt x="1258" y="3022"/>
                </a:lnTo>
                <a:lnTo>
                  <a:pt x="1260" y="3023"/>
                </a:lnTo>
                <a:lnTo>
                  <a:pt x="1262" y="3023"/>
                </a:lnTo>
                <a:lnTo>
                  <a:pt x="1263" y="3023"/>
                </a:lnTo>
                <a:lnTo>
                  <a:pt x="1263" y="3022"/>
                </a:lnTo>
                <a:lnTo>
                  <a:pt x="1267" y="3023"/>
                </a:lnTo>
                <a:lnTo>
                  <a:pt x="1268" y="3027"/>
                </a:lnTo>
                <a:lnTo>
                  <a:pt x="1270" y="3027"/>
                </a:lnTo>
                <a:lnTo>
                  <a:pt x="1270" y="3028"/>
                </a:lnTo>
                <a:lnTo>
                  <a:pt x="1270" y="3032"/>
                </a:lnTo>
                <a:lnTo>
                  <a:pt x="1272" y="3033"/>
                </a:lnTo>
                <a:lnTo>
                  <a:pt x="1274" y="3035"/>
                </a:lnTo>
                <a:lnTo>
                  <a:pt x="1274" y="3039"/>
                </a:lnTo>
                <a:lnTo>
                  <a:pt x="1275" y="3040"/>
                </a:lnTo>
                <a:lnTo>
                  <a:pt x="1275" y="3042"/>
                </a:lnTo>
                <a:lnTo>
                  <a:pt x="1277" y="3044"/>
                </a:lnTo>
                <a:lnTo>
                  <a:pt x="1277" y="3045"/>
                </a:lnTo>
                <a:lnTo>
                  <a:pt x="1279" y="3047"/>
                </a:lnTo>
                <a:lnTo>
                  <a:pt x="1279" y="3049"/>
                </a:lnTo>
                <a:lnTo>
                  <a:pt x="1280" y="3052"/>
                </a:lnTo>
                <a:lnTo>
                  <a:pt x="1280" y="3054"/>
                </a:lnTo>
                <a:lnTo>
                  <a:pt x="1282" y="3054"/>
                </a:lnTo>
                <a:lnTo>
                  <a:pt x="1282" y="3056"/>
                </a:lnTo>
                <a:lnTo>
                  <a:pt x="1284" y="3059"/>
                </a:lnTo>
                <a:lnTo>
                  <a:pt x="1284" y="3061"/>
                </a:lnTo>
                <a:lnTo>
                  <a:pt x="1284" y="3064"/>
                </a:lnTo>
                <a:lnTo>
                  <a:pt x="1285" y="3066"/>
                </a:lnTo>
                <a:lnTo>
                  <a:pt x="1285" y="3067"/>
                </a:lnTo>
                <a:lnTo>
                  <a:pt x="1287" y="3069"/>
                </a:lnTo>
                <a:lnTo>
                  <a:pt x="1285" y="3069"/>
                </a:lnTo>
                <a:lnTo>
                  <a:pt x="1287" y="3071"/>
                </a:lnTo>
                <a:lnTo>
                  <a:pt x="1287" y="3073"/>
                </a:lnTo>
                <a:lnTo>
                  <a:pt x="1289" y="3073"/>
                </a:lnTo>
                <a:lnTo>
                  <a:pt x="1289" y="3074"/>
                </a:lnTo>
                <a:lnTo>
                  <a:pt x="1289" y="3076"/>
                </a:lnTo>
                <a:lnTo>
                  <a:pt x="1289" y="3079"/>
                </a:lnTo>
                <a:lnTo>
                  <a:pt x="1291" y="3079"/>
                </a:lnTo>
                <a:lnTo>
                  <a:pt x="1291" y="3083"/>
                </a:lnTo>
                <a:lnTo>
                  <a:pt x="1292" y="3083"/>
                </a:lnTo>
                <a:lnTo>
                  <a:pt x="1291" y="3083"/>
                </a:lnTo>
                <a:lnTo>
                  <a:pt x="1292" y="3083"/>
                </a:lnTo>
                <a:lnTo>
                  <a:pt x="1291" y="3083"/>
                </a:lnTo>
                <a:lnTo>
                  <a:pt x="1292" y="3084"/>
                </a:lnTo>
                <a:lnTo>
                  <a:pt x="1292" y="3086"/>
                </a:lnTo>
                <a:lnTo>
                  <a:pt x="1294" y="3088"/>
                </a:lnTo>
                <a:lnTo>
                  <a:pt x="1296" y="3090"/>
                </a:lnTo>
                <a:lnTo>
                  <a:pt x="1296" y="3091"/>
                </a:lnTo>
                <a:lnTo>
                  <a:pt x="1297" y="3093"/>
                </a:lnTo>
                <a:lnTo>
                  <a:pt x="1299" y="3096"/>
                </a:lnTo>
                <a:lnTo>
                  <a:pt x="1301" y="3098"/>
                </a:lnTo>
                <a:lnTo>
                  <a:pt x="1302" y="3098"/>
                </a:lnTo>
                <a:lnTo>
                  <a:pt x="1302" y="3100"/>
                </a:lnTo>
                <a:lnTo>
                  <a:pt x="1304" y="3101"/>
                </a:lnTo>
                <a:lnTo>
                  <a:pt x="1306" y="3101"/>
                </a:lnTo>
                <a:lnTo>
                  <a:pt x="1306" y="3103"/>
                </a:lnTo>
                <a:lnTo>
                  <a:pt x="1306" y="3101"/>
                </a:lnTo>
                <a:lnTo>
                  <a:pt x="1306" y="3103"/>
                </a:lnTo>
                <a:lnTo>
                  <a:pt x="1308" y="3105"/>
                </a:lnTo>
                <a:lnTo>
                  <a:pt x="1309" y="3105"/>
                </a:lnTo>
                <a:lnTo>
                  <a:pt x="1311" y="3107"/>
                </a:lnTo>
                <a:lnTo>
                  <a:pt x="1313" y="3108"/>
                </a:lnTo>
                <a:lnTo>
                  <a:pt x="1314" y="3108"/>
                </a:lnTo>
                <a:lnTo>
                  <a:pt x="1316" y="3110"/>
                </a:lnTo>
                <a:lnTo>
                  <a:pt x="1316" y="3112"/>
                </a:lnTo>
                <a:lnTo>
                  <a:pt x="1318" y="3113"/>
                </a:lnTo>
                <a:lnTo>
                  <a:pt x="1319" y="3115"/>
                </a:lnTo>
                <a:lnTo>
                  <a:pt x="1321" y="3115"/>
                </a:lnTo>
                <a:lnTo>
                  <a:pt x="1321" y="3117"/>
                </a:lnTo>
                <a:lnTo>
                  <a:pt x="1323" y="3119"/>
                </a:lnTo>
                <a:lnTo>
                  <a:pt x="1325" y="3119"/>
                </a:lnTo>
                <a:lnTo>
                  <a:pt x="1326" y="3119"/>
                </a:lnTo>
                <a:lnTo>
                  <a:pt x="1328" y="3120"/>
                </a:lnTo>
                <a:lnTo>
                  <a:pt x="1330" y="3120"/>
                </a:lnTo>
                <a:lnTo>
                  <a:pt x="1331" y="3122"/>
                </a:lnTo>
                <a:lnTo>
                  <a:pt x="1333" y="3122"/>
                </a:lnTo>
                <a:lnTo>
                  <a:pt x="1331" y="3122"/>
                </a:lnTo>
                <a:lnTo>
                  <a:pt x="1333" y="3122"/>
                </a:lnTo>
                <a:lnTo>
                  <a:pt x="1333" y="3124"/>
                </a:lnTo>
                <a:lnTo>
                  <a:pt x="1333" y="3125"/>
                </a:lnTo>
                <a:lnTo>
                  <a:pt x="1333" y="3127"/>
                </a:lnTo>
                <a:lnTo>
                  <a:pt x="1335" y="3127"/>
                </a:lnTo>
                <a:lnTo>
                  <a:pt x="1336" y="3129"/>
                </a:lnTo>
                <a:lnTo>
                  <a:pt x="1338" y="3129"/>
                </a:lnTo>
                <a:lnTo>
                  <a:pt x="1340" y="3130"/>
                </a:lnTo>
                <a:lnTo>
                  <a:pt x="1343" y="3132"/>
                </a:lnTo>
                <a:lnTo>
                  <a:pt x="1347" y="3132"/>
                </a:lnTo>
                <a:lnTo>
                  <a:pt x="1348" y="3132"/>
                </a:lnTo>
                <a:lnTo>
                  <a:pt x="1348" y="3134"/>
                </a:lnTo>
                <a:lnTo>
                  <a:pt x="1350" y="3134"/>
                </a:lnTo>
                <a:lnTo>
                  <a:pt x="1352" y="3136"/>
                </a:lnTo>
                <a:lnTo>
                  <a:pt x="1352" y="3137"/>
                </a:lnTo>
                <a:lnTo>
                  <a:pt x="1352" y="3136"/>
                </a:lnTo>
                <a:lnTo>
                  <a:pt x="1353" y="3137"/>
                </a:lnTo>
                <a:lnTo>
                  <a:pt x="1357" y="3137"/>
                </a:lnTo>
                <a:lnTo>
                  <a:pt x="1360" y="3137"/>
                </a:lnTo>
                <a:lnTo>
                  <a:pt x="1362" y="3137"/>
                </a:lnTo>
                <a:lnTo>
                  <a:pt x="1364" y="3137"/>
                </a:lnTo>
                <a:lnTo>
                  <a:pt x="1367" y="3137"/>
                </a:lnTo>
                <a:lnTo>
                  <a:pt x="1369" y="3139"/>
                </a:lnTo>
                <a:lnTo>
                  <a:pt x="1370" y="3139"/>
                </a:lnTo>
                <a:lnTo>
                  <a:pt x="1374" y="3137"/>
                </a:lnTo>
                <a:lnTo>
                  <a:pt x="1376" y="3137"/>
                </a:lnTo>
                <a:lnTo>
                  <a:pt x="1377" y="3137"/>
                </a:lnTo>
                <a:lnTo>
                  <a:pt x="1379" y="3136"/>
                </a:lnTo>
                <a:lnTo>
                  <a:pt x="1381" y="3136"/>
                </a:lnTo>
                <a:lnTo>
                  <a:pt x="1384" y="3136"/>
                </a:lnTo>
                <a:lnTo>
                  <a:pt x="1386" y="3136"/>
                </a:lnTo>
                <a:lnTo>
                  <a:pt x="1389" y="3136"/>
                </a:lnTo>
                <a:lnTo>
                  <a:pt x="1391" y="3136"/>
                </a:lnTo>
                <a:lnTo>
                  <a:pt x="1393" y="3136"/>
                </a:lnTo>
                <a:lnTo>
                  <a:pt x="1394" y="3134"/>
                </a:lnTo>
                <a:lnTo>
                  <a:pt x="1396" y="3134"/>
                </a:lnTo>
                <a:lnTo>
                  <a:pt x="1398" y="3134"/>
                </a:lnTo>
                <a:lnTo>
                  <a:pt x="1401" y="3132"/>
                </a:lnTo>
                <a:lnTo>
                  <a:pt x="1404" y="3132"/>
                </a:lnTo>
                <a:lnTo>
                  <a:pt x="1406" y="3132"/>
                </a:lnTo>
                <a:lnTo>
                  <a:pt x="1408" y="3134"/>
                </a:lnTo>
                <a:lnTo>
                  <a:pt x="1410" y="3134"/>
                </a:lnTo>
                <a:lnTo>
                  <a:pt x="1411" y="3136"/>
                </a:lnTo>
                <a:lnTo>
                  <a:pt x="1411" y="3139"/>
                </a:lnTo>
                <a:lnTo>
                  <a:pt x="1413" y="3141"/>
                </a:lnTo>
                <a:lnTo>
                  <a:pt x="1413" y="3142"/>
                </a:lnTo>
                <a:lnTo>
                  <a:pt x="1413" y="3144"/>
                </a:lnTo>
                <a:lnTo>
                  <a:pt x="1411" y="3144"/>
                </a:lnTo>
                <a:lnTo>
                  <a:pt x="1410" y="3146"/>
                </a:lnTo>
                <a:lnTo>
                  <a:pt x="1410" y="3147"/>
                </a:lnTo>
                <a:lnTo>
                  <a:pt x="1406" y="3149"/>
                </a:lnTo>
                <a:lnTo>
                  <a:pt x="1406" y="3151"/>
                </a:lnTo>
                <a:lnTo>
                  <a:pt x="1404" y="3151"/>
                </a:lnTo>
                <a:lnTo>
                  <a:pt x="1403" y="3153"/>
                </a:lnTo>
                <a:lnTo>
                  <a:pt x="1399" y="3154"/>
                </a:lnTo>
                <a:lnTo>
                  <a:pt x="1401" y="3156"/>
                </a:lnTo>
                <a:lnTo>
                  <a:pt x="1399" y="3154"/>
                </a:lnTo>
                <a:lnTo>
                  <a:pt x="1398" y="3158"/>
                </a:lnTo>
                <a:lnTo>
                  <a:pt x="1398" y="3159"/>
                </a:lnTo>
                <a:lnTo>
                  <a:pt x="1398" y="3161"/>
                </a:lnTo>
                <a:lnTo>
                  <a:pt x="1399" y="3164"/>
                </a:lnTo>
                <a:lnTo>
                  <a:pt x="1401" y="3166"/>
                </a:lnTo>
                <a:lnTo>
                  <a:pt x="1403" y="3168"/>
                </a:lnTo>
                <a:lnTo>
                  <a:pt x="1406" y="3170"/>
                </a:lnTo>
                <a:lnTo>
                  <a:pt x="1408" y="3170"/>
                </a:lnTo>
                <a:lnTo>
                  <a:pt x="1406" y="3173"/>
                </a:lnTo>
                <a:lnTo>
                  <a:pt x="1408" y="3170"/>
                </a:lnTo>
                <a:lnTo>
                  <a:pt x="1410" y="3171"/>
                </a:lnTo>
                <a:lnTo>
                  <a:pt x="1411" y="3171"/>
                </a:lnTo>
                <a:lnTo>
                  <a:pt x="1413" y="3173"/>
                </a:lnTo>
                <a:lnTo>
                  <a:pt x="1415" y="3173"/>
                </a:lnTo>
                <a:lnTo>
                  <a:pt x="1416" y="3173"/>
                </a:lnTo>
                <a:lnTo>
                  <a:pt x="1418" y="3175"/>
                </a:lnTo>
                <a:lnTo>
                  <a:pt x="1420" y="3175"/>
                </a:lnTo>
                <a:lnTo>
                  <a:pt x="1420" y="3176"/>
                </a:lnTo>
                <a:lnTo>
                  <a:pt x="1420" y="3175"/>
                </a:lnTo>
                <a:lnTo>
                  <a:pt x="1421" y="3176"/>
                </a:lnTo>
                <a:lnTo>
                  <a:pt x="1423" y="3176"/>
                </a:lnTo>
                <a:lnTo>
                  <a:pt x="1427" y="3178"/>
                </a:lnTo>
                <a:lnTo>
                  <a:pt x="1428" y="3178"/>
                </a:lnTo>
                <a:lnTo>
                  <a:pt x="1430" y="3180"/>
                </a:lnTo>
                <a:lnTo>
                  <a:pt x="1432" y="3180"/>
                </a:lnTo>
                <a:lnTo>
                  <a:pt x="1433" y="3180"/>
                </a:lnTo>
                <a:lnTo>
                  <a:pt x="1435" y="3181"/>
                </a:lnTo>
                <a:lnTo>
                  <a:pt x="1437" y="3181"/>
                </a:lnTo>
                <a:lnTo>
                  <a:pt x="1440" y="3183"/>
                </a:lnTo>
                <a:lnTo>
                  <a:pt x="1442" y="3183"/>
                </a:lnTo>
                <a:lnTo>
                  <a:pt x="1444" y="3183"/>
                </a:lnTo>
                <a:lnTo>
                  <a:pt x="1445" y="3185"/>
                </a:lnTo>
                <a:lnTo>
                  <a:pt x="1447" y="3185"/>
                </a:lnTo>
                <a:lnTo>
                  <a:pt x="1449" y="3187"/>
                </a:lnTo>
                <a:lnTo>
                  <a:pt x="1452" y="3185"/>
                </a:lnTo>
                <a:lnTo>
                  <a:pt x="1452" y="3187"/>
                </a:lnTo>
                <a:lnTo>
                  <a:pt x="1452" y="3185"/>
                </a:lnTo>
                <a:lnTo>
                  <a:pt x="1452" y="3187"/>
                </a:lnTo>
                <a:lnTo>
                  <a:pt x="1454" y="3187"/>
                </a:lnTo>
                <a:lnTo>
                  <a:pt x="1452" y="3187"/>
                </a:lnTo>
                <a:lnTo>
                  <a:pt x="1454" y="3187"/>
                </a:lnTo>
                <a:lnTo>
                  <a:pt x="1455" y="3187"/>
                </a:lnTo>
                <a:lnTo>
                  <a:pt x="1457" y="3188"/>
                </a:lnTo>
                <a:lnTo>
                  <a:pt x="1459" y="3188"/>
                </a:lnTo>
                <a:lnTo>
                  <a:pt x="1461" y="3188"/>
                </a:lnTo>
                <a:lnTo>
                  <a:pt x="1462" y="3188"/>
                </a:lnTo>
                <a:lnTo>
                  <a:pt x="1466" y="3190"/>
                </a:lnTo>
                <a:lnTo>
                  <a:pt x="1467" y="3192"/>
                </a:lnTo>
                <a:lnTo>
                  <a:pt x="1469" y="3192"/>
                </a:lnTo>
                <a:lnTo>
                  <a:pt x="1471" y="3193"/>
                </a:lnTo>
                <a:lnTo>
                  <a:pt x="1472" y="3193"/>
                </a:lnTo>
                <a:lnTo>
                  <a:pt x="1474" y="3195"/>
                </a:lnTo>
                <a:lnTo>
                  <a:pt x="1478" y="3197"/>
                </a:lnTo>
                <a:lnTo>
                  <a:pt x="1479" y="3198"/>
                </a:lnTo>
                <a:lnTo>
                  <a:pt x="1479" y="3200"/>
                </a:lnTo>
                <a:lnTo>
                  <a:pt x="1483" y="3200"/>
                </a:lnTo>
                <a:lnTo>
                  <a:pt x="1483" y="3202"/>
                </a:lnTo>
                <a:lnTo>
                  <a:pt x="1484" y="3202"/>
                </a:lnTo>
                <a:lnTo>
                  <a:pt x="1486" y="3204"/>
                </a:lnTo>
                <a:lnTo>
                  <a:pt x="1488" y="3205"/>
                </a:lnTo>
                <a:lnTo>
                  <a:pt x="1491" y="3205"/>
                </a:lnTo>
                <a:lnTo>
                  <a:pt x="1493" y="3207"/>
                </a:lnTo>
                <a:lnTo>
                  <a:pt x="1496" y="3207"/>
                </a:lnTo>
                <a:lnTo>
                  <a:pt x="1500" y="3207"/>
                </a:lnTo>
                <a:lnTo>
                  <a:pt x="1500" y="3209"/>
                </a:lnTo>
                <a:lnTo>
                  <a:pt x="1503" y="3210"/>
                </a:lnTo>
                <a:lnTo>
                  <a:pt x="1505" y="3210"/>
                </a:lnTo>
                <a:lnTo>
                  <a:pt x="1508" y="3212"/>
                </a:lnTo>
                <a:lnTo>
                  <a:pt x="1510" y="3212"/>
                </a:lnTo>
                <a:lnTo>
                  <a:pt x="1512" y="3212"/>
                </a:lnTo>
                <a:lnTo>
                  <a:pt x="1513" y="3212"/>
                </a:lnTo>
                <a:lnTo>
                  <a:pt x="1515" y="3214"/>
                </a:lnTo>
                <a:lnTo>
                  <a:pt x="1517" y="3214"/>
                </a:lnTo>
                <a:lnTo>
                  <a:pt x="1515" y="3214"/>
                </a:lnTo>
                <a:lnTo>
                  <a:pt x="1513" y="3215"/>
                </a:lnTo>
                <a:lnTo>
                  <a:pt x="1517" y="3214"/>
                </a:lnTo>
                <a:lnTo>
                  <a:pt x="1518" y="3214"/>
                </a:lnTo>
                <a:lnTo>
                  <a:pt x="1518" y="3215"/>
                </a:lnTo>
                <a:lnTo>
                  <a:pt x="1520" y="3217"/>
                </a:lnTo>
                <a:lnTo>
                  <a:pt x="1520" y="3221"/>
                </a:lnTo>
                <a:lnTo>
                  <a:pt x="1522" y="3222"/>
                </a:lnTo>
                <a:lnTo>
                  <a:pt x="1523" y="3224"/>
                </a:lnTo>
                <a:lnTo>
                  <a:pt x="1525" y="3224"/>
                </a:lnTo>
                <a:lnTo>
                  <a:pt x="1527" y="3226"/>
                </a:lnTo>
                <a:lnTo>
                  <a:pt x="1529" y="3226"/>
                </a:lnTo>
                <a:lnTo>
                  <a:pt x="1530" y="3227"/>
                </a:lnTo>
                <a:lnTo>
                  <a:pt x="1534" y="3229"/>
                </a:lnTo>
                <a:lnTo>
                  <a:pt x="1535" y="3231"/>
                </a:lnTo>
                <a:lnTo>
                  <a:pt x="1535" y="3232"/>
                </a:lnTo>
                <a:lnTo>
                  <a:pt x="1539" y="3234"/>
                </a:lnTo>
                <a:lnTo>
                  <a:pt x="1540" y="3236"/>
                </a:lnTo>
                <a:lnTo>
                  <a:pt x="1542" y="3236"/>
                </a:lnTo>
                <a:lnTo>
                  <a:pt x="1542" y="3238"/>
                </a:lnTo>
                <a:lnTo>
                  <a:pt x="1544" y="3238"/>
                </a:lnTo>
                <a:lnTo>
                  <a:pt x="1546" y="3241"/>
                </a:lnTo>
                <a:lnTo>
                  <a:pt x="1546" y="3243"/>
                </a:lnTo>
                <a:lnTo>
                  <a:pt x="1546" y="3244"/>
                </a:lnTo>
                <a:lnTo>
                  <a:pt x="1547" y="3246"/>
                </a:lnTo>
                <a:lnTo>
                  <a:pt x="1549" y="3248"/>
                </a:lnTo>
                <a:lnTo>
                  <a:pt x="1549" y="3249"/>
                </a:lnTo>
                <a:lnTo>
                  <a:pt x="1547" y="3251"/>
                </a:lnTo>
                <a:lnTo>
                  <a:pt x="1547" y="3255"/>
                </a:lnTo>
                <a:lnTo>
                  <a:pt x="1546" y="3256"/>
                </a:lnTo>
                <a:lnTo>
                  <a:pt x="1544" y="3258"/>
                </a:lnTo>
                <a:lnTo>
                  <a:pt x="1544" y="3260"/>
                </a:lnTo>
                <a:lnTo>
                  <a:pt x="1544" y="3263"/>
                </a:lnTo>
                <a:lnTo>
                  <a:pt x="1544" y="3265"/>
                </a:lnTo>
                <a:lnTo>
                  <a:pt x="1544" y="3266"/>
                </a:lnTo>
                <a:lnTo>
                  <a:pt x="1544" y="3270"/>
                </a:lnTo>
                <a:lnTo>
                  <a:pt x="1544" y="3272"/>
                </a:lnTo>
                <a:lnTo>
                  <a:pt x="1542" y="3273"/>
                </a:lnTo>
                <a:lnTo>
                  <a:pt x="1540" y="3272"/>
                </a:lnTo>
                <a:lnTo>
                  <a:pt x="1537" y="3270"/>
                </a:lnTo>
                <a:lnTo>
                  <a:pt x="1535" y="3270"/>
                </a:lnTo>
                <a:lnTo>
                  <a:pt x="1534" y="3270"/>
                </a:lnTo>
                <a:lnTo>
                  <a:pt x="1532" y="3270"/>
                </a:lnTo>
                <a:lnTo>
                  <a:pt x="1530" y="3268"/>
                </a:lnTo>
                <a:lnTo>
                  <a:pt x="1529" y="3268"/>
                </a:lnTo>
                <a:lnTo>
                  <a:pt x="1527" y="3266"/>
                </a:lnTo>
                <a:lnTo>
                  <a:pt x="1525" y="3265"/>
                </a:lnTo>
                <a:lnTo>
                  <a:pt x="1523" y="3263"/>
                </a:lnTo>
                <a:lnTo>
                  <a:pt x="1522" y="3260"/>
                </a:lnTo>
                <a:lnTo>
                  <a:pt x="1523" y="3260"/>
                </a:lnTo>
                <a:lnTo>
                  <a:pt x="1522" y="3258"/>
                </a:lnTo>
                <a:lnTo>
                  <a:pt x="1520" y="3256"/>
                </a:lnTo>
                <a:lnTo>
                  <a:pt x="1522" y="3255"/>
                </a:lnTo>
                <a:lnTo>
                  <a:pt x="1522" y="3253"/>
                </a:lnTo>
                <a:lnTo>
                  <a:pt x="1520" y="3249"/>
                </a:lnTo>
                <a:lnTo>
                  <a:pt x="1518" y="3249"/>
                </a:lnTo>
                <a:lnTo>
                  <a:pt x="1517" y="3248"/>
                </a:lnTo>
                <a:lnTo>
                  <a:pt x="1517" y="3244"/>
                </a:lnTo>
                <a:lnTo>
                  <a:pt x="1515" y="3243"/>
                </a:lnTo>
                <a:lnTo>
                  <a:pt x="1515" y="3244"/>
                </a:lnTo>
                <a:lnTo>
                  <a:pt x="1515" y="3243"/>
                </a:lnTo>
                <a:lnTo>
                  <a:pt x="1513" y="3241"/>
                </a:lnTo>
                <a:lnTo>
                  <a:pt x="1512" y="3241"/>
                </a:lnTo>
                <a:lnTo>
                  <a:pt x="1510" y="3241"/>
                </a:lnTo>
                <a:lnTo>
                  <a:pt x="1506" y="3241"/>
                </a:lnTo>
                <a:lnTo>
                  <a:pt x="1505" y="3241"/>
                </a:lnTo>
                <a:lnTo>
                  <a:pt x="1501" y="3241"/>
                </a:lnTo>
                <a:lnTo>
                  <a:pt x="1500" y="3241"/>
                </a:lnTo>
                <a:lnTo>
                  <a:pt x="1498" y="3241"/>
                </a:lnTo>
                <a:lnTo>
                  <a:pt x="1496" y="3241"/>
                </a:lnTo>
                <a:lnTo>
                  <a:pt x="1493" y="3243"/>
                </a:lnTo>
                <a:lnTo>
                  <a:pt x="1491" y="3241"/>
                </a:lnTo>
                <a:lnTo>
                  <a:pt x="1489" y="3239"/>
                </a:lnTo>
                <a:lnTo>
                  <a:pt x="1486" y="3239"/>
                </a:lnTo>
                <a:lnTo>
                  <a:pt x="1484" y="3239"/>
                </a:lnTo>
                <a:lnTo>
                  <a:pt x="1483" y="3238"/>
                </a:lnTo>
                <a:lnTo>
                  <a:pt x="1481" y="3238"/>
                </a:lnTo>
                <a:lnTo>
                  <a:pt x="1479" y="3238"/>
                </a:lnTo>
                <a:lnTo>
                  <a:pt x="1478" y="3236"/>
                </a:lnTo>
                <a:lnTo>
                  <a:pt x="1476" y="3236"/>
                </a:lnTo>
                <a:lnTo>
                  <a:pt x="1476" y="3234"/>
                </a:lnTo>
                <a:lnTo>
                  <a:pt x="1478" y="3232"/>
                </a:lnTo>
                <a:lnTo>
                  <a:pt x="1478" y="3231"/>
                </a:lnTo>
                <a:lnTo>
                  <a:pt x="1479" y="3231"/>
                </a:lnTo>
                <a:lnTo>
                  <a:pt x="1481" y="3231"/>
                </a:lnTo>
                <a:lnTo>
                  <a:pt x="1481" y="3229"/>
                </a:lnTo>
                <a:lnTo>
                  <a:pt x="1479" y="3231"/>
                </a:lnTo>
                <a:lnTo>
                  <a:pt x="1478" y="3229"/>
                </a:lnTo>
                <a:lnTo>
                  <a:pt x="1476" y="3231"/>
                </a:lnTo>
                <a:lnTo>
                  <a:pt x="1474" y="3231"/>
                </a:lnTo>
                <a:lnTo>
                  <a:pt x="1474" y="3229"/>
                </a:lnTo>
                <a:lnTo>
                  <a:pt x="1472" y="3229"/>
                </a:lnTo>
                <a:lnTo>
                  <a:pt x="1472" y="3231"/>
                </a:lnTo>
                <a:lnTo>
                  <a:pt x="1471" y="3229"/>
                </a:lnTo>
                <a:lnTo>
                  <a:pt x="1467" y="3229"/>
                </a:lnTo>
                <a:lnTo>
                  <a:pt x="1466" y="3229"/>
                </a:lnTo>
                <a:lnTo>
                  <a:pt x="1464" y="3231"/>
                </a:lnTo>
                <a:lnTo>
                  <a:pt x="1461" y="3232"/>
                </a:lnTo>
                <a:lnTo>
                  <a:pt x="1461" y="3234"/>
                </a:lnTo>
                <a:lnTo>
                  <a:pt x="1459" y="3236"/>
                </a:lnTo>
                <a:lnTo>
                  <a:pt x="1457" y="3238"/>
                </a:lnTo>
                <a:lnTo>
                  <a:pt x="1457" y="3241"/>
                </a:lnTo>
                <a:lnTo>
                  <a:pt x="1455" y="3243"/>
                </a:lnTo>
                <a:lnTo>
                  <a:pt x="1454" y="3246"/>
                </a:lnTo>
                <a:lnTo>
                  <a:pt x="1452" y="3248"/>
                </a:lnTo>
                <a:lnTo>
                  <a:pt x="1452" y="3249"/>
                </a:lnTo>
                <a:lnTo>
                  <a:pt x="1452" y="3253"/>
                </a:lnTo>
                <a:lnTo>
                  <a:pt x="1450" y="3255"/>
                </a:lnTo>
                <a:lnTo>
                  <a:pt x="1449" y="3256"/>
                </a:lnTo>
                <a:lnTo>
                  <a:pt x="1449" y="3258"/>
                </a:lnTo>
                <a:lnTo>
                  <a:pt x="1447" y="3260"/>
                </a:lnTo>
                <a:lnTo>
                  <a:pt x="1445" y="3261"/>
                </a:lnTo>
                <a:lnTo>
                  <a:pt x="1445" y="3265"/>
                </a:lnTo>
                <a:lnTo>
                  <a:pt x="1445" y="3266"/>
                </a:lnTo>
                <a:lnTo>
                  <a:pt x="1447" y="3268"/>
                </a:lnTo>
                <a:lnTo>
                  <a:pt x="1447" y="3270"/>
                </a:lnTo>
                <a:lnTo>
                  <a:pt x="1447" y="3272"/>
                </a:lnTo>
                <a:lnTo>
                  <a:pt x="1447" y="3273"/>
                </a:lnTo>
                <a:lnTo>
                  <a:pt x="1444" y="3275"/>
                </a:lnTo>
                <a:lnTo>
                  <a:pt x="1444" y="3277"/>
                </a:lnTo>
                <a:lnTo>
                  <a:pt x="1444" y="3278"/>
                </a:lnTo>
                <a:lnTo>
                  <a:pt x="1442" y="3278"/>
                </a:lnTo>
                <a:lnTo>
                  <a:pt x="1442" y="3280"/>
                </a:lnTo>
                <a:lnTo>
                  <a:pt x="1440" y="3284"/>
                </a:lnTo>
                <a:lnTo>
                  <a:pt x="1440" y="3285"/>
                </a:lnTo>
                <a:lnTo>
                  <a:pt x="1442" y="3287"/>
                </a:lnTo>
                <a:lnTo>
                  <a:pt x="1444" y="3289"/>
                </a:lnTo>
                <a:lnTo>
                  <a:pt x="1444" y="3290"/>
                </a:lnTo>
                <a:lnTo>
                  <a:pt x="1444" y="3292"/>
                </a:lnTo>
                <a:lnTo>
                  <a:pt x="1445" y="3294"/>
                </a:lnTo>
                <a:lnTo>
                  <a:pt x="1449" y="3295"/>
                </a:lnTo>
                <a:lnTo>
                  <a:pt x="1450" y="3295"/>
                </a:lnTo>
                <a:lnTo>
                  <a:pt x="1452" y="3294"/>
                </a:lnTo>
                <a:lnTo>
                  <a:pt x="1455" y="3295"/>
                </a:lnTo>
                <a:lnTo>
                  <a:pt x="1457" y="3294"/>
                </a:lnTo>
                <a:lnTo>
                  <a:pt x="1459" y="3295"/>
                </a:lnTo>
                <a:lnTo>
                  <a:pt x="1461" y="3295"/>
                </a:lnTo>
                <a:lnTo>
                  <a:pt x="1461" y="3297"/>
                </a:lnTo>
                <a:lnTo>
                  <a:pt x="1464" y="3299"/>
                </a:lnTo>
                <a:lnTo>
                  <a:pt x="1466" y="3301"/>
                </a:lnTo>
                <a:lnTo>
                  <a:pt x="1467" y="3302"/>
                </a:lnTo>
                <a:lnTo>
                  <a:pt x="1469" y="3302"/>
                </a:lnTo>
                <a:lnTo>
                  <a:pt x="1472" y="3302"/>
                </a:lnTo>
                <a:lnTo>
                  <a:pt x="1474" y="3304"/>
                </a:lnTo>
                <a:lnTo>
                  <a:pt x="1474" y="3306"/>
                </a:lnTo>
                <a:lnTo>
                  <a:pt x="1476" y="3307"/>
                </a:lnTo>
                <a:lnTo>
                  <a:pt x="1478" y="3307"/>
                </a:lnTo>
                <a:lnTo>
                  <a:pt x="1481" y="3307"/>
                </a:lnTo>
                <a:lnTo>
                  <a:pt x="1479" y="3309"/>
                </a:lnTo>
                <a:lnTo>
                  <a:pt x="1479" y="3311"/>
                </a:lnTo>
                <a:lnTo>
                  <a:pt x="1478" y="3314"/>
                </a:lnTo>
                <a:lnTo>
                  <a:pt x="1478" y="3316"/>
                </a:lnTo>
                <a:lnTo>
                  <a:pt x="1478" y="3319"/>
                </a:lnTo>
                <a:lnTo>
                  <a:pt x="1479" y="3321"/>
                </a:lnTo>
                <a:lnTo>
                  <a:pt x="1481" y="3321"/>
                </a:lnTo>
                <a:lnTo>
                  <a:pt x="1481" y="3323"/>
                </a:lnTo>
                <a:lnTo>
                  <a:pt x="1481" y="3324"/>
                </a:lnTo>
                <a:lnTo>
                  <a:pt x="1479" y="3326"/>
                </a:lnTo>
                <a:lnTo>
                  <a:pt x="1479" y="3329"/>
                </a:lnTo>
                <a:lnTo>
                  <a:pt x="1479" y="3331"/>
                </a:lnTo>
                <a:lnTo>
                  <a:pt x="1481" y="3331"/>
                </a:lnTo>
                <a:lnTo>
                  <a:pt x="1481" y="3329"/>
                </a:lnTo>
                <a:lnTo>
                  <a:pt x="1481" y="3331"/>
                </a:lnTo>
                <a:lnTo>
                  <a:pt x="1483" y="3333"/>
                </a:lnTo>
                <a:lnTo>
                  <a:pt x="1484" y="3335"/>
                </a:lnTo>
                <a:lnTo>
                  <a:pt x="1486" y="3335"/>
                </a:lnTo>
                <a:lnTo>
                  <a:pt x="1483" y="3336"/>
                </a:lnTo>
                <a:lnTo>
                  <a:pt x="1484" y="3340"/>
                </a:lnTo>
                <a:lnTo>
                  <a:pt x="1483" y="3340"/>
                </a:lnTo>
                <a:lnTo>
                  <a:pt x="1481" y="3343"/>
                </a:lnTo>
                <a:lnTo>
                  <a:pt x="1481" y="3345"/>
                </a:lnTo>
                <a:lnTo>
                  <a:pt x="1479" y="3343"/>
                </a:lnTo>
                <a:lnTo>
                  <a:pt x="1478" y="3343"/>
                </a:lnTo>
                <a:lnTo>
                  <a:pt x="1476" y="3343"/>
                </a:lnTo>
                <a:lnTo>
                  <a:pt x="1474" y="3343"/>
                </a:lnTo>
                <a:lnTo>
                  <a:pt x="1474" y="3341"/>
                </a:lnTo>
                <a:lnTo>
                  <a:pt x="1472" y="3341"/>
                </a:lnTo>
                <a:lnTo>
                  <a:pt x="1471" y="3343"/>
                </a:lnTo>
                <a:lnTo>
                  <a:pt x="1469" y="3343"/>
                </a:lnTo>
                <a:lnTo>
                  <a:pt x="1467" y="3343"/>
                </a:lnTo>
                <a:lnTo>
                  <a:pt x="1466" y="3345"/>
                </a:lnTo>
                <a:lnTo>
                  <a:pt x="1462" y="3346"/>
                </a:lnTo>
                <a:lnTo>
                  <a:pt x="1461" y="3348"/>
                </a:lnTo>
                <a:lnTo>
                  <a:pt x="1459" y="3348"/>
                </a:lnTo>
                <a:lnTo>
                  <a:pt x="1457" y="3350"/>
                </a:lnTo>
                <a:lnTo>
                  <a:pt x="1455" y="3352"/>
                </a:lnTo>
                <a:lnTo>
                  <a:pt x="1454" y="3352"/>
                </a:lnTo>
                <a:lnTo>
                  <a:pt x="1454" y="3353"/>
                </a:lnTo>
                <a:lnTo>
                  <a:pt x="1452" y="3357"/>
                </a:lnTo>
                <a:lnTo>
                  <a:pt x="1452" y="3358"/>
                </a:lnTo>
                <a:lnTo>
                  <a:pt x="1450" y="3360"/>
                </a:lnTo>
                <a:lnTo>
                  <a:pt x="1452" y="3362"/>
                </a:lnTo>
                <a:lnTo>
                  <a:pt x="1452" y="3365"/>
                </a:lnTo>
                <a:lnTo>
                  <a:pt x="1452" y="3367"/>
                </a:lnTo>
                <a:lnTo>
                  <a:pt x="1454" y="3369"/>
                </a:lnTo>
                <a:lnTo>
                  <a:pt x="1454" y="3370"/>
                </a:lnTo>
                <a:lnTo>
                  <a:pt x="1454" y="3374"/>
                </a:lnTo>
                <a:lnTo>
                  <a:pt x="1454" y="3375"/>
                </a:lnTo>
                <a:lnTo>
                  <a:pt x="1454" y="3377"/>
                </a:lnTo>
                <a:lnTo>
                  <a:pt x="1454" y="3380"/>
                </a:lnTo>
                <a:lnTo>
                  <a:pt x="1454" y="3382"/>
                </a:lnTo>
                <a:lnTo>
                  <a:pt x="1450" y="3386"/>
                </a:lnTo>
                <a:lnTo>
                  <a:pt x="1449" y="3387"/>
                </a:lnTo>
                <a:lnTo>
                  <a:pt x="1447" y="3389"/>
                </a:lnTo>
                <a:lnTo>
                  <a:pt x="1445" y="3389"/>
                </a:lnTo>
                <a:lnTo>
                  <a:pt x="1444" y="3391"/>
                </a:lnTo>
                <a:lnTo>
                  <a:pt x="1442" y="3391"/>
                </a:lnTo>
                <a:lnTo>
                  <a:pt x="1440" y="3392"/>
                </a:lnTo>
                <a:lnTo>
                  <a:pt x="1440" y="3394"/>
                </a:lnTo>
                <a:lnTo>
                  <a:pt x="1438" y="3396"/>
                </a:lnTo>
                <a:lnTo>
                  <a:pt x="1438" y="3397"/>
                </a:lnTo>
                <a:lnTo>
                  <a:pt x="1437" y="3399"/>
                </a:lnTo>
                <a:lnTo>
                  <a:pt x="1435" y="3401"/>
                </a:lnTo>
                <a:lnTo>
                  <a:pt x="1433" y="3404"/>
                </a:lnTo>
                <a:lnTo>
                  <a:pt x="1433" y="3406"/>
                </a:lnTo>
                <a:lnTo>
                  <a:pt x="1433" y="3409"/>
                </a:lnTo>
                <a:lnTo>
                  <a:pt x="1433" y="3411"/>
                </a:lnTo>
                <a:lnTo>
                  <a:pt x="1432" y="3414"/>
                </a:lnTo>
                <a:lnTo>
                  <a:pt x="1432" y="3416"/>
                </a:lnTo>
                <a:lnTo>
                  <a:pt x="1430" y="3418"/>
                </a:lnTo>
                <a:lnTo>
                  <a:pt x="1428" y="3420"/>
                </a:lnTo>
                <a:lnTo>
                  <a:pt x="1427" y="3420"/>
                </a:lnTo>
                <a:lnTo>
                  <a:pt x="1425" y="3420"/>
                </a:lnTo>
                <a:lnTo>
                  <a:pt x="1423" y="3420"/>
                </a:lnTo>
                <a:lnTo>
                  <a:pt x="1421" y="3420"/>
                </a:lnTo>
                <a:lnTo>
                  <a:pt x="1418" y="3420"/>
                </a:lnTo>
                <a:lnTo>
                  <a:pt x="1416" y="3421"/>
                </a:lnTo>
                <a:lnTo>
                  <a:pt x="1415" y="3421"/>
                </a:lnTo>
                <a:lnTo>
                  <a:pt x="1411" y="3421"/>
                </a:lnTo>
                <a:lnTo>
                  <a:pt x="1410" y="3421"/>
                </a:lnTo>
                <a:lnTo>
                  <a:pt x="1410" y="3420"/>
                </a:lnTo>
                <a:lnTo>
                  <a:pt x="1408" y="3420"/>
                </a:lnTo>
                <a:lnTo>
                  <a:pt x="1406" y="3418"/>
                </a:lnTo>
                <a:lnTo>
                  <a:pt x="1404" y="3416"/>
                </a:lnTo>
                <a:lnTo>
                  <a:pt x="1404" y="3414"/>
                </a:lnTo>
                <a:lnTo>
                  <a:pt x="1404" y="3413"/>
                </a:lnTo>
                <a:lnTo>
                  <a:pt x="1404" y="3411"/>
                </a:lnTo>
                <a:lnTo>
                  <a:pt x="1403" y="3409"/>
                </a:lnTo>
                <a:lnTo>
                  <a:pt x="1404" y="3408"/>
                </a:lnTo>
                <a:lnTo>
                  <a:pt x="1404" y="3406"/>
                </a:lnTo>
                <a:lnTo>
                  <a:pt x="1404" y="3404"/>
                </a:lnTo>
                <a:lnTo>
                  <a:pt x="1403" y="3403"/>
                </a:lnTo>
                <a:lnTo>
                  <a:pt x="1403" y="3399"/>
                </a:lnTo>
                <a:lnTo>
                  <a:pt x="1404" y="3397"/>
                </a:lnTo>
                <a:lnTo>
                  <a:pt x="1408" y="3397"/>
                </a:lnTo>
                <a:lnTo>
                  <a:pt x="1410" y="3396"/>
                </a:lnTo>
                <a:lnTo>
                  <a:pt x="1411" y="3394"/>
                </a:lnTo>
                <a:lnTo>
                  <a:pt x="1413" y="3394"/>
                </a:lnTo>
                <a:lnTo>
                  <a:pt x="1413" y="3391"/>
                </a:lnTo>
                <a:lnTo>
                  <a:pt x="1413" y="3389"/>
                </a:lnTo>
                <a:lnTo>
                  <a:pt x="1415" y="3387"/>
                </a:lnTo>
                <a:lnTo>
                  <a:pt x="1415" y="3386"/>
                </a:lnTo>
                <a:lnTo>
                  <a:pt x="1415" y="3384"/>
                </a:lnTo>
                <a:lnTo>
                  <a:pt x="1416" y="3382"/>
                </a:lnTo>
                <a:lnTo>
                  <a:pt x="1418" y="3380"/>
                </a:lnTo>
                <a:lnTo>
                  <a:pt x="1416" y="3382"/>
                </a:lnTo>
                <a:lnTo>
                  <a:pt x="1416" y="3380"/>
                </a:lnTo>
                <a:lnTo>
                  <a:pt x="1416" y="3379"/>
                </a:lnTo>
                <a:lnTo>
                  <a:pt x="1418" y="3375"/>
                </a:lnTo>
                <a:lnTo>
                  <a:pt x="1416" y="3374"/>
                </a:lnTo>
                <a:lnTo>
                  <a:pt x="1415" y="3374"/>
                </a:lnTo>
                <a:lnTo>
                  <a:pt x="1413" y="3372"/>
                </a:lnTo>
                <a:lnTo>
                  <a:pt x="1413" y="3370"/>
                </a:lnTo>
                <a:lnTo>
                  <a:pt x="1411" y="3370"/>
                </a:lnTo>
                <a:lnTo>
                  <a:pt x="1411" y="3369"/>
                </a:lnTo>
                <a:lnTo>
                  <a:pt x="1413" y="3367"/>
                </a:lnTo>
                <a:lnTo>
                  <a:pt x="1415" y="3367"/>
                </a:lnTo>
                <a:lnTo>
                  <a:pt x="1415" y="3365"/>
                </a:lnTo>
                <a:lnTo>
                  <a:pt x="1416" y="3365"/>
                </a:lnTo>
                <a:lnTo>
                  <a:pt x="1418" y="3365"/>
                </a:lnTo>
                <a:lnTo>
                  <a:pt x="1420" y="3362"/>
                </a:lnTo>
                <a:lnTo>
                  <a:pt x="1423" y="3362"/>
                </a:lnTo>
                <a:lnTo>
                  <a:pt x="1427" y="3362"/>
                </a:lnTo>
                <a:lnTo>
                  <a:pt x="1428" y="3362"/>
                </a:lnTo>
                <a:lnTo>
                  <a:pt x="1430" y="3360"/>
                </a:lnTo>
                <a:lnTo>
                  <a:pt x="1430" y="3358"/>
                </a:lnTo>
                <a:lnTo>
                  <a:pt x="1432" y="3357"/>
                </a:lnTo>
                <a:lnTo>
                  <a:pt x="1432" y="3355"/>
                </a:lnTo>
                <a:lnTo>
                  <a:pt x="1432" y="3352"/>
                </a:lnTo>
                <a:lnTo>
                  <a:pt x="1432" y="3350"/>
                </a:lnTo>
                <a:lnTo>
                  <a:pt x="1432" y="3348"/>
                </a:lnTo>
                <a:lnTo>
                  <a:pt x="1432" y="3346"/>
                </a:lnTo>
                <a:lnTo>
                  <a:pt x="1430" y="3346"/>
                </a:lnTo>
                <a:lnTo>
                  <a:pt x="1428" y="3345"/>
                </a:lnTo>
                <a:lnTo>
                  <a:pt x="1427" y="3343"/>
                </a:lnTo>
                <a:lnTo>
                  <a:pt x="1427" y="3341"/>
                </a:lnTo>
                <a:lnTo>
                  <a:pt x="1425" y="3340"/>
                </a:lnTo>
                <a:lnTo>
                  <a:pt x="1423" y="3336"/>
                </a:lnTo>
                <a:lnTo>
                  <a:pt x="1423" y="3335"/>
                </a:lnTo>
                <a:lnTo>
                  <a:pt x="1421" y="3333"/>
                </a:lnTo>
                <a:lnTo>
                  <a:pt x="1421" y="3331"/>
                </a:lnTo>
                <a:lnTo>
                  <a:pt x="1421" y="3328"/>
                </a:lnTo>
                <a:lnTo>
                  <a:pt x="1420" y="3326"/>
                </a:lnTo>
                <a:lnTo>
                  <a:pt x="1420" y="3324"/>
                </a:lnTo>
                <a:lnTo>
                  <a:pt x="1420" y="3321"/>
                </a:lnTo>
                <a:lnTo>
                  <a:pt x="1420" y="3319"/>
                </a:lnTo>
                <a:lnTo>
                  <a:pt x="1418" y="3318"/>
                </a:lnTo>
                <a:lnTo>
                  <a:pt x="1418" y="3316"/>
                </a:lnTo>
                <a:lnTo>
                  <a:pt x="1416" y="3312"/>
                </a:lnTo>
                <a:lnTo>
                  <a:pt x="1415" y="3309"/>
                </a:lnTo>
                <a:lnTo>
                  <a:pt x="1413" y="3309"/>
                </a:lnTo>
                <a:lnTo>
                  <a:pt x="1413" y="3307"/>
                </a:lnTo>
                <a:lnTo>
                  <a:pt x="1411" y="3306"/>
                </a:lnTo>
                <a:lnTo>
                  <a:pt x="1410" y="3304"/>
                </a:lnTo>
                <a:lnTo>
                  <a:pt x="1408" y="3304"/>
                </a:lnTo>
                <a:lnTo>
                  <a:pt x="1408" y="3301"/>
                </a:lnTo>
                <a:lnTo>
                  <a:pt x="1408" y="3299"/>
                </a:lnTo>
                <a:lnTo>
                  <a:pt x="1406" y="3299"/>
                </a:lnTo>
                <a:lnTo>
                  <a:pt x="1406" y="3295"/>
                </a:lnTo>
                <a:lnTo>
                  <a:pt x="1404" y="3295"/>
                </a:lnTo>
                <a:lnTo>
                  <a:pt x="1404" y="3292"/>
                </a:lnTo>
                <a:lnTo>
                  <a:pt x="1404" y="3290"/>
                </a:lnTo>
                <a:lnTo>
                  <a:pt x="1403" y="3287"/>
                </a:lnTo>
                <a:lnTo>
                  <a:pt x="1403" y="3285"/>
                </a:lnTo>
                <a:lnTo>
                  <a:pt x="1401" y="3284"/>
                </a:lnTo>
                <a:lnTo>
                  <a:pt x="1403" y="3282"/>
                </a:lnTo>
                <a:lnTo>
                  <a:pt x="1401" y="3280"/>
                </a:lnTo>
                <a:lnTo>
                  <a:pt x="1399" y="3278"/>
                </a:lnTo>
                <a:lnTo>
                  <a:pt x="1399" y="3277"/>
                </a:lnTo>
                <a:lnTo>
                  <a:pt x="1398" y="3275"/>
                </a:lnTo>
                <a:lnTo>
                  <a:pt x="1396" y="3272"/>
                </a:lnTo>
                <a:lnTo>
                  <a:pt x="1394" y="3270"/>
                </a:lnTo>
                <a:lnTo>
                  <a:pt x="1393" y="3268"/>
                </a:lnTo>
                <a:lnTo>
                  <a:pt x="1393" y="3266"/>
                </a:lnTo>
                <a:lnTo>
                  <a:pt x="1389" y="3266"/>
                </a:lnTo>
                <a:lnTo>
                  <a:pt x="1387" y="3268"/>
                </a:lnTo>
                <a:lnTo>
                  <a:pt x="1386" y="3268"/>
                </a:lnTo>
                <a:lnTo>
                  <a:pt x="1384" y="3270"/>
                </a:lnTo>
                <a:lnTo>
                  <a:pt x="1382" y="3272"/>
                </a:lnTo>
                <a:lnTo>
                  <a:pt x="1382" y="3273"/>
                </a:lnTo>
                <a:lnTo>
                  <a:pt x="1381" y="3273"/>
                </a:lnTo>
                <a:lnTo>
                  <a:pt x="1377" y="3273"/>
                </a:lnTo>
                <a:lnTo>
                  <a:pt x="1376" y="3272"/>
                </a:lnTo>
                <a:lnTo>
                  <a:pt x="1372" y="3272"/>
                </a:lnTo>
                <a:lnTo>
                  <a:pt x="1374" y="3272"/>
                </a:lnTo>
                <a:lnTo>
                  <a:pt x="1372" y="3268"/>
                </a:lnTo>
                <a:lnTo>
                  <a:pt x="1370" y="3266"/>
                </a:lnTo>
                <a:lnTo>
                  <a:pt x="1369" y="3265"/>
                </a:lnTo>
                <a:lnTo>
                  <a:pt x="1367" y="3265"/>
                </a:lnTo>
                <a:lnTo>
                  <a:pt x="1365" y="3263"/>
                </a:lnTo>
                <a:lnTo>
                  <a:pt x="1364" y="3261"/>
                </a:lnTo>
                <a:lnTo>
                  <a:pt x="1360" y="3263"/>
                </a:lnTo>
                <a:lnTo>
                  <a:pt x="1359" y="3263"/>
                </a:lnTo>
                <a:lnTo>
                  <a:pt x="1359" y="3261"/>
                </a:lnTo>
                <a:lnTo>
                  <a:pt x="1357" y="3260"/>
                </a:lnTo>
                <a:lnTo>
                  <a:pt x="1353" y="3260"/>
                </a:lnTo>
                <a:lnTo>
                  <a:pt x="1352" y="3258"/>
                </a:lnTo>
                <a:lnTo>
                  <a:pt x="1353" y="3256"/>
                </a:lnTo>
                <a:lnTo>
                  <a:pt x="1353" y="3253"/>
                </a:lnTo>
                <a:lnTo>
                  <a:pt x="1353" y="3251"/>
                </a:lnTo>
                <a:lnTo>
                  <a:pt x="1355" y="3251"/>
                </a:lnTo>
                <a:lnTo>
                  <a:pt x="1357" y="3249"/>
                </a:lnTo>
                <a:lnTo>
                  <a:pt x="1357" y="3248"/>
                </a:lnTo>
                <a:lnTo>
                  <a:pt x="1355" y="3244"/>
                </a:lnTo>
                <a:lnTo>
                  <a:pt x="1353" y="3241"/>
                </a:lnTo>
                <a:lnTo>
                  <a:pt x="1352" y="3241"/>
                </a:lnTo>
                <a:lnTo>
                  <a:pt x="1352" y="3239"/>
                </a:lnTo>
                <a:lnTo>
                  <a:pt x="1352" y="3238"/>
                </a:lnTo>
                <a:lnTo>
                  <a:pt x="1350" y="3238"/>
                </a:lnTo>
                <a:lnTo>
                  <a:pt x="1350" y="3236"/>
                </a:lnTo>
                <a:lnTo>
                  <a:pt x="1348" y="3232"/>
                </a:lnTo>
                <a:lnTo>
                  <a:pt x="1347" y="3232"/>
                </a:lnTo>
                <a:lnTo>
                  <a:pt x="1345" y="3229"/>
                </a:lnTo>
                <a:lnTo>
                  <a:pt x="1343" y="3229"/>
                </a:lnTo>
                <a:lnTo>
                  <a:pt x="1342" y="3227"/>
                </a:lnTo>
                <a:lnTo>
                  <a:pt x="1342" y="3229"/>
                </a:lnTo>
                <a:lnTo>
                  <a:pt x="1342" y="3227"/>
                </a:lnTo>
                <a:lnTo>
                  <a:pt x="1342" y="3229"/>
                </a:lnTo>
                <a:lnTo>
                  <a:pt x="1340" y="3229"/>
                </a:lnTo>
                <a:lnTo>
                  <a:pt x="1338" y="3231"/>
                </a:lnTo>
                <a:lnTo>
                  <a:pt x="1335" y="3231"/>
                </a:lnTo>
                <a:lnTo>
                  <a:pt x="1333" y="3232"/>
                </a:lnTo>
                <a:lnTo>
                  <a:pt x="1331" y="3232"/>
                </a:lnTo>
                <a:lnTo>
                  <a:pt x="1330" y="3234"/>
                </a:lnTo>
                <a:lnTo>
                  <a:pt x="1328" y="3232"/>
                </a:lnTo>
                <a:lnTo>
                  <a:pt x="1326" y="3232"/>
                </a:lnTo>
                <a:lnTo>
                  <a:pt x="1325" y="3234"/>
                </a:lnTo>
                <a:lnTo>
                  <a:pt x="1323" y="3234"/>
                </a:lnTo>
                <a:lnTo>
                  <a:pt x="1321" y="3234"/>
                </a:lnTo>
                <a:lnTo>
                  <a:pt x="1319" y="3236"/>
                </a:lnTo>
                <a:lnTo>
                  <a:pt x="1319" y="3238"/>
                </a:lnTo>
                <a:lnTo>
                  <a:pt x="1318" y="3236"/>
                </a:lnTo>
                <a:lnTo>
                  <a:pt x="1319" y="3232"/>
                </a:lnTo>
                <a:lnTo>
                  <a:pt x="1321" y="3232"/>
                </a:lnTo>
                <a:lnTo>
                  <a:pt x="1323" y="3232"/>
                </a:lnTo>
                <a:lnTo>
                  <a:pt x="1323" y="3231"/>
                </a:lnTo>
                <a:lnTo>
                  <a:pt x="1325" y="3229"/>
                </a:lnTo>
                <a:lnTo>
                  <a:pt x="1325" y="3227"/>
                </a:lnTo>
                <a:lnTo>
                  <a:pt x="1326" y="3227"/>
                </a:lnTo>
                <a:lnTo>
                  <a:pt x="1326" y="3226"/>
                </a:lnTo>
                <a:lnTo>
                  <a:pt x="1326" y="3224"/>
                </a:lnTo>
                <a:lnTo>
                  <a:pt x="1325" y="3224"/>
                </a:lnTo>
                <a:lnTo>
                  <a:pt x="1321" y="3222"/>
                </a:lnTo>
                <a:lnTo>
                  <a:pt x="1319" y="3222"/>
                </a:lnTo>
                <a:lnTo>
                  <a:pt x="1318" y="3219"/>
                </a:lnTo>
                <a:lnTo>
                  <a:pt x="1316" y="3217"/>
                </a:lnTo>
                <a:lnTo>
                  <a:pt x="1314" y="3217"/>
                </a:lnTo>
                <a:lnTo>
                  <a:pt x="1314" y="3219"/>
                </a:lnTo>
                <a:lnTo>
                  <a:pt x="1313" y="3219"/>
                </a:lnTo>
                <a:lnTo>
                  <a:pt x="1311" y="3221"/>
                </a:lnTo>
                <a:lnTo>
                  <a:pt x="1309" y="3222"/>
                </a:lnTo>
                <a:lnTo>
                  <a:pt x="1309" y="3221"/>
                </a:lnTo>
                <a:lnTo>
                  <a:pt x="1306" y="3219"/>
                </a:lnTo>
                <a:lnTo>
                  <a:pt x="1304" y="3221"/>
                </a:lnTo>
                <a:lnTo>
                  <a:pt x="1306" y="3222"/>
                </a:lnTo>
                <a:lnTo>
                  <a:pt x="1302" y="3222"/>
                </a:lnTo>
                <a:lnTo>
                  <a:pt x="1302" y="3219"/>
                </a:lnTo>
                <a:lnTo>
                  <a:pt x="1302" y="3217"/>
                </a:lnTo>
                <a:lnTo>
                  <a:pt x="1302" y="3215"/>
                </a:lnTo>
                <a:lnTo>
                  <a:pt x="1301" y="3214"/>
                </a:lnTo>
                <a:lnTo>
                  <a:pt x="1301" y="3210"/>
                </a:lnTo>
                <a:lnTo>
                  <a:pt x="1299" y="3209"/>
                </a:lnTo>
                <a:lnTo>
                  <a:pt x="1297" y="3209"/>
                </a:lnTo>
                <a:lnTo>
                  <a:pt x="1296" y="3207"/>
                </a:lnTo>
                <a:lnTo>
                  <a:pt x="1296" y="3205"/>
                </a:lnTo>
                <a:lnTo>
                  <a:pt x="1294" y="3202"/>
                </a:lnTo>
                <a:lnTo>
                  <a:pt x="1294" y="3200"/>
                </a:lnTo>
                <a:lnTo>
                  <a:pt x="1292" y="3198"/>
                </a:lnTo>
                <a:lnTo>
                  <a:pt x="1291" y="3197"/>
                </a:lnTo>
                <a:lnTo>
                  <a:pt x="1289" y="3195"/>
                </a:lnTo>
                <a:lnTo>
                  <a:pt x="1287" y="3193"/>
                </a:lnTo>
                <a:lnTo>
                  <a:pt x="1285" y="3192"/>
                </a:lnTo>
                <a:lnTo>
                  <a:pt x="1284" y="3190"/>
                </a:lnTo>
                <a:lnTo>
                  <a:pt x="1282" y="3190"/>
                </a:lnTo>
                <a:lnTo>
                  <a:pt x="1280" y="3190"/>
                </a:lnTo>
                <a:lnTo>
                  <a:pt x="1279" y="3190"/>
                </a:lnTo>
                <a:lnTo>
                  <a:pt x="1275" y="3192"/>
                </a:lnTo>
                <a:lnTo>
                  <a:pt x="1275" y="3193"/>
                </a:lnTo>
                <a:lnTo>
                  <a:pt x="1277" y="3193"/>
                </a:lnTo>
                <a:lnTo>
                  <a:pt x="1275" y="3193"/>
                </a:lnTo>
                <a:lnTo>
                  <a:pt x="1274" y="3193"/>
                </a:lnTo>
                <a:lnTo>
                  <a:pt x="1272" y="3193"/>
                </a:lnTo>
                <a:lnTo>
                  <a:pt x="1272" y="3192"/>
                </a:lnTo>
                <a:lnTo>
                  <a:pt x="1270" y="3192"/>
                </a:lnTo>
                <a:lnTo>
                  <a:pt x="1268" y="3190"/>
                </a:lnTo>
                <a:lnTo>
                  <a:pt x="1267" y="3190"/>
                </a:lnTo>
                <a:lnTo>
                  <a:pt x="1265" y="3188"/>
                </a:lnTo>
                <a:lnTo>
                  <a:pt x="1263" y="3188"/>
                </a:lnTo>
                <a:lnTo>
                  <a:pt x="1260" y="3188"/>
                </a:lnTo>
                <a:lnTo>
                  <a:pt x="1258" y="3188"/>
                </a:lnTo>
                <a:lnTo>
                  <a:pt x="1257" y="3190"/>
                </a:lnTo>
                <a:lnTo>
                  <a:pt x="1253" y="3190"/>
                </a:lnTo>
                <a:lnTo>
                  <a:pt x="1251" y="3192"/>
                </a:lnTo>
                <a:lnTo>
                  <a:pt x="1250" y="3193"/>
                </a:lnTo>
                <a:lnTo>
                  <a:pt x="1248" y="3193"/>
                </a:lnTo>
                <a:lnTo>
                  <a:pt x="1246" y="3193"/>
                </a:lnTo>
                <a:lnTo>
                  <a:pt x="1246" y="3190"/>
                </a:lnTo>
                <a:lnTo>
                  <a:pt x="1245" y="3188"/>
                </a:lnTo>
                <a:lnTo>
                  <a:pt x="1245" y="3187"/>
                </a:lnTo>
                <a:lnTo>
                  <a:pt x="1243" y="3185"/>
                </a:lnTo>
                <a:lnTo>
                  <a:pt x="1241" y="3183"/>
                </a:lnTo>
                <a:lnTo>
                  <a:pt x="1240" y="3181"/>
                </a:lnTo>
                <a:lnTo>
                  <a:pt x="1236" y="3181"/>
                </a:lnTo>
                <a:lnTo>
                  <a:pt x="1234" y="3181"/>
                </a:lnTo>
                <a:lnTo>
                  <a:pt x="1233" y="3180"/>
                </a:lnTo>
                <a:lnTo>
                  <a:pt x="1233" y="3181"/>
                </a:lnTo>
                <a:lnTo>
                  <a:pt x="1229" y="3180"/>
                </a:lnTo>
                <a:lnTo>
                  <a:pt x="1228" y="3178"/>
                </a:lnTo>
                <a:lnTo>
                  <a:pt x="1226" y="3178"/>
                </a:lnTo>
                <a:lnTo>
                  <a:pt x="1224" y="3180"/>
                </a:lnTo>
                <a:lnTo>
                  <a:pt x="1224" y="3178"/>
                </a:lnTo>
                <a:lnTo>
                  <a:pt x="1223" y="3176"/>
                </a:lnTo>
                <a:lnTo>
                  <a:pt x="1223" y="3175"/>
                </a:lnTo>
                <a:lnTo>
                  <a:pt x="1221" y="3173"/>
                </a:lnTo>
                <a:lnTo>
                  <a:pt x="1219" y="3171"/>
                </a:lnTo>
                <a:lnTo>
                  <a:pt x="1217" y="3170"/>
                </a:lnTo>
                <a:lnTo>
                  <a:pt x="1217" y="3168"/>
                </a:lnTo>
                <a:lnTo>
                  <a:pt x="1216" y="3166"/>
                </a:lnTo>
                <a:lnTo>
                  <a:pt x="1214" y="3164"/>
                </a:lnTo>
                <a:lnTo>
                  <a:pt x="1212" y="3164"/>
                </a:lnTo>
                <a:lnTo>
                  <a:pt x="1211" y="3163"/>
                </a:lnTo>
                <a:lnTo>
                  <a:pt x="1209" y="3161"/>
                </a:lnTo>
                <a:lnTo>
                  <a:pt x="1207" y="3161"/>
                </a:lnTo>
                <a:lnTo>
                  <a:pt x="1206" y="3159"/>
                </a:lnTo>
                <a:lnTo>
                  <a:pt x="1204" y="3159"/>
                </a:lnTo>
                <a:lnTo>
                  <a:pt x="1204" y="3158"/>
                </a:lnTo>
                <a:lnTo>
                  <a:pt x="1202" y="3158"/>
                </a:lnTo>
                <a:lnTo>
                  <a:pt x="1202" y="3156"/>
                </a:lnTo>
                <a:lnTo>
                  <a:pt x="1202" y="3154"/>
                </a:lnTo>
                <a:lnTo>
                  <a:pt x="1200" y="3153"/>
                </a:lnTo>
                <a:lnTo>
                  <a:pt x="1200" y="3151"/>
                </a:lnTo>
                <a:lnTo>
                  <a:pt x="1199" y="3147"/>
                </a:lnTo>
                <a:lnTo>
                  <a:pt x="1197" y="3146"/>
                </a:lnTo>
                <a:lnTo>
                  <a:pt x="1195" y="3146"/>
                </a:lnTo>
                <a:lnTo>
                  <a:pt x="1194" y="3144"/>
                </a:lnTo>
                <a:lnTo>
                  <a:pt x="1192" y="3142"/>
                </a:lnTo>
                <a:lnTo>
                  <a:pt x="1189" y="3141"/>
                </a:lnTo>
                <a:lnTo>
                  <a:pt x="1189" y="3139"/>
                </a:lnTo>
                <a:lnTo>
                  <a:pt x="1185" y="3137"/>
                </a:lnTo>
                <a:lnTo>
                  <a:pt x="1183" y="3139"/>
                </a:lnTo>
                <a:lnTo>
                  <a:pt x="1182" y="3139"/>
                </a:lnTo>
                <a:lnTo>
                  <a:pt x="1180" y="3136"/>
                </a:lnTo>
                <a:lnTo>
                  <a:pt x="1178" y="3134"/>
                </a:lnTo>
                <a:lnTo>
                  <a:pt x="1177" y="3130"/>
                </a:lnTo>
                <a:lnTo>
                  <a:pt x="1177" y="3129"/>
                </a:lnTo>
                <a:lnTo>
                  <a:pt x="1175" y="3127"/>
                </a:lnTo>
                <a:lnTo>
                  <a:pt x="1175" y="3125"/>
                </a:lnTo>
                <a:lnTo>
                  <a:pt x="1173" y="3124"/>
                </a:lnTo>
                <a:lnTo>
                  <a:pt x="1172" y="3122"/>
                </a:lnTo>
                <a:lnTo>
                  <a:pt x="1170" y="3120"/>
                </a:lnTo>
                <a:lnTo>
                  <a:pt x="1168" y="3119"/>
                </a:lnTo>
                <a:lnTo>
                  <a:pt x="1166" y="3117"/>
                </a:lnTo>
                <a:lnTo>
                  <a:pt x="1165" y="3115"/>
                </a:lnTo>
                <a:lnTo>
                  <a:pt x="1163" y="3115"/>
                </a:lnTo>
                <a:lnTo>
                  <a:pt x="1161" y="3115"/>
                </a:lnTo>
                <a:lnTo>
                  <a:pt x="1160" y="3113"/>
                </a:lnTo>
                <a:lnTo>
                  <a:pt x="1156" y="3113"/>
                </a:lnTo>
                <a:lnTo>
                  <a:pt x="1153" y="3112"/>
                </a:lnTo>
                <a:lnTo>
                  <a:pt x="1153" y="3113"/>
                </a:lnTo>
                <a:lnTo>
                  <a:pt x="1151" y="3112"/>
                </a:lnTo>
                <a:lnTo>
                  <a:pt x="1149" y="3112"/>
                </a:lnTo>
                <a:lnTo>
                  <a:pt x="1148" y="3112"/>
                </a:lnTo>
                <a:lnTo>
                  <a:pt x="1148" y="3113"/>
                </a:lnTo>
                <a:lnTo>
                  <a:pt x="1146" y="3115"/>
                </a:lnTo>
                <a:lnTo>
                  <a:pt x="1144" y="3115"/>
                </a:lnTo>
                <a:lnTo>
                  <a:pt x="1143" y="3113"/>
                </a:lnTo>
                <a:lnTo>
                  <a:pt x="1141" y="3112"/>
                </a:lnTo>
                <a:lnTo>
                  <a:pt x="1143" y="3110"/>
                </a:lnTo>
                <a:lnTo>
                  <a:pt x="1146" y="3110"/>
                </a:lnTo>
                <a:lnTo>
                  <a:pt x="1146" y="3108"/>
                </a:lnTo>
                <a:lnTo>
                  <a:pt x="1148" y="3107"/>
                </a:lnTo>
                <a:lnTo>
                  <a:pt x="1146" y="3103"/>
                </a:lnTo>
                <a:lnTo>
                  <a:pt x="1144" y="3101"/>
                </a:lnTo>
                <a:lnTo>
                  <a:pt x="1143" y="3101"/>
                </a:lnTo>
                <a:lnTo>
                  <a:pt x="1143" y="3100"/>
                </a:lnTo>
                <a:lnTo>
                  <a:pt x="1143" y="3098"/>
                </a:lnTo>
                <a:lnTo>
                  <a:pt x="1141" y="3098"/>
                </a:lnTo>
                <a:lnTo>
                  <a:pt x="1141" y="3096"/>
                </a:lnTo>
                <a:lnTo>
                  <a:pt x="1138" y="3095"/>
                </a:lnTo>
                <a:lnTo>
                  <a:pt x="1136" y="3091"/>
                </a:lnTo>
                <a:lnTo>
                  <a:pt x="1134" y="3090"/>
                </a:lnTo>
                <a:lnTo>
                  <a:pt x="1132" y="3088"/>
                </a:lnTo>
                <a:lnTo>
                  <a:pt x="1131" y="3088"/>
                </a:lnTo>
                <a:lnTo>
                  <a:pt x="1129" y="3088"/>
                </a:lnTo>
                <a:lnTo>
                  <a:pt x="1126" y="3086"/>
                </a:lnTo>
                <a:lnTo>
                  <a:pt x="1124" y="3084"/>
                </a:lnTo>
                <a:lnTo>
                  <a:pt x="1122" y="3084"/>
                </a:lnTo>
                <a:lnTo>
                  <a:pt x="1126" y="3083"/>
                </a:lnTo>
                <a:lnTo>
                  <a:pt x="1124" y="3079"/>
                </a:lnTo>
                <a:lnTo>
                  <a:pt x="1126" y="3079"/>
                </a:lnTo>
                <a:lnTo>
                  <a:pt x="1126" y="3078"/>
                </a:lnTo>
                <a:lnTo>
                  <a:pt x="1124" y="3076"/>
                </a:lnTo>
                <a:lnTo>
                  <a:pt x="1122" y="3074"/>
                </a:lnTo>
                <a:lnTo>
                  <a:pt x="1121" y="3074"/>
                </a:lnTo>
                <a:lnTo>
                  <a:pt x="1119" y="3074"/>
                </a:lnTo>
                <a:lnTo>
                  <a:pt x="1115" y="3074"/>
                </a:lnTo>
                <a:lnTo>
                  <a:pt x="1114" y="3074"/>
                </a:lnTo>
                <a:lnTo>
                  <a:pt x="1112" y="3076"/>
                </a:lnTo>
                <a:lnTo>
                  <a:pt x="1110" y="3076"/>
                </a:lnTo>
                <a:lnTo>
                  <a:pt x="1110" y="3073"/>
                </a:lnTo>
                <a:lnTo>
                  <a:pt x="1112" y="3071"/>
                </a:lnTo>
                <a:lnTo>
                  <a:pt x="1110" y="3071"/>
                </a:lnTo>
                <a:lnTo>
                  <a:pt x="1112" y="3069"/>
                </a:lnTo>
                <a:lnTo>
                  <a:pt x="1112" y="3067"/>
                </a:lnTo>
                <a:lnTo>
                  <a:pt x="1112" y="3064"/>
                </a:lnTo>
                <a:lnTo>
                  <a:pt x="1112" y="3062"/>
                </a:lnTo>
                <a:lnTo>
                  <a:pt x="1112" y="3059"/>
                </a:lnTo>
                <a:lnTo>
                  <a:pt x="1112" y="3057"/>
                </a:lnTo>
                <a:lnTo>
                  <a:pt x="1112" y="3054"/>
                </a:lnTo>
                <a:lnTo>
                  <a:pt x="1110" y="3050"/>
                </a:lnTo>
                <a:lnTo>
                  <a:pt x="1109" y="3049"/>
                </a:lnTo>
                <a:lnTo>
                  <a:pt x="1107" y="3045"/>
                </a:lnTo>
                <a:lnTo>
                  <a:pt x="1107" y="3042"/>
                </a:lnTo>
                <a:lnTo>
                  <a:pt x="1105" y="3042"/>
                </a:lnTo>
                <a:lnTo>
                  <a:pt x="1105" y="3040"/>
                </a:lnTo>
                <a:lnTo>
                  <a:pt x="1104" y="3040"/>
                </a:lnTo>
                <a:lnTo>
                  <a:pt x="1104" y="3039"/>
                </a:lnTo>
                <a:lnTo>
                  <a:pt x="1102" y="3037"/>
                </a:lnTo>
                <a:lnTo>
                  <a:pt x="1100" y="3035"/>
                </a:lnTo>
                <a:lnTo>
                  <a:pt x="1100" y="3032"/>
                </a:lnTo>
                <a:lnTo>
                  <a:pt x="1102" y="3030"/>
                </a:lnTo>
                <a:lnTo>
                  <a:pt x="1100" y="3030"/>
                </a:lnTo>
                <a:lnTo>
                  <a:pt x="1100" y="3032"/>
                </a:lnTo>
                <a:lnTo>
                  <a:pt x="1100" y="3030"/>
                </a:lnTo>
                <a:lnTo>
                  <a:pt x="1100" y="3028"/>
                </a:lnTo>
                <a:lnTo>
                  <a:pt x="1100" y="3027"/>
                </a:lnTo>
                <a:lnTo>
                  <a:pt x="1098" y="3025"/>
                </a:lnTo>
                <a:lnTo>
                  <a:pt x="1098" y="3023"/>
                </a:lnTo>
                <a:lnTo>
                  <a:pt x="1098" y="3020"/>
                </a:lnTo>
                <a:lnTo>
                  <a:pt x="1098" y="3018"/>
                </a:lnTo>
                <a:lnTo>
                  <a:pt x="1098" y="3016"/>
                </a:lnTo>
                <a:lnTo>
                  <a:pt x="1098" y="3015"/>
                </a:lnTo>
                <a:lnTo>
                  <a:pt x="1098" y="3013"/>
                </a:lnTo>
                <a:lnTo>
                  <a:pt x="1097" y="3011"/>
                </a:lnTo>
                <a:lnTo>
                  <a:pt x="1097" y="3010"/>
                </a:lnTo>
                <a:lnTo>
                  <a:pt x="1095" y="3006"/>
                </a:lnTo>
                <a:lnTo>
                  <a:pt x="1095" y="3005"/>
                </a:lnTo>
                <a:lnTo>
                  <a:pt x="1093" y="3003"/>
                </a:lnTo>
                <a:lnTo>
                  <a:pt x="1092" y="3001"/>
                </a:lnTo>
                <a:lnTo>
                  <a:pt x="1090" y="2999"/>
                </a:lnTo>
                <a:lnTo>
                  <a:pt x="1088" y="2998"/>
                </a:lnTo>
                <a:lnTo>
                  <a:pt x="1087" y="2998"/>
                </a:lnTo>
                <a:lnTo>
                  <a:pt x="1085" y="2996"/>
                </a:lnTo>
                <a:lnTo>
                  <a:pt x="1085" y="2998"/>
                </a:lnTo>
                <a:lnTo>
                  <a:pt x="1083" y="2994"/>
                </a:lnTo>
                <a:lnTo>
                  <a:pt x="1083" y="2998"/>
                </a:lnTo>
                <a:lnTo>
                  <a:pt x="1080" y="2996"/>
                </a:lnTo>
                <a:lnTo>
                  <a:pt x="1080" y="2994"/>
                </a:lnTo>
                <a:lnTo>
                  <a:pt x="1078" y="2994"/>
                </a:lnTo>
                <a:lnTo>
                  <a:pt x="1076" y="2993"/>
                </a:lnTo>
                <a:lnTo>
                  <a:pt x="1076" y="2994"/>
                </a:lnTo>
                <a:lnTo>
                  <a:pt x="1075" y="2993"/>
                </a:lnTo>
                <a:lnTo>
                  <a:pt x="1076" y="2996"/>
                </a:lnTo>
                <a:lnTo>
                  <a:pt x="1076" y="2998"/>
                </a:lnTo>
                <a:lnTo>
                  <a:pt x="1076" y="2996"/>
                </a:lnTo>
                <a:lnTo>
                  <a:pt x="1073" y="2994"/>
                </a:lnTo>
                <a:lnTo>
                  <a:pt x="1071" y="2994"/>
                </a:lnTo>
                <a:lnTo>
                  <a:pt x="1071" y="2993"/>
                </a:lnTo>
                <a:lnTo>
                  <a:pt x="1068" y="2991"/>
                </a:lnTo>
                <a:lnTo>
                  <a:pt x="1066" y="2989"/>
                </a:lnTo>
                <a:lnTo>
                  <a:pt x="1066" y="2991"/>
                </a:lnTo>
                <a:lnTo>
                  <a:pt x="1064" y="2988"/>
                </a:lnTo>
                <a:lnTo>
                  <a:pt x="1063" y="2988"/>
                </a:lnTo>
                <a:lnTo>
                  <a:pt x="1063" y="2986"/>
                </a:lnTo>
                <a:lnTo>
                  <a:pt x="1061" y="2986"/>
                </a:lnTo>
                <a:lnTo>
                  <a:pt x="1059" y="2984"/>
                </a:lnTo>
                <a:lnTo>
                  <a:pt x="1056" y="2984"/>
                </a:lnTo>
                <a:lnTo>
                  <a:pt x="1056" y="2982"/>
                </a:lnTo>
                <a:lnTo>
                  <a:pt x="1054" y="2982"/>
                </a:lnTo>
                <a:lnTo>
                  <a:pt x="1054" y="2981"/>
                </a:lnTo>
                <a:lnTo>
                  <a:pt x="1053" y="2979"/>
                </a:lnTo>
                <a:lnTo>
                  <a:pt x="1051" y="2979"/>
                </a:lnTo>
                <a:lnTo>
                  <a:pt x="1051" y="2977"/>
                </a:lnTo>
                <a:lnTo>
                  <a:pt x="1049" y="2977"/>
                </a:lnTo>
                <a:lnTo>
                  <a:pt x="1047" y="2976"/>
                </a:lnTo>
                <a:lnTo>
                  <a:pt x="1046" y="2976"/>
                </a:lnTo>
                <a:lnTo>
                  <a:pt x="1046" y="2977"/>
                </a:lnTo>
                <a:lnTo>
                  <a:pt x="1046" y="2979"/>
                </a:lnTo>
                <a:lnTo>
                  <a:pt x="1042" y="2977"/>
                </a:lnTo>
                <a:lnTo>
                  <a:pt x="1042" y="2976"/>
                </a:lnTo>
                <a:lnTo>
                  <a:pt x="1041" y="2974"/>
                </a:lnTo>
                <a:lnTo>
                  <a:pt x="1039" y="2974"/>
                </a:lnTo>
                <a:lnTo>
                  <a:pt x="1037" y="2974"/>
                </a:lnTo>
                <a:lnTo>
                  <a:pt x="1034" y="2972"/>
                </a:lnTo>
                <a:lnTo>
                  <a:pt x="1030" y="2972"/>
                </a:lnTo>
                <a:lnTo>
                  <a:pt x="1030" y="2971"/>
                </a:lnTo>
                <a:lnTo>
                  <a:pt x="1030" y="2972"/>
                </a:lnTo>
                <a:lnTo>
                  <a:pt x="1029" y="2971"/>
                </a:lnTo>
                <a:lnTo>
                  <a:pt x="1025" y="2971"/>
                </a:lnTo>
                <a:lnTo>
                  <a:pt x="1027" y="2971"/>
                </a:lnTo>
                <a:lnTo>
                  <a:pt x="1025" y="2971"/>
                </a:lnTo>
                <a:lnTo>
                  <a:pt x="1024" y="2969"/>
                </a:lnTo>
                <a:lnTo>
                  <a:pt x="1024" y="2971"/>
                </a:lnTo>
                <a:lnTo>
                  <a:pt x="1022" y="2969"/>
                </a:lnTo>
                <a:lnTo>
                  <a:pt x="1019" y="2971"/>
                </a:lnTo>
                <a:lnTo>
                  <a:pt x="1019" y="2972"/>
                </a:lnTo>
                <a:lnTo>
                  <a:pt x="1017" y="2972"/>
                </a:lnTo>
                <a:lnTo>
                  <a:pt x="1015" y="2974"/>
                </a:lnTo>
                <a:lnTo>
                  <a:pt x="1013" y="2974"/>
                </a:lnTo>
                <a:lnTo>
                  <a:pt x="1012" y="2976"/>
                </a:lnTo>
                <a:lnTo>
                  <a:pt x="1010" y="2976"/>
                </a:lnTo>
                <a:lnTo>
                  <a:pt x="1008" y="2977"/>
                </a:lnTo>
                <a:lnTo>
                  <a:pt x="1007" y="2979"/>
                </a:lnTo>
                <a:lnTo>
                  <a:pt x="1007" y="2981"/>
                </a:lnTo>
                <a:lnTo>
                  <a:pt x="1007" y="2982"/>
                </a:lnTo>
                <a:lnTo>
                  <a:pt x="1005" y="2984"/>
                </a:lnTo>
                <a:lnTo>
                  <a:pt x="1005" y="2986"/>
                </a:lnTo>
                <a:lnTo>
                  <a:pt x="1003" y="2986"/>
                </a:lnTo>
                <a:lnTo>
                  <a:pt x="1002" y="2988"/>
                </a:lnTo>
                <a:lnTo>
                  <a:pt x="1000" y="2988"/>
                </a:lnTo>
                <a:lnTo>
                  <a:pt x="998" y="2989"/>
                </a:lnTo>
                <a:lnTo>
                  <a:pt x="996" y="2989"/>
                </a:lnTo>
                <a:lnTo>
                  <a:pt x="996" y="2991"/>
                </a:lnTo>
                <a:lnTo>
                  <a:pt x="995" y="2993"/>
                </a:lnTo>
                <a:lnTo>
                  <a:pt x="995" y="2994"/>
                </a:lnTo>
                <a:lnTo>
                  <a:pt x="995" y="2996"/>
                </a:lnTo>
                <a:lnTo>
                  <a:pt x="993" y="2998"/>
                </a:lnTo>
                <a:lnTo>
                  <a:pt x="991" y="2999"/>
                </a:lnTo>
                <a:lnTo>
                  <a:pt x="991" y="3003"/>
                </a:lnTo>
                <a:lnTo>
                  <a:pt x="990" y="3003"/>
                </a:lnTo>
                <a:lnTo>
                  <a:pt x="990" y="3005"/>
                </a:lnTo>
                <a:lnTo>
                  <a:pt x="988" y="3005"/>
                </a:lnTo>
                <a:lnTo>
                  <a:pt x="986" y="3006"/>
                </a:lnTo>
                <a:lnTo>
                  <a:pt x="985" y="3006"/>
                </a:lnTo>
                <a:lnTo>
                  <a:pt x="985" y="3008"/>
                </a:lnTo>
                <a:lnTo>
                  <a:pt x="981" y="3008"/>
                </a:lnTo>
                <a:lnTo>
                  <a:pt x="981" y="3010"/>
                </a:lnTo>
                <a:lnTo>
                  <a:pt x="978" y="3010"/>
                </a:lnTo>
                <a:lnTo>
                  <a:pt x="976" y="3010"/>
                </a:lnTo>
                <a:lnTo>
                  <a:pt x="974" y="3011"/>
                </a:lnTo>
                <a:lnTo>
                  <a:pt x="973" y="3011"/>
                </a:lnTo>
                <a:lnTo>
                  <a:pt x="971" y="3011"/>
                </a:lnTo>
                <a:lnTo>
                  <a:pt x="969" y="3013"/>
                </a:lnTo>
                <a:lnTo>
                  <a:pt x="968" y="3013"/>
                </a:lnTo>
                <a:lnTo>
                  <a:pt x="966" y="3015"/>
                </a:lnTo>
                <a:lnTo>
                  <a:pt x="964" y="3013"/>
                </a:lnTo>
                <a:lnTo>
                  <a:pt x="962" y="3013"/>
                </a:lnTo>
                <a:lnTo>
                  <a:pt x="961" y="3013"/>
                </a:lnTo>
                <a:lnTo>
                  <a:pt x="959" y="3013"/>
                </a:lnTo>
                <a:lnTo>
                  <a:pt x="957" y="3015"/>
                </a:lnTo>
                <a:lnTo>
                  <a:pt x="956" y="3016"/>
                </a:lnTo>
                <a:lnTo>
                  <a:pt x="956" y="3015"/>
                </a:lnTo>
                <a:lnTo>
                  <a:pt x="954" y="3016"/>
                </a:lnTo>
                <a:lnTo>
                  <a:pt x="952" y="3018"/>
                </a:lnTo>
                <a:lnTo>
                  <a:pt x="951" y="3018"/>
                </a:lnTo>
                <a:lnTo>
                  <a:pt x="949" y="3018"/>
                </a:lnTo>
                <a:lnTo>
                  <a:pt x="949" y="3020"/>
                </a:lnTo>
                <a:lnTo>
                  <a:pt x="949" y="3022"/>
                </a:lnTo>
                <a:lnTo>
                  <a:pt x="947" y="3018"/>
                </a:lnTo>
                <a:lnTo>
                  <a:pt x="947" y="3020"/>
                </a:lnTo>
                <a:lnTo>
                  <a:pt x="945" y="3020"/>
                </a:lnTo>
                <a:lnTo>
                  <a:pt x="944" y="3020"/>
                </a:lnTo>
                <a:lnTo>
                  <a:pt x="942" y="3023"/>
                </a:lnTo>
                <a:lnTo>
                  <a:pt x="939" y="3022"/>
                </a:lnTo>
                <a:lnTo>
                  <a:pt x="939" y="3023"/>
                </a:lnTo>
                <a:lnTo>
                  <a:pt x="937" y="3025"/>
                </a:lnTo>
                <a:lnTo>
                  <a:pt x="937" y="3027"/>
                </a:lnTo>
                <a:lnTo>
                  <a:pt x="939" y="3030"/>
                </a:lnTo>
                <a:lnTo>
                  <a:pt x="937" y="3030"/>
                </a:lnTo>
                <a:lnTo>
                  <a:pt x="937" y="3028"/>
                </a:lnTo>
                <a:lnTo>
                  <a:pt x="935" y="3028"/>
                </a:lnTo>
                <a:lnTo>
                  <a:pt x="934" y="3030"/>
                </a:lnTo>
                <a:lnTo>
                  <a:pt x="932" y="3028"/>
                </a:lnTo>
                <a:lnTo>
                  <a:pt x="928" y="3030"/>
                </a:lnTo>
                <a:lnTo>
                  <a:pt x="928" y="3032"/>
                </a:lnTo>
                <a:lnTo>
                  <a:pt x="927" y="3033"/>
                </a:lnTo>
                <a:lnTo>
                  <a:pt x="927" y="3035"/>
                </a:lnTo>
                <a:lnTo>
                  <a:pt x="925" y="3037"/>
                </a:lnTo>
                <a:lnTo>
                  <a:pt x="923" y="3037"/>
                </a:lnTo>
                <a:lnTo>
                  <a:pt x="923" y="3039"/>
                </a:lnTo>
                <a:lnTo>
                  <a:pt x="922" y="3039"/>
                </a:lnTo>
                <a:lnTo>
                  <a:pt x="920" y="3039"/>
                </a:lnTo>
                <a:lnTo>
                  <a:pt x="918" y="3037"/>
                </a:lnTo>
                <a:lnTo>
                  <a:pt x="917" y="3039"/>
                </a:lnTo>
                <a:lnTo>
                  <a:pt x="917" y="3040"/>
                </a:lnTo>
                <a:lnTo>
                  <a:pt x="917" y="3042"/>
                </a:lnTo>
                <a:lnTo>
                  <a:pt x="913" y="3044"/>
                </a:lnTo>
                <a:lnTo>
                  <a:pt x="913" y="3045"/>
                </a:lnTo>
                <a:lnTo>
                  <a:pt x="911" y="3045"/>
                </a:lnTo>
                <a:lnTo>
                  <a:pt x="908" y="3047"/>
                </a:lnTo>
                <a:lnTo>
                  <a:pt x="910" y="3049"/>
                </a:lnTo>
                <a:lnTo>
                  <a:pt x="911" y="3047"/>
                </a:lnTo>
                <a:lnTo>
                  <a:pt x="913" y="3049"/>
                </a:lnTo>
                <a:lnTo>
                  <a:pt x="913" y="3047"/>
                </a:lnTo>
                <a:lnTo>
                  <a:pt x="915" y="3049"/>
                </a:lnTo>
                <a:lnTo>
                  <a:pt x="913" y="3050"/>
                </a:lnTo>
                <a:lnTo>
                  <a:pt x="913" y="3052"/>
                </a:lnTo>
                <a:lnTo>
                  <a:pt x="911" y="3054"/>
                </a:lnTo>
                <a:lnTo>
                  <a:pt x="911" y="3056"/>
                </a:lnTo>
                <a:lnTo>
                  <a:pt x="910" y="3056"/>
                </a:lnTo>
                <a:lnTo>
                  <a:pt x="910" y="3054"/>
                </a:lnTo>
                <a:lnTo>
                  <a:pt x="908" y="3054"/>
                </a:lnTo>
                <a:lnTo>
                  <a:pt x="906" y="3056"/>
                </a:lnTo>
                <a:lnTo>
                  <a:pt x="903" y="3056"/>
                </a:lnTo>
                <a:lnTo>
                  <a:pt x="901" y="3057"/>
                </a:lnTo>
                <a:lnTo>
                  <a:pt x="898" y="3056"/>
                </a:lnTo>
                <a:lnTo>
                  <a:pt x="896" y="3057"/>
                </a:lnTo>
                <a:lnTo>
                  <a:pt x="896" y="3061"/>
                </a:lnTo>
                <a:lnTo>
                  <a:pt x="894" y="3059"/>
                </a:lnTo>
                <a:lnTo>
                  <a:pt x="893" y="3057"/>
                </a:lnTo>
                <a:lnTo>
                  <a:pt x="891" y="3057"/>
                </a:lnTo>
                <a:lnTo>
                  <a:pt x="888" y="3057"/>
                </a:lnTo>
                <a:lnTo>
                  <a:pt x="888" y="3059"/>
                </a:lnTo>
                <a:lnTo>
                  <a:pt x="886" y="3061"/>
                </a:lnTo>
                <a:lnTo>
                  <a:pt x="886" y="3062"/>
                </a:lnTo>
                <a:lnTo>
                  <a:pt x="886" y="3064"/>
                </a:lnTo>
                <a:lnTo>
                  <a:pt x="884" y="3062"/>
                </a:lnTo>
                <a:lnTo>
                  <a:pt x="883" y="3064"/>
                </a:lnTo>
                <a:lnTo>
                  <a:pt x="883" y="3062"/>
                </a:lnTo>
                <a:lnTo>
                  <a:pt x="884" y="3062"/>
                </a:lnTo>
                <a:lnTo>
                  <a:pt x="884" y="3061"/>
                </a:lnTo>
                <a:lnTo>
                  <a:pt x="883" y="3059"/>
                </a:lnTo>
                <a:lnTo>
                  <a:pt x="879" y="3059"/>
                </a:lnTo>
                <a:lnTo>
                  <a:pt x="879" y="3057"/>
                </a:lnTo>
                <a:lnTo>
                  <a:pt x="876" y="3057"/>
                </a:lnTo>
                <a:lnTo>
                  <a:pt x="874" y="3057"/>
                </a:lnTo>
                <a:lnTo>
                  <a:pt x="874" y="3056"/>
                </a:lnTo>
                <a:lnTo>
                  <a:pt x="872" y="3057"/>
                </a:lnTo>
                <a:lnTo>
                  <a:pt x="874" y="3057"/>
                </a:lnTo>
                <a:lnTo>
                  <a:pt x="872" y="3059"/>
                </a:lnTo>
                <a:lnTo>
                  <a:pt x="874" y="3059"/>
                </a:lnTo>
                <a:lnTo>
                  <a:pt x="876" y="3061"/>
                </a:lnTo>
                <a:lnTo>
                  <a:pt x="872" y="3059"/>
                </a:lnTo>
                <a:lnTo>
                  <a:pt x="871" y="3062"/>
                </a:lnTo>
                <a:lnTo>
                  <a:pt x="869" y="3061"/>
                </a:lnTo>
                <a:lnTo>
                  <a:pt x="867" y="3059"/>
                </a:lnTo>
                <a:lnTo>
                  <a:pt x="869" y="3057"/>
                </a:lnTo>
                <a:lnTo>
                  <a:pt x="866" y="3057"/>
                </a:lnTo>
                <a:lnTo>
                  <a:pt x="867" y="3056"/>
                </a:lnTo>
                <a:lnTo>
                  <a:pt x="866" y="3056"/>
                </a:lnTo>
                <a:lnTo>
                  <a:pt x="864" y="3054"/>
                </a:lnTo>
                <a:lnTo>
                  <a:pt x="862" y="3054"/>
                </a:lnTo>
                <a:lnTo>
                  <a:pt x="862" y="3052"/>
                </a:lnTo>
                <a:lnTo>
                  <a:pt x="860" y="3050"/>
                </a:lnTo>
                <a:lnTo>
                  <a:pt x="859" y="3050"/>
                </a:lnTo>
                <a:lnTo>
                  <a:pt x="857" y="3052"/>
                </a:lnTo>
                <a:lnTo>
                  <a:pt x="855" y="3052"/>
                </a:lnTo>
                <a:lnTo>
                  <a:pt x="855" y="3049"/>
                </a:lnTo>
                <a:lnTo>
                  <a:pt x="852" y="3050"/>
                </a:lnTo>
                <a:lnTo>
                  <a:pt x="850" y="3049"/>
                </a:lnTo>
                <a:lnTo>
                  <a:pt x="849" y="3049"/>
                </a:lnTo>
                <a:lnTo>
                  <a:pt x="845" y="3049"/>
                </a:lnTo>
                <a:lnTo>
                  <a:pt x="847" y="3045"/>
                </a:lnTo>
                <a:lnTo>
                  <a:pt x="845" y="3044"/>
                </a:lnTo>
                <a:lnTo>
                  <a:pt x="847" y="3042"/>
                </a:lnTo>
                <a:lnTo>
                  <a:pt x="845" y="3040"/>
                </a:lnTo>
                <a:lnTo>
                  <a:pt x="845" y="3039"/>
                </a:lnTo>
                <a:lnTo>
                  <a:pt x="843" y="3037"/>
                </a:lnTo>
                <a:lnTo>
                  <a:pt x="843" y="3039"/>
                </a:lnTo>
                <a:lnTo>
                  <a:pt x="842" y="3039"/>
                </a:lnTo>
                <a:lnTo>
                  <a:pt x="840" y="3040"/>
                </a:lnTo>
                <a:lnTo>
                  <a:pt x="837" y="3039"/>
                </a:lnTo>
                <a:lnTo>
                  <a:pt x="835" y="3040"/>
                </a:lnTo>
                <a:lnTo>
                  <a:pt x="832" y="3039"/>
                </a:lnTo>
                <a:lnTo>
                  <a:pt x="830" y="3039"/>
                </a:lnTo>
                <a:lnTo>
                  <a:pt x="828" y="3039"/>
                </a:lnTo>
                <a:lnTo>
                  <a:pt x="830" y="3037"/>
                </a:lnTo>
                <a:lnTo>
                  <a:pt x="828" y="3037"/>
                </a:lnTo>
                <a:lnTo>
                  <a:pt x="826" y="3033"/>
                </a:lnTo>
                <a:lnTo>
                  <a:pt x="828" y="3033"/>
                </a:lnTo>
                <a:lnTo>
                  <a:pt x="826" y="3033"/>
                </a:lnTo>
                <a:lnTo>
                  <a:pt x="826" y="3032"/>
                </a:lnTo>
                <a:lnTo>
                  <a:pt x="825" y="3032"/>
                </a:lnTo>
                <a:lnTo>
                  <a:pt x="823" y="3033"/>
                </a:lnTo>
                <a:lnTo>
                  <a:pt x="823" y="3032"/>
                </a:lnTo>
                <a:lnTo>
                  <a:pt x="821" y="3032"/>
                </a:lnTo>
                <a:lnTo>
                  <a:pt x="821" y="3030"/>
                </a:lnTo>
                <a:lnTo>
                  <a:pt x="821" y="3032"/>
                </a:lnTo>
                <a:lnTo>
                  <a:pt x="821" y="3033"/>
                </a:lnTo>
                <a:lnTo>
                  <a:pt x="820" y="3032"/>
                </a:lnTo>
                <a:lnTo>
                  <a:pt x="820" y="3033"/>
                </a:lnTo>
                <a:lnTo>
                  <a:pt x="818" y="3033"/>
                </a:lnTo>
                <a:lnTo>
                  <a:pt x="820" y="3033"/>
                </a:lnTo>
                <a:lnTo>
                  <a:pt x="820" y="3035"/>
                </a:lnTo>
                <a:lnTo>
                  <a:pt x="821" y="3037"/>
                </a:lnTo>
                <a:lnTo>
                  <a:pt x="823" y="3033"/>
                </a:lnTo>
                <a:lnTo>
                  <a:pt x="823" y="3035"/>
                </a:lnTo>
                <a:lnTo>
                  <a:pt x="821" y="3037"/>
                </a:lnTo>
                <a:lnTo>
                  <a:pt x="820" y="3039"/>
                </a:lnTo>
                <a:lnTo>
                  <a:pt x="818" y="3037"/>
                </a:lnTo>
                <a:lnTo>
                  <a:pt x="815" y="3037"/>
                </a:lnTo>
                <a:lnTo>
                  <a:pt x="813" y="3037"/>
                </a:lnTo>
                <a:lnTo>
                  <a:pt x="809" y="3037"/>
                </a:lnTo>
                <a:lnTo>
                  <a:pt x="806" y="3035"/>
                </a:lnTo>
                <a:lnTo>
                  <a:pt x="804" y="3033"/>
                </a:lnTo>
                <a:lnTo>
                  <a:pt x="808" y="3032"/>
                </a:lnTo>
                <a:lnTo>
                  <a:pt x="806" y="3030"/>
                </a:lnTo>
                <a:lnTo>
                  <a:pt x="806" y="3028"/>
                </a:lnTo>
                <a:lnTo>
                  <a:pt x="803" y="3028"/>
                </a:lnTo>
                <a:lnTo>
                  <a:pt x="801" y="3028"/>
                </a:lnTo>
                <a:lnTo>
                  <a:pt x="799" y="3028"/>
                </a:lnTo>
                <a:lnTo>
                  <a:pt x="796" y="3028"/>
                </a:lnTo>
                <a:lnTo>
                  <a:pt x="794" y="3027"/>
                </a:lnTo>
                <a:lnTo>
                  <a:pt x="792" y="3027"/>
                </a:lnTo>
                <a:lnTo>
                  <a:pt x="789" y="3027"/>
                </a:lnTo>
                <a:lnTo>
                  <a:pt x="787" y="3027"/>
                </a:lnTo>
                <a:lnTo>
                  <a:pt x="784" y="3025"/>
                </a:lnTo>
                <a:lnTo>
                  <a:pt x="784" y="3023"/>
                </a:lnTo>
                <a:lnTo>
                  <a:pt x="782" y="3023"/>
                </a:lnTo>
                <a:lnTo>
                  <a:pt x="784" y="3022"/>
                </a:lnTo>
                <a:lnTo>
                  <a:pt x="784" y="3020"/>
                </a:lnTo>
                <a:lnTo>
                  <a:pt x="782" y="3018"/>
                </a:lnTo>
                <a:lnTo>
                  <a:pt x="782" y="3020"/>
                </a:lnTo>
                <a:lnTo>
                  <a:pt x="781" y="3018"/>
                </a:lnTo>
                <a:lnTo>
                  <a:pt x="779" y="3020"/>
                </a:lnTo>
                <a:lnTo>
                  <a:pt x="777" y="3020"/>
                </a:lnTo>
                <a:lnTo>
                  <a:pt x="774" y="3022"/>
                </a:lnTo>
                <a:lnTo>
                  <a:pt x="772" y="3022"/>
                </a:lnTo>
                <a:lnTo>
                  <a:pt x="770" y="3023"/>
                </a:lnTo>
                <a:lnTo>
                  <a:pt x="769" y="3023"/>
                </a:lnTo>
                <a:lnTo>
                  <a:pt x="767" y="3027"/>
                </a:lnTo>
                <a:lnTo>
                  <a:pt x="764" y="3027"/>
                </a:lnTo>
                <a:lnTo>
                  <a:pt x="762" y="3028"/>
                </a:lnTo>
                <a:lnTo>
                  <a:pt x="760" y="3028"/>
                </a:lnTo>
                <a:lnTo>
                  <a:pt x="758" y="3030"/>
                </a:lnTo>
                <a:lnTo>
                  <a:pt x="757" y="3032"/>
                </a:lnTo>
                <a:lnTo>
                  <a:pt x="753" y="3033"/>
                </a:lnTo>
                <a:lnTo>
                  <a:pt x="753" y="3035"/>
                </a:lnTo>
                <a:lnTo>
                  <a:pt x="752" y="3037"/>
                </a:lnTo>
                <a:lnTo>
                  <a:pt x="752" y="3035"/>
                </a:lnTo>
                <a:lnTo>
                  <a:pt x="750" y="3037"/>
                </a:lnTo>
                <a:lnTo>
                  <a:pt x="747" y="3035"/>
                </a:lnTo>
                <a:lnTo>
                  <a:pt x="745" y="3035"/>
                </a:lnTo>
                <a:lnTo>
                  <a:pt x="743" y="3035"/>
                </a:lnTo>
                <a:lnTo>
                  <a:pt x="740" y="3037"/>
                </a:lnTo>
                <a:lnTo>
                  <a:pt x="740" y="3039"/>
                </a:lnTo>
                <a:lnTo>
                  <a:pt x="738" y="3039"/>
                </a:lnTo>
                <a:lnTo>
                  <a:pt x="736" y="3040"/>
                </a:lnTo>
                <a:lnTo>
                  <a:pt x="735" y="3042"/>
                </a:lnTo>
                <a:lnTo>
                  <a:pt x="733" y="3042"/>
                </a:lnTo>
                <a:lnTo>
                  <a:pt x="731" y="3044"/>
                </a:lnTo>
                <a:lnTo>
                  <a:pt x="730" y="3047"/>
                </a:lnTo>
                <a:lnTo>
                  <a:pt x="728" y="3045"/>
                </a:lnTo>
                <a:lnTo>
                  <a:pt x="730" y="3047"/>
                </a:lnTo>
                <a:lnTo>
                  <a:pt x="728" y="3050"/>
                </a:lnTo>
                <a:lnTo>
                  <a:pt x="726" y="3052"/>
                </a:lnTo>
                <a:lnTo>
                  <a:pt x="726" y="3054"/>
                </a:lnTo>
                <a:lnTo>
                  <a:pt x="724" y="3056"/>
                </a:lnTo>
                <a:lnTo>
                  <a:pt x="724" y="3057"/>
                </a:lnTo>
                <a:lnTo>
                  <a:pt x="726" y="3059"/>
                </a:lnTo>
                <a:lnTo>
                  <a:pt x="724" y="3062"/>
                </a:lnTo>
                <a:lnTo>
                  <a:pt x="724" y="3064"/>
                </a:lnTo>
                <a:lnTo>
                  <a:pt x="724" y="3066"/>
                </a:lnTo>
                <a:lnTo>
                  <a:pt x="723" y="3067"/>
                </a:lnTo>
                <a:lnTo>
                  <a:pt x="723" y="3069"/>
                </a:lnTo>
                <a:lnTo>
                  <a:pt x="723" y="3071"/>
                </a:lnTo>
                <a:lnTo>
                  <a:pt x="723" y="3073"/>
                </a:lnTo>
                <a:lnTo>
                  <a:pt x="723" y="3074"/>
                </a:lnTo>
                <a:lnTo>
                  <a:pt x="723" y="3078"/>
                </a:lnTo>
                <a:lnTo>
                  <a:pt x="723" y="3079"/>
                </a:lnTo>
                <a:lnTo>
                  <a:pt x="723" y="3081"/>
                </a:lnTo>
                <a:lnTo>
                  <a:pt x="721" y="3081"/>
                </a:lnTo>
                <a:lnTo>
                  <a:pt x="723" y="3081"/>
                </a:lnTo>
                <a:lnTo>
                  <a:pt x="723" y="3083"/>
                </a:lnTo>
                <a:lnTo>
                  <a:pt x="723" y="3084"/>
                </a:lnTo>
                <a:lnTo>
                  <a:pt x="723" y="3086"/>
                </a:lnTo>
                <a:lnTo>
                  <a:pt x="724" y="3088"/>
                </a:lnTo>
                <a:lnTo>
                  <a:pt x="726" y="3088"/>
                </a:lnTo>
                <a:lnTo>
                  <a:pt x="726" y="3090"/>
                </a:lnTo>
                <a:lnTo>
                  <a:pt x="728" y="3091"/>
                </a:lnTo>
                <a:lnTo>
                  <a:pt x="728" y="3095"/>
                </a:lnTo>
                <a:lnTo>
                  <a:pt x="726" y="3096"/>
                </a:lnTo>
                <a:lnTo>
                  <a:pt x="728" y="3098"/>
                </a:lnTo>
                <a:lnTo>
                  <a:pt x="726" y="3100"/>
                </a:lnTo>
                <a:lnTo>
                  <a:pt x="728" y="3101"/>
                </a:lnTo>
                <a:lnTo>
                  <a:pt x="730" y="3100"/>
                </a:lnTo>
                <a:lnTo>
                  <a:pt x="731" y="3101"/>
                </a:lnTo>
                <a:lnTo>
                  <a:pt x="733" y="3101"/>
                </a:lnTo>
                <a:lnTo>
                  <a:pt x="733" y="3103"/>
                </a:lnTo>
                <a:lnTo>
                  <a:pt x="735" y="3103"/>
                </a:lnTo>
                <a:lnTo>
                  <a:pt x="733" y="3103"/>
                </a:lnTo>
                <a:lnTo>
                  <a:pt x="733" y="3105"/>
                </a:lnTo>
                <a:lnTo>
                  <a:pt x="733" y="3107"/>
                </a:lnTo>
                <a:lnTo>
                  <a:pt x="731" y="3107"/>
                </a:lnTo>
                <a:lnTo>
                  <a:pt x="731" y="3108"/>
                </a:lnTo>
                <a:lnTo>
                  <a:pt x="730" y="3107"/>
                </a:lnTo>
                <a:lnTo>
                  <a:pt x="730" y="3108"/>
                </a:lnTo>
                <a:lnTo>
                  <a:pt x="728" y="3108"/>
                </a:lnTo>
                <a:lnTo>
                  <a:pt x="726" y="3107"/>
                </a:lnTo>
                <a:lnTo>
                  <a:pt x="724" y="3107"/>
                </a:lnTo>
                <a:lnTo>
                  <a:pt x="723" y="3110"/>
                </a:lnTo>
                <a:lnTo>
                  <a:pt x="723" y="3113"/>
                </a:lnTo>
                <a:lnTo>
                  <a:pt x="723" y="3115"/>
                </a:lnTo>
                <a:lnTo>
                  <a:pt x="726" y="3117"/>
                </a:lnTo>
                <a:lnTo>
                  <a:pt x="728" y="3120"/>
                </a:lnTo>
                <a:lnTo>
                  <a:pt x="726" y="3122"/>
                </a:lnTo>
                <a:lnTo>
                  <a:pt x="726" y="3124"/>
                </a:lnTo>
                <a:lnTo>
                  <a:pt x="726" y="3127"/>
                </a:lnTo>
                <a:lnTo>
                  <a:pt x="728" y="3129"/>
                </a:lnTo>
                <a:lnTo>
                  <a:pt x="726" y="3130"/>
                </a:lnTo>
                <a:lnTo>
                  <a:pt x="726" y="3132"/>
                </a:lnTo>
                <a:lnTo>
                  <a:pt x="724" y="3134"/>
                </a:lnTo>
                <a:lnTo>
                  <a:pt x="721" y="3136"/>
                </a:lnTo>
                <a:lnTo>
                  <a:pt x="719" y="3136"/>
                </a:lnTo>
                <a:lnTo>
                  <a:pt x="718" y="3137"/>
                </a:lnTo>
                <a:lnTo>
                  <a:pt x="718" y="3139"/>
                </a:lnTo>
                <a:lnTo>
                  <a:pt x="716" y="3141"/>
                </a:lnTo>
                <a:lnTo>
                  <a:pt x="713" y="3141"/>
                </a:lnTo>
                <a:lnTo>
                  <a:pt x="711" y="3142"/>
                </a:lnTo>
                <a:lnTo>
                  <a:pt x="711" y="3144"/>
                </a:lnTo>
                <a:lnTo>
                  <a:pt x="707" y="3144"/>
                </a:lnTo>
                <a:lnTo>
                  <a:pt x="704" y="3144"/>
                </a:lnTo>
                <a:lnTo>
                  <a:pt x="702" y="3146"/>
                </a:lnTo>
                <a:lnTo>
                  <a:pt x="702" y="3147"/>
                </a:lnTo>
                <a:lnTo>
                  <a:pt x="701" y="3147"/>
                </a:lnTo>
                <a:lnTo>
                  <a:pt x="699" y="3149"/>
                </a:lnTo>
                <a:lnTo>
                  <a:pt x="696" y="3149"/>
                </a:lnTo>
                <a:lnTo>
                  <a:pt x="694" y="3151"/>
                </a:lnTo>
                <a:lnTo>
                  <a:pt x="690" y="3151"/>
                </a:lnTo>
                <a:lnTo>
                  <a:pt x="690" y="3153"/>
                </a:lnTo>
                <a:lnTo>
                  <a:pt x="689" y="3151"/>
                </a:lnTo>
                <a:lnTo>
                  <a:pt x="687" y="3153"/>
                </a:lnTo>
                <a:lnTo>
                  <a:pt x="684" y="3154"/>
                </a:lnTo>
                <a:lnTo>
                  <a:pt x="680" y="3156"/>
                </a:lnTo>
                <a:lnTo>
                  <a:pt x="679" y="3156"/>
                </a:lnTo>
                <a:lnTo>
                  <a:pt x="679" y="3158"/>
                </a:lnTo>
                <a:lnTo>
                  <a:pt x="679" y="3156"/>
                </a:lnTo>
                <a:lnTo>
                  <a:pt x="675" y="3158"/>
                </a:lnTo>
                <a:lnTo>
                  <a:pt x="673" y="3158"/>
                </a:lnTo>
                <a:lnTo>
                  <a:pt x="672" y="3159"/>
                </a:lnTo>
                <a:lnTo>
                  <a:pt x="670" y="3161"/>
                </a:lnTo>
                <a:lnTo>
                  <a:pt x="668" y="3163"/>
                </a:lnTo>
                <a:lnTo>
                  <a:pt x="668" y="3164"/>
                </a:lnTo>
                <a:lnTo>
                  <a:pt x="668" y="3163"/>
                </a:lnTo>
                <a:lnTo>
                  <a:pt x="668" y="3164"/>
                </a:lnTo>
                <a:lnTo>
                  <a:pt x="667" y="3166"/>
                </a:lnTo>
                <a:lnTo>
                  <a:pt x="668" y="3164"/>
                </a:lnTo>
                <a:lnTo>
                  <a:pt x="667" y="3166"/>
                </a:lnTo>
                <a:lnTo>
                  <a:pt x="665" y="3168"/>
                </a:lnTo>
                <a:lnTo>
                  <a:pt x="667" y="3170"/>
                </a:lnTo>
                <a:lnTo>
                  <a:pt x="665" y="3168"/>
                </a:lnTo>
                <a:lnTo>
                  <a:pt x="665" y="3170"/>
                </a:lnTo>
                <a:lnTo>
                  <a:pt x="663" y="3170"/>
                </a:lnTo>
                <a:lnTo>
                  <a:pt x="660" y="3171"/>
                </a:lnTo>
                <a:lnTo>
                  <a:pt x="658" y="3171"/>
                </a:lnTo>
                <a:lnTo>
                  <a:pt x="655" y="3170"/>
                </a:lnTo>
                <a:lnTo>
                  <a:pt x="653" y="3171"/>
                </a:lnTo>
                <a:lnTo>
                  <a:pt x="653" y="3170"/>
                </a:lnTo>
                <a:lnTo>
                  <a:pt x="651" y="3171"/>
                </a:lnTo>
                <a:lnTo>
                  <a:pt x="650" y="3171"/>
                </a:lnTo>
                <a:lnTo>
                  <a:pt x="648" y="3171"/>
                </a:lnTo>
                <a:lnTo>
                  <a:pt x="646" y="3173"/>
                </a:lnTo>
                <a:lnTo>
                  <a:pt x="643" y="3173"/>
                </a:lnTo>
                <a:lnTo>
                  <a:pt x="641" y="3173"/>
                </a:lnTo>
                <a:lnTo>
                  <a:pt x="639" y="3173"/>
                </a:lnTo>
                <a:lnTo>
                  <a:pt x="636" y="3173"/>
                </a:lnTo>
                <a:lnTo>
                  <a:pt x="636" y="3175"/>
                </a:lnTo>
                <a:lnTo>
                  <a:pt x="636" y="3173"/>
                </a:lnTo>
                <a:lnTo>
                  <a:pt x="633" y="3173"/>
                </a:lnTo>
                <a:lnTo>
                  <a:pt x="631" y="3173"/>
                </a:lnTo>
                <a:lnTo>
                  <a:pt x="628" y="3175"/>
                </a:lnTo>
                <a:lnTo>
                  <a:pt x="626" y="3176"/>
                </a:lnTo>
                <a:lnTo>
                  <a:pt x="624" y="3176"/>
                </a:lnTo>
                <a:lnTo>
                  <a:pt x="621" y="3176"/>
                </a:lnTo>
                <a:lnTo>
                  <a:pt x="619" y="3176"/>
                </a:lnTo>
                <a:lnTo>
                  <a:pt x="617" y="3176"/>
                </a:lnTo>
                <a:lnTo>
                  <a:pt x="616" y="3178"/>
                </a:lnTo>
                <a:lnTo>
                  <a:pt x="614" y="3178"/>
                </a:lnTo>
                <a:lnTo>
                  <a:pt x="616" y="3176"/>
                </a:lnTo>
                <a:lnTo>
                  <a:pt x="614" y="3178"/>
                </a:lnTo>
                <a:lnTo>
                  <a:pt x="612" y="3180"/>
                </a:lnTo>
                <a:lnTo>
                  <a:pt x="609" y="3178"/>
                </a:lnTo>
                <a:lnTo>
                  <a:pt x="607" y="3180"/>
                </a:lnTo>
                <a:lnTo>
                  <a:pt x="605" y="3178"/>
                </a:lnTo>
                <a:lnTo>
                  <a:pt x="602" y="3180"/>
                </a:lnTo>
                <a:lnTo>
                  <a:pt x="600" y="3181"/>
                </a:lnTo>
                <a:lnTo>
                  <a:pt x="599" y="3181"/>
                </a:lnTo>
                <a:lnTo>
                  <a:pt x="599" y="3183"/>
                </a:lnTo>
                <a:lnTo>
                  <a:pt x="597" y="3183"/>
                </a:lnTo>
                <a:lnTo>
                  <a:pt x="595" y="3185"/>
                </a:lnTo>
                <a:lnTo>
                  <a:pt x="594" y="3187"/>
                </a:lnTo>
                <a:lnTo>
                  <a:pt x="594" y="3188"/>
                </a:lnTo>
                <a:lnTo>
                  <a:pt x="592" y="3190"/>
                </a:lnTo>
                <a:lnTo>
                  <a:pt x="590" y="3190"/>
                </a:lnTo>
                <a:lnTo>
                  <a:pt x="590" y="3192"/>
                </a:lnTo>
                <a:lnTo>
                  <a:pt x="587" y="3192"/>
                </a:lnTo>
                <a:lnTo>
                  <a:pt x="587" y="3193"/>
                </a:lnTo>
                <a:lnTo>
                  <a:pt x="585" y="3195"/>
                </a:lnTo>
                <a:lnTo>
                  <a:pt x="585" y="3197"/>
                </a:lnTo>
                <a:lnTo>
                  <a:pt x="588" y="3198"/>
                </a:lnTo>
                <a:lnTo>
                  <a:pt x="585" y="3197"/>
                </a:lnTo>
                <a:lnTo>
                  <a:pt x="588" y="3197"/>
                </a:lnTo>
                <a:lnTo>
                  <a:pt x="588" y="3198"/>
                </a:lnTo>
                <a:lnTo>
                  <a:pt x="590" y="3200"/>
                </a:lnTo>
                <a:lnTo>
                  <a:pt x="594" y="3202"/>
                </a:lnTo>
                <a:lnTo>
                  <a:pt x="592" y="3204"/>
                </a:lnTo>
                <a:lnTo>
                  <a:pt x="590" y="3205"/>
                </a:lnTo>
                <a:lnTo>
                  <a:pt x="588" y="3205"/>
                </a:lnTo>
                <a:lnTo>
                  <a:pt x="587" y="3207"/>
                </a:lnTo>
                <a:lnTo>
                  <a:pt x="585" y="3207"/>
                </a:lnTo>
                <a:lnTo>
                  <a:pt x="583" y="3209"/>
                </a:lnTo>
                <a:lnTo>
                  <a:pt x="583" y="3210"/>
                </a:lnTo>
                <a:lnTo>
                  <a:pt x="582" y="3210"/>
                </a:lnTo>
                <a:lnTo>
                  <a:pt x="580" y="3212"/>
                </a:lnTo>
                <a:lnTo>
                  <a:pt x="577" y="3212"/>
                </a:lnTo>
                <a:lnTo>
                  <a:pt x="577" y="3210"/>
                </a:lnTo>
                <a:lnTo>
                  <a:pt x="578" y="3210"/>
                </a:lnTo>
                <a:lnTo>
                  <a:pt x="580" y="3210"/>
                </a:lnTo>
                <a:lnTo>
                  <a:pt x="583" y="3210"/>
                </a:lnTo>
                <a:lnTo>
                  <a:pt x="585" y="3207"/>
                </a:lnTo>
                <a:lnTo>
                  <a:pt x="582" y="3207"/>
                </a:lnTo>
                <a:lnTo>
                  <a:pt x="580" y="3207"/>
                </a:lnTo>
                <a:lnTo>
                  <a:pt x="578" y="3207"/>
                </a:lnTo>
                <a:lnTo>
                  <a:pt x="577" y="3207"/>
                </a:lnTo>
                <a:lnTo>
                  <a:pt x="577" y="3209"/>
                </a:lnTo>
                <a:lnTo>
                  <a:pt x="577" y="3207"/>
                </a:lnTo>
                <a:lnTo>
                  <a:pt x="575" y="3209"/>
                </a:lnTo>
                <a:lnTo>
                  <a:pt x="575" y="3210"/>
                </a:lnTo>
                <a:lnTo>
                  <a:pt x="573" y="3210"/>
                </a:lnTo>
                <a:lnTo>
                  <a:pt x="573" y="3212"/>
                </a:lnTo>
                <a:lnTo>
                  <a:pt x="571" y="3214"/>
                </a:lnTo>
                <a:lnTo>
                  <a:pt x="570" y="3215"/>
                </a:lnTo>
                <a:lnTo>
                  <a:pt x="570" y="3217"/>
                </a:lnTo>
                <a:lnTo>
                  <a:pt x="568" y="3217"/>
                </a:lnTo>
                <a:lnTo>
                  <a:pt x="566" y="3219"/>
                </a:lnTo>
                <a:lnTo>
                  <a:pt x="566" y="3221"/>
                </a:lnTo>
                <a:lnTo>
                  <a:pt x="565" y="3221"/>
                </a:lnTo>
                <a:lnTo>
                  <a:pt x="565" y="3224"/>
                </a:lnTo>
                <a:lnTo>
                  <a:pt x="563" y="3224"/>
                </a:lnTo>
                <a:lnTo>
                  <a:pt x="563" y="3226"/>
                </a:lnTo>
                <a:lnTo>
                  <a:pt x="561" y="3227"/>
                </a:lnTo>
                <a:lnTo>
                  <a:pt x="560" y="3229"/>
                </a:lnTo>
                <a:lnTo>
                  <a:pt x="556" y="3231"/>
                </a:lnTo>
                <a:lnTo>
                  <a:pt x="554" y="3234"/>
                </a:lnTo>
                <a:lnTo>
                  <a:pt x="553" y="3234"/>
                </a:lnTo>
                <a:lnTo>
                  <a:pt x="551" y="3236"/>
                </a:lnTo>
                <a:lnTo>
                  <a:pt x="549" y="3238"/>
                </a:lnTo>
                <a:lnTo>
                  <a:pt x="549" y="3239"/>
                </a:lnTo>
                <a:lnTo>
                  <a:pt x="548" y="3241"/>
                </a:lnTo>
                <a:lnTo>
                  <a:pt x="546" y="3243"/>
                </a:lnTo>
                <a:lnTo>
                  <a:pt x="544" y="3243"/>
                </a:lnTo>
                <a:lnTo>
                  <a:pt x="543" y="3244"/>
                </a:lnTo>
                <a:lnTo>
                  <a:pt x="541" y="3246"/>
                </a:lnTo>
                <a:lnTo>
                  <a:pt x="541" y="3248"/>
                </a:lnTo>
                <a:lnTo>
                  <a:pt x="541" y="3249"/>
                </a:lnTo>
                <a:lnTo>
                  <a:pt x="539" y="3248"/>
                </a:lnTo>
                <a:lnTo>
                  <a:pt x="539" y="3249"/>
                </a:lnTo>
                <a:lnTo>
                  <a:pt x="539" y="3251"/>
                </a:lnTo>
                <a:lnTo>
                  <a:pt x="539" y="3249"/>
                </a:lnTo>
                <a:lnTo>
                  <a:pt x="537" y="3253"/>
                </a:lnTo>
                <a:lnTo>
                  <a:pt x="536" y="3253"/>
                </a:lnTo>
                <a:lnTo>
                  <a:pt x="534" y="3255"/>
                </a:lnTo>
                <a:lnTo>
                  <a:pt x="534" y="3256"/>
                </a:lnTo>
                <a:lnTo>
                  <a:pt x="532" y="3256"/>
                </a:lnTo>
                <a:lnTo>
                  <a:pt x="532" y="3258"/>
                </a:lnTo>
                <a:lnTo>
                  <a:pt x="531" y="3258"/>
                </a:lnTo>
                <a:lnTo>
                  <a:pt x="529" y="3260"/>
                </a:lnTo>
                <a:lnTo>
                  <a:pt x="529" y="3261"/>
                </a:lnTo>
                <a:lnTo>
                  <a:pt x="527" y="3263"/>
                </a:lnTo>
                <a:lnTo>
                  <a:pt x="526" y="3265"/>
                </a:lnTo>
                <a:lnTo>
                  <a:pt x="526" y="3268"/>
                </a:lnTo>
                <a:lnTo>
                  <a:pt x="524" y="3268"/>
                </a:lnTo>
                <a:lnTo>
                  <a:pt x="524" y="3270"/>
                </a:lnTo>
                <a:lnTo>
                  <a:pt x="524" y="3272"/>
                </a:lnTo>
                <a:lnTo>
                  <a:pt x="522" y="3270"/>
                </a:lnTo>
                <a:lnTo>
                  <a:pt x="520" y="3272"/>
                </a:lnTo>
                <a:lnTo>
                  <a:pt x="519" y="3275"/>
                </a:lnTo>
                <a:lnTo>
                  <a:pt x="517" y="3277"/>
                </a:lnTo>
                <a:lnTo>
                  <a:pt x="517" y="3280"/>
                </a:lnTo>
                <a:lnTo>
                  <a:pt x="517" y="3282"/>
                </a:lnTo>
                <a:lnTo>
                  <a:pt x="515" y="3282"/>
                </a:lnTo>
                <a:lnTo>
                  <a:pt x="517" y="3284"/>
                </a:lnTo>
                <a:lnTo>
                  <a:pt x="515" y="3282"/>
                </a:lnTo>
                <a:lnTo>
                  <a:pt x="515" y="3284"/>
                </a:lnTo>
                <a:lnTo>
                  <a:pt x="517" y="3285"/>
                </a:lnTo>
                <a:lnTo>
                  <a:pt x="515" y="3285"/>
                </a:lnTo>
                <a:lnTo>
                  <a:pt x="515" y="3289"/>
                </a:lnTo>
                <a:lnTo>
                  <a:pt x="515" y="3290"/>
                </a:lnTo>
                <a:lnTo>
                  <a:pt x="515" y="3292"/>
                </a:lnTo>
                <a:lnTo>
                  <a:pt x="517" y="3295"/>
                </a:lnTo>
                <a:lnTo>
                  <a:pt x="517" y="3299"/>
                </a:lnTo>
                <a:lnTo>
                  <a:pt x="519" y="3302"/>
                </a:lnTo>
                <a:lnTo>
                  <a:pt x="517" y="3304"/>
                </a:lnTo>
                <a:lnTo>
                  <a:pt x="517" y="3306"/>
                </a:lnTo>
                <a:lnTo>
                  <a:pt x="517" y="3307"/>
                </a:lnTo>
                <a:lnTo>
                  <a:pt x="519" y="3309"/>
                </a:lnTo>
                <a:lnTo>
                  <a:pt x="519" y="3312"/>
                </a:lnTo>
                <a:lnTo>
                  <a:pt x="519" y="3314"/>
                </a:lnTo>
                <a:lnTo>
                  <a:pt x="520" y="3316"/>
                </a:lnTo>
                <a:lnTo>
                  <a:pt x="520" y="3318"/>
                </a:lnTo>
                <a:lnTo>
                  <a:pt x="520" y="3319"/>
                </a:lnTo>
                <a:lnTo>
                  <a:pt x="522" y="3321"/>
                </a:lnTo>
                <a:lnTo>
                  <a:pt x="524" y="3321"/>
                </a:lnTo>
                <a:lnTo>
                  <a:pt x="524" y="3323"/>
                </a:lnTo>
                <a:lnTo>
                  <a:pt x="526" y="3326"/>
                </a:lnTo>
                <a:lnTo>
                  <a:pt x="527" y="3326"/>
                </a:lnTo>
                <a:lnTo>
                  <a:pt x="529" y="3328"/>
                </a:lnTo>
                <a:lnTo>
                  <a:pt x="531" y="3328"/>
                </a:lnTo>
                <a:lnTo>
                  <a:pt x="534" y="3329"/>
                </a:lnTo>
                <a:lnTo>
                  <a:pt x="534" y="3331"/>
                </a:lnTo>
                <a:lnTo>
                  <a:pt x="536" y="3331"/>
                </a:lnTo>
                <a:lnTo>
                  <a:pt x="537" y="3331"/>
                </a:lnTo>
                <a:lnTo>
                  <a:pt x="537" y="3333"/>
                </a:lnTo>
                <a:lnTo>
                  <a:pt x="537" y="3335"/>
                </a:lnTo>
                <a:lnTo>
                  <a:pt x="539" y="3336"/>
                </a:lnTo>
                <a:lnTo>
                  <a:pt x="539" y="3338"/>
                </a:lnTo>
                <a:lnTo>
                  <a:pt x="537" y="3338"/>
                </a:lnTo>
                <a:lnTo>
                  <a:pt x="536" y="3340"/>
                </a:lnTo>
                <a:lnTo>
                  <a:pt x="534" y="3341"/>
                </a:lnTo>
                <a:lnTo>
                  <a:pt x="532" y="3341"/>
                </a:lnTo>
                <a:lnTo>
                  <a:pt x="531" y="3341"/>
                </a:lnTo>
                <a:lnTo>
                  <a:pt x="529" y="3343"/>
                </a:lnTo>
                <a:lnTo>
                  <a:pt x="531" y="3345"/>
                </a:lnTo>
                <a:lnTo>
                  <a:pt x="529" y="3343"/>
                </a:lnTo>
                <a:lnTo>
                  <a:pt x="527" y="3345"/>
                </a:lnTo>
                <a:lnTo>
                  <a:pt x="526" y="3343"/>
                </a:lnTo>
                <a:lnTo>
                  <a:pt x="524" y="3345"/>
                </a:lnTo>
                <a:lnTo>
                  <a:pt x="522" y="3346"/>
                </a:lnTo>
                <a:lnTo>
                  <a:pt x="522" y="3348"/>
                </a:lnTo>
                <a:lnTo>
                  <a:pt x="520" y="3350"/>
                </a:lnTo>
                <a:lnTo>
                  <a:pt x="519" y="3350"/>
                </a:lnTo>
                <a:lnTo>
                  <a:pt x="515" y="3350"/>
                </a:lnTo>
                <a:lnTo>
                  <a:pt x="514" y="3350"/>
                </a:lnTo>
                <a:lnTo>
                  <a:pt x="512" y="3352"/>
                </a:lnTo>
                <a:lnTo>
                  <a:pt x="509" y="3352"/>
                </a:lnTo>
                <a:lnTo>
                  <a:pt x="507" y="3352"/>
                </a:lnTo>
                <a:lnTo>
                  <a:pt x="503" y="3353"/>
                </a:lnTo>
                <a:lnTo>
                  <a:pt x="503" y="3355"/>
                </a:lnTo>
                <a:lnTo>
                  <a:pt x="502" y="3355"/>
                </a:lnTo>
                <a:lnTo>
                  <a:pt x="500" y="3357"/>
                </a:lnTo>
                <a:lnTo>
                  <a:pt x="500" y="3360"/>
                </a:lnTo>
                <a:lnTo>
                  <a:pt x="498" y="3360"/>
                </a:lnTo>
                <a:lnTo>
                  <a:pt x="497" y="3360"/>
                </a:lnTo>
                <a:lnTo>
                  <a:pt x="495" y="3362"/>
                </a:lnTo>
                <a:lnTo>
                  <a:pt x="495" y="3360"/>
                </a:lnTo>
                <a:lnTo>
                  <a:pt x="495" y="3362"/>
                </a:lnTo>
                <a:lnTo>
                  <a:pt x="493" y="3362"/>
                </a:lnTo>
                <a:lnTo>
                  <a:pt x="493" y="3363"/>
                </a:lnTo>
                <a:lnTo>
                  <a:pt x="493" y="3365"/>
                </a:lnTo>
                <a:lnTo>
                  <a:pt x="493" y="3367"/>
                </a:lnTo>
                <a:lnTo>
                  <a:pt x="493" y="3369"/>
                </a:lnTo>
                <a:lnTo>
                  <a:pt x="493" y="3370"/>
                </a:lnTo>
                <a:lnTo>
                  <a:pt x="492" y="3372"/>
                </a:lnTo>
                <a:lnTo>
                  <a:pt x="488" y="3370"/>
                </a:lnTo>
                <a:lnTo>
                  <a:pt x="486" y="3372"/>
                </a:lnTo>
                <a:lnTo>
                  <a:pt x="485" y="3374"/>
                </a:lnTo>
                <a:lnTo>
                  <a:pt x="485" y="3375"/>
                </a:lnTo>
                <a:lnTo>
                  <a:pt x="483" y="3377"/>
                </a:lnTo>
                <a:lnTo>
                  <a:pt x="483" y="3380"/>
                </a:lnTo>
                <a:lnTo>
                  <a:pt x="483" y="3382"/>
                </a:lnTo>
                <a:lnTo>
                  <a:pt x="483" y="3384"/>
                </a:lnTo>
                <a:lnTo>
                  <a:pt x="481" y="3384"/>
                </a:lnTo>
                <a:lnTo>
                  <a:pt x="480" y="3386"/>
                </a:lnTo>
                <a:lnTo>
                  <a:pt x="481" y="3386"/>
                </a:lnTo>
                <a:lnTo>
                  <a:pt x="480" y="3386"/>
                </a:lnTo>
                <a:lnTo>
                  <a:pt x="478" y="3387"/>
                </a:lnTo>
                <a:lnTo>
                  <a:pt x="478" y="3389"/>
                </a:lnTo>
                <a:lnTo>
                  <a:pt x="476" y="3391"/>
                </a:lnTo>
                <a:lnTo>
                  <a:pt x="475" y="3392"/>
                </a:lnTo>
                <a:lnTo>
                  <a:pt x="475" y="3394"/>
                </a:lnTo>
                <a:lnTo>
                  <a:pt x="475" y="3396"/>
                </a:lnTo>
                <a:lnTo>
                  <a:pt x="475" y="3397"/>
                </a:lnTo>
                <a:lnTo>
                  <a:pt x="473" y="3396"/>
                </a:lnTo>
                <a:lnTo>
                  <a:pt x="471" y="3396"/>
                </a:lnTo>
                <a:lnTo>
                  <a:pt x="471" y="3397"/>
                </a:lnTo>
                <a:lnTo>
                  <a:pt x="469" y="3399"/>
                </a:lnTo>
                <a:lnTo>
                  <a:pt x="468" y="3401"/>
                </a:lnTo>
                <a:lnTo>
                  <a:pt x="468" y="3403"/>
                </a:lnTo>
                <a:lnTo>
                  <a:pt x="469" y="3406"/>
                </a:lnTo>
                <a:lnTo>
                  <a:pt x="471" y="3406"/>
                </a:lnTo>
                <a:lnTo>
                  <a:pt x="473" y="3408"/>
                </a:lnTo>
                <a:lnTo>
                  <a:pt x="473" y="3409"/>
                </a:lnTo>
                <a:lnTo>
                  <a:pt x="475" y="3408"/>
                </a:lnTo>
                <a:lnTo>
                  <a:pt x="476" y="3409"/>
                </a:lnTo>
                <a:lnTo>
                  <a:pt x="475" y="3411"/>
                </a:lnTo>
                <a:lnTo>
                  <a:pt x="473" y="3411"/>
                </a:lnTo>
                <a:lnTo>
                  <a:pt x="471" y="3411"/>
                </a:lnTo>
                <a:lnTo>
                  <a:pt x="468" y="3413"/>
                </a:lnTo>
                <a:lnTo>
                  <a:pt x="466" y="3411"/>
                </a:lnTo>
                <a:lnTo>
                  <a:pt x="464" y="3413"/>
                </a:lnTo>
                <a:lnTo>
                  <a:pt x="463" y="3413"/>
                </a:lnTo>
                <a:lnTo>
                  <a:pt x="461" y="3413"/>
                </a:lnTo>
                <a:lnTo>
                  <a:pt x="459" y="3413"/>
                </a:lnTo>
                <a:lnTo>
                  <a:pt x="459" y="3411"/>
                </a:lnTo>
                <a:lnTo>
                  <a:pt x="461" y="3411"/>
                </a:lnTo>
                <a:lnTo>
                  <a:pt x="459" y="3411"/>
                </a:lnTo>
                <a:lnTo>
                  <a:pt x="459" y="3409"/>
                </a:lnTo>
                <a:lnTo>
                  <a:pt x="459" y="3411"/>
                </a:lnTo>
                <a:lnTo>
                  <a:pt x="458" y="3409"/>
                </a:lnTo>
                <a:lnTo>
                  <a:pt x="458" y="3411"/>
                </a:lnTo>
                <a:lnTo>
                  <a:pt x="454" y="3409"/>
                </a:lnTo>
                <a:lnTo>
                  <a:pt x="452" y="3411"/>
                </a:lnTo>
                <a:lnTo>
                  <a:pt x="451" y="3411"/>
                </a:lnTo>
                <a:lnTo>
                  <a:pt x="451" y="3413"/>
                </a:lnTo>
                <a:lnTo>
                  <a:pt x="449" y="3411"/>
                </a:lnTo>
                <a:lnTo>
                  <a:pt x="449" y="3409"/>
                </a:lnTo>
                <a:lnTo>
                  <a:pt x="446" y="3409"/>
                </a:lnTo>
                <a:lnTo>
                  <a:pt x="444" y="3409"/>
                </a:lnTo>
                <a:lnTo>
                  <a:pt x="442" y="3409"/>
                </a:lnTo>
                <a:lnTo>
                  <a:pt x="441" y="3409"/>
                </a:lnTo>
                <a:lnTo>
                  <a:pt x="439" y="3409"/>
                </a:lnTo>
                <a:lnTo>
                  <a:pt x="436" y="3411"/>
                </a:lnTo>
                <a:lnTo>
                  <a:pt x="436" y="3413"/>
                </a:lnTo>
                <a:lnTo>
                  <a:pt x="434" y="3413"/>
                </a:lnTo>
                <a:lnTo>
                  <a:pt x="432" y="3413"/>
                </a:lnTo>
                <a:lnTo>
                  <a:pt x="430" y="3414"/>
                </a:lnTo>
                <a:lnTo>
                  <a:pt x="429" y="3418"/>
                </a:lnTo>
                <a:lnTo>
                  <a:pt x="427" y="3416"/>
                </a:lnTo>
                <a:lnTo>
                  <a:pt x="425" y="3418"/>
                </a:lnTo>
                <a:lnTo>
                  <a:pt x="424" y="3418"/>
                </a:lnTo>
                <a:lnTo>
                  <a:pt x="420" y="3420"/>
                </a:lnTo>
                <a:lnTo>
                  <a:pt x="419" y="3421"/>
                </a:lnTo>
                <a:lnTo>
                  <a:pt x="419" y="3420"/>
                </a:lnTo>
                <a:lnTo>
                  <a:pt x="417" y="3421"/>
                </a:lnTo>
                <a:lnTo>
                  <a:pt x="415" y="3423"/>
                </a:lnTo>
                <a:lnTo>
                  <a:pt x="413" y="3425"/>
                </a:lnTo>
                <a:lnTo>
                  <a:pt x="412" y="3426"/>
                </a:lnTo>
                <a:lnTo>
                  <a:pt x="410" y="3428"/>
                </a:lnTo>
                <a:lnTo>
                  <a:pt x="408" y="3430"/>
                </a:lnTo>
                <a:lnTo>
                  <a:pt x="408" y="3432"/>
                </a:lnTo>
                <a:lnTo>
                  <a:pt x="407" y="3432"/>
                </a:lnTo>
                <a:lnTo>
                  <a:pt x="407" y="3433"/>
                </a:lnTo>
                <a:lnTo>
                  <a:pt x="407" y="3437"/>
                </a:lnTo>
                <a:lnTo>
                  <a:pt x="405" y="3437"/>
                </a:lnTo>
                <a:lnTo>
                  <a:pt x="405" y="3440"/>
                </a:lnTo>
                <a:lnTo>
                  <a:pt x="403" y="3442"/>
                </a:lnTo>
                <a:lnTo>
                  <a:pt x="402" y="3443"/>
                </a:lnTo>
                <a:lnTo>
                  <a:pt x="400" y="3445"/>
                </a:lnTo>
                <a:lnTo>
                  <a:pt x="400" y="3447"/>
                </a:lnTo>
                <a:lnTo>
                  <a:pt x="398" y="3449"/>
                </a:lnTo>
                <a:lnTo>
                  <a:pt x="396" y="3450"/>
                </a:lnTo>
                <a:lnTo>
                  <a:pt x="395" y="3450"/>
                </a:lnTo>
                <a:lnTo>
                  <a:pt x="393" y="3452"/>
                </a:lnTo>
                <a:lnTo>
                  <a:pt x="393" y="3454"/>
                </a:lnTo>
                <a:lnTo>
                  <a:pt x="391" y="3454"/>
                </a:lnTo>
                <a:lnTo>
                  <a:pt x="390" y="3455"/>
                </a:lnTo>
                <a:lnTo>
                  <a:pt x="390" y="3459"/>
                </a:lnTo>
                <a:lnTo>
                  <a:pt x="386" y="3459"/>
                </a:lnTo>
                <a:lnTo>
                  <a:pt x="385" y="3460"/>
                </a:lnTo>
                <a:lnTo>
                  <a:pt x="383" y="3460"/>
                </a:lnTo>
                <a:lnTo>
                  <a:pt x="381" y="3460"/>
                </a:lnTo>
                <a:lnTo>
                  <a:pt x="379" y="3460"/>
                </a:lnTo>
                <a:lnTo>
                  <a:pt x="379" y="3459"/>
                </a:lnTo>
                <a:lnTo>
                  <a:pt x="379" y="3457"/>
                </a:lnTo>
                <a:lnTo>
                  <a:pt x="378" y="3455"/>
                </a:lnTo>
                <a:lnTo>
                  <a:pt x="378" y="3454"/>
                </a:lnTo>
                <a:lnTo>
                  <a:pt x="376" y="3454"/>
                </a:lnTo>
                <a:lnTo>
                  <a:pt x="374" y="3452"/>
                </a:lnTo>
                <a:lnTo>
                  <a:pt x="373" y="3450"/>
                </a:lnTo>
                <a:lnTo>
                  <a:pt x="369" y="3450"/>
                </a:lnTo>
                <a:lnTo>
                  <a:pt x="369" y="3452"/>
                </a:lnTo>
                <a:lnTo>
                  <a:pt x="368" y="3450"/>
                </a:lnTo>
                <a:lnTo>
                  <a:pt x="366" y="3450"/>
                </a:lnTo>
                <a:lnTo>
                  <a:pt x="364" y="3450"/>
                </a:lnTo>
                <a:lnTo>
                  <a:pt x="362" y="3450"/>
                </a:lnTo>
                <a:lnTo>
                  <a:pt x="361" y="3450"/>
                </a:lnTo>
                <a:lnTo>
                  <a:pt x="359" y="3450"/>
                </a:lnTo>
                <a:lnTo>
                  <a:pt x="359" y="3452"/>
                </a:lnTo>
                <a:lnTo>
                  <a:pt x="357" y="3455"/>
                </a:lnTo>
                <a:lnTo>
                  <a:pt x="356" y="3457"/>
                </a:lnTo>
                <a:lnTo>
                  <a:pt x="354" y="3457"/>
                </a:lnTo>
                <a:lnTo>
                  <a:pt x="351" y="3459"/>
                </a:lnTo>
                <a:lnTo>
                  <a:pt x="347" y="3457"/>
                </a:lnTo>
                <a:lnTo>
                  <a:pt x="345" y="3455"/>
                </a:lnTo>
                <a:lnTo>
                  <a:pt x="342" y="3455"/>
                </a:lnTo>
                <a:lnTo>
                  <a:pt x="342" y="3454"/>
                </a:lnTo>
                <a:lnTo>
                  <a:pt x="340" y="3452"/>
                </a:lnTo>
                <a:lnTo>
                  <a:pt x="339" y="3452"/>
                </a:lnTo>
                <a:lnTo>
                  <a:pt x="335" y="3452"/>
                </a:lnTo>
                <a:lnTo>
                  <a:pt x="334" y="3450"/>
                </a:lnTo>
                <a:lnTo>
                  <a:pt x="330" y="3450"/>
                </a:lnTo>
                <a:lnTo>
                  <a:pt x="328" y="3449"/>
                </a:lnTo>
                <a:lnTo>
                  <a:pt x="325" y="3449"/>
                </a:lnTo>
                <a:lnTo>
                  <a:pt x="323" y="3449"/>
                </a:lnTo>
                <a:lnTo>
                  <a:pt x="320" y="3447"/>
                </a:lnTo>
                <a:lnTo>
                  <a:pt x="317" y="3449"/>
                </a:lnTo>
                <a:lnTo>
                  <a:pt x="315" y="3449"/>
                </a:lnTo>
                <a:lnTo>
                  <a:pt x="313" y="3449"/>
                </a:lnTo>
                <a:lnTo>
                  <a:pt x="311" y="3449"/>
                </a:lnTo>
                <a:lnTo>
                  <a:pt x="310" y="3450"/>
                </a:lnTo>
                <a:lnTo>
                  <a:pt x="308" y="3450"/>
                </a:lnTo>
                <a:lnTo>
                  <a:pt x="306" y="3449"/>
                </a:lnTo>
                <a:lnTo>
                  <a:pt x="305" y="3447"/>
                </a:lnTo>
                <a:lnTo>
                  <a:pt x="303" y="3447"/>
                </a:lnTo>
                <a:lnTo>
                  <a:pt x="301" y="3447"/>
                </a:lnTo>
                <a:lnTo>
                  <a:pt x="301" y="3445"/>
                </a:lnTo>
                <a:lnTo>
                  <a:pt x="300" y="3445"/>
                </a:lnTo>
                <a:lnTo>
                  <a:pt x="298" y="3443"/>
                </a:lnTo>
                <a:lnTo>
                  <a:pt x="296" y="3445"/>
                </a:lnTo>
                <a:lnTo>
                  <a:pt x="294" y="3443"/>
                </a:lnTo>
                <a:lnTo>
                  <a:pt x="293" y="3445"/>
                </a:lnTo>
                <a:lnTo>
                  <a:pt x="293" y="3443"/>
                </a:lnTo>
                <a:lnTo>
                  <a:pt x="291" y="3443"/>
                </a:lnTo>
                <a:lnTo>
                  <a:pt x="289" y="3442"/>
                </a:lnTo>
                <a:lnTo>
                  <a:pt x="288" y="3442"/>
                </a:lnTo>
                <a:lnTo>
                  <a:pt x="284" y="3442"/>
                </a:lnTo>
                <a:lnTo>
                  <a:pt x="283" y="3442"/>
                </a:lnTo>
                <a:lnTo>
                  <a:pt x="281" y="3442"/>
                </a:lnTo>
                <a:lnTo>
                  <a:pt x="277" y="3440"/>
                </a:lnTo>
                <a:lnTo>
                  <a:pt x="276" y="3440"/>
                </a:lnTo>
                <a:lnTo>
                  <a:pt x="274" y="3438"/>
                </a:lnTo>
                <a:lnTo>
                  <a:pt x="272" y="3440"/>
                </a:lnTo>
                <a:lnTo>
                  <a:pt x="269" y="3440"/>
                </a:lnTo>
                <a:lnTo>
                  <a:pt x="267" y="3440"/>
                </a:lnTo>
                <a:lnTo>
                  <a:pt x="266" y="3440"/>
                </a:lnTo>
                <a:lnTo>
                  <a:pt x="264" y="3440"/>
                </a:lnTo>
                <a:lnTo>
                  <a:pt x="260" y="3438"/>
                </a:lnTo>
                <a:lnTo>
                  <a:pt x="259" y="3438"/>
                </a:lnTo>
                <a:lnTo>
                  <a:pt x="257" y="3438"/>
                </a:lnTo>
                <a:lnTo>
                  <a:pt x="255" y="3437"/>
                </a:lnTo>
                <a:lnTo>
                  <a:pt x="254" y="3438"/>
                </a:lnTo>
                <a:lnTo>
                  <a:pt x="254" y="3437"/>
                </a:lnTo>
                <a:lnTo>
                  <a:pt x="254" y="3438"/>
                </a:lnTo>
                <a:lnTo>
                  <a:pt x="252" y="3438"/>
                </a:lnTo>
                <a:lnTo>
                  <a:pt x="252" y="3440"/>
                </a:lnTo>
                <a:lnTo>
                  <a:pt x="250" y="3440"/>
                </a:lnTo>
                <a:lnTo>
                  <a:pt x="249" y="3442"/>
                </a:lnTo>
                <a:lnTo>
                  <a:pt x="247" y="3445"/>
                </a:lnTo>
                <a:lnTo>
                  <a:pt x="245" y="3445"/>
                </a:lnTo>
                <a:lnTo>
                  <a:pt x="242" y="3445"/>
                </a:lnTo>
                <a:lnTo>
                  <a:pt x="242" y="3447"/>
                </a:lnTo>
                <a:lnTo>
                  <a:pt x="240" y="3447"/>
                </a:lnTo>
                <a:lnTo>
                  <a:pt x="238" y="3450"/>
                </a:lnTo>
                <a:lnTo>
                  <a:pt x="237" y="3450"/>
                </a:lnTo>
                <a:lnTo>
                  <a:pt x="235" y="3450"/>
                </a:lnTo>
                <a:lnTo>
                  <a:pt x="232" y="3450"/>
                </a:lnTo>
                <a:lnTo>
                  <a:pt x="230" y="3450"/>
                </a:lnTo>
                <a:lnTo>
                  <a:pt x="228" y="3449"/>
                </a:lnTo>
                <a:lnTo>
                  <a:pt x="225" y="3447"/>
                </a:lnTo>
                <a:lnTo>
                  <a:pt x="223" y="3447"/>
                </a:lnTo>
                <a:lnTo>
                  <a:pt x="221" y="3447"/>
                </a:lnTo>
                <a:lnTo>
                  <a:pt x="220" y="3447"/>
                </a:lnTo>
                <a:lnTo>
                  <a:pt x="218" y="3447"/>
                </a:lnTo>
                <a:lnTo>
                  <a:pt x="216" y="3449"/>
                </a:lnTo>
                <a:lnTo>
                  <a:pt x="215" y="3449"/>
                </a:lnTo>
                <a:lnTo>
                  <a:pt x="213" y="3449"/>
                </a:lnTo>
                <a:lnTo>
                  <a:pt x="209" y="3449"/>
                </a:lnTo>
                <a:lnTo>
                  <a:pt x="208" y="3449"/>
                </a:lnTo>
                <a:lnTo>
                  <a:pt x="208" y="3450"/>
                </a:lnTo>
                <a:lnTo>
                  <a:pt x="206" y="3450"/>
                </a:lnTo>
                <a:lnTo>
                  <a:pt x="204" y="3452"/>
                </a:lnTo>
                <a:lnTo>
                  <a:pt x="203" y="3452"/>
                </a:lnTo>
                <a:lnTo>
                  <a:pt x="203" y="3454"/>
                </a:lnTo>
                <a:lnTo>
                  <a:pt x="201" y="3454"/>
                </a:lnTo>
                <a:lnTo>
                  <a:pt x="201" y="3457"/>
                </a:lnTo>
                <a:lnTo>
                  <a:pt x="198" y="3457"/>
                </a:lnTo>
                <a:lnTo>
                  <a:pt x="196" y="3460"/>
                </a:lnTo>
                <a:lnTo>
                  <a:pt x="194" y="3464"/>
                </a:lnTo>
                <a:lnTo>
                  <a:pt x="192" y="3466"/>
                </a:lnTo>
                <a:lnTo>
                  <a:pt x="192" y="3469"/>
                </a:lnTo>
                <a:lnTo>
                  <a:pt x="191" y="3467"/>
                </a:lnTo>
                <a:lnTo>
                  <a:pt x="191" y="3466"/>
                </a:lnTo>
                <a:lnTo>
                  <a:pt x="192" y="3466"/>
                </a:lnTo>
                <a:lnTo>
                  <a:pt x="191" y="3466"/>
                </a:lnTo>
                <a:lnTo>
                  <a:pt x="192" y="3466"/>
                </a:lnTo>
                <a:lnTo>
                  <a:pt x="191" y="3464"/>
                </a:lnTo>
                <a:lnTo>
                  <a:pt x="189" y="3464"/>
                </a:lnTo>
                <a:lnTo>
                  <a:pt x="187" y="3464"/>
                </a:lnTo>
                <a:lnTo>
                  <a:pt x="187" y="3466"/>
                </a:lnTo>
                <a:lnTo>
                  <a:pt x="186" y="3467"/>
                </a:lnTo>
                <a:lnTo>
                  <a:pt x="187" y="3466"/>
                </a:lnTo>
                <a:lnTo>
                  <a:pt x="186" y="3467"/>
                </a:lnTo>
                <a:lnTo>
                  <a:pt x="187" y="3467"/>
                </a:lnTo>
                <a:lnTo>
                  <a:pt x="186" y="3467"/>
                </a:lnTo>
                <a:lnTo>
                  <a:pt x="187" y="3469"/>
                </a:lnTo>
                <a:lnTo>
                  <a:pt x="186" y="3469"/>
                </a:lnTo>
                <a:lnTo>
                  <a:pt x="186" y="3471"/>
                </a:lnTo>
                <a:lnTo>
                  <a:pt x="186" y="3472"/>
                </a:lnTo>
                <a:lnTo>
                  <a:pt x="182" y="3471"/>
                </a:lnTo>
                <a:lnTo>
                  <a:pt x="181" y="3472"/>
                </a:lnTo>
                <a:lnTo>
                  <a:pt x="179" y="3472"/>
                </a:lnTo>
                <a:lnTo>
                  <a:pt x="177" y="3472"/>
                </a:lnTo>
                <a:lnTo>
                  <a:pt x="175" y="3472"/>
                </a:lnTo>
                <a:lnTo>
                  <a:pt x="175" y="3474"/>
                </a:lnTo>
                <a:lnTo>
                  <a:pt x="175" y="3472"/>
                </a:lnTo>
                <a:lnTo>
                  <a:pt x="174" y="3469"/>
                </a:lnTo>
                <a:lnTo>
                  <a:pt x="172" y="3467"/>
                </a:lnTo>
                <a:lnTo>
                  <a:pt x="169" y="3467"/>
                </a:lnTo>
                <a:lnTo>
                  <a:pt x="167" y="3466"/>
                </a:lnTo>
                <a:lnTo>
                  <a:pt x="165" y="3466"/>
                </a:lnTo>
                <a:lnTo>
                  <a:pt x="165" y="3464"/>
                </a:lnTo>
                <a:lnTo>
                  <a:pt x="164" y="3464"/>
                </a:lnTo>
                <a:lnTo>
                  <a:pt x="164" y="3460"/>
                </a:lnTo>
                <a:lnTo>
                  <a:pt x="162" y="3459"/>
                </a:lnTo>
                <a:lnTo>
                  <a:pt x="160" y="3457"/>
                </a:lnTo>
                <a:lnTo>
                  <a:pt x="158" y="3457"/>
                </a:lnTo>
                <a:lnTo>
                  <a:pt x="157" y="3457"/>
                </a:lnTo>
                <a:lnTo>
                  <a:pt x="155" y="3455"/>
                </a:lnTo>
                <a:lnTo>
                  <a:pt x="153" y="3455"/>
                </a:lnTo>
                <a:lnTo>
                  <a:pt x="153" y="3454"/>
                </a:lnTo>
                <a:lnTo>
                  <a:pt x="152" y="3450"/>
                </a:lnTo>
                <a:lnTo>
                  <a:pt x="152" y="3449"/>
                </a:lnTo>
                <a:lnTo>
                  <a:pt x="152" y="3447"/>
                </a:lnTo>
                <a:lnTo>
                  <a:pt x="148" y="3445"/>
                </a:lnTo>
                <a:lnTo>
                  <a:pt x="148" y="3442"/>
                </a:lnTo>
                <a:lnTo>
                  <a:pt x="148" y="3440"/>
                </a:lnTo>
                <a:lnTo>
                  <a:pt x="147" y="3438"/>
                </a:lnTo>
                <a:lnTo>
                  <a:pt x="147" y="3437"/>
                </a:lnTo>
                <a:lnTo>
                  <a:pt x="147" y="3435"/>
                </a:lnTo>
                <a:lnTo>
                  <a:pt x="145" y="3433"/>
                </a:lnTo>
                <a:lnTo>
                  <a:pt x="145" y="3432"/>
                </a:lnTo>
                <a:lnTo>
                  <a:pt x="145" y="3430"/>
                </a:lnTo>
                <a:lnTo>
                  <a:pt x="145" y="3428"/>
                </a:lnTo>
                <a:lnTo>
                  <a:pt x="143" y="3428"/>
                </a:lnTo>
                <a:lnTo>
                  <a:pt x="145" y="3426"/>
                </a:lnTo>
                <a:lnTo>
                  <a:pt x="145" y="3428"/>
                </a:lnTo>
                <a:lnTo>
                  <a:pt x="147" y="3430"/>
                </a:lnTo>
                <a:lnTo>
                  <a:pt x="145" y="3432"/>
                </a:lnTo>
                <a:lnTo>
                  <a:pt x="147" y="3433"/>
                </a:lnTo>
                <a:lnTo>
                  <a:pt x="150" y="3432"/>
                </a:lnTo>
                <a:lnTo>
                  <a:pt x="152" y="3430"/>
                </a:lnTo>
                <a:lnTo>
                  <a:pt x="150" y="3428"/>
                </a:lnTo>
                <a:lnTo>
                  <a:pt x="148" y="3430"/>
                </a:lnTo>
                <a:lnTo>
                  <a:pt x="147" y="3430"/>
                </a:lnTo>
                <a:lnTo>
                  <a:pt x="147" y="3428"/>
                </a:lnTo>
                <a:lnTo>
                  <a:pt x="148" y="3428"/>
                </a:lnTo>
                <a:lnTo>
                  <a:pt x="148" y="3426"/>
                </a:lnTo>
                <a:lnTo>
                  <a:pt x="148" y="3425"/>
                </a:lnTo>
                <a:lnTo>
                  <a:pt x="147" y="3425"/>
                </a:lnTo>
                <a:lnTo>
                  <a:pt x="145" y="3421"/>
                </a:lnTo>
                <a:lnTo>
                  <a:pt x="143" y="3420"/>
                </a:lnTo>
                <a:lnTo>
                  <a:pt x="143" y="3421"/>
                </a:lnTo>
                <a:lnTo>
                  <a:pt x="143" y="3420"/>
                </a:lnTo>
                <a:lnTo>
                  <a:pt x="143" y="3421"/>
                </a:lnTo>
                <a:lnTo>
                  <a:pt x="140" y="3420"/>
                </a:lnTo>
                <a:lnTo>
                  <a:pt x="140" y="3416"/>
                </a:lnTo>
                <a:lnTo>
                  <a:pt x="140" y="3414"/>
                </a:lnTo>
                <a:lnTo>
                  <a:pt x="140" y="3413"/>
                </a:lnTo>
                <a:lnTo>
                  <a:pt x="140" y="3411"/>
                </a:lnTo>
                <a:lnTo>
                  <a:pt x="141" y="3411"/>
                </a:lnTo>
                <a:lnTo>
                  <a:pt x="141" y="3409"/>
                </a:lnTo>
                <a:lnTo>
                  <a:pt x="143" y="3409"/>
                </a:lnTo>
                <a:lnTo>
                  <a:pt x="145" y="3408"/>
                </a:lnTo>
                <a:lnTo>
                  <a:pt x="147" y="3408"/>
                </a:lnTo>
                <a:lnTo>
                  <a:pt x="145" y="3408"/>
                </a:lnTo>
                <a:lnTo>
                  <a:pt x="143" y="3406"/>
                </a:lnTo>
                <a:lnTo>
                  <a:pt x="143" y="3404"/>
                </a:lnTo>
                <a:lnTo>
                  <a:pt x="143" y="3403"/>
                </a:lnTo>
                <a:lnTo>
                  <a:pt x="141" y="3399"/>
                </a:lnTo>
                <a:lnTo>
                  <a:pt x="141" y="3397"/>
                </a:lnTo>
                <a:lnTo>
                  <a:pt x="140" y="3394"/>
                </a:lnTo>
                <a:lnTo>
                  <a:pt x="138" y="3392"/>
                </a:lnTo>
                <a:lnTo>
                  <a:pt x="136" y="3391"/>
                </a:lnTo>
                <a:lnTo>
                  <a:pt x="136" y="3389"/>
                </a:lnTo>
                <a:lnTo>
                  <a:pt x="135" y="3387"/>
                </a:lnTo>
                <a:lnTo>
                  <a:pt x="131" y="3386"/>
                </a:lnTo>
                <a:lnTo>
                  <a:pt x="131" y="3384"/>
                </a:lnTo>
                <a:lnTo>
                  <a:pt x="130" y="3382"/>
                </a:lnTo>
                <a:lnTo>
                  <a:pt x="128" y="3380"/>
                </a:lnTo>
                <a:lnTo>
                  <a:pt x="126" y="3380"/>
                </a:lnTo>
                <a:lnTo>
                  <a:pt x="124" y="3379"/>
                </a:lnTo>
                <a:lnTo>
                  <a:pt x="121" y="3375"/>
                </a:lnTo>
                <a:lnTo>
                  <a:pt x="119" y="3374"/>
                </a:lnTo>
                <a:lnTo>
                  <a:pt x="119" y="3372"/>
                </a:lnTo>
                <a:lnTo>
                  <a:pt x="121" y="3372"/>
                </a:lnTo>
                <a:lnTo>
                  <a:pt x="119" y="3370"/>
                </a:lnTo>
                <a:lnTo>
                  <a:pt x="121" y="3369"/>
                </a:lnTo>
                <a:lnTo>
                  <a:pt x="123" y="3369"/>
                </a:lnTo>
                <a:lnTo>
                  <a:pt x="124" y="3367"/>
                </a:lnTo>
                <a:lnTo>
                  <a:pt x="126" y="3367"/>
                </a:lnTo>
                <a:lnTo>
                  <a:pt x="126" y="3365"/>
                </a:lnTo>
                <a:lnTo>
                  <a:pt x="124" y="3365"/>
                </a:lnTo>
                <a:lnTo>
                  <a:pt x="123" y="3367"/>
                </a:lnTo>
                <a:lnTo>
                  <a:pt x="124" y="3367"/>
                </a:lnTo>
                <a:lnTo>
                  <a:pt x="123" y="3369"/>
                </a:lnTo>
                <a:lnTo>
                  <a:pt x="123" y="3367"/>
                </a:lnTo>
                <a:lnTo>
                  <a:pt x="123" y="3369"/>
                </a:lnTo>
                <a:lnTo>
                  <a:pt x="121" y="3369"/>
                </a:lnTo>
                <a:lnTo>
                  <a:pt x="121" y="3370"/>
                </a:lnTo>
                <a:lnTo>
                  <a:pt x="119" y="3370"/>
                </a:lnTo>
                <a:lnTo>
                  <a:pt x="119" y="3367"/>
                </a:lnTo>
                <a:lnTo>
                  <a:pt x="118" y="3367"/>
                </a:lnTo>
                <a:lnTo>
                  <a:pt x="116" y="3369"/>
                </a:lnTo>
                <a:lnTo>
                  <a:pt x="118" y="3370"/>
                </a:lnTo>
                <a:lnTo>
                  <a:pt x="116" y="3369"/>
                </a:lnTo>
                <a:lnTo>
                  <a:pt x="114" y="3369"/>
                </a:lnTo>
                <a:lnTo>
                  <a:pt x="114" y="3370"/>
                </a:lnTo>
                <a:lnTo>
                  <a:pt x="116" y="3369"/>
                </a:lnTo>
                <a:lnTo>
                  <a:pt x="118" y="3370"/>
                </a:lnTo>
                <a:lnTo>
                  <a:pt x="118" y="3372"/>
                </a:lnTo>
                <a:lnTo>
                  <a:pt x="118" y="3374"/>
                </a:lnTo>
                <a:lnTo>
                  <a:pt x="116" y="3372"/>
                </a:lnTo>
                <a:lnTo>
                  <a:pt x="114" y="3370"/>
                </a:lnTo>
                <a:lnTo>
                  <a:pt x="113" y="3370"/>
                </a:lnTo>
                <a:lnTo>
                  <a:pt x="111" y="3369"/>
                </a:lnTo>
                <a:lnTo>
                  <a:pt x="109" y="3369"/>
                </a:lnTo>
                <a:lnTo>
                  <a:pt x="109" y="3367"/>
                </a:lnTo>
                <a:lnTo>
                  <a:pt x="107" y="3367"/>
                </a:lnTo>
                <a:lnTo>
                  <a:pt x="109" y="3367"/>
                </a:lnTo>
                <a:lnTo>
                  <a:pt x="107" y="3365"/>
                </a:lnTo>
                <a:lnTo>
                  <a:pt x="107" y="3367"/>
                </a:lnTo>
                <a:lnTo>
                  <a:pt x="107" y="3363"/>
                </a:lnTo>
                <a:lnTo>
                  <a:pt x="109" y="3363"/>
                </a:lnTo>
                <a:lnTo>
                  <a:pt x="107" y="3363"/>
                </a:lnTo>
                <a:lnTo>
                  <a:pt x="107" y="3362"/>
                </a:lnTo>
                <a:lnTo>
                  <a:pt x="107" y="3365"/>
                </a:lnTo>
                <a:lnTo>
                  <a:pt x="106" y="3365"/>
                </a:lnTo>
                <a:lnTo>
                  <a:pt x="106" y="3367"/>
                </a:lnTo>
                <a:lnTo>
                  <a:pt x="107" y="3369"/>
                </a:lnTo>
                <a:lnTo>
                  <a:pt x="109" y="3369"/>
                </a:lnTo>
                <a:lnTo>
                  <a:pt x="111" y="3369"/>
                </a:lnTo>
                <a:lnTo>
                  <a:pt x="113" y="3370"/>
                </a:lnTo>
                <a:lnTo>
                  <a:pt x="111" y="3369"/>
                </a:lnTo>
                <a:lnTo>
                  <a:pt x="109" y="3369"/>
                </a:lnTo>
                <a:lnTo>
                  <a:pt x="107" y="3369"/>
                </a:lnTo>
                <a:lnTo>
                  <a:pt x="106" y="3369"/>
                </a:lnTo>
                <a:lnTo>
                  <a:pt x="104" y="3369"/>
                </a:lnTo>
                <a:lnTo>
                  <a:pt x="104" y="3367"/>
                </a:lnTo>
                <a:lnTo>
                  <a:pt x="101" y="3367"/>
                </a:lnTo>
                <a:lnTo>
                  <a:pt x="99" y="3367"/>
                </a:lnTo>
                <a:lnTo>
                  <a:pt x="97" y="3367"/>
                </a:lnTo>
                <a:lnTo>
                  <a:pt x="97" y="3365"/>
                </a:lnTo>
                <a:lnTo>
                  <a:pt x="99" y="3367"/>
                </a:lnTo>
                <a:lnTo>
                  <a:pt x="101" y="3365"/>
                </a:lnTo>
                <a:lnTo>
                  <a:pt x="97" y="3365"/>
                </a:lnTo>
                <a:lnTo>
                  <a:pt x="96" y="3365"/>
                </a:lnTo>
                <a:lnTo>
                  <a:pt x="94" y="3365"/>
                </a:lnTo>
                <a:lnTo>
                  <a:pt x="92" y="3365"/>
                </a:lnTo>
                <a:lnTo>
                  <a:pt x="92" y="3362"/>
                </a:lnTo>
                <a:close/>
                <a:moveTo>
                  <a:pt x="34" y="3226"/>
                </a:moveTo>
                <a:lnTo>
                  <a:pt x="36" y="3226"/>
                </a:lnTo>
                <a:lnTo>
                  <a:pt x="36" y="3227"/>
                </a:lnTo>
                <a:lnTo>
                  <a:pt x="34" y="3227"/>
                </a:lnTo>
                <a:lnTo>
                  <a:pt x="34" y="3226"/>
                </a:lnTo>
                <a:close/>
                <a:moveTo>
                  <a:pt x="31" y="3226"/>
                </a:moveTo>
                <a:lnTo>
                  <a:pt x="33" y="3226"/>
                </a:lnTo>
                <a:lnTo>
                  <a:pt x="33" y="3229"/>
                </a:lnTo>
                <a:lnTo>
                  <a:pt x="31" y="3227"/>
                </a:lnTo>
                <a:lnTo>
                  <a:pt x="31" y="3226"/>
                </a:lnTo>
                <a:close/>
                <a:moveTo>
                  <a:pt x="36" y="3222"/>
                </a:moveTo>
                <a:lnTo>
                  <a:pt x="36" y="3226"/>
                </a:lnTo>
                <a:lnTo>
                  <a:pt x="36" y="3222"/>
                </a:lnTo>
                <a:close/>
                <a:moveTo>
                  <a:pt x="531" y="2812"/>
                </a:moveTo>
                <a:lnTo>
                  <a:pt x="532" y="2812"/>
                </a:lnTo>
                <a:lnTo>
                  <a:pt x="532" y="2814"/>
                </a:lnTo>
                <a:lnTo>
                  <a:pt x="534" y="2814"/>
                </a:lnTo>
                <a:lnTo>
                  <a:pt x="534" y="2816"/>
                </a:lnTo>
                <a:lnTo>
                  <a:pt x="536" y="2817"/>
                </a:lnTo>
                <a:lnTo>
                  <a:pt x="537" y="2817"/>
                </a:lnTo>
                <a:lnTo>
                  <a:pt x="537" y="2819"/>
                </a:lnTo>
                <a:lnTo>
                  <a:pt x="537" y="2823"/>
                </a:lnTo>
                <a:lnTo>
                  <a:pt x="539" y="2824"/>
                </a:lnTo>
                <a:lnTo>
                  <a:pt x="537" y="2828"/>
                </a:lnTo>
                <a:lnTo>
                  <a:pt x="537" y="2829"/>
                </a:lnTo>
                <a:lnTo>
                  <a:pt x="536" y="2831"/>
                </a:lnTo>
                <a:lnTo>
                  <a:pt x="536" y="2829"/>
                </a:lnTo>
                <a:lnTo>
                  <a:pt x="536" y="2826"/>
                </a:lnTo>
                <a:lnTo>
                  <a:pt x="536" y="2824"/>
                </a:lnTo>
                <a:lnTo>
                  <a:pt x="534" y="2823"/>
                </a:lnTo>
                <a:lnTo>
                  <a:pt x="532" y="2821"/>
                </a:lnTo>
                <a:lnTo>
                  <a:pt x="531" y="2819"/>
                </a:lnTo>
                <a:lnTo>
                  <a:pt x="531" y="2816"/>
                </a:lnTo>
                <a:lnTo>
                  <a:pt x="531" y="2814"/>
                </a:lnTo>
                <a:lnTo>
                  <a:pt x="531" y="2812"/>
                </a:lnTo>
                <a:close/>
                <a:moveTo>
                  <a:pt x="713" y="3270"/>
                </a:moveTo>
                <a:lnTo>
                  <a:pt x="713" y="3272"/>
                </a:lnTo>
                <a:lnTo>
                  <a:pt x="709" y="3272"/>
                </a:lnTo>
                <a:lnTo>
                  <a:pt x="707" y="3273"/>
                </a:lnTo>
                <a:lnTo>
                  <a:pt x="706" y="3273"/>
                </a:lnTo>
                <a:lnTo>
                  <a:pt x="706" y="3275"/>
                </a:lnTo>
                <a:lnTo>
                  <a:pt x="707" y="3277"/>
                </a:lnTo>
                <a:lnTo>
                  <a:pt x="709" y="3277"/>
                </a:lnTo>
                <a:lnTo>
                  <a:pt x="711" y="3275"/>
                </a:lnTo>
                <a:lnTo>
                  <a:pt x="713" y="3275"/>
                </a:lnTo>
                <a:lnTo>
                  <a:pt x="711" y="3275"/>
                </a:lnTo>
                <a:lnTo>
                  <a:pt x="713" y="3277"/>
                </a:lnTo>
                <a:lnTo>
                  <a:pt x="711" y="3278"/>
                </a:lnTo>
                <a:lnTo>
                  <a:pt x="709" y="3278"/>
                </a:lnTo>
                <a:lnTo>
                  <a:pt x="707" y="3278"/>
                </a:lnTo>
                <a:lnTo>
                  <a:pt x="707" y="3280"/>
                </a:lnTo>
                <a:lnTo>
                  <a:pt x="707" y="3282"/>
                </a:lnTo>
                <a:lnTo>
                  <a:pt x="709" y="3284"/>
                </a:lnTo>
                <a:lnTo>
                  <a:pt x="711" y="3285"/>
                </a:lnTo>
                <a:lnTo>
                  <a:pt x="713" y="3285"/>
                </a:lnTo>
                <a:lnTo>
                  <a:pt x="714" y="3287"/>
                </a:lnTo>
                <a:lnTo>
                  <a:pt x="716" y="3285"/>
                </a:lnTo>
                <a:lnTo>
                  <a:pt x="718" y="3285"/>
                </a:lnTo>
                <a:lnTo>
                  <a:pt x="719" y="3284"/>
                </a:lnTo>
                <a:lnTo>
                  <a:pt x="721" y="3284"/>
                </a:lnTo>
                <a:lnTo>
                  <a:pt x="723" y="3285"/>
                </a:lnTo>
                <a:lnTo>
                  <a:pt x="724" y="3287"/>
                </a:lnTo>
                <a:lnTo>
                  <a:pt x="726" y="3287"/>
                </a:lnTo>
                <a:lnTo>
                  <a:pt x="724" y="3289"/>
                </a:lnTo>
                <a:lnTo>
                  <a:pt x="726" y="3289"/>
                </a:lnTo>
                <a:lnTo>
                  <a:pt x="724" y="3289"/>
                </a:lnTo>
                <a:lnTo>
                  <a:pt x="724" y="3290"/>
                </a:lnTo>
                <a:lnTo>
                  <a:pt x="724" y="3292"/>
                </a:lnTo>
                <a:lnTo>
                  <a:pt x="723" y="3294"/>
                </a:lnTo>
                <a:lnTo>
                  <a:pt x="721" y="3294"/>
                </a:lnTo>
                <a:lnTo>
                  <a:pt x="721" y="3297"/>
                </a:lnTo>
                <a:lnTo>
                  <a:pt x="721" y="3299"/>
                </a:lnTo>
                <a:lnTo>
                  <a:pt x="719" y="3299"/>
                </a:lnTo>
                <a:lnTo>
                  <a:pt x="719" y="3301"/>
                </a:lnTo>
                <a:lnTo>
                  <a:pt x="718" y="3301"/>
                </a:lnTo>
                <a:lnTo>
                  <a:pt x="716" y="3302"/>
                </a:lnTo>
                <a:lnTo>
                  <a:pt x="714" y="3304"/>
                </a:lnTo>
                <a:lnTo>
                  <a:pt x="714" y="3306"/>
                </a:lnTo>
                <a:lnTo>
                  <a:pt x="713" y="3307"/>
                </a:lnTo>
                <a:lnTo>
                  <a:pt x="713" y="3309"/>
                </a:lnTo>
                <a:lnTo>
                  <a:pt x="711" y="3311"/>
                </a:lnTo>
                <a:lnTo>
                  <a:pt x="709" y="3312"/>
                </a:lnTo>
                <a:lnTo>
                  <a:pt x="711" y="3312"/>
                </a:lnTo>
                <a:lnTo>
                  <a:pt x="707" y="3312"/>
                </a:lnTo>
                <a:lnTo>
                  <a:pt x="707" y="3314"/>
                </a:lnTo>
                <a:lnTo>
                  <a:pt x="706" y="3314"/>
                </a:lnTo>
                <a:lnTo>
                  <a:pt x="704" y="3316"/>
                </a:lnTo>
                <a:lnTo>
                  <a:pt x="702" y="3318"/>
                </a:lnTo>
                <a:lnTo>
                  <a:pt x="701" y="3319"/>
                </a:lnTo>
                <a:lnTo>
                  <a:pt x="699" y="3319"/>
                </a:lnTo>
                <a:lnTo>
                  <a:pt x="699" y="3316"/>
                </a:lnTo>
                <a:lnTo>
                  <a:pt x="697" y="3316"/>
                </a:lnTo>
                <a:lnTo>
                  <a:pt x="697" y="3314"/>
                </a:lnTo>
                <a:lnTo>
                  <a:pt x="697" y="3312"/>
                </a:lnTo>
                <a:lnTo>
                  <a:pt x="696" y="3311"/>
                </a:lnTo>
                <a:lnTo>
                  <a:pt x="692" y="3312"/>
                </a:lnTo>
                <a:lnTo>
                  <a:pt x="690" y="3311"/>
                </a:lnTo>
                <a:lnTo>
                  <a:pt x="689" y="3311"/>
                </a:lnTo>
                <a:lnTo>
                  <a:pt x="685" y="3311"/>
                </a:lnTo>
                <a:lnTo>
                  <a:pt x="685" y="3309"/>
                </a:lnTo>
                <a:lnTo>
                  <a:pt x="684" y="3307"/>
                </a:lnTo>
                <a:lnTo>
                  <a:pt x="684" y="3304"/>
                </a:lnTo>
                <a:lnTo>
                  <a:pt x="684" y="3302"/>
                </a:lnTo>
                <a:lnTo>
                  <a:pt x="685" y="3299"/>
                </a:lnTo>
                <a:lnTo>
                  <a:pt x="684" y="3297"/>
                </a:lnTo>
                <a:lnTo>
                  <a:pt x="680" y="3295"/>
                </a:lnTo>
                <a:lnTo>
                  <a:pt x="679" y="3295"/>
                </a:lnTo>
                <a:lnTo>
                  <a:pt x="679" y="3297"/>
                </a:lnTo>
                <a:lnTo>
                  <a:pt x="677" y="3295"/>
                </a:lnTo>
                <a:lnTo>
                  <a:pt x="677" y="3297"/>
                </a:lnTo>
                <a:lnTo>
                  <a:pt x="675" y="3297"/>
                </a:lnTo>
                <a:lnTo>
                  <a:pt x="673" y="3297"/>
                </a:lnTo>
                <a:lnTo>
                  <a:pt x="673" y="3299"/>
                </a:lnTo>
                <a:lnTo>
                  <a:pt x="672" y="3301"/>
                </a:lnTo>
                <a:lnTo>
                  <a:pt x="672" y="3302"/>
                </a:lnTo>
                <a:lnTo>
                  <a:pt x="670" y="3301"/>
                </a:lnTo>
                <a:lnTo>
                  <a:pt x="670" y="3299"/>
                </a:lnTo>
                <a:lnTo>
                  <a:pt x="668" y="3299"/>
                </a:lnTo>
                <a:lnTo>
                  <a:pt x="670" y="3297"/>
                </a:lnTo>
                <a:lnTo>
                  <a:pt x="668" y="3295"/>
                </a:lnTo>
                <a:lnTo>
                  <a:pt x="667" y="3297"/>
                </a:lnTo>
                <a:lnTo>
                  <a:pt x="667" y="3295"/>
                </a:lnTo>
                <a:lnTo>
                  <a:pt x="665" y="3297"/>
                </a:lnTo>
                <a:lnTo>
                  <a:pt x="665" y="3295"/>
                </a:lnTo>
                <a:lnTo>
                  <a:pt x="663" y="3295"/>
                </a:lnTo>
                <a:lnTo>
                  <a:pt x="665" y="3295"/>
                </a:lnTo>
                <a:lnTo>
                  <a:pt x="663" y="3294"/>
                </a:lnTo>
                <a:lnTo>
                  <a:pt x="663" y="3290"/>
                </a:lnTo>
                <a:lnTo>
                  <a:pt x="667" y="3290"/>
                </a:lnTo>
                <a:lnTo>
                  <a:pt x="668" y="3289"/>
                </a:lnTo>
                <a:lnTo>
                  <a:pt x="670" y="3287"/>
                </a:lnTo>
                <a:lnTo>
                  <a:pt x="672" y="3287"/>
                </a:lnTo>
                <a:lnTo>
                  <a:pt x="673" y="3285"/>
                </a:lnTo>
                <a:lnTo>
                  <a:pt x="675" y="3285"/>
                </a:lnTo>
                <a:lnTo>
                  <a:pt x="677" y="3284"/>
                </a:lnTo>
                <a:lnTo>
                  <a:pt x="680" y="3282"/>
                </a:lnTo>
                <a:lnTo>
                  <a:pt x="682" y="3280"/>
                </a:lnTo>
                <a:lnTo>
                  <a:pt x="682" y="3278"/>
                </a:lnTo>
                <a:lnTo>
                  <a:pt x="684" y="3278"/>
                </a:lnTo>
                <a:lnTo>
                  <a:pt x="685" y="3278"/>
                </a:lnTo>
                <a:lnTo>
                  <a:pt x="687" y="3277"/>
                </a:lnTo>
                <a:lnTo>
                  <a:pt x="689" y="3275"/>
                </a:lnTo>
                <a:lnTo>
                  <a:pt x="689" y="3277"/>
                </a:lnTo>
                <a:lnTo>
                  <a:pt x="689" y="3275"/>
                </a:lnTo>
                <a:lnTo>
                  <a:pt x="690" y="3275"/>
                </a:lnTo>
                <a:lnTo>
                  <a:pt x="692" y="3275"/>
                </a:lnTo>
                <a:lnTo>
                  <a:pt x="694" y="3273"/>
                </a:lnTo>
                <a:lnTo>
                  <a:pt x="696" y="3273"/>
                </a:lnTo>
                <a:lnTo>
                  <a:pt x="697" y="3272"/>
                </a:lnTo>
                <a:lnTo>
                  <a:pt x="699" y="3272"/>
                </a:lnTo>
                <a:lnTo>
                  <a:pt x="701" y="3272"/>
                </a:lnTo>
                <a:lnTo>
                  <a:pt x="702" y="3270"/>
                </a:lnTo>
                <a:lnTo>
                  <a:pt x="706" y="3272"/>
                </a:lnTo>
                <a:lnTo>
                  <a:pt x="704" y="3272"/>
                </a:lnTo>
                <a:lnTo>
                  <a:pt x="707" y="3272"/>
                </a:lnTo>
                <a:lnTo>
                  <a:pt x="711" y="3270"/>
                </a:lnTo>
                <a:lnTo>
                  <a:pt x="713" y="3270"/>
                </a:lnTo>
                <a:close/>
                <a:moveTo>
                  <a:pt x="762" y="3265"/>
                </a:moveTo>
                <a:lnTo>
                  <a:pt x="762" y="3268"/>
                </a:lnTo>
                <a:lnTo>
                  <a:pt x="764" y="3266"/>
                </a:lnTo>
                <a:lnTo>
                  <a:pt x="764" y="3270"/>
                </a:lnTo>
                <a:lnTo>
                  <a:pt x="765" y="3268"/>
                </a:lnTo>
                <a:lnTo>
                  <a:pt x="764" y="3266"/>
                </a:lnTo>
                <a:lnTo>
                  <a:pt x="765" y="3266"/>
                </a:lnTo>
                <a:lnTo>
                  <a:pt x="767" y="3266"/>
                </a:lnTo>
                <a:lnTo>
                  <a:pt x="765" y="3270"/>
                </a:lnTo>
                <a:lnTo>
                  <a:pt x="767" y="3270"/>
                </a:lnTo>
                <a:lnTo>
                  <a:pt x="767" y="3272"/>
                </a:lnTo>
                <a:lnTo>
                  <a:pt x="769" y="3272"/>
                </a:lnTo>
                <a:lnTo>
                  <a:pt x="772" y="3272"/>
                </a:lnTo>
                <a:lnTo>
                  <a:pt x="770" y="3273"/>
                </a:lnTo>
                <a:lnTo>
                  <a:pt x="770" y="3275"/>
                </a:lnTo>
                <a:lnTo>
                  <a:pt x="772" y="3275"/>
                </a:lnTo>
                <a:lnTo>
                  <a:pt x="770" y="3277"/>
                </a:lnTo>
                <a:lnTo>
                  <a:pt x="772" y="3280"/>
                </a:lnTo>
                <a:lnTo>
                  <a:pt x="774" y="3282"/>
                </a:lnTo>
                <a:lnTo>
                  <a:pt x="772" y="3282"/>
                </a:lnTo>
                <a:lnTo>
                  <a:pt x="772" y="3280"/>
                </a:lnTo>
                <a:lnTo>
                  <a:pt x="770" y="3280"/>
                </a:lnTo>
                <a:lnTo>
                  <a:pt x="772" y="3280"/>
                </a:lnTo>
                <a:lnTo>
                  <a:pt x="772" y="3282"/>
                </a:lnTo>
                <a:lnTo>
                  <a:pt x="772" y="3284"/>
                </a:lnTo>
                <a:lnTo>
                  <a:pt x="770" y="3285"/>
                </a:lnTo>
                <a:lnTo>
                  <a:pt x="769" y="3285"/>
                </a:lnTo>
                <a:lnTo>
                  <a:pt x="767" y="3284"/>
                </a:lnTo>
                <a:lnTo>
                  <a:pt x="765" y="3284"/>
                </a:lnTo>
                <a:lnTo>
                  <a:pt x="764" y="3282"/>
                </a:lnTo>
                <a:lnTo>
                  <a:pt x="762" y="3280"/>
                </a:lnTo>
                <a:lnTo>
                  <a:pt x="760" y="3280"/>
                </a:lnTo>
                <a:lnTo>
                  <a:pt x="758" y="3278"/>
                </a:lnTo>
                <a:lnTo>
                  <a:pt x="757" y="3277"/>
                </a:lnTo>
                <a:lnTo>
                  <a:pt x="755" y="3277"/>
                </a:lnTo>
                <a:lnTo>
                  <a:pt x="755" y="3275"/>
                </a:lnTo>
                <a:lnTo>
                  <a:pt x="753" y="3275"/>
                </a:lnTo>
                <a:lnTo>
                  <a:pt x="750" y="3277"/>
                </a:lnTo>
                <a:lnTo>
                  <a:pt x="750" y="3275"/>
                </a:lnTo>
                <a:lnTo>
                  <a:pt x="750" y="3277"/>
                </a:lnTo>
                <a:lnTo>
                  <a:pt x="747" y="3275"/>
                </a:lnTo>
                <a:lnTo>
                  <a:pt x="747" y="3273"/>
                </a:lnTo>
                <a:lnTo>
                  <a:pt x="747" y="3272"/>
                </a:lnTo>
                <a:lnTo>
                  <a:pt x="748" y="3272"/>
                </a:lnTo>
                <a:lnTo>
                  <a:pt x="747" y="3270"/>
                </a:lnTo>
                <a:lnTo>
                  <a:pt x="748" y="3270"/>
                </a:lnTo>
                <a:lnTo>
                  <a:pt x="745" y="3270"/>
                </a:lnTo>
                <a:lnTo>
                  <a:pt x="745" y="3268"/>
                </a:lnTo>
                <a:lnTo>
                  <a:pt x="747" y="3266"/>
                </a:lnTo>
                <a:lnTo>
                  <a:pt x="750" y="3266"/>
                </a:lnTo>
                <a:lnTo>
                  <a:pt x="752" y="3266"/>
                </a:lnTo>
                <a:lnTo>
                  <a:pt x="753" y="3266"/>
                </a:lnTo>
                <a:lnTo>
                  <a:pt x="755" y="3266"/>
                </a:lnTo>
                <a:lnTo>
                  <a:pt x="758" y="3266"/>
                </a:lnTo>
                <a:lnTo>
                  <a:pt x="760" y="3268"/>
                </a:lnTo>
                <a:lnTo>
                  <a:pt x="762" y="3266"/>
                </a:lnTo>
                <a:lnTo>
                  <a:pt x="762" y="3265"/>
                </a:lnTo>
                <a:close/>
                <a:moveTo>
                  <a:pt x="616" y="3321"/>
                </a:moveTo>
                <a:lnTo>
                  <a:pt x="616" y="3323"/>
                </a:lnTo>
                <a:lnTo>
                  <a:pt x="619" y="3323"/>
                </a:lnTo>
                <a:lnTo>
                  <a:pt x="617" y="3324"/>
                </a:lnTo>
                <a:lnTo>
                  <a:pt x="619" y="3328"/>
                </a:lnTo>
                <a:lnTo>
                  <a:pt x="617" y="3328"/>
                </a:lnTo>
                <a:lnTo>
                  <a:pt x="616" y="3329"/>
                </a:lnTo>
                <a:lnTo>
                  <a:pt x="614" y="3329"/>
                </a:lnTo>
                <a:lnTo>
                  <a:pt x="612" y="3333"/>
                </a:lnTo>
                <a:lnTo>
                  <a:pt x="611" y="3335"/>
                </a:lnTo>
                <a:lnTo>
                  <a:pt x="609" y="3335"/>
                </a:lnTo>
                <a:lnTo>
                  <a:pt x="607" y="3335"/>
                </a:lnTo>
                <a:lnTo>
                  <a:pt x="605" y="3336"/>
                </a:lnTo>
                <a:lnTo>
                  <a:pt x="605" y="3340"/>
                </a:lnTo>
                <a:lnTo>
                  <a:pt x="604" y="3338"/>
                </a:lnTo>
                <a:lnTo>
                  <a:pt x="604" y="3340"/>
                </a:lnTo>
                <a:lnTo>
                  <a:pt x="604" y="3338"/>
                </a:lnTo>
                <a:lnTo>
                  <a:pt x="602" y="3336"/>
                </a:lnTo>
                <a:lnTo>
                  <a:pt x="600" y="3338"/>
                </a:lnTo>
                <a:lnTo>
                  <a:pt x="600" y="3336"/>
                </a:lnTo>
                <a:lnTo>
                  <a:pt x="599" y="3336"/>
                </a:lnTo>
                <a:lnTo>
                  <a:pt x="597" y="3336"/>
                </a:lnTo>
                <a:lnTo>
                  <a:pt x="595" y="3336"/>
                </a:lnTo>
                <a:lnTo>
                  <a:pt x="595" y="3333"/>
                </a:lnTo>
                <a:lnTo>
                  <a:pt x="597" y="3331"/>
                </a:lnTo>
                <a:lnTo>
                  <a:pt x="595" y="3329"/>
                </a:lnTo>
                <a:lnTo>
                  <a:pt x="597" y="3328"/>
                </a:lnTo>
                <a:lnTo>
                  <a:pt x="597" y="3329"/>
                </a:lnTo>
                <a:lnTo>
                  <a:pt x="600" y="3329"/>
                </a:lnTo>
                <a:lnTo>
                  <a:pt x="600" y="3328"/>
                </a:lnTo>
                <a:lnTo>
                  <a:pt x="600" y="3326"/>
                </a:lnTo>
                <a:lnTo>
                  <a:pt x="600" y="3324"/>
                </a:lnTo>
                <a:lnTo>
                  <a:pt x="604" y="3323"/>
                </a:lnTo>
                <a:lnTo>
                  <a:pt x="605" y="3323"/>
                </a:lnTo>
                <a:lnTo>
                  <a:pt x="607" y="3323"/>
                </a:lnTo>
                <a:lnTo>
                  <a:pt x="609" y="3323"/>
                </a:lnTo>
                <a:lnTo>
                  <a:pt x="609" y="3321"/>
                </a:lnTo>
                <a:lnTo>
                  <a:pt x="609" y="3323"/>
                </a:lnTo>
                <a:lnTo>
                  <a:pt x="611" y="3321"/>
                </a:lnTo>
                <a:lnTo>
                  <a:pt x="612" y="3321"/>
                </a:lnTo>
                <a:lnTo>
                  <a:pt x="614" y="3321"/>
                </a:lnTo>
                <a:lnTo>
                  <a:pt x="616" y="3321"/>
                </a:lnTo>
                <a:close/>
                <a:moveTo>
                  <a:pt x="607" y="3345"/>
                </a:moveTo>
                <a:lnTo>
                  <a:pt x="607" y="3348"/>
                </a:lnTo>
                <a:lnTo>
                  <a:pt x="609" y="3348"/>
                </a:lnTo>
                <a:lnTo>
                  <a:pt x="609" y="3350"/>
                </a:lnTo>
                <a:lnTo>
                  <a:pt x="611" y="3352"/>
                </a:lnTo>
                <a:lnTo>
                  <a:pt x="614" y="3350"/>
                </a:lnTo>
                <a:lnTo>
                  <a:pt x="614" y="3352"/>
                </a:lnTo>
                <a:lnTo>
                  <a:pt x="612" y="3353"/>
                </a:lnTo>
                <a:lnTo>
                  <a:pt x="611" y="3353"/>
                </a:lnTo>
                <a:lnTo>
                  <a:pt x="609" y="3352"/>
                </a:lnTo>
                <a:lnTo>
                  <a:pt x="607" y="3350"/>
                </a:lnTo>
                <a:lnTo>
                  <a:pt x="605" y="3352"/>
                </a:lnTo>
                <a:lnTo>
                  <a:pt x="604" y="3353"/>
                </a:lnTo>
                <a:lnTo>
                  <a:pt x="602" y="3353"/>
                </a:lnTo>
                <a:lnTo>
                  <a:pt x="602" y="3352"/>
                </a:lnTo>
                <a:lnTo>
                  <a:pt x="602" y="3350"/>
                </a:lnTo>
                <a:lnTo>
                  <a:pt x="604" y="3348"/>
                </a:lnTo>
                <a:lnTo>
                  <a:pt x="604" y="3346"/>
                </a:lnTo>
                <a:lnTo>
                  <a:pt x="605" y="3348"/>
                </a:lnTo>
                <a:lnTo>
                  <a:pt x="605" y="3346"/>
                </a:lnTo>
                <a:lnTo>
                  <a:pt x="607" y="3345"/>
                </a:lnTo>
                <a:lnTo>
                  <a:pt x="605" y="3345"/>
                </a:lnTo>
                <a:lnTo>
                  <a:pt x="607" y="3345"/>
                </a:lnTo>
                <a:close/>
                <a:moveTo>
                  <a:pt x="187" y="3483"/>
                </a:moveTo>
                <a:lnTo>
                  <a:pt x="189" y="3484"/>
                </a:lnTo>
                <a:lnTo>
                  <a:pt x="191" y="3484"/>
                </a:lnTo>
                <a:lnTo>
                  <a:pt x="189" y="3484"/>
                </a:lnTo>
                <a:lnTo>
                  <a:pt x="191" y="3486"/>
                </a:lnTo>
                <a:lnTo>
                  <a:pt x="192" y="3484"/>
                </a:lnTo>
                <a:lnTo>
                  <a:pt x="192" y="3486"/>
                </a:lnTo>
                <a:lnTo>
                  <a:pt x="189" y="3486"/>
                </a:lnTo>
                <a:lnTo>
                  <a:pt x="187" y="3486"/>
                </a:lnTo>
                <a:lnTo>
                  <a:pt x="187" y="3483"/>
                </a:lnTo>
                <a:close/>
                <a:moveTo>
                  <a:pt x="121" y="3377"/>
                </a:moveTo>
                <a:lnTo>
                  <a:pt x="123" y="3377"/>
                </a:lnTo>
                <a:lnTo>
                  <a:pt x="123" y="3379"/>
                </a:lnTo>
                <a:lnTo>
                  <a:pt x="123" y="3377"/>
                </a:lnTo>
                <a:lnTo>
                  <a:pt x="121" y="3377"/>
                </a:lnTo>
                <a:lnTo>
                  <a:pt x="121" y="3375"/>
                </a:lnTo>
                <a:lnTo>
                  <a:pt x="119" y="3374"/>
                </a:lnTo>
                <a:lnTo>
                  <a:pt x="118" y="3374"/>
                </a:lnTo>
                <a:lnTo>
                  <a:pt x="118" y="3372"/>
                </a:lnTo>
                <a:lnTo>
                  <a:pt x="118" y="3370"/>
                </a:lnTo>
                <a:lnTo>
                  <a:pt x="119" y="3372"/>
                </a:lnTo>
                <a:lnTo>
                  <a:pt x="119" y="3374"/>
                </a:lnTo>
                <a:lnTo>
                  <a:pt x="121" y="3375"/>
                </a:lnTo>
                <a:lnTo>
                  <a:pt x="121" y="3377"/>
                </a:lnTo>
                <a:close/>
                <a:moveTo>
                  <a:pt x="1054" y="3071"/>
                </a:moveTo>
                <a:lnTo>
                  <a:pt x="1058" y="3073"/>
                </a:lnTo>
                <a:lnTo>
                  <a:pt x="1056" y="3074"/>
                </a:lnTo>
                <a:lnTo>
                  <a:pt x="1058" y="3076"/>
                </a:lnTo>
                <a:lnTo>
                  <a:pt x="1058" y="3079"/>
                </a:lnTo>
                <a:lnTo>
                  <a:pt x="1058" y="3081"/>
                </a:lnTo>
                <a:lnTo>
                  <a:pt x="1058" y="3083"/>
                </a:lnTo>
                <a:lnTo>
                  <a:pt x="1058" y="3084"/>
                </a:lnTo>
                <a:lnTo>
                  <a:pt x="1058" y="3086"/>
                </a:lnTo>
                <a:lnTo>
                  <a:pt x="1058" y="3088"/>
                </a:lnTo>
                <a:lnTo>
                  <a:pt x="1056" y="3091"/>
                </a:lnTo>
                <a:lnTo>
                  <a:pt x="1056" y="3093"/>
                </a:lnTo>
                <a:lnTo>
                  <a:pt x="1056" y="3095"/>
                </a:lnTo>
                <a:lnTo>
                  <a:pt x="1056" y="3096"/>
                </a:lnTo>
                <a:lnTo>
                  <a:pt x="1058" y="3098"/>
                </a:lnTo>
                <a:lnTo>
                  <a:pt x="1059" y="3100"/>
                </a:lnTo>
                <a:lnTo>
                  <a:pt x="1059" y="3101"/>
                </a:lnTo>
                <a:lnTo>
                  <a:pt x="1061" y="3103"/>
                </a:lnTo>
                <a:lnTo>
                  <a:pt x="1061" y="3105"/>
                </a:lnTo>
                <a:lnTo>
                  <a:pt x="1059" y="3107"/>
                </a:lnTo>
                <a:lnTo>
                  <a:pt x="1061" y="3110"/>
                </a:lnTo>
                <a:lnTo>
                  <a:pt x="1061" y="3112"/>
                </a:lnTo>
                <a:lnTo>
                  <a:pt x="1059" y="3115"/>
                </a:lnTo>
                <a:lnTo>
                  <a:pt x="1061" y="3117"/>
                </a:lnTo>
                <a:lnTo>
                  <a:pt x="1061" y="3119"/>
                </a:lnTo>
                <a:lnTo>
                  <a:pt x="1061" y="3120"/>
                </a:lnTo>
                <a:lnTo>
                  <a:pt x="1061" y="3122"/>
                </a:lnTo>
                <a:lnTo>
                  <a:pt x="1061" y="3125"/>
                </a:lnTo>
                <a:lnTo>
                  <a:pt x="1061" y="3129"/>
                </a:lnTo>
                <a:lnTo>
                  <a:pt x="1061" y="3130"/>
                </a:lnTo>
                <a:lnTo>
                  <a:pt x="1061" y="3134"/>
                </a:lnTo>
                <a:lnTo>
                  <a:pt x="1059" y="3136"/>
                </a:lnTo>
                <a:lnTo>
                  <a:pt x="1059" y="3137"/>
                </a:lnTo>
                <a:lnTo>
                  <a:pt x="1058" y="3139"/>
                </a:lnTo>
                <a:lnTo>
                  <a:pt x="1056" y="3141"/>
                </a:lnTo>
                <a:lnTo>
                  <a:pt x="1056" y="3142"/>
                </a:lnTo>
                <a:lnTo>
                  <a:pt x="1054" y="3144"/>
                </a:lnTo>
                <a:lnTo>
                  <a:pt x="1054" y="3146"/>
                </a:lnTo>
                <a:lnTo>
                  <a:pt x="1054" y="3147"/>
                </a:lnTo>
                <a:lnTo>
                  <a:pt x="1053" y="3151"/>
                </a:lnTo>
                <a:lnTo>
                  <a:pt x="1053" y="3153"/>
                </a:lnTo>
                <a:lnTo>
                  <a:pt x="1053" y="3154"/>
                </a:lnTo>
                <a:lnTo>
                  <a:pt x="1053" y="3156"/>
                </a:lnTo>
                <a:lnTo>
                  <a:pt x="1053" y="3158"/>
                </a:lnTo>
                <a:lnTo>
                  <a:pt x="1053" y="3161"/>
                </a:lnTo>
                <a:lnTo>
                  <a:pt x="1053" y="3163"/>
                </a:lnTo>
                <a:lnTo>
                  <a:pt x="1051" y="3164"/>
                </a:lnTo>
                <a:lnTo>
                  <a:pt x="1053" y="3168"/>
                </a:lnTo>
                <a:lnTo>
                  <a:pt x="1051" y="3168"/>
                </a:lnTo>
                <a:lnTo>
                  <a:pt x="1051" y="3170"/>
                </a:lnTo>
                <a:lnTo>
                  <a:pt x="1049" y="3170"/>
                </a:lnTo>
                <a:lnTo>
                  <a:pt x="1047" y="3168"/>
                </a:lnTo>
                <a:lnTo>
                  <a:pt x="1046" y="3170"/>
                </a:lnTo>
                <a:lnTo>
                  <a:pt x="1047" y="3171"/>
                </a:lnTo>
                <a:lnTo>
                  <a:pt x="1049" y="3170"/>
                </a:lnTo>
                <a:lnTo>
                  <a:pt x="1051" y="3171"/>
                </a:lnTo>
                <a:lnTo>
                  <a:pt x="1049" y="3173"/>
                </a:lnTo>
                <a:lnTo>
                  <a:pt x="1047" y="3175"/>
                </a:lnTo>
                <a:lnTo>
                  <a:pt x="1046" y="3175"/>
                </a:lnTo>
                <a:lnTo>
                  <a:pt x="1046" y="3176"/>
                </a:lnTo>
                <a:lnTo>
                  <a:pt x="1046" y="3178"/>
                </a:lnTo>
                <a:lnTo>
                  <a:pt x="1047" y="3178"/>
                </a:lnTo>
                <a:lnTo>
                  <a:pt x="1046" y="3180"/>
                </a:lnTo>
                <a:lnTo>
                  <a:pt x="1044" y="3181"/>
                </a:lnTo>
                <a:lnTo>
                  <a:pt x="1042" y="3183"/>
                </a:lnTo>
                <a:lnTo>
                  <a:pt x="1046" y="3183"/>
                </a:lnTo>
                <a:lnTo>
                  <a:pt x="1044" y="3185"/>
                </a:lnTo>
                <a:lnTo>
                  <a:pt x="1042" y="3187"/>
                </a:lnTo>
                <a:lnTo>
                  <a:pt x="1041" y="3187"/>
                </a:lnTo>
                <a:lnTo>
                  <a:pt x="1039" y="3185"/>
                </a:lnTo>
                <a:lnTo>
                  <a:pt x="1036" y="3185"/>
                </a:lnTo>
                <a:lnTo>
                  <a:pt x="1037" y="3183"/>
                </a:lnTo>
                <a:lnTo>
                  <a:pt x="1037" y="3181"/>
                </a:lnTo>
                <a:lnTo>
                  <a:pt x="1036" y="3181"/>
                </a:lnTo>
                <a:lnTo>
                  <a:pt x="1036" y="3178"/>
                </a:lnTo>
                <a:lnTo>
                  <a:pt x="1034" y="3180"/>
                </a:lnTo>
                <a:lnTo>
                  <a:pt x="1030" y="3178"/>
                </a:lnTo>
                <a:lnTo>
                  <a:pt x="1030" y="3180"/>
                </a:lnTo>
                <a:lnTo>
                  <a:pt x="1029" y="3178"/>
                </a:lnTo>
                <a:lnTo>
                  <a:pt x="1027" y="3178"/>
                </a:lnTo>
                <a:lnTo>
                  <a:pt x="1027" y="3176"/>
                </a:lnTo>
                <a:lnTo>
                  <a:pt x="1025" y="3176"/>
                </a:lnTo>
                <a:lnTo>
                  <a:pt x="1025" y="3175"/>
                </a:lnTo>
                <a:lnTo>
                  <a:pt x="1024" y="3176"/>
                </a:lnTo>
                <a:lnTo>
                  <a:pt x="1024" y="3173"/>
                </a:lnTo>
                <a:lnTo>
                  <a:pt x="1024" y="3175"/>
                </a:lnTo>
                <a:lnTo>
                  <a:pt x="1022" y="3173"/>
                </a:lnTo>
                <a:lnTo>
                  <a:pt x="1020" y="3173"/>
                </a:lnTo>
                <a:lnTo>
                  <a:pt x="1020" y="3171"/>
                </a:lnTo>
                <a:lnTo>
                  <a:pt x="1020" y="3168"/>
                </a:lnTo>
                <a:lnTo>
                  <a:pt x="1022" y="3166"/>
                </a:lnTo>
                <a:lnTo>
                  <a:pt x="1022" y="3168"/>
                </a:lnTo>
                <a:lnTo>
                  <a:pt x="1025" y="3166"/>
                </a:lnTo>
                <a:lnTo>
                  <a:pt x="1025" y="3164"/>
                </a:lnTo>
                <a:lnTo>
                  <a:pt x="1027" y="3163"/>
                </a:lnTo>
                <a:lnTo>
                  <a:pt x="1025" y="3164"/>
                </a:lnTo>
                <a:lnTo>
                  <a:pt x="1024" y="3163"/>
                </a:lnTo>
                <a:lnTo>
                  <a:pt x="1022" y="3161"/>
                </a:lnTo>
                <a:lnTo>
                  <a:pt x="1020" y="3163"/>
                </a:lnTo>
                <a:lnTo>
                  <a:pt x="1020" y="3159"/>
                </a:lnTo>
                <a:lnTo>
                  <a:pt x="1017" y="3161"/>
                </a:lnTo>
                <a:lnTo>
                  <a:pt x="1015" y="3159"/>
                </a:lnTo>
                <a:lnTo>
                  <a:pt x="1013" y="3159"/>
                </a:lnTo>
                <a:lnTo>
                  <a:pt x="1015" y="3159"/>
                </a:lnTo>
                <a:lnTo>
                  <a:pt x="1017" y="3158"/>
                </a:lnTo>
                <a:lnTo>
                  <a:pt x="1017" y="3156"/>
                </a:lnTo>
                <a:lnTo>
                  <a:pt x="1019" y="3156"/>
                </a:lnTo>
                <a:lnTo>
                  <a:pt x="1020" y="3154"/>
                </a:lnTo>
                <a:lnTo>
                  <a:pt x="1020" y="3153"/>
                </a:lnTo>
                <a:lnTo>
                  <a:pt x="1019" y="3153"/>
                </a:lnTo>
                <a:lnTo>
                  <a:pt x="1020" y="3153"/>
                </a:lnTo>
                <a:lnTo>
                  <a:pt x="1020" y="3149"/>
                </a:lnTo>
                <a:lnTo>
                  <a:pt x="1022" y="3149"/>
                </a:lnTo>
                <a:lnTo>
                  <a:pt x="1020" y="3147"/>
                </a:lnTo>
                <a:lnTo>
                  <a:pt x="1019" y="3146"/>
                </a:lnTo>
                <a:lnTo>
                  <a:pt x="1017" y="3147"/>
                </a:lnTo>
                <a:lnTo>
                  <a:pt x="1015" y="3147"/>
                </a:lnTo>
                <a:lnTo>
                  <a:pt x="1013" y="3147"/>
                </a:lnTo>
                <a:lnTo>
                  <a:pt x="1012" y="3149"/>
                </a:lnTo>
                <a:lnTo>
                  <a:pt x="1012" y="3146"/>
                </a:lnTo>
                <a:lnTo>
                  <a:pt x="1010" y="3144"/>
                </a:lnTo>
                <a:lnTo>
                  <a:pt x="1013" y="3144"/>
                </a:lnTo>
                <a:lnTo>
                  <a:pt x="1015" y="3142"/>
                </a:lnTo>
                <a:lnTo>
                  <a:pt x="1013" y="3141"/>
                </a:lnTo>
                <a:lnTo>
                  <a:pt x="1015" y="3139"/>
                </a:lnTo>
                <a:lnTo>
                  <a:pt x="1017" y="3139"/>
                </a:lnTo>
                <a:lnTo>
                  <a:pt x="1019" y="3139"/>
                </a:lnTo>
                <a:lnTo>
                  <a:pt x="1019" y="3137"/>
                </a:lnTo>
                <a:lnTo>
                  <a:pt x="1017" y="3137"/>
                </a:lnTo>
                <a:lnTo>
                  <a:pt x="1017" y="3136"/>
                </a:lnTo>
                <a:lnTo>
                  <a:pt x="1017" y="3134"/>
                </a:lnTo>
                <a:lnTo>
                  <a:pt x="1013" y="3134"/>
                </a:lnTo>
                <a:lnTo>
                  <a:pt x="1013" y="3132"/>
                </a:lnTo>
                <a:lnTo>
                  <a:pt x="1012" y="3132"/>
                </a:lnTo>
                <a:lnTo>
                  <a:pt x="1010" y="3132"/>
                </a:lnTo>
                <a:lnTo>
                  <a:pt x="1010" y="3130"/>
                </a:lnTo>
                <a:lnTo>
                  <a:pt x="1008" y="3130"/>
                </a:lnTo>
                <a:lnTo>
                  <a:pt x="1010" y="3129"/>
                </a:lnTo>
                <a:lnTo>
                  <a:pt x="1008" y="3129"/>
                </a:lnTo>
                <a:lnTo>
                  <a:pt x="1010" y="3129"/>
                </a:lnTo>
                <a:lnTo>
                  <a:pt x="1010" y="3127"/>
                </a:lnTo>
                <a:lnTo>
                  <a:pt x="1010" y="3125"/>
                </a:lnTo>
                <a:lnTo>
                  <a:pt x="1008" y="3124"/>
                </a:lnTo>
                <a:lnTo>
                  <a:pt x="1010" y="3124"/>
                </a:lnTo>
                <a:lnTo>
                  <a:pt x="1012" y="3124"/>
                </a:lnTo>
                <a:lnTo>
                  <a:pt x="1015" y="3122"/>
                </a:lnTo>
                <a:lnTo>
                  <a:pt x="1017" y="3122"/>
                </a:lnTo>
                <a:lnTo>
                  <a:pt x="1015" y="3120"/>
                </a:lnTo>
                <a:lnTo>
                  <a:pt x="1012" y="3120"/>
                </a:lnTo>
                <a:lnTo>
                  <a:pt x="1012" y="3119"/>
                </a:lnTo>
                <a:lnTo>
                  <a:pt x="1013" y="3119"/>
                </a:lnTo>
                <a:lnTo>
                  <a:pt x="1012" y="3117"/>
                </a:lnTo>
                <a:lnTo>
                  <a:pt x="1010" y="3117"/>
                </a:lnTo>
                <a:lnTo>
                  <a:pt x="1008" y="3117"/>
                </a:lnTo>
                <a:lnTo>
                  <a:pt x="1008" y="3115"/>
                </a:lnTo>
                <a:lnTo>
                  <a:pt x="1010" y="3115"/>
                </a:lnTo>
                <a:lnTo>
                  <a:pt x="1010" y="3113"/>
                </a:lnTo>
                <a:lnTo>
                  <a:pt x="1012" y="3113"/>
                </a:lnTo>
                <a:lnTo>
                  <a:pt x="1012" y="3112"/>
                </a:lnTo>
                <a:lnTo>
                  <a:pt x="1013" y="3112"/>
                </a:lnTo>
                <a:lnTo>
                  <a:pt x="1015" y="3110"/>
                </a:lnTo>
                <a:lnTo>
                  <a:pt x="1013" y="3110"/>
                </a:lnTo>
                <a:lnTo>
                  <a:pt x="1015" y="3110"/>
                </a:lnTo>
                <a:lnTo>
                  <a:pt x="1015" y="3108"/>
                </a:lnTo>
                <a:lnTo>
                  <a:pt x="1013" y="3107"/>
                </a:lnTo>
                <a:lnTo>
                  <a:pt x="1015" y="3105"/>
                </a:lnTo>
                <a:lnTo>
                  <a:pt x="1019" y="3105"/>
                </a:lnTo>
                <a:lnTo>
                  <a:pt x="1019" y="3101"/>
                </a:lnTo>
                <a:lnTo>
                  <a:pt x="1017" y="3101"/>
                </a:lnTo>
                <a:lnTo>
                  <a:pt x="1019" y="3100"/>
                </a:lnTo>
                <a:lnTo>
                  <a:pt x="1019" y="3101"/>
                </a:lnTo>
                <a:lnTo>
                  <a:pt x="1020" y="3101"/>
                </a:lnTo>
                <a:lnTo>
                  <a:pt x="1022" y="3101"/>
                </a:lnTo>
                <a:lnTo>
                  <a:pt x="1022" y="3098"/>
                </a:lnTo>
                <a:lnTo>
                  <a:pt x="1025" y="3098"/>
                </a:lnTo>
                <a:lnTo>
                  <a:pt x="1027" y="3096"/>
                </a:lnTo>
                <a:lnTo>
                  <a:pt x="1029" y="3096"/>
                </a:lnTo>
                <a:lnTo>
                  <a:pt x="1030" y="3096"/>
                </a:lnTo>
                <a:lnTo>
                  <a:pt x="1032" y="3096"/>
                </a:lnTo>
                <a:lnTo>
                  <a:pt x="1034" y="3096"/>
                </a:lnTo>
                <a:lnTo>
                  <a:pt x="1036" y="3095"/>
                </a:lnTo>
                <a:lnTo>
                  <a:pt x="1036" y="3093"/>
                </a:lnTo>
                <a:lnTo>
                  <a:pt x="1037" y="3091"/>
                </a:lnTo>
                <a:lnTo>
                  <a:pt x="1039" y="3090"/>
                </a:lnTo>
                <a:lnTo>
                  <a:pt x="1041" y="3090"/>
                </a:lnTo>
                <a:lnTo>
                  <a:pt x="1042" y="3090"/>
                </a:lnTo>
                <a:lnTo>
                  <a:pt x="1044" y="3090"/>
                </a:lnTo>
                <a:lnTo>
                  <a:pt x="1046" y="3091"/>
                </a:lnTo>
                <a:lnTo>
                  <a:pt x="1047" y="3095"/>
                </a:lnTo>
                <a:lnTo>
                  <a:pt x="1047" y="3093"/>
                </a:lnTo>
                <a:lnTo>
                  <a:pt x="1049" y="3093"/>
                </a:lnTo>
                <a:lnTo>
                  <a:pt x="1051" y="3090"/>
                </a:lnTo>
                <a:lnTo>
                  <a:pt x="1051" y="3088"/>
                </a:lnTo>
                <a:lnTo>
                  <a:pt x="1051" y="3084"/>
                </a:lnTo>
                <a:lnTo>
                  <a:pt x="1049" y="3083"/>
                </a:lnTo>
                <a:lnTo>
                  <a:pt x="1051" y="3081"/>
                </a:lnTo>
                <a:lnTo>
                  <a:pt x="1049" y="3078"/>
                </a:lnTo>
                <a:lnTo>
                  <a:pt x="1051" y="3076"/>
                </a:lnTo>
                <a:lnTo>
                  <a:pt x="1051" y="3074"/>
                </a:lnTo>
                <a:lnTo>
                  <a:pt x="1051" y="3071"/>
                </a:lnTo>
                <a:lnTo>
                  <a:pt x="1054" y="3071"/>
                </a:lnTo>
                <a:close/>
                <a:moveTo>
                  <a:pt x="320" y="3554"/>
                </a:moveTo>
                <a:lnTo>
                  <a:pt x="320" y="3556"/>
                </a:lnTo>
                <a:lnTo>
                  <a:pt x="318" y="3557"/>
                </a:lnTo>
                <a:lnTo>
                  <a:pt x="318" y="3556"/>
                </a:lnTo>
                <a:lnTo>
                  <a:pt x="320" y="3554"/>
                </a:lnTo>
                <a:close/>
                <a:moveTo>
                  <a:pt x="694" y="3324"/>
                </a:moveTo>
                <a:lnTo>
                  <a:pt x="696" y="3326"/>
                </a:lnTo>
                <a:lnTo>
                  <a:pt x="694" y="3326"/>
                </a:lnTo>
                <a:lnTo>
                  <a:pt x="694" y="3328"/>
                </a:lnTo>
                <a:lnTo>
                  <a:pt x="692" y="3328"/>
                </a:lnTo>
                <a:lnTo>
                  <a:pt x="692" y="3326"/>
                </a:lnTo>
                <a:lnTo>
                  <a:pt x="694" y="3324"/>
                </a:lnTo>
                <a:close/>
                <a:moveTo>
                  <a:pt x="96" y="3367"/>
                </a:moveTo>
                <a:lnTo>
                  <a:pt x="97" y="3369"/>
                </a:lnTo>
                <a:lnTo>
                  <a:pt x="94" y="3367"/>
                </a:lnTo>
                <a:lnTo>
                  <a:pt x="92" y="3367"/>
                </a:lnTo>
                <a:lnTo>
                  <a:pt x="94" y="3367"/>
                </a:lnTo>
                <a:lnTo>
                  <a:pt x="92" y="3365"/>
                </a:lnTo>
                <a:lnTo>
                  <a:pt x="96" y="3367"/>
                </a:lnTo>
                <a:lnTo>
                  <a:pt x="96" y="3365"/>
                </a:lnTo>
                <a:lnTo>
                  <a:pt x="96" y="3367"/>
                </a:lnTo>
                <a:close/>
                <a:moveTo>
                  <a:pt x="109" y="2972"/>
                </a:moveTo>
                <a:lnTo>
                  <a:pt x="113" y="2974"/>
                </a:lnTo>
                <a:lnTo>
                  <a:pt x="111" y="2976"/>
                </a:lnTo>
                <a:lnTo>
                  <a:pt x="109" y="2976"/>
                </a:lnTo>
                <a:lnTo>
                  <a:pt x="109" y="2972"/>
                </a:lnTo>
                <a:close/>
                <a:moveTo>
                  <a:pt x="116" y="3367"/>
                </a:moveTo>
                <a:lnTo>
                  <a:pt x="118" y="3369"/>
                </a:lnTo>
                <a:lnTo>
                  <a:pt x="118" y="3370"/>
                </a:lnTo>
                <a:lnTo>
                  <a:pt x="116" y="3370"/>
                </a:lnTo>
                <a:lnTo>
                  <a:pt x="116" y="3367"/>
                </a:lnTo>
                <a:close/>
                <a:moveTo>
                  <a:pt x="475" y="3401"/>
                </a:moveTo>
                <a:lnTo>
                  <a:pt x="476" y="3401"/>
                </a:lnTo>
                <a:lnTo>
                  <a:pt x="475" y="3403"/>
                </a:lnTo>
                <a:lnTo>
                  <a:pt x="475" y="3406"/>
                </a:lnTo>
                <a:lnTo>
                  <a:pt x="475" y="3408"/>
                </a:lnTo>
                <a:lnTo>
                  <a:pt x="475" y="3404"/>
                </a:lnTo>
                <a:lnTo>
                  <a:pt x="475" y="3401"/>
                </a:lnTo>
                <a:close/>
                <a:moveTo>
                  <a:pt x="104" y="2984"/>
                </a:moveTo>
                <a:lnTo>
                  <a:pt x="106" y="2984"/>
                </a:lnTo>
                <a:lnTo>
                  <a:pt x="104" y="2988"/>
                </a:lnTo>
                <a:lnTo>
                  <a:pt x="102" y="2988"/>
                </a:lnTo>
                <a:lnTo>
                  <a:pt x="104" y="2984"/>
                </a:lnTo>
                <a:close/>
                <a:moveTo>
                  <a:pt x="124" y="3365"/>
                </a:moveTo>
                <a:lnTo>
                  <a:pt x="126" y="3365"/>
                </a:lnTo>
                <a:lnTo>
                  <a:pt x="124" y="3367"/>
                </a:lnTo>
                <a:lnTo>
                  <a:pt x="124" y="3365"/>
                </a:lnTo>
                <a:close/>
                <a:moveTo>
                  <a:pt x="102" y="2994"/>
                </a:moveTo>
                <a:lnTo>
                  <a:pt x="104" y="2994"/>
                </a:lnTo>
                <a:lnTo>
                  <a:pt x="102" y="2998"/>
                </a:lnTo>
                <a:lnTo>
                  <a:pt x="102" y="2994"/>
                </a:lnTo>
                <a:close/>
                <a:moveTo>
                  <a:pt x="118" y="3367"/>
                </a:moveTo>
                <a:lnTo>
                  <a:pt x="119" y="3369"/>
                </a:lnTo>
                <a:lnTo>
                  <a:pt x="118" y="3370"/>
                </a:lnTo>
                <a:lnTo>
                  <a:pt x="118" y="3367"/>
                </a:lnTo>
                <a:close/>
                <a:moveTo>
                  <a:pt x="662" y="3290"/>
                </a:moveTo>
                <a:lnTo>
                  <a:pt x="663" y="3290"/>
                </a:lnTo>
                <a:lnTo>
                  <a:pt x="663" y="3292"/>
                </a:lnTo>
                <a:lnTo>
                  <a:pt x="662" y="3292"/>
                </a:lnTo>
                <a:lnTo>
                  <a:pt x="662" y="3290"/>
                </a:lnTo>
                <a:close/>
                <a:moveTo>
                  <a:pt x="102" y="2977"/>
                </a:moveTo>
                <a:lnTo>
                  <a:pt x="102" y="2979"/>
                </a:lnTo>
                <a:lnTo>
                  <a:pt x="102" y="2977"/>
                </a:lnTo>
                <a:close/>
                <a:moveTo>
                  <a:pt x="475" y="3397"/>
                </a:moveTo>
                <a:lnTo>
                  <a:pt x="476" y="3399"/>
                </a:lnTo>
                <a:lnTo>
                  <a:pt x="476" y="3401"/>
                </a:lnTo>
                <a:lnTo>
                  <a:pt x="475" y="3401"/>
                </a:lnTo>
                <a:lnTo>
                  <a:pt x="475" y="3397"/>
                </a:lnTo>
                <a:close/>
                <a:moveTo>
                  <a:pt x="102" y="2998"/>
                </a:moveTo>
                <a:lnTo>
                  <a:pt x="102" y="2999"/>
                </a:lnTo>
                <a:lnTo>
                  <a:pt x="102" y="2998"/>
                </a:lnTo>
                <a:close/>
                <a:moveTo>
                  <a:pt x="605" y="3343"/>
                </a:moveTo>
                <a:lnTo>
                  <a:pt x="607" y="3343"/>
                </a:lnTo>
                <a:lnTo>
                  <a:pt x="605" y="3343"/>
                </a:lnTo>
                <a:close/>
                <a:moveTo>
                  <a:pt x="111" y="2977"/>
                </a:moveTo>
                <a:lnTo>
                  <a:pt x="111" y="2979"/>
                </a:lnTo>
                <a:lnTo>
                  <a:pt x="111" y="2977"/>
                </a:lnTo>
                <a:close/>
                <a:moveTo>
                  <a:pt x="3160" y="2775"/>
                </a:moveTo>
                <a:lnTo>
                  <a:pt x="3162" y="2777"/>
                </a:lnTo>
                <a:lnTo>
                  <a:pt x="3162" y="2778"/>
                </a:lnTo>
                <a:lnTo>
                  <a:pt x="3162" y="2782"/>
                </a:lnTo>
                <a:lnTo>
                  <a:pt x="3160" y="2782"/>
                </a:lnTo>
                <a:lnTo>
                  <a:pt x="3162" y="2780"/>
                </a:lnTo>
                <a:lnTo>
                  <a:pt x="3162" y="2777"/>
                </a:lnTo>
                <a:lnTo>
                  <a:pt x="3162" y="2780"/>
                </a:lnTo>
                <a:lnTo>
                  <a:pt x="3160" y="2782"/>
                </a:lnTo>
                <a:lnTo>
                  <a:pt x="3162" y="2780"/>
                </a:lnTo>
                <a:lnTo>
                  <a:pt x="3159" y="2780"/>
                </a:lnTo>
                <a:lnTo>
                  <a:pt x="3160" y="2777"/>
                </a:lnTo>
                <a:lnTo>
                  <a:pt x="3160" y="2775"/>
                </a:lnTo>
                <a:close/>
                <a:moveTo>
                  <a:pt x="1959" y="3198"/>
                </a:moveTo>
                <a:lnTo>
                  <a:pt x="1960" y="3198"/>
                </a:lnTo>
                <a:lnTo>
                  <a:pt x="1960" y="3200"/>
                </a:lnTo>
                <a:lnTo>
                  <a:pt x="1960" y="3202"/>
                </a:lnTo>
                <a:lnTo>
                  <a:pt x="1959" y="3202"/>
                </a:lnTo>
                <a:lnTo>
                  <a:pt x="1957" y="3200"/>
                </a:lnTo>
                <a:lnTo>
                  <a:pt x="1955" y="3200"/>
                </a:lnTo>
                <a:lnTo>
                  <a:pt x="1954" y="3198"/>
                </a:lnTo>
                <a:lnTo>
                  <a:pt x="1955" y="3198"/>
                </a:lnTo>
                <a:lnTo>
                  <a:pt x="1959" y="3198"/>
                </a:lnTo>
                <a:close/>
                <a:moveTo>
                  <a:pt x="3177" y="2654"/>
                </a:moveTo>
                <a:lnTo>
                  <a:pt x="3181" y="2654"/>
                </a:lnTo>
                <a:lnTo>
                  <a:pt x="3179" y="2656"/>
                </a:lnTo>
                <a:lnTo>
                  <a:pt x="3177" y="2658"/>
                </a:lnTo>
                <a:lnTo>
                  <a:pt x="3179" y="2654"/>
                </a:lnTo>
                <a:lnTo>
                  <a:pt x="3177" y="2654"/>
                </a:lnTo>
                <a:close/>
                <a:moveTo>
                  <a:pt x="3176" y="2654"/>
                </a:moveTo>
                <a:lnTo>
                  <a:pt x="3177" y="2654"/>
                </a:lnTo>
                <a:lnTo>
                  <a:pt x="3177" y="2656"/>
                </a:lnTo>
                <a:lnTo>
                  <a:pt x="3176" y="2656"/>
                </a:lnTo>
                <a:lnTo>
                  <a:pt x="3176" y="2654"/>
                </a:lnTo>
                <a:close/>
                <a:moveTo>
                  <a:pt x="3145" y="2702"/>
                </a:moveTo>
                <a:lnTo>
                  <a:pt x="3147" y="2702"/>
                </a:lnTo>
                <a:lnTo>
                  <a:pt x="3149" y="2702"/>
                </a:lnTo>
                <a:lnTo>
                  <a:pt x="3147" y="2703"/>
                </a:lnTo>
                <a:lnTo>
                  <a:pt x="3145" y="2702"/>
                </a:lnTo>
                <a:close/>
                <a:moveTo>
                  <a:pt x="2010" y="233"/>
                </a:moveTo>
                <a:lnTo>
                  <a:pt x="2010" y="232"/>
                </a:lnTo>
                <a:lnTo>
                  <a:pt x="2013" y="228"/>
                </a:lnTo>
                <a:lnTo>
                  <a:pt x="2016" y="230"/>
                </a:lnTo>
                <a:lnTo>
                  <a:pt x="2016" y="228"/>
                </a:lnTo>
                <a:lnTo>
                  <a:pt x="2020" y="227"/>
                </a:lnTo>
                <a:lnTo>
                  <a:pt x="2022" y="227"/>
                </a:lnTo>
                <a:lnTo>
                  <a:pt x="2023" y="228"/>
                </a:lnTo>
                <a:lnTo>
                  <a:pt x="2023" y="227"/>
                </a:lnTo>
                <a:lnTo>
                  <a:pt x="2025" y="227"/>
                </a:lnTo>
                <a:lnTo>
                  <a:pt x="2028" y="227"/>
                </a:lnTo>
                <a:lnTo>
                  <a:pt x="2030" y="228"/>
                </a:lnTo>
                <a:lnTo>
                  <a:pt x="2032" y="230"/>
                </a:lnTo>
                <a:lnTo>
                  <a:pt x="2033" y="230"/>
                </a:lnTo>
                <a:lnTo>
                  <a:pt x="2035" y="230"/>
                </a:lnTo>
                <a:lnTo>
                  <a:pt x="2037" y="232"/>
                </a:lnTo>
                <a:lnTo>
                  <a:pt x="2039" y="232"/>
                </a:lnTo>
                <a:lnTo>
                  <a:pt x="2042" y="232"/>
                </a:lnTo>
                <a:lnTo>
                  <a:pt x="2042" y="235"/>
                </a:lnTo>
                <a:lnTo>
                  <a:pt x="2042" y="239"/>
                </a:lnTo>
                <a:lnTo>
                  <a:pt x="2045" y="242"/>
                </a:lnTo>
                <a:lnTo>
                  <a:pt x="2047" y="244"/>
                </a:lnTo>
                <a:lnTo>
                  <a:pt x="2049" y="244"/>
                </a:lnTo>
                <a:lnTo>
                  <a:pt x="2049" y="245"/>
                </a:lnTo>
                <a:lnTo>
                  <a:pt x="2050" y="250"/>
                </a:lnTo>
                <a:lnTo>
                  <a:pt x="2050" y="252"/>
                </a:lnTo>
                <a:lnTo>
                  <a:pt x="2052" y="256"/>
                </a:lnTo>
                <a:lnTo>
                  <a:pt x="2052" y="257"/>
                </a:lnTo>
                <a:lnTo>
                  <a:pt x="2052" y="259"/>
                </a:lnTo>
                <a:lnTo>
                  <a:pt x="2054" y="264"/>
                </a:lnTo>
                <a:lnTo>
                  <a:pt x="2054" y="266"/>
                </a:lnTo>
                <a:lnTo>
                  <a:pt x="2057" y="266"/>
                </a:lnTo>
                <a:lnTo>
                  <a:pt x="2057" y="268"/>
                </a:lnTo>
                <a:lnTo>
                  <a:pt x="2056" y="269"/>
                </a:lnTo>
                <a:lnTo>
                  <a:pt x="2054" y="273"/>
                </a:lnTo>
                <a:lnTo>
                  <a:pt x="2054" y="276"/>
                </a:lnTo>
                <a:lnTo>
                  <a:pt x="2054" y="278"/>
                </a:lnTo>
                <a:lnTo>
                  <a:pt x="2054" y="279"/>
                </a:lnTo>
                <a:lnTo>
                  <a:pt x="2052" y="283"/>
                </a:lnTo>
                <a:lnTo>
                  <a:pt x="2052" y="285"/>
                </a:lnTo>
                <a:lnTo>
                  <a:pt x="2052" y="288"/>
                </a:lnTo>
                <a:lnTo>
                  <a:pt x="2052" y="293"/>
                </a:lnTo>
                <a:lnTo>
                  <a:pt x="2052" y="295"/>
                </a:lnTo>
                <a:lnTo>
                  <a:pt x="2050" y="295"/>
                </a:lnTo>
                <a:lnTo>
                  <a:pt x="2050" y="298"/>
                </a:lnTo>
                <a:lnTo>
                  <a:pt x="2049" y="300"/>
                </a:lnTo>
                <a:lnTo>
                  <a:pt x="2049" y="302"/>
                </a:lnTo>
                <a:lnTo>
                  <a:pt x="2049" y="303"/>
                </a:lnTo>
                <a:lnTo>
                  <a:pt x="2049" y="305"/>
                </a:lnTo>
                <a:lnTo>
                  <a:pt x="2047" y="308"/>
                </a:lnTo>
                <a:lnTo>
                  <a:pt x="2045" y="308"/>
                </a:lnTo>
                <a:lnTo>
                  <a:pt x="2047" y="310"/>
                </a:lnTo>
                <a:lnTo>
                  <a:pt x="2045" y="312"/>
                </a:lnTo>
                <a:lnTo>
                  <a:pt x="2047" y="313"/>
                </a:lnTo>
                <a:lnTo>
                  <a:pt x="2044" y="317"/>
                </a:lnTo>
                <a:lnTo>
                  <a:pt x="2044" y="319"/>
                </a:lnTo>
                <a:lnTo>
                  <a:pt x="2044" y="320"/>
                </a:lnTo>
                <a:lnTo>
                  <a:pt x="2042" y="322"/>
                </a:lnTo>
                <a:lnTo>
                  <a:pt x="2042" y="324"/>
                </a:lnTo>
                <a:lnTo>
                  <a:pt x="2042" y="325"/>
                </a:lnTo>
                <a:lnTo>
                  <a:pt x="2040" y="327"/>
                </a:lnTo>
                <a:lnTo>
                  <a:pt x="2040" y="329"/>
                </a:lnTo>
                <a:lnTo>
                  <a:pt x="2040" y="332"/>
                </a:lnTo>
                <a:lnTo>
                  <a:pt x="2040" y="334"/>
                </a:lnTo>
                <a:lnTo>
                  <a:pt x="2039" y="337"/>
                </a:lnTo>
                <a:lnTo>
                  <a:pt x="2037" y="339"/>
                </a:lnTo>
                <a:lnTo>
                  <a:pt x="2039" y="339"/>
                </a:lnTo>
                <a:lnTo>
                  <a:pt x="2037" y="342"/>
                </a:lnTo>
                <a:lnTo>
                  <a:pt x="2037" y="344"/>
                </a:lnTo>
                <a:lnTo>
                  <a:pt x="2033" y="347"/>
                </a:lnTo>
                <a:lnTo>
                  <a:pt x="2033" y="349"/>
                </a:lnTo>
                <a:lnTo>
                  <a:pt x="2032" y="353"/>
                </a:lnTo>
                <a:lnTo>
                  <a:pt x="2030" y="354"/>
                </a:lnTo>
                <a:lnTo>
                  <a:pt x="2032" y="356"/>
                </a:lnTo>
                <a:lnTo>
                  <a:pt x="2030" y="358"/>
                </a:lnTo>
                <a:lnTo>
                  <a:pt x="2030" y="359"/>
                </a:lnTo>
                <a:lnTo>
                  <a:pt x="2030" y="361"/>
                </a:lnTo>
                <a:lnTo>
                  <a:pt x="2030" y="363"/>
                </a:lnTo>
                <a:lnTo>
                  <a:pt x="2028" y="361"/>
                </a:lnTo>
                <a:lnTo>
                  <a:pt x="2027" y="361"/>
                </a:lnTo>
                <a:lnTo>
                  <a:pt x="2027" y="359"/>
                </a:lnTo>
                <a:lnTo>
                  <a:pt x="2025" y="359"/>
                </a:lnTo>
                <a:lnTo>
                  <a:pt x="2025" y="361"/>
                </a:lnTo>
                <a:lnTo>
                  <a:pt x="2027" y="364"/>
                </a:lnTo>
                <a:lnTo>
                  <a:pt x="2027" y="366"/>
                </a:lnTo>
                <a:lnTo>
                  <a:pt x="2025" y="370"/>
                </a:lnTo>
                <a:lnTo>
                  <a:pt x="2027" y="370"/>
                </a:lnTo>
                <a:lnTo>
                  <a:pt x="2025" y="371"/>
                </a:lnTo>
                <a:lnTo>
                  <a:pt x="2025" y="373"/>
                </a:lnTo>
                <a:lnTo>
                  <a:pt x="2022" y="373"/>
                </a:lnTo>
                <a:lnTo>
                  <a:pt x="2023" y="376"/>
                </a:lnTo>
                <a:lnTo>
                  <a:pt x="2023" y="378"/>
                </a:lnTo>
                <a:lnTo>
                  <a:pt x="2023" y="380"/>
                </a:lnTo>
                <a:lnTo>
                  <a:pt x="2023" y="381"/>
                </a:lnTo>
                <a:lnTo>
                  <a:pt x="2022" y="383"/>
                </a:lnTo>
                <a:lnTo>
                  <a:pt x="2022" y="385"/>
                </a:lnTo>
                <a:lnTo>
                  <a:pt x="2020" y="387"/>
                </a:lnTo>
                <a:lnTo>
                  <a:pt x="2020" y="388"/>
                </a:lnTo>
                <a:lnTo>
                  <a:pt x="2020" y="392"/>
                </a:lnTo>
                <a:lnTo>
                  <a:pt x="2020" y="393"/>
                </a:lnTo>
                <a:lnTo>
                  <a:pt x="2018" y="393"/>
                </a:lnTo>
                <a:lnTo>
                  <a:pt x="2016" y="393"/>
                </a:lnTo>
                <a:lnTo>
                  <a:pt x="2015" y="397"/>
                </a:lnTo>
                <a:lnTo>
                  <a:pt x="2015" y="398"/>
                </a:lnTo>
                <a:lnTo>
                  <a:pt x="2016" y="400"/>
                </a:lnTo>
                <a:lnTo>
                  <a:pt x="2016" y="404"/>
                </a:lnTo>
                <a:lnTo>
                  <a:pt x="2018" y="405"/>
                </a:lnTo>
                <a:lnTo>
                  <a:pt x="2016" y="404"/>
                </a:lnTo>
                <a:lnTo>
                  <a:pt x="2015" y="404"/>
                </a:lnTo>
                <a:lnTo>
                  <a:pt x="2015" y="405"/>
                </a:lnTo>
                <a:lnTo>
                  <a:pt x="2016" y="407"/>
                </a:lnTo>
                <a:lnTo>
                  <a:pt x="2018" y="409"/>
                </a:lnTo>
                <a:lnTo>
                  <a:pt x="2018" y="410"/>
                </a:lnTo>
                <a:lnTo>
                  <a:pt x="2018" y="412"/>
                </a:lnTo>
                <a:lnTo>
                  <a:pt x="2018" y="415"/>
                </a:lnTo>
                <a:lnTo>
                  <a:pt x="2018" y="417"/>
                </a:lnTo>
                <a:lnTo>
                  <a:pt x="2016" y="415"/>
                </a:lnTo>
                <a:lnTo>
                  <a:pt x="2015" y="414"/>
                </a:lnTo>
                <a:lnTo>
                  <a:pt x="2015" y="412"/>
                </a:lnTo>
                <a:lnTo>
                  <a:pt x="2013" y="414"/>
                </a:lnTo>
                <a:lnTo>
                  <a:pt x="2013" y="415"/>
                </a:lnTo>
                <a:lnTo>
                  <a:pt x="2013" y="419"/>
                </a:lnTo>
                <a:lnTo>
                  <a:pt x="2015" y="421"/>
                </a:lnTo>
                <a:lnTo>
                  <a:pt x="2015" y="422"/>
                </a:lnTo>
                <a:lnTo>
                  <a:pt x="2015" y="424"/>
                </a:lnTo>
                <a:lnTo>
                  <a:pt x="2013" y="426"/>
                </a:lnTo>
                <a:lnTo>
                  <a:pt x="2015" y="426"/>
                </a:lnTo>
                <a:lnTo>
                  <a:pt x="2013" y="429"/>
                </a:lnTo>
                <a:lnTo>
                  <a:pt x="2015" y="431"/>
                </a:lnTo>
                <a:lnTo>
                  <a:pt x="2015" y="433"/>
                </a:lnTo>
                <a:lnTo>
                  <a:pt x="2016" y="433"/>
                </a:lnTo>
                <a:lnTo>
                  <a:pt x="2016" y="434"/>
                </a:lnTo>
                <a:lnTo>
                  <a:pt x="2018" y="438"/>
                </a:lnTo>
                <a:lnTo>
                  <a:pt x="2016" y="438"/>
                </a:lnTo>
                <a:lnTo>
                  <a:pt x="2013" y="436"/>
                </a:lnTo>
                <a:lnTo>
                  <a:pt x="2011" y="434"/>
                </a:lnTo>
                <a:lnTo>
                  <a:pt x="2011" y="438"/>
                </a:lnTo>
                <a:lnTo>
                  <a:pt x="2011" y="439"/>
                </a:lnTo>
                <a:lnTo>
                  <a:pt x="2013" y="443"/>
                </a:lnTo>
                <a:lnTo>
                  <a:pt x="2013" y="446"/>
                </a:lnTo>
                <a:lnTo>
                  <a:pt x="2011" y="446"/>
                </a:lnTo>
                <a:lnTo>
                  <a:pt x="2010" y="444"/>
                </a:lnTo>
                <a:lnTo>
                  <a:pt x="2011" y="448"/>
                </a:lnTo>
                <a:lnTo>
                  <a:pt x="2010" y="448"/>
                </a:lnTo>
                <a:lnTo>
                  <a:pt x="2011" y="450"/>
                </a:lnTo>
                <a:lnTo>
                  <a:pt x="2013" y="448"/>
                </a:lnTo>
                <a:lnTo>
                  <a:pt x="2018" y="443"/>
                </a:lnTo>
                <a:lnTo>
                  <a:pt x="2022" y="444"/>
                </a:lnTo>
                <a:lnTo>
                  <a:pt x="2023" y="450"/>
                </a:lnTo>
                <a:lnTo>
                  <a:pt x="2018" y="455"/>
                </a:lnTo>
                <a:lnTo>
                  <a:pt x="2020" y="456"/>
                </a:lnTo>
                <a:lnTo>
                  <a:pt x="2022" y="456"/>
                </a:lnTo>
                <a:lnTo>
                  <a:pt x="2023" y="456"/>
                </a:lnTo>
                <a:lnTo>
                  <a:pt x="2025" y="460"/>
                </a:lnTo>
                <a:lnTo>
                  <a:pt x="2023" y="461"/>
                </a:lnTo>
                <a:lnTo>
                  <a:pt x="2023" y="463"/>
                </a:lnTo>
                <a:lnTo>
                  <a:pt x="2022" y="465"/>
                </a:lnTo>
                <a:lnTo>
                  <a:pt x="2020" y="467"/>
                </a:lnTo>
                <a:lnTo>
                  <a:pt x="2016" y="467"/>
                </a:lnTo>
                <a:lnTo>
                  <a:pt x="2015" y="468"/>
                </a:lnTo>
                <a:lnTo>
                  <a:pt x="2013" y="467"/>
                </a:lnTo>
                <a:lnTo>
                  <a:pt x="2010" y="467"/>
                </a:lnTo>
                <a:lnTo>
                  <a:pt x="2011" y="468"/>
                </a:lnTo>
                <a:lnTo>
                  <a:pt x="2013" y="468"/>
                </a:lnTo>
                <a:lnTo>
                  <a:pt x="2015" y="470"/>
                </a:lnTo>
                <a:lnTo>
                  <a:pt x="2016" y="468"/>
                </a:lnTo>
                <a:lnTo>
                  <a:pt x="2020" y="470"/>
                </a:lnTo>
                <a:lnTo>
                  <a:pt x="2022" y="470"/>
                </a:lnTo>
                <a:lnTo>
                  <a:pt x="2023" y="472"/>
                </a:lnTo>
                <a:lnTo>
                  <a:pt x="2025" y="473"/>
                </a:lnTo>
                <a:lnTo>
                  <a:pt x="2025" y="477"/>
                </a:lnTo>
                <a:lnTo>
                  <a:pt x="2022" y="478"/>
                </a:lnTo>
                <a:lnTo>
                  <a:pt x="2020" y="477"/>
                </a:lnTo>
                <a:lnTo>
                  <a:pt x="2018" y="478"/>
                </a:lnTo>
                <a:lnTo>
                  <a:pt x="2015" y="477"/>
                </a:lnTo>
                <a:lnTo>
                  <a:pt x="2013" y="477"/>
                </a:lnTo>
                <a:lnTo>
                  <a:pt x="2013" y="475"/>
                </a:lnTo>
                <a:lnTo>
                  <a:pt x="2010" y="477"/>
                </a:lnTo>
                <a:lnTo>
                  <a:pt x="2006" y="475"/>
                </a:lnTo>
                <a:lnTo>
                  <a:pt x="2006" y="477"/>
                </a:lnTo>
                <a:lnTo>
                  <a:pt x="2008" y="477"/>
                </a:lnTo>
                <a:lnTo>
                  <a:pt x="2010" y="478"/>
                </a:lnTo>
                <a:lnTo>
                  <a:pt x="2011" y="478"/>
                </a:lnTo>
                <a:lnTo>
                  <a:pt x="2013" y="480"/>
                </a:lnTo>
                <a:lnTo>
                  <a:pt x="2015" y="480"/>
                </a:lnTo>
                <a:lnTo>
                  <a:pt x="2013" y="480"/>
                </a:lnTo>
                <a:lnTo>
                  <a:pt x="2013" y="482"/>
                </a:lnTo>
                <a:lnTo>
                  <a:pt x="2015" y="484"/>
                </a:lnTo>
                <a:lnTo>
                  <a:pt x="2015" y="485"/>
                </a:lnTo>
                <a:lnTo>
                  <a:pt x="2016" y="487"/>
                </a:lnTo>
                <a:lnTo>
                  <a:pt x="2016" y="489"/>
                </a:lnTo>
                <a:lnTo>
                  <a:pt x="2018" y="489"/>
                </a:lnTo>
                <a:lnTo>
                  <a:pt x="2018" y="492"/>
                </a:lnTo>
                <a:lnTo>
                  <a:pt x="2022" y="494"/>
                </a:lnTo>
                <a:lnTo>
                  <a:pt x="2020" y="494"/>
                </a:lnTo>
                <a:lnTo>
                  <a:pt x="2018" y="495"/>
                </a:lnTo>
                <a:lnTo>
                  <a:pt x="2016" y="495"/>
                </a:lnTo>
                <a:lnTo>
                  <a:pt x="2013" y="495"/>
                </a:lnTo>
                <a:lnTo>
                  <a:pt x="2011" y="495"/>
                </a:lnTo>
                <a:lnTo>
                  <a:pt x="2010" y="495"/>
                </a:lnTo>
                <a:lnTo>
                  <a:pt x="2008" y="495"/>
                </a:lnTo>
                <a:lnTo>
                  <a:pt x="2005" y="495"/>
                </a:lnTo>
                <a:lnTo>
                  <a:pt x="2005" y="497"/>
                </a:lnTo>
                <a:lnTo>
                  <a:pt x="2001" y="495"/>
                </a:lnTo>
                <a:lnTo>
                  <a:pt x="2001" y="499"/>
                </a:lnTo>
                <a:lnTo>
                  <a:pt x="2005" y="499"/>
                </a:lnTo>
                <a:lnTo>
                  <a:pt x="2006" y="499"/>
                </a:lnTo>
                <a:lnTo>
                  <a:pt x="2008" y="497"/>
                </a:lnTo>
                <a:lnTo>
                  <a:pt x="2008" y="499"/>
                </a:lnTo>
                <a:lnTo>
                  <a:pt x="2011" y="499"/>
                </a:lnTo>
                <a:lnTo>
                  <a:pt x="2013" y="501"/>
                </a:lnTo>
                <a:lnTo>
                  <a:pt x="2015" y="501"/>
                </a:lnTo>
                <a:lnTo>
                  <a:pt x="2015" y="504"/>
                </a:lnTo>
                <a:lnTo>
                  <a:pt x="2018" y="504"/>
                </a:lnTo>
                <a:lnTo>
                  <a:pt x="2018" y="506"/>
                </a:lnTo>
                <a:lnTo>
                  <a:pt x="2020" y="506"/>
                </a:lnTo>
                <a:lnTo>
                  <a:pt x="2020" y="507"/>
                </a:lnTo>
                <a:lnTo>
                  <a:pt x="2022" y="509"/>
                </a:lnTo>
                <a:lnTo>
                  <a:pt x="2023" y="509"/>
                </a:lnTo>
                <a:lnTo>
                  <a:pt x="2022" y="511"/>
                </a:lnTo>
                <a:lnTo>
                  <a:pt x="2025" y="511"/>
                </a:lnTo>
                <a:lnTo>
                  <a:pt x="2023" y="512"/>
                </a:lnTo>
                <a:lnTo>
                  <a:pt x="2022" y="512"/>
                </a:lnTo>
                <a:lnTo>
                  <a:pt x="2023" y="514"/>
                </a:lnTo>
                <a:lnTo>
                  <a:pt x="2023" y="512"/>
                </a:lnTo>
                <a:lnTo>
                  <a:pt x="2025" y="514"/>
                </a:lnTo>
                <a:lnTo>
                  <a:pt x="2022" y="516"/>
                </a:lnTo>
                <a:lnTo>
                  <a:pt x="2023" y="516"/>
                </a:lnTo>
                <a:lnTo>
                  <a:pt x="2025" y="518"/>
                </a:lnTo>
                <a:lnTo>
                  <a:pt x="2023" y="518"/>
                </a:lnTo>
                <a:lnTo>
                  <a:pt x="2022" y="518"/>
                </a:lnTo>
                <a:lnTo>
                  <a:pt x="2022" y="519"/>
                </a:lnTo>
                <a:lnTo>
                  <a:pt x="2020" y="521"/>
                </a:lnTo>
                <a:lnTo>
                  <a:pt x="2023" y="521"/>
                </a:lnTo>
                <a:lnTo>
                  <a:pt x="2027" y="519"/>
                </a:lnTo>
                <a:lnTo>
                  <a:pt x="2027" y="521"/>
                </a:lnTo>
                <a:lnTo>
                  <a:pt x="2025" y="521"/>
                </a:lnTo>
                <a:lnTo>
                  <a:pt x="2023" y="521"/>
                </a:lnTo>
                <a:lnTo>
                  <a:pt x="2023" y="523"/>
                </a:lnTo>
                <a:lnTo>
                  <a:pt x="2025" y="524"/>
                </a:lnTo>
                <a:lnTo>
                  <a:pt x="2023" y="523"/>
                </a:lnTo>
                <a:lnTo>
                  <a:pt x="2022" y="523"/>
                </a:lnTo>
                <a:lnTo>
                  <a:pt x="2020" y="524"/>
                </a:lnTo>
                <a:lnTo>
                  <a:pt x="2018" y="524"/>
                </a:lnTo>
                <a:lnTo>
                  <a:pt x="2020" y="524"/>
                </a:lnTo>
                <a:lnTo>
                  <a:pt x="2022" y="526"/>
                </a:lnTo>
                <a:lnTo>
                  <a:pt x="2023" y="526"/>
                </a:lnTo>
                <a:lnTo>
                  <a:pt x="2025" y="528"/>
                </a:lnTo>
                <a:lnTo>
                  <a:pt x="2027" y="529"/>
                </a:lnTo>
                <a:lnTo>
                  <a:pt x="2028" y="529"/>
                </a:lnTo>
                <a:lnTo>
                  <a:pt x="2027" y="531"/>
                </a:lnTo>
                <a:lnTo>
                  <a:pt x="2027" y="533"/>
                </a:lnTo>
                <a:lnTo>
                  <a:pt x="2025" y="533"/>
                </a:lnTo>
                <a:lnTo>
                  <a:pt x="2022" y="535"/>
                </a:lnTo>
                <a:lnTo>
                  <a:pt x="2020" y="535"/>
                </a:lnTo>
                <a:lnTo>
                  <a:pt x="2018" y="535"/>
                </a:lnTo>
                <a:lnTo>
                  <a:pt x="2016" y="535"/>
                </a:lnTo>
                <a:lnTo>
                  <a:pt x="2013" y="533"/>
                </a:lnTo>
                <a:lnTo>
                  <a:pt x="2013" y="531"/>
                </a:lnTo>
                <a:lnTo>
                  <a:pt x="2010" y="531"/>
                </a:lnTo>
                <a:lnTo>
                  <a:pt x="2008" y="529"/>
                </a:lnTo>
                <a:lnTo>
                  <a:pt x="2006" y="529"/>
                </a:lnTo>
                <a:lnTo>
                  <a:pt x="2011" y="535"/>
                </a:lnTo>
                <a:lnTo>
                  <a:pt x="2011" y="536"/>
                </a:lnTo>
                <a:lnTo>
                  <a:pt x="2008" y="538"/>
                </a:lnTo>
                <a:lnTo>
                  <a:pt x="2006" y="540"/>
                </a:lnTo>
                <a:lnTo>
                  <a:pt x="2008" y="540"/>
                </a:lnTo>
                <a:lnTo>
                  <a:pt x="2010" y="538"/>
                </a:lnTo>
                <a:lnTo>
                  <a:pt x="2013" y="536"/>
                </a:lnTo>
                <a:lnTo>
                  <a:pt x="2016" y="538"/>
                </a:lnTo>
                <a:lnTo>
                  <a:pt x="2018" y="538"/>
                </a:lnTo>
                <a:lnTo>
                  <a:pt x="2020" y="540"/>
                </a:lnTo>
                <a:lnTo>
                  <a:pt x="2022" y="540"/>
                </a:lnTo>
                <a:lnTo>
                  <a:pt x="2023" y="540"/>
                </a:lnTo>
                <a:lnTo>
                  <a:pt x="2027" y="541"/>
                </a:lnTo>
                <a:lnTo>
                  <a:pt x="2025" y="541"/>
                </a:lnTo>
                <a:lnTo>
                  <a:pt x="2025" y="545"/>
                </a:lnTo>
                <a:lnTo>
                  <a:pt x="2028" y="543"/>
                </a:lnTo>
                <a:lnTo>
                  <a:pt x="2028" y="545"/>
                </a:lnTo>
                <a:lnTo>
                  <a:pt x="2032" y="548"/>
                </a:lnTo>
                <a:lnTo>
                  <a:pt x="2033" y="552"/>
                </a:lnTo>
                <a:lnTo>
                  <a:pt x="2032" y="555"/>
                </a:lnTo>
                <a:lnTo>
                  <a:pt x="2028" y="553"/>
                </a:lnTo>
                <a:lnTo>
                  <a:pt x="2027" y="553"/>
                </a:lnTo>
                <a:lnTo>
                  <a:pt x="2025" y="552"/>
                </a:lnTo>
                <a:lnTo>
                  <a:pt x="2023" y="552"/>
                </a:lnTo>
                <a:lnTo>
                  <a:pt x="2022" y="552"/>
                </a:lnTo>
                <a:lnTo>
                  <a:pt x="2020" y="553"/>
                </a:lnTo>
                <a:lnTo>
                  <a:pt x="2022" y="555"/>
                </a:lnTo>
                <a:lnTo>
                  <a:pt x="2023" y="555"/>
                </a:lnTo>
                <a:lnTo>
                  <a:pt x="2025" y="555"/>
                </a:lnTo>
                <a:lnTo>
                  <a:pt x="2027" y="555"/>
                </a:lnTo>
                <a:lnTo>
                  <a:pt x="2028" y="557"/>
                </a:lnTo>
                <a:lnTo>
                  <a:pt x="2030" y="558"/>
                </a:lnTo>
                <a:lnTo>
                  <a:pt x="2035" y="562"/>
                </a:lnTo>
                <a:lnTo>
                  <a:pt x="2035" y="563"/>
                </a:lnTo>
                <a:lnTo>
                  <a:pt x="2035" y="565"/>
                </a:lnTo>
                <a:lnTo>
                  <a:pt x="2033" y="569"/>
                </a:lnTo>
                <a:lnTo>
                  <a:pt x="2033" y="570"/>
                </a:lnTo>
                <a:lnTo>
                  <a:pt x="2030" y="572"/>
                </a:lnTo>
                <a:lnTo>
                  <a:pt x="2028" y="572"/>
                </a:lnTo>
                <a:lnTo>
                  <a:pt x="2027" y="572"/>
                </a:lnTo>
                <a:lnTo>
                  <a:pt x="2025" y="574"/>
                </a:lnTo>
                <a:lnTo>
                  <a:pt x="2027" y="574"/>
                </a:lnTo>
                <a:lnTo>
                  <a:pt x="2030" y="574"/>
                </a:lnTo>
                <a:lnTo>
                  <a:pt x="2032" y="574"/>
                </a:lnTo>
                <a:lnTo>
                  <a:pt x="2035" y="575"/>
                </a:lnTo>
                <a:lnTo>
                  <a:pt x="2037" y="577"/>
                </a:lnTo>
                <a:lnTo>
                  <a:pt x="2035" y="579"/>
                </a:lnTo>
                <a:lnTo>
                  <a:pt x="2037" y="582"/>
                </a:lnTo>
                <a:lnTo>
                  <a:pt x="2037" y="586"/>
                </a:lnTo>
                <a:lnTo>
                  <a:pt x="2039" y="587"/>
                </a:lnTo>
                <a:lnTo>
                  <a:pt x="2037" y="589"/>
                </a:lnTo>
                <a:lnTo>
                  <a:pt x="2039" y="591"/>
                </a:lnTo>
                <a:lnTo>
                  <a:pt x="2035" y="591"/>
                </a:lnTo>
                <a:lnTo>
                  <a:pt x="2035" y="592"/>
                </a:lnTo>
                <a:lnTo>
                  <a:pt x="2037" y="594"/>
                </a:lnTo>
                <a:lnTo>
                  <a:pt x="2037" y="596"/>
                </a:lnTo>
                <a:lnTo>
                  <a:pt x="2039" y="596"/>
                </a:lnTo>
                <a:lnTo>
                  <a:pt x="2037" y="598"/>
                </a:lnTo>
                <a:lnTo>
                  <a:pt x="2035" y="598"/>
                </a:lnTo>
                <a:lnTo>
                  <a:pt x="2033" y="599"/>
                </a:lnTo>
                <a:lnTo>
                  <a:pt x="2032" y="599"/>
                </a:lnTo>
                <a:lnTo>
                  <a:pt x="2030" y="599"/>
                </a:lnTo>
                <a:lnTo>
                  <a:pt x="2028" y="601"/>
                </a:lnTo>
                <a:lnTo>
                  <a:pt x="2027" y="603"/>
                </a:lnTo>
                <a:lnTo>
                  <a:pt x="2023" y="603"/>
                </a:lnTo>
                <a:lnTo>
                  <a:pt x="2020" y="603"/>
                </a:lnTo>
                <a:lnTo>
                  <a:pt x="2022" y="603"/>
                </a:lnTo>
                <a:lnTo>
                  <a:pt x="2022" y="604"/>
                </a:lnTo>
                <a:lnTo>
                  <a:pt x="2023" y="606"/>
                </a:lnTo>
                <a:lnTo>
                  <a:pt x="2027" y="604"/>
                </a:lnTo>
                <a:lnTo>
                  <a:pt x="2028" y="603"/>
                </a:lnTo>
                <a:lnTo>
                  <a:pt x="2032" y="603"/>
                </a:lnTo>
                <a:lnTo>
                  <a:pt x="2033" y="601"/>
                </a:lnTo>
                <a:lnTo>
                  <a:pt x="2035" y="603"/>
                </a:lnTo>
                <a:lnTo>
                  <a:pt x="2039" y="604"/>
                </a:lnTo>
                <a:lnTo>
                  <a:pt x="2040" y="606"/>
                </a:lnTo>
                <a:lnTo>
                  <a:pt x="2037" y="611"/>
                </a:lnTo>
                <a:lnTo>
                  <a:pt x="2037" y="613"/>
                </a:lnTo>
                <a:lnTo>
                  <a:pt x="2035" y="615"/>
                </a:lnTo>
                <a:lnTo>
                  <a:pt x="2033" y="615"/>
                </a:lnTo>
                <a:lnTo>
                  <a:pt x="2033" y="616"/>
                </a:lnTo>
                <a:lnTo>
                  <a:pt x="2035" y="616"/>
                </a:lnTo>
                <a:lnTo>
                  <a:pt x="2035" y="615"/>
                </a:lnTo>
                <a:lnTo>
                  <a:pt x="2039" y="615"/>
                </a:lnTo>
                <a:lnTo>
                  <a:pt x="2040" y="613"/>
                </a:lnTo>
                <a:lnTo>
                  <a:pt x="2042" y="613"/>
                </a:lnTo>
                <a:lnTo>
                  <a:pt x="2040" y="615"/>
                </a:lnTo>
                <a:lnTo>
                  <a:pt x="2040" y="618"/>
                </a:lnTo>
                <a:lnTo>
                  <a:pt x="2039" y="618"/>
                </a:lnTo>
                <a:lnTo>
                  <a:pt x="2039" y="620"/>
                </a:lnTo>
                <a:lnTo>
                  <a:pt x="2037" y="621"/>
                </a:lnTo>
                <a:lnTo>
                  <a:pt x="2035" y="623"/>
                </a:lnTo>
                <a:lnTo>
                  <a:pt x="2035" y="625"/>
                </a:lnTo>
                <a:lnTo>
                  <a:pt x="2035" y="626"/>
                </a:lnTo>
                <a:lnTo>
                  <a:pt x="2033" y="625"/>
                </a:lnTo>
                <a:lnTo>
                  <a:pt x="2033" y="626"/>
                </a:lnTo>
                <a:lnTo>
                  <a:pt x="2032" y="628"/>
                </a:lnTo>
                <a:lnTo>
                  <a:pt x="2030" y="630"/>
                </a:lnTo>
                <a:lnTo>
                  <a:pt x="2032" y="628"/>
                </a:lnTo>
                <a:lnTo>
                  <a:pt x="2033" y="628"/>
                </a:lnTo>
                <a:lnTo>
                  <a:pt x="2033" y="626"/>
                </a:lnTo>
                <a:lnTo>
                  <a:pt x="2037" y="626"/>
                </a:lnTo>
                <a:lnTo>
                  <a:pt x="2039" y="623"/>
                </a:lnTo>
                <a:lnTo>
                  <a:pt x="2040" y="620"/>
                </a:lnTo>
                <a:lnTo>
                  <a:pt x="2042" y="620"/>
                </a:lnTo>
                <a:lnTo>
                  <a:pt x="2042" y="623"/>
                </a:lnTo>
                <a:lnTo>
                  <a:pt x="2045" y="625"/>
                </a:lnTo>
                <a:lnTo>
                  <a:pt x="2045" y="626"/>
                </a:lnTo>
                <a:lnTo>
                  <a:pt x="2045" y="628"/>
                </a:lnTo>
                <a:lnTo>
                  <a:pt x="2045" y="630"/>
                </a:lnTo>
                <a:lnTo>
                  <a:pt x="2047" y="632"/>
                </a:lnTo>
                <a:lnTo>
                  <a:pt x="2045" y="633"/>
                </a:lnTo>
                <a:lnTo>
                  <a:pt x="2042" y="635"/>
                </a:lnTo>
                <a:lnTo>
                  <a:pt x="2042" y="638"/>
                </a:lnTo>
                <a:lnTo>
                  <a:pt x="2042" y="640"/>
                </a:lnTo>
                <a:lnTo>
                  <a:pt x="2044" y="638"/>
                </a:lnTo>
                <a:lnTo>
                  <a:pt x="2045" y="640"/>
                </a:lnTo>
                <a:lnTo>
                  <a:pt x="2047" y="640"/>
                </a:lnTo>
                <a:lnTo>
                  <a:pt x="2049" y="643"/>
                </a:lnTo>
                <a:lnTo>
                  <a:pt x="2047" y="643"/>
                </a:lnTo>
                <a:lnTo>
                  <a:pt x="2045" y="645"/>
                </a:lnTo>
                <a:lnTo>
                  <a:pt x="2045" y="647"/>
                </a:lnTo>
                <a:lnTo>
                  <a:pt x="2047" y="649"/>
                </a:lnTo>
                <a:lnTo>
                  <a:pt x="2047" y="650"/>
                </a:lnTo>
                <a:lnTo>
                  <a:pt x="2049" y="654"/>
                </a:lnTo>
                <a:lnTo>
                  <a:pt x="2049" y="655"/>
                </a:lnTo>
                <a:lnTo>
                  <a:pt x="2047" y="655"/>
                </a:lnTo>
                <a:lnTo>
                  <a:pt x="2045" y="657"/>
                </a:lnTo>
                <a:lnTo>
                  <a:pt x="2049" y="657"/>
                </a:lnTo>
                <a:lnTo>
                  <a:pt x="2050" y="659"/>
                </a:lnTo>
                <a:lnTo>
                  <a:pt x="2050" y="662"/>
                </a:lnTo>
                <a:lnTo>
                  <a:pt x="2052" y="664"/>
                </a:lnTo>
                <a:lnTo>
                  <a:pt x="2054" y="666"/>
                </a:lnTo>
                <a:lnTo>
                  <a:pt x="2056" y="669"/>
                </a:lnTo>
                <a:lnTo>
                  <a:pt x="2056" y="672"/>
                </a:lnTo>
                <a:lnTo>
                  <a:pt x="2059" y="672"/>
                </a:lnTo>
                <a:lnTo>
                  <a:pt x="2059" y="674"/>
                </a:lnTo>
                <a:lnTo>
                  <a:pt x="2061" y="674"/>
                </a:lnTo>
                <a:lnTo>
                  <a:pt x="2062" y="676"/>
                </a:lnTo>
                <a:lnTo>
                  <a:pt x="2064" y="676"/>
                </a:lnTo>
                <a:lnTo>
                  <a:pt x="2064" y="679"/>
                </a:lnTo>
                <a:lnTo>
                  <a:pt x="2064" y="681"/>
                </a:lnTo>
                <a:lnTo>
                  <a:pt x="2064" y="683"/>
                </a:lnTo>
                <a:lnTo>
                  <a:pt x="2066" y="684"/>
                </a:lnTo>
                <a:lnTo>
                  <a:pt x="2067" y="686"/>
                </a:lnTo>
                <a:lnTo>
                  <a:pt x="2067" y="688"/>
                </a:lnTo>
                <a:lnTo>
                  <a:pt x="2069" y="691"/>
                </a:lnTo>
                <a:lnTo>
                  <a:pt x="2069" y="693"/>
                </a:lnTo>
                <a:lnTo>
                  <a:pt x="2071" y="693"/>
                </a:lnTo>
                <a:lnTo>
                  <a:pt x="2073" y="694"/>
                </a:lnTo>
                <a:lnTo>
                  <a:pt x="2076" y="694"/>
                </a:lnTo>
                <a:lnTo>
                  <a:pt x="2078" y="696"/>
                </a:lnTo>
                <a:lnTo>
                  <a:pt x="2079" y="698"/>
                </a:lnTo>
                <a:lnTo>
                  <a:pt x="2081" y="701"/>
                </a:lnTo>
                <a:lnTo>
                  <a:pt x="2084" y="705"/>
                </a:lnTo>
                <a:lnTo>
                  <a:pt x="2086" y="705"/>
                </a:lnTo>
                <a:lnTo>
                  <a:pt x="2088" y="706"/>
                </a:lnTo>
                <a:lnTo>
                  <a:pt x="2090" y="706"/>
                </a:lnTo>
                <a:lnTo>
                  <a:pt x="2090" y="708"/>
                </a:lnTo>
                <a:lnTo>
                  <a:pt x="2093" y="710"/>
                </a:lnTo>
                <a:lnTo>
                  <a:pt x="2095" y="711"/>
                </a:lnTo>
                <a:lnTo>
                  <a:pt x="2096" y="711"/>
                </a:lnTo>
                <a:lnTo>
                  <a:pt x="2098" y="713"/>
                </a:lnTo>
                <a:lnTo>
                  <a:pt x="2101" y="715"/>
                </a:lnTo>
                <a:lnTo>
                  <a:pt x="2101" y="717"/>
                </a:lnTo>
                <a:lnTo>
                  <a:pt x="2105" y="717"/>
                </a:lnTo>
                <a:lnTo>
                  <a:pt x="2110" y="720"/>
                </a:lnTo>
                <a:lnTo>
                  <a:pt x="2112" y="722"/>
                </a:lnTo>
                <a:lnTo>
                  <a:pt x="2113" y="723"/>
                </a:lnTo>
                <a:lnTo>
                  <a:pt x="2115" y="723"/>
                </a:lnTo>
                <a:lnTo>
                  <a:pt x="2117" y="725"/>
                </a:lnTo>
                <a:lnTo>
                  <a:pt x="2118" y="725"/>
                </a:lnTo>
                <a:lnTo>
                  <a:pt x="2120" y="727"/>
                </a:lnTo>
                <a:lnTo>
                  <a:pt x="2124" y="727"/>
                </a:lnTo>
                <a:lnTo>
                  <a:pt x="2125" y="728"/>
                </a:lnTo>
                <a:lnTo>
                  <a:pt x="2127" y="728"/>
                </a:lnTo>
                <a:lnTo>
                  <a:pt x="2132" y="728"/>
                </a:lnTo>
                <a:lnTo>
                  <a:pt x="2135" y="730"/>
                </a:lnTo>
                <a:lnTo>
                  <a:pt x="2135" y="732"/>
                </a:lnTo>
                <a:lnTo>
                  <a:pt x="2139" y="732"/>
                </a:lnTo>
                <a:lnTo>
                  <a:pt x="2141" y="732"/>
                </a:lnTo>
                <a:lnTo>
                  <a:pt x="2142" y="732"/>
                </a:lnTo>
                <a:lnTo>
                  <a:pt x="2146" y="732"/>
                </a:lnTo>
                <a:lnTo>
                  <a:pt x="2147" y="734"/>
                </a:lnTo>
                <a:lnTo>
                  <a:pt x="2151" y="735"/>
                </a:lnTo>
                <a:lnTo>
                  <a:pt x="2152" y="734"/>
                </a:lnTo>
                <a:lnTo>
                  <a:pt x="2154" y="734"/>
                </a:lnTo>
                <a:lnTo>
                  <a:pt x="2156" y="734"/>
                </a:lnTo>
                <a:lnTo>
                  <a:pt x="2159" y="734"/>
                </a:lnTo>
                <a:lnTo>
                  <a:pt x="2161" y="732"/>
                </a:lnTo>
                <a:lnTo>
                  <a:pt x="2163" y="734"/>
                </a:lnTo>
                <a:lnTo>
                  <a:pt x="2166" y="734"/>
                </a:lnTo>
                <a:lnTo>
                  <a:pt x="2168" y="734"/>
                </a:lnTo>
                <a:lnTo>
                  <a:pt x="2169" y="735"/>
                </a:lnTo>
                <a:lnTo>
                  <a:pt x="2168" y="735"/>
                </a:lnTo>
                <a:lnTo>
                  <a:pt x="2168" y="739"/>
                </a:lnTo>
                <a:lnTo>
                  <a:pt x="2168" y="740"/>
                </a:lnTo>
                <a:lnTo>
                  <a:pt x="2169" y="740"/>
                </a:lnTo>
                <a:lnTo>
                  <a:pt x="2169" y="742"/>
                </a:lnTo>
                <a:lnTo>
                  <a:pt x="2169" y="744"/>
                </a:lnTo>
                <a:lnTo>
                  <a:pt x="2171" y="746"/>
                </a:lnTo>
                <a:lnTo>
                  <a:pt x="2169" y="746"/>
                </a:lnTo>
                <a:lnTo>
                  <a:pt x="2168" y="746"/>
                </a:lnTo>
                <a:lnTo>
                  <a:pt x="2166" y="746"/>
                </a:lnTo>
                <a:lnTo>
                  <a:pt x="2164" y="746"/>
                </a:lnTo>
                <a:lnTo>
                  <a:pt x="2163" y="746"/>
                </a:lnTo>
                <a:lnTo>
                  <a:pt x="2161" y="746"/>
                </a:lnTo>
                <a:lnTo>
                  <a:pt x="2159" y="747"/>
                </a:lnTo>
                <a:lnTo>
                  <a:pt x="2159" y="749"/>
                </a:lnTo>
                <a:lnTo>
                  <a:pt x="2158" y="751"/>
                </a:lnTo>
                <a:lnTo>
                  <a:pt x="2154" y="749"/>
                </a:lnTo>
                <a:lnTo>
                  <a:pt x="2154" y="751"/>
                </a:lnTo>
                <a:lnTo>
                  <a:pt x="2158" y="751"/>
                </a:lnTo>
                <a:lnTo>
                  <a:pt x="2159" y="751"/>
                </a:lnTo>
                <a:lnTo>
                  <a:pt x="2163" y="749"/>
                </a:lnTo>
                <a:lnTo>
                  <a:pt x="2164" y="747"/>
                </a:lnTo>
                <a:lnTo>
                  <a:pt x="2168" y="749"/>
                </a:lnTo>
                <a:lnTo>
                  <a:pt x="2169" y="747"/>
                </a:lnTo>
                <a:lnTo>
                  <a:pt x="2169" y="749"/>
                </a:lnTo>
                <a:lnTo>
                  <a:pt x="2168" y="749"/>
                </a:lnTo>
                <a:lnTo>
                  <a:pt x="2166" y="751"/>
                </a:lnTo>
                <a:lnTo>
                  <a:pt x="2163" y="752"/>
                </a:lnTo>
                <a:lnTo>
                  <a:pt x="2161" y="751"/>
                </a:lnTo>
                <a:lnTo>
                  <a:pt x="2163" y="752"/>
                </a:lnTo>
                <a:lnTo>
                  <a:pt x="2161" y="752"/>
                </a:lnTo>
                <a:lnTo>
                  <a:pt x="2163" y="754"/>
                </a:lnTo>
                <a:lnTo>
                  <a:pt x="2164" y="752"/>
                </a:lnTo>
                <a:lnTo>
                  <a:pt x="2166" y="754"/>
                </a:lnTo>
                <a:lnTo>
                  <a:pt x="2166" y="752"/>
                </a:lnTo>
                <a:lnTo>
                  <a:pt x="2168" y="752"/>
                </a:lnTo>
                <a:lnTo>
                  <a:pt x="2169" y="752"/>
                </a:lnTo>
                <a:lnTo>
                  <a:pt x="2169" y="754"/>
                </a:lnTo>
                <a:lnTo>
                  <a:pt x="2166" y="754"/>
                </a:lnTo>
                <a:lnTo>
                  <a:pt x="2169" y="756"/>
                </a:lnTo>
                <a:lnTo>
                  <a:pt x="2166" y="756"/>
                </a:lnTo>
                <a:lnTo>
                  <a:pt x="2166" y="757"/>
                </a:lnTo>
                <a:lnTo>
                  <a:pt x="2163" y="756"/>
                </a:lnTo>
                <a:lnTo>
                  <a:pt x="2161" y="756"/>
                </a:lnTo>
                <a:lnTo>
                  <a:pt x="2163" y="754"/>
                </a:lnTo>
                <a:lnTo>
                  <a:pt x="2159" y="756"/>
                </a:lnTo>
                <a:lnTo>
                  <a:pt x="2159" y="754"/>
                </a:lnTo>
                <a:lnTo>
                  <a:pt x="2161" y="752"/>
                </a:lnTo>
                <a:lnTo>
                  <a:pt x="2159" y="752"/>
                </a:lnTo>
                <a:lnTo>
                  <a:pt x="2158" y="752"/>
                </a:lnTo>
                <a:lnTo>
                  <a:pt x="2156" y="754"/>
                </a:lnTo>
                <a:lnTo>
                  <a:pt x="2154" y="752"/>
                </a:lnTo>
                <a:lnTo>
                  <a:pt x="2152" y="752"/>
                </a:lnTo>
                <a:lnTo>
                  <a:pt x="2151" y="754"/>
                </a:lnTo>
                <a:lnTo>
                  <a:pt x="2152" y="754"/>
                </a:lnTo>
                <a:lnTo>
                  <a:pt x="2154" y="754"/>
                </a:lnTo>
                <a:lnTo>
                  <a:pt x="2152" y="756"/>
                </a:lnTo>
                <a:lnTo>
                  <a:pt x="2151" y="754"/>
                </a:lnTo>
                <a:lnTo>
                  <a:pt x="2149" y="754"/>
                </a:lnTo>
                <a:lnTo>
                  <a:pt x="2151" y="754"/>
                </a:lnTo>
                <a:lnTo>
                  <a:pt x="2149" y="752"/>
                </a:lnTo>
                <a:lnTo>
                  <a:pt x="2147" y="751"/>
                </a:lnTo>
                <a:lnTo>
                  <a:pt x="2149" y="749"/>
                </a:lnTo>
                <a:lnTo>
                  <a:pt x="2147" y="749"/>
                </a:lnTo>
                <a:lnTo>
                  <a:pt x="2146" y="751"/>
                </a:lnTo>
                <a:lnTo>
                  <a:pt x="2146" y="752"/>
                </a:lnTo>
                <a:lnTo>
                  <a:pt x="2144" y="754"/>
                </a:lnTo>
                <a:lnTo>
                  <a:pt x="2142" y="754"/>
                </a:lnTo>
                <a:lnTo>
                  <a:pt x="2141" y="754"/>
                </a:lnTo>
                <a:lnTo>
                  <a:pt x="2141" y="756"/>
                </a:lnTo>
                <a:lnTo>
                  <a:pt x="2142" y="756"/>
                </a:lnTo>
                <a:lnTo>
                  <a:pt x="2144" y="756"/>
                </a:lnTo>
                <a:lnTo>
                  <a:pt x="2142" y="756"/>
                </a:lnTo>
                <a:lnTo>
                  <a:pt x="2142" y="757"/>
                </a:lnTo>
                <a:lnTo>
                  <a:pt x="2146" y="757"/>
                </a:lnTo>
                <a:lnTo>
                  <a:pt x="2144" y="759"/>
                </a:lnTo>
                <a:lnTo>
                  <a:pt x="2146" y="761"/>
                </a:lnTo>
                <a:lnTo>
                  <a:pt x="2147" y="759"/>
                </a:lnTo>
                <a:lnTo>
                  <a:pt x="2149" y="757"/>
                </a:lnTo>
                <a:lnTo>
                  <a:pt x="2149" y="756"/>
                </a:lnTo>
                <a:lnTo>
                  <a:pt x="2147" y="757"/>
                </a:lnTo>
                <a:lnTo>
                  <a:pt x="2146" y="756"/>
                </a:lnTo>
                <a:lnTo>
                  <a:pt x="2147" y="756"/>
                </a:lnTo>
                <a:lnTo>
                  <a:pt x="2151" y="756"/>
                </a:lnTo>
                <a:lnTo>
                  <a:pt x="2151" y="757"/>
                </a:lnTo>
                <a:lnTo>
                  <a:pt x="2152" y="757"/>
                </a:lnTo>
                <a:lnTo>
                  <a:pt x="2154" y="757"/>
                </a:lnTo>
                <a:lnTo>
                  <a:pt x="2156" y="757"/>
                </a:lnTo>
                <a:lnTo>
                  <a:pt x="2154" y="759"/>
                </a:lnTo>
                <a:lnTo>
                  <a:pt x="2154" y="757"/>
                </a:lnTo>
                <a:lnTo>
                  <a:pt x="2152" y="757"/>
                </a:lnTo>
                <a:lnTo>
                  <a:pt x="2152" y="761"/>
                </a:lnTo>
                <a:lnTo>
                  <a:pt x="2154" y="759"/>
                </a:lnTo>
                <a:lnTo>
                  <a:pt x="2156" y="759"/>
                </a:lnTo>
                <a:lnTo>
                  <a:pt x="2156" y="757"/>
                </a:lnTo>
                <a:lnTo>
                  <a:pt x="2156" y="759"/>
                </a:lnTo>
                <a:lnTo>
                  <a:pt x="2156" y="761"/>
                </a:lnTo>
                <a:lnTo>
                  <a:pt x="2156" y="763"/>
                </a:lnTo>
                <a:lnTo>
                  <a:pt x="2152" y="763"/>
                </a:lnTo>
                <a:lnTo>
                  <a:pt x="2151" y="763"/>
                </a:lnTo>
                <a:lnTo>
                  <a:pt x="2151" y="761"/>
                </a:lnTo>
                <a:lnTo>
                  <a:pt x="2149" y="761"/>
                </a:lnTo>
                <a:lnTo>
                  <a:pt x="2146" y="761"/>
                </a:lnTo>
                <a:lnTo>
                  <a:pt x="2144" y="761"/>
                </a:lnTo>
                <a:lnTo>
                  <a:pt x="2142" y="761"/>
                </a:lnTo>
                <a:lnTo>
                  <a:pt x="2141" y="761"/>
                </a:lnTo>
                <a:lnTo>
                  <a:pt x="2142" y="761"/>
                </a:lnTo>
                <a:lnTo>
                  <a:pt x="2141" y="763"/>
                </a:lnTo>
                <a:lnTo>
                  <a:pt x="2139" y="763"/>
                </a:lnTo>
                <a:lnTo>
                  <a:pt x="2135" y="764"/>
                </a:lnTo>
                <a:lnTo>
                  <a:pt x="2137" y="764"/>
                </a:lnTo>
                <a:lnTo>
                  <a:pt x="2141" y="764"/>
                </a:lnTo>
                <a:lnTo>
                  <a:pt x="2142" y="766"/>
                </a:lnTo>
                <a:lnTo>
                  <a:pt x="2144" y="768"/>
                </a:lnTo>
                <a:lnTo>
                  <a:pt x="2142" y="768"/>
                </a:lnTo>
                <a:lnTo>
                  <a:pt x="2141" y="768"/>
                </a:lnTo>
                <a:lnTo>
                  <a:pt x="2139" y="768"/>
                </a:lnTo>
                <a:lnTo>
                  <a:pt x="2137" y="769"/>
                </a:lnTo>
                <a:lnTo>
                  <a:pt x="2134" y="768"/>
                </a:lnTo>
                <a:lnTo>
                  <a:pt x="2137" y="768"/>
                </a:lnTo>
                <a:lnTo>
                  <a:pt x="2134" y="768"/>
                </a:lnTo>
                <a:lnTo>
                  <a:pt x="2130" y="768"/>
                </a:lnTo>
                <a:lnTo>
                  <a:pt x="2130" y="766"/>
                </a:lnTo>
                <a:lnTo>
                  <a:pt x="2132" y="766"/>
                </a:lnTo>
                <a:lnTo>
                  <a:pt x="2134" y="768"/>
                </a:lnTo>
                <a:lnTo>
                  <a:pt x="2137" y="768"/>
                </a:lnTo>
                <a:lnTo>
                  <a:pt x="2139" y="766"/>
                </a:lnTo>
                <a:lnTo>
                  <a:pt x="2137" y="766"/>
                </a:lnTo>
                <a:lnTo>
                  <a:pt x="2134" y="764"/>
                </a:lnTo>
                <a:lnTo>
                  <a:pt x="2132" y="764"/>
                </a:lnTo>
                <a:lnTo>
                  <a:pt x="2129" y="763"/>
                </a:lnTo>
                <a:lnTo>
                  <a:pt x="2130" y="764"/>
                </a:lnTo>
                <a:lnTo>
                  <a:pt x="2132" y="764"/>
                </a:lnTo>
                <a:lnTo>
                  <a:pt x="2134" y="766"/>
                </a:lnTo>
                <a:lnTo>
                  <a:pt x="2137" y="766"/>
                </a:lnTo>
                <a:lnTo>
                  <a:pt x="2135" y="766"/>
                </a:lnTo>
                <a:lnTo>
                  <a:pt x="2134" y="766"/>
                </a:lnTo>
                <a:lnTo>
                  <a:pt x="2132" y="766"/>
                </a:lnTo>
                <a:lnTo>
                  <a:pt x="2130" y="766"/>
                </a:lnTo>
                <a:lnTo>
                  <a:pt x="2127" y="768"/>
                </a:lnTo>
                <a:lnTo>
                  <a:pt x="2125" y="766"/>
                </a:lnTo>
                <a:lnTo>
                  <a:pt x="2125" y="768"/>
                </a:lnTo>
                <a:lnTo>
                  <a:pt x="2127" y="769"/>
                </a:lnTo>
                <a:lnTo>
                  <a:pt x="2130" y="769"/>
                </a:lnTo>
                <a:lnTo>
                  <a:pt x="2130" y="771"/>
                </a:lnTo>
                <a:lnTo>
                  <a:pt x="2129" y="771"/>
                </a:lnTo>
                <a:lnTo>
                  <a:pt x="2127" y="771"/>
                </a:lnTo>
                <a:lnTo>
                  <a:pt x="2125" y="769"/>
                </a:lnTo>
                <a:lnTo>
                  <a:pt x="2125" y="771"/>
                </a:lnTo>
                <a:lnTo>
                  <a:pt x="2125" y="773"/>
                </a:lnTo>
                <a:lnTo>
                  <a:pt x="2125" y="774"/>
                </a:lnTo>
                <a:lnTo>
                  <a:pt x="2129" y="774"/>
                </a:lnTo>
                <a:lnTo>
                  <a:pt x="2129" y="776"/>
                </a:lnTo>
                <a:lnTo>
                  <a:pt x="2130" y="778"/>
                </a:lnTo>
                <a:lnTo>
                  <a:pt x="2127" y="778"/>
                </a:lnTo>
                <a:lnTo>
                  <a:pt x="2129" y="780"/>
                </a:lnTo>
                <a:lnTo>
                  <a:pt x="2125" y="780"/>
                </a:lnTo>
                <a:lnTo>
                  <a:pt x="2122" y="780"/>
                </a:lnTo>
                <a:lnTo>
                  <a:pt x="2122" y="778"/>
                </a:lnTo>
                <a:lnTo>
                  <a:pt x="2120" y="780"/>
                </a:lnTo>
                <a:lnTo>
                  <a:pt x="2118" y="778"/>
                </a:lnTo>
                <a:lnTo>
                  <a:pt x="2117" y="780"/>
                </a:lnTo>
                <a:lnTo>
                  <a:pt x="2115" y="780"/>
                </a:lnTo>
                <a:lnTo>
                  <a:pt x="2112" y="778"/>
                </a:lnTo>
                <a:lnTo>
                  <a:pt x="2112" y="776"/>
                </a:lnTo>
                <a:lnTo>
                  <a:pt x="2108" y="776"/>
                </a:lnTo>
                <a:lnTo>
                  <a:pt x="2107" y="776"/>
                </a:lnTo>
                <a:lnTo>
                  <a:pt x="2107" y="780"/>
                </a:lnTo>
                <a:lnTo>
                  <a:pt x="2105" y="780"/>
                </a:lnTo>
                <a:lnTo>
                  <a:pt x="2107" y="780"/>
                </a:lnTo>
                <a:lnTo>
                  <a:pt x="2110" y="780"/>
                </a:lnTo>
                <a:lnTo>
                  <a:pt x="2112" y="780"/>
                </a:lnTo>
                <a:lnTo>
                  <a:pt x="2113" y="781"/>
                </a:lnTo>
                <a:lnTo>
                  <a:pt x="2115" y="780"/>
                </a:lnTo>
                <a:lnTo>
                  <a:pt x="2117" y="781"/>
                </a:lnTo>
                <a:lnTo>
                  <a:pt x="2113" y="781"/>
                </a:lnTo>
                <a:lnTo>
                  <a:pt x="2112" y="783"/>
                </a:lnTo>
                <a:lnTo>
                  <a:pt x="2110" y="781"/>
                </a:lnTo>
                <a:lnTo>
                  <a:pt x="2110" y="780"/>
                </a:lnTo>
                <a:lnTo>
                  <a:pt x="2108" y="781"/>
                </a:lnTo>
                <a:lnTo>
                  <a:pt x="2107" y="780"/>
                </a:lnTo>
                <a:lnTo>
                  <a:pt x="2103" y="781"/>
                </a:lnTo>
                <a:lnTo>
                  <a:pt x="2101" y="780"/>
                </a:lnTo>
                <a:lnTo>
                  <a:pt x="2101" y="781"/>
                </a:lnTo>
                <a:lnTo>
                  <a:pt x="2103" y="781"/>
                </a:lnTo>
                <a:lnTo>
                  <a:pt x="2101" y="781"/>
                </a:lnTo>
                <a:lnTo>
                  <a:pt x="2101" y="783"/>
                </a:lnTo>
                <a:lnTo>
                  <a:pt x="2098" y="785"/>
                </a:lnTo>
                <a:lnTo>
                  <a:pt x="2100" y="785"/>
                </a:lnTo>
                <a:lnTo>
                  <a:pt x="2096" y="786"/>
                </a:lnTo>
                <a:lnTo>
                  <a:pt x="2096" y="785"/>
                </a:lnTo>
                <a:lnTo>
                  <a:pt x="2095" y="785"/>
                </a:lnTo>
                <a:lnTo>
                  <a:pt x="2093" y="783"/>
                </a:lnTo>
                <a:lnTo>
                  <a:pt x="2093" y="786"/>
                </a:lnTo>
                <a:lnTo>
                  <a:pt x="2091" y="785"/>
                </a:lnTo>
                <a:lnTo>
                  <a:pt x="2090" y="786"/>
                </a:lnTo>
                <a:lnTo>
                  <a:pt x="2088" y="786"/>
                </a:lnTo>
                <a:lnTo>
                  <a:pt x="2084" y="785"/>
                </a:lnTo>
                <a:lnTo>
                  <a:pt x="2086" y="786"/>
                </a:lnTo>
                <a:lnTo>
                  <a:pt x="2083" y="788"/>
                </a:lnTo>
                <a:lnTo>
                  <a:pt x="2086" y="788"/>
                </a:lnTo>
                <a:lnTo>
                  <a:pt x="2084" y="788"/>
                </a:lnTo>
                <a:lnTo>
                  <a:pt x="2083" y="788"/>
                </a:lnTo>
                <a:lnTo>
                  <a:pt x="2081" y="788"/>
                </a:lnTo>
                <a:lnTo>
                  <a:pt x="2079" y="788"/>
                </a:lnTo>
                <a:lnTo>
                  <a:pt x="2078" y="786"/>
                </a:lnTo>
                <a:lnTo>
                  <a:pt x="2081" y="785"/>
                </a:lnTo>
                <a:lnTo>
                  <a:pt x="2083" y="785"/>
                </a:lnTo>
                <a:lnTo>
                  <a:pt x="2081" y="783"/>
                </a:lnTo>
                <a:lnTo>
                  <a:pt x="2083" y="781"/>
                </a:lnTo>
                <a:lnTo>
                  <a:pt x="2086" y="785"/>
                </a:lnTo>
                <a:lnTo>
                  <a:pt x="2088" y="785"/>
                </a:lnTo>
                <a:lnTo>
                  <a:pt x="2086" y="783"/>
                </a:lnTo>
                <a:lnTo>
                  <a:pt x="2084" y="781"/>
                </a:lnTo>
                <a:lnTo>
                  <a:pt x="2084" y="778"/>
                </a:lnTo>
                <a:lnTo>
                  <a:pt x="2083" y="776"/>
                </a:lnTo>
                <a:lnTo>
                  <a:pt x="2081" y="774"/>
                </a:lnTo>
                <a:lnTo>
                  <a:pt x="2078" y="774"/>
                </a:lnTo>
                <a:lnTo>
                  <a:pt x="2076" y="773"/>
                </a:lnTo>
                <a:lnTo>
                  <a:pt x="2074" y="773"/>
                </a:lnTo>
                <a:lnTo>
                  <a:pt x="2073" y="771"/>
                </a:lnTo>
                <a:lnTo>
                  <a:pt x="2073" y="769"/>
                </a:lnTo>
                <a:lnTo>
                  <a:pt x="2071" y="769"/>
                </a:lnTo>
                <a:lnTo>
                  <a:pt x="2069" y="769"/>
                </a:lnTo>
                <a:lnTo>
                  <a:pt x="2071" y="768"/>
                </a:lnTo>
                <a:lnTo>
                  <a:pt x="2073" y="768"/>
                </a:lnTo>
                <a:lnTo>
                  <a:pt x="2071" y="766"/>
                </a:lnTo>
                <a:lnTo>
                  <a:pt x="2074" y="768"/>
                </a:lnTo>
                <a:lnTo>
                  <a:pt x="2074" y="769"/>
                </a:lnTo>
                <a:lnTo>
                  <a:pt x="2074" y="771"/>
                </a:lnTo>
                <a:lnTo>
                  <a:pt x="2076" y="771"/>
                </a:lnTo>
                <a:lnTo>
                  <a:pt x="2076" y="769"/>
                </a:lnTo>
                <a:lnTo>
                  <a:pt x="2076" y="768"/>
                </a:lnTo>
                <a:lnTo>
                  <a:pt x="2079" y="768"/>
                </a:lnTo>
                <a:lnTo>
                  <a:pt x="2081" y="769"/>
                </a:lnTo>
                <a:lnTo>
                  <a:pt x="2083" y="768"/>
                </a:lnTo>
                <a:lnTo>
                  <a:pt x="2081" y="768"/>
                </a:lnTo>
                <a:lnTo>
                  <a:pt x="2081" y="766"/>
                </a:lnTo>
                <a:lnTo>
                  <a:pt x="2079" y="766"/>
                </a:lnTo>
                <a:lnTo>
                  <a:pt x="2078" y="764"/>
                </a:lnTo>
                <a:lnTo>
                  <a:pt x="2079" y="764"/>
                </a:lnTo>
                <a:lnTo>
                  <a:pt x="2078" y="763"/>
                </a:lnTo>
                <a:lnTo>
                  <a:pt x="2079" y="763"/>
                </a:lnTo>
                <a:lnTo>
                  <a:pt x="2083" y="763"/>
                </a:lnTo>
                <a:lnTo>
                  <a:pt x="2084" y="763"/>
                </a:lnTo>
                <a:lnTo>
                  <a:pt x="2083" y="761"/>
                </a:lnTo>
                <a:lnTo>
                  <a:pt x="2079" y="761"/>
                </a:lnTo>
                <a:lnTo>
                  <a:pt x="2081" y="759"/>
                </a:lnTo>
                <a:lnTo>
                  <a:pt x="2079" y="757"/>
                </a:lnTo>
                <a:lnTo>
                  <a:pt x="2078" y="757"/>
                </a:lnTo>
                <a:lnTo>
                  <a:pt x="2078" y="761"/>
                </a:lnTo>
                <a:lnTo>
                  <a:pt x="2076" y="761"/>
                </a:lnTo>
                <a:lnTo>
                  <a:pt x="2074" y="761"/>
                </a:lnTo>
                <a:lnTo>
                  <a:pt x="2076" y="763"/>
                </a:lnTo>
                <a:lnTo>
                  <a:pt x="2076" y="764"/>
                </a:lnTo>
                <a:lnTo>
                  <a:pt x="2073" y="764"/>
                </a:lnTo>
                <a:lnTo>
                  <a:pt x="2073" y="763"/>
                </a:lnTo>
                <a:lnTo>
                  <a:pt x="2071" y="763"/>
                </a:lnTo>
                <a:lnTo>
                  <a:pt x="2069" y="764"/>
                </a:lnTo>
                <a:lnTo>
                  <a:pt x="2067" y="763"/>
                </a:lnTo>
                <a:lnTo>
                  <a:pt x="2064" y="761"/>
                </a:lnTo>
                <a:lnTo>
                  <a:pt x="2062" y="759"/>
                </a:lnTo>
                <a:lnTo>
                  <a:pt x="2062" y="761"/>
                </a:lnTo>
                <a:lnTo>
                  <a:pt x="2059" y="761"/>
                </a:lnTo>
                <a:lnTo>
                  <a:pt x="2057" y="761"/>
                </a:lnTo>
                <a:lnTo>
                  <a:pt x="2056" y="759"/>
                </a:lnTo>
                <a:lnTo>
                  <a:pt x="2054" y="759"/>
                </a:lnTo>
                <a:lnTo>
                  <a:pt x="2056" y="757"/>
                </a:lnTo>
                <a:lnTo>
                  <a:pt x="2054" y="757"/>
                </a:lnTo>
                <a:lnTo>
                  <a:pt x="2052" y="757"/>
                </a:lnTo>
                <a:lnTo>
                  <a:pt x="2052" y="756"/>
                </a:lnTo>
                <a:lnTo>
                  <a:pt x="2056" y="756"/>
                </a:lnTo>
                <a:lnTo>
                  <a:pt x="2057" y="757"/>
                </a:lnTo>
                <a:lnTo>
                  <a:pt x="2056" y="757"/>
                </a:lnTo>
                <a:lnTo>
                  <a:pt x="2057" y="759"/>
                </a:lnTo>
                <a:lnTo>
                  <a:pt x="2061" y="761"/>
                </a:lnTo>
                <a:lnTo>
                  <a:pt x="2061" y="759"/>
                </a:lnTo>
                <a:lnTo>
                  <a:pt x="2059" y="759"/>
                </a:lnTo>
                <a:lnTo>
                  <a:pt x="2057" y="756"/>
                </a:lnTo>
                <a:lnTo>
                  <a:pt x="2056" y="756"/>
                </a:lnTo>
                <a:lnTo>
                  <a:pt x="2056" y="754"/>
                </a:lnTo>
                <a:lnTo>
                  <a:pt x="2054" y="752"/>
                </a:lnTo>
                <a:lnTo>
                  <a:pt x="2052" y="752"/>
                </a:lnTo>
                <a:lnTo>
                  <a:pt x="2054" y="749"/>
                </a:lnTo>
                <a:lnTo>
                  <a:pt x="2052" y="747"/>
                </a:lnTo>
                <a:lnTo>
                  <a:pt x="2052" y="744"/>
                </a:lnTo>
                <a:lnTo>
                  <a:pt x="2050" y="744"/>
                </a:lnTo>
                <a:lnTo>
                  <a:pt x="2049" y="746"/>
                </a:lnTo>
                <a:lnTo>
                  <a:pt x="2050" y="749"/>
                </a:lnTo>
                <a:lnTo>
                  <a:pt x="2050" y="752"/>
                </a:lnTo>
                <a:lnTo>
                  <a:pt x="2052" y="756"/>
                </a:lnTo>
                <a:lnTo>
                  <a:pt x="2050" y="756"/>
                </a:lnTo>
                <a:lnTo>
                  <a:pt x="2049" y="754"/>
                </a:lnTo>
                <a:lnTo>
                  <a:pt x="2047" y="752"/>
                </a:lnTo>
                <a:lnTo>
                  <a:pt x="2045" y="752"/>
                </a:lnTo>
                <a:lnTo>
                  <a:pt x="2047" y="754"/>
                </a:lnTo>
                <a:lnTo>
                  <a:pt x="2049" y="754"/>
                </a:lnTo>
                <a:lnTo>
                  <a:pt x="2049" y="756"/>
                </a:lnTo>
                <a:lnTo>
                  <a:pt x="2047" y="756"/>
                </a:lnTo>
                <a:lnTo>
                  <a:pt x="2045" y="756"/>
                </a:lnTo>
                <a:lnTo>
                  <a:pt x="2047" y="757"/>
                </a:lnTo>
                <a:lnTo>
                  <a:pt x="2049" y="757"/>
                </a:lnTo>
                <a:lnTo>
                  <a:pt x="2049" y="759"/>
                </a:lnTo>
                <a:lnTo>
                  <a:pt x="2047" y="759"/>
                </a:lnTo>
                <a:lnTo>
                  <a:pt x="2049" y="761"/>
                </a:lnTo>
                <a:lnTo>
                  <a:pt x="2049" y="763"/>
                </a:lnTo>
                <a:lnTo>
                  <a:pt x="2052" y="763"/>
                </a:lnTo>
                <a:lnTo>
                  <a:pt x="2054" y="764"/>
                </a:lnTo>
                <a:lnTo>
                  <a:pt x="2056" y="764"/>
                </a:lnTo>
                <a:lnTo>
                  <a:pt x="2057" y="768"/>
                </a:lnTo>
                <a:lnTo>
                  <a:pt x="2054" y="766"/>
                </a:lnTo>
                <a:lnTo>
                  <a:pt x="2052" y="766"/>
                </a:lnTo>
                <a:lnTo>
                  <a:pt x="2052" y="764"/>
                </a:lnTo>
                <a:lnTo>
                  <a:pt x="2049" y="764"/>
                </a:lnTo>
                <a:lnTo>
                  <a:pt x="2047" y="764"/>
                </a:lnTo>
                <a:lnTo>
                  <a:pt x="2050" y="764"/>
                </a:lnTo>
                <a:lnTo>
                  <a:pt x="2050" y="768"/>
                </a:lnTo>
                <a:lnTo>
                  <a:pt x="2052" y="766"/>
                </a:lnTo>
                <a:lnTo>
                  <a:pt x="2054" y="768"/>
                </a:lnTo>
                <a:lnTo>
                  <a:pt x="2057" y="768"/>
                </a:lnTo>
                <a:lnTo>
                  <a:pt x="2059" y="768"/>
                </a:lnTo>
                <a:lnTo>
                  <a:pt x="2057" y="768"/>
                </a:lnTo>
                <a:lnTo>
                  <a:pt x="2059" y="766"/>
                </a:lnTo>
                <a:lnTo>
                  <a:pt x="2057" y="766"/>
                </a:lnTo>
                <a:lnTo>
                  <a:pt x="2059" y="764"/>
                </a:lnTo>
                <a:lnTo>
                  <a:pt x="2061" y="766"/>
                </a:lnTo>
                <a:lnTo>
                  <a:pt x="2061" y="768"/>
                </a:lnTo>
                <a:lnTo>
                  <a:pt x="2062" y="768"/>
                </a:lnTo>
                <a:lnTo>
                  <a:pt x="2062" y="769"/>
                </a:lnTo>
                <a:lnTo>
                  <a:pt x="2064" y="771"/>
                </a:lnTo>
                <a:lnTo>
                  <a:pt x="2064" y="774"/>
                </a:lnTo>
                <a:lnTo>
                  <a:pt x="2066" y="776"/>
                </a:lnTo>
                <a:lnTo>
                  <a:pt x="2066" y="778"/>
                </a:lnTo>
                <a:lnTo>
                  <a:pt x="2066" y="780"/>
                </a:lnTo>
                <a:lnTo>
                  <a:pt x="2066" y="781"/>
                </a:lnTo>
                <a:lnTo>
                  <a:pt x="2067" y="783"/>
                </a:lnTo>
                <a:lnTo>
                  <a:pt x="2071" y="783"/>
                </a:lnTo>
                <a:lnTo>
                  <a:pt x="2069" y="786"/>
                </a:lnTo>
                <a:lnTo>
                  <a:pt x="2067" y="785"/>
                </a:lnTo>
                <a:lnTo>
                  <a:pt x="2066" y="783"/>
                </a:lnTo>
                <a:lnTo>
                  <a:pt x="2062" y="781"/>
                </a:lnTo>
                <a:lnTo>
                  <a:pt x="2059" y="781"/>
                </a:lnTo>
                <a:lnTo>
                  <a:pt x="2059" y="780"/>
                </a:lnTo>
                <a:lnTo>
                  <a:pt x="2057" y="778"/>
                </a:lnTo>
                <a:lnTo>
                  <a:pt x="2054" y="778"/>
                </a:lnTo>
                <a:lnTo>
                  <a:pt x="2050" y="774"/>
                </a:lnTo>
                <a:lnTo>
                  <a:pt x="2049" y="774"/>
                </a:lnTo>
                <a:lnTo>
                  <a:pt x="2047" y="776"/>
                </a:lnTo>
                <a:lnTo>
                  <a:pt x="2044" y="778"/>
                </a:lnTo>
                <a:lnTo>
                  <a:pt x="2042" y="778"/>
                </a:lnTo>
                <a:lnTo>
                  <a:pt x="2040" y="778"/>
                </a:lnTo>
                <a:lnTo>
                  <a:pt x="2039" y="776"/>
                </a:lnTo>
                <a:lnTo>
                  <a:pt x="2037" y="773"/>
                </a:lnTo>
                <a:lnTo>
                  <a:pt x="2037" y="771"/>
                </a:lnTo>
                <a:lnTo>
                  <a:pt x="2039" y="769"/>
                </a:lnTo>
                <a:lnTo>
                  <a:pt x="2040" y="768"/>
                </a:lnTo>
                <a:lnTo>
                  <a:pt x="2042" y="768"/>
                </a:lnTo>
                <a:lnTo>
                  <a:pt x="2040" y="764"/>
                </a:lnTo>
                <a:lnTo>
                  <a:pt x="2044" y="764"/>
                </a:lnTo>
                <a:lnTo>
                  <a:pt x="2044" y="766"/>
                </a:lnTo>
                <a:lnTo>
                  <a:pt x="2045" y="764"/>
                </a:lnTo>
                <a:lnTo>
                  <a:pt x="2047" y="766"/>
                </a:lnTo>
                <a:lnTo>
                  <a:pt x="2047" y="764"/>
                </a:lnTo>
                <a:lnTo>
                  <a:pt x="2044" y="764"/>
                </a:lnTo>
                <a:lnTo>
                  <a:pt x="2044" y="763"/>
                </a:lnTo>
                <a:lnTo>
                  <a:pt x="2045" y="761"/>
                </a:lnTo>
                <a:lnTo>
                  <a:pt x="2049" y="763"/>
                </a:lnTo>
                <a:lnTo>
                  <a:pt x="2047" y="759"/>
                </a:lnTo>
                <a:lnTo>
                  <a:pt x="2045" y="757"/>
                </a:lnTo>
                <a:lnTo>
                  <a:pt x="2042" y="757"/>
                </a:lnTo>
                <a:lnTo>
                  <a:pt x="2045" y="759"/>
                </a:lnTo>
                <a:lnTo>
                  <a:pt x="2042" y="759"/>
                </a:lnTo>
                <a:lnTo>
                  <a:pt x="2040" y="757"/>
                </a:lnTo>
                <a:lnTo>
                  <a:pt x="2039" y="757"/>
                </a:lnTo>
                <a:lnTo>
                  <a:pt x="2040" y="757"/>
                </a:lnTo>
                <a:lnTo>
                  <a:pt x="2039" y="756"/>
                </a:lnTo>
                <a:lnTo>
                  <a:pt x="2035" y="754"/>
                </a:lnTo>
                <a:lnTo>
                  <a:pt x="2033" y="752"/>
                </a:lnTo>
                <a:lnTo>
                  <a:pt x="2032" y="752"/>
                </a:lnTo>
                <a:lnTo>
                  <a:pt x="2032" y="754"/>
                </a:lnTo>
                <a:lnTo>
                  <a:pt x="2033" y="757"/>
                </a:lnTo>
                <a:lnTo>
                  <a:pt x="2030" y="757"/>
                </a:lnTo>
                <a:lnTo>
                  <a:pt x="2032" y="759"/>
                </a:lnTo>
                <a:lnTo>
                  <a:pt x="2033" y="759"/>
                </a:lnTo>
                <a:lnTo>
                  <a:pt x="2033" y="761"/>
                </a:lnTo>
                <a:lnTo>
                  <a:pt x="2035" y="763"/>
                </a:lnTo>
                <a:lnTo>
                  <a:pt x="2033" y="761"/>
                </a:lnTo>
                <a:lnTo>
                  <a:pt x="2030" y="761"/>
                </a:lnTo>
                <a:lnTo>
                  <a:pt x="2028" y="757"/>
                </a:lnTo>
                <a:lnTo>
                  <a:pt x="2027" y="757"/>
                </a:lnTo>
                <a:lnTo>
                  <a:pt x="2027" y="761"/>
                </a:lnTo>
                <a:lnTo>
                  <a:pt x="2027" y="763"/>
                </a:lnTo>
                <a:lnTo>
                  <a:pt x="2028" y="763"/>
                </a:lnTo>
                <a:lnTo>
                  <a:pt x="2030" y="763"/>
                </a:lnTo>
                <a:lnTo>
                  <a:pt x="2032" y="764"/>
                </a:lnTo>
                <a:lnTo>
                  <a:pt x="2028" y="764"/>
                </a:lnTo>
                <a:lnTo>
                  <a:pt x="2028" y="768"/>
                </a:lnTo>
                <a:lnTo>
                  <a:pt x="2027" y="768"/>
                </a:lnTo>
                <a:lnTo>
                  <a:pt x="2025" y="768"/>
                </a:lnTo>
                <a:lnTo>
                  <a:pt x="2025" y="769"/>
                </a:lnTo>
                <a:lnTo>
                  <a:pt x="2023" y="769"/>
                </a:lnTo>
                <a:lnTo>
                  <a:pt x="2020" y="768"/>
                </a:lnTo>
                <a:lnTo>
                  <a:pt x="2016" y="768"/>
                </a:lnTo>
                <a:lnTo>
                  <a:pt x="2013" y="766"/>
                </a:lnTo>
                <a:lnTo>
                  <a:pt x="2013" y="764"/>
                </a:lnTo>
                <a:lnTo>
                  <a:pt x="2011" y="764"/>
                </a:lnTo>
                <a:lnTo>
                  <a:pt x="2011" y="763"/>
                </a:lnTo>
                <a:lnTo>
                  <a:pt x="2008" y="761"/>
                </a:lnTo>
                <a:lnTo>
                  <a:pt x="2006" y="759"/>
                </a:lnTo>
                <a:lnTo>
                  <a:pt x="2005" y="757"/>
                </a:lnTo>
                <a:lnTo>
                  <a:pt x="2003" y="756"/>
                </a:lnTo>
                <a:lnTo>
                  <a:pt x="2001" y="754"/>
                </a:lnTo>
                <a:lnTo>
                  <a:pt x="1999" y="752"/>
                </a:lnTo>
                <a:lnTo>
                  <a:pt x="1999" y="749"/>
                </a:lnTo>
                <a:lnTo>
                  <a:pt x="1998" y="746"/>
                </a:lnTo>
                <a:lnTo>
                  <a:pt x="1996" y="744"/>
                </a:lnTo>
                <a:lnTo>
                  <a:pt x="1996" y="742"/>
                </a:lnTo>
                <a:lnTo>
                  <a:pt x="1994" y="740"/>
                </a:lnTo>
                <a:lnTo>
                  <a:pt x="1994" y="737"/>
                </a:lnTo>
                <a:lnTo>
                  <a:pt x="1994" y="735"/>
                </a:lnTo>
                <a:lnTo>
                  <a:pt x="1994" y="732"/>
                </a:lnTo>
                <a:lnTo>
                  <a:pt x="1996" y="728"/>
                </a:lnTo>
                <a:lnTo>
                  <a:pt x="1994" y="727"/>
                </a:lnTo>
                <a:lnTo>
                  <a:pt x="1996" y="727"/>
                </a:lnTo>
                <a:lnTo>
                  <a:pt x="1999" y="728"/>
                </a:lnTo>
                <a:lnTo>
                  <a:pt x="2001" y="727"/>
                </a:lnTo>
                <a:lnTo>
                  <a:pt x="2003" y="727"/>
                </a:lnTo>
                <a:lnTo>
                  <a:pt x="2003" y="723"/>
                </a:lnTo>
                <a:lnTo>
                  <a:pt x="2005" y="725"/>
                </a:lnTo>
                <a:lnTo>
                  <a:pt x="2005" y="727"/>
                </a:lnTo>
                <a:lnTo>
                  <a:pt x="2006" y="727"/>
                </a:lnTo>
                <a:lnTo>
                  <a:pt x="2006" y="725"/>
                </a:lnTo>
                <a:lnTo>
                  <a:pt x="2008" y="727"/>
                </a:lnTo>
                <a:lnTo>
                  <a:pt x="2010" y="727"/>
                </a:lnTo>
                <a:lnTo>
                  <a:pt x="2010" y="723"/>
                </a:lnTo>
                <a:lnTo>
                  <a:pt x="2011" y="725"/>
                </a:lnTo>
                <a:lnTo>
                  <a:pt x="2011" y="723"/>
                </a:lnTo>
                <a:lnTo>
                  <a:pt x="2008" y="723"/>
                </a:lnTo>
                <a:lnTo>
                  <a:pt x="2008" y="722"/>
                </a:lnTo>
                <a:lnTo>
                  <a:pt x="2006" y="720"/>
                </a:lnTo>
                <a:lnTo>
                  <a:pt x="2006" y="718"/>
                </a:lnTo>
                <a:lnTo>
                  <a:pt x="2010" y="720"/>
                </a:lnTo>
                <a:lnTo>
                  <a:pt x="2008" y="718"/>
                </a:lnTo>
                <a:lnTo>
                  <a:pt x="2008" y="717"/>
                </a:lnTo>
                <a:lnTo>
                  <a:pt x="2005" y="717"/>
                </a:lnTo>
                <a:lnTo>
                  <a:pt x="2003" y="715"/>
                </a:lnTo>
                <a:lnTo>
                  <a:pt x="2005" y="715"/>
                </a:lnTo>
                <a:lnTo>
                  <a:pt x="2006" y="717"/>
                </a:lnTo>
                <a:lnTo>
                  <a:pt x="2005" y="715"/>
                </a:lnTo>
                <a:lnTo>
                  <a:pt x="2005" y="713"/>
                </a:lnTo>
                <a:lnTo>
                  <a:pt x="2005" y="711"/>
                </a:lnTo>
                <a:lnTo>
                  <a:pt x="2003" y="713"/>
                </a:lnTo>
                <a:lnTo>
                  <a:pt x="2001" y="711"/>
                </a:lnTo>
                <a:lnTo>
                  <a:pt x="2005" y="711"/>
                </a:lnTo>
                <a:lnTo>
                  <a:pt x="2006" y="711"/>
                </a:lnTo>
                <a:lnTo>
                  <a:pt x="2005" y="710"/>
                </a:lnTo>
                <a:lnTo>
                  <a:pt x="2005" y="708"/>
                </a:lnTo>
                <a:lnTo>
                  <a:pt x="2006" y="706"/>
                </a:lnTo>
                <a:lnTo>
                  <a:pt x="2005" y="706"/>
                </a:lnTo>
                <a:lnTo>
                  <a:pt x="2005" y="705"/>
                </a:lnTo>
                <a:lnTo>
                  <a:pt x="2001" y="705"/>
                </a:lnTo>
                <a:lnTo>
                  <a:pt x="1999" y="705"/>
                </a:lnTo>
                <a:lnTo>
                  <a:pt x="2003" y="703"/>
                </a:lnTo>
                <a:lnTo>
                  <a:pt x="2005" y="705"/>
                </a:lnTo>
                <a:lnTo>
                  <a:pt x="2003" y="703"/>
                </a:lnTo>
                <a:lnTo>
                  <a:pt x="2003" y="700"/>
                </a:lnTo>
                <a:lnTo>
                  <a:pt x="1999" y="700"/>
                </a:lnTo>
                <a:lnTo>
                  <a:pt x="2001" y="698"/>
                </a:lnTo>
                <a:lnTo>
                  <a:pt x="2003" y="696"/>
                </a:lnTo>
                <a:lnTo>
                  <a:pt x="2001" y="698"/>
                </a:lnTo>
                <a:lnTo>
                  <a:pt x="2001" y="696"/>
                </a:lnTo>
                <a:lnTo>
                  <a:pt x="1999" y="696"/>
                </a:lnTo>
                <a:lnTo>
                  <a:pt x="1999" y="698"/>
                </a:lnTo>
                <a:lnTo>
                  <a:pt x="1998" y="696"/>
                </a:lnTo>
                <a:lnTo>
                  <a:pt x="1999" y="696"/>
                </a:lnTo>
                <a:lnTo>
                  <a:pt x="1999" y="694"/>
                </a:lnTo>
                <a:lnTo>
                  <a:pt x="1999" y="693"/>
                </a:lnTo>
                <a:lnTo>
                  <a:pt x="2001" y="693"/>
                </a:lnTo>
                <a:lnTo>
                  <a:pt x="1999" y="691"/>
                </a:lnTo>
                <a:lnTo>
                  <a:pt x="1999" y="688"/>
                </a:lnTo>
                <a:lnTo>
                  <a:pt x="1998" y="688"/>
                </a:lnTo>
                <a:lnTo>
                  <a:pt x="1998" y="689"/>
                </a:lnTo>
                <a:lnTo>
                  <a:pt x="1996" y="691"/>
                </a:lnTo>
                <a:lnTo>
                  <a:pt x="1994" y="688"/>
                </a:lnTo>
                <a:lnTo>
                  <a:pt x="1994" y="686"/>
                </a:lnTo>
                <a:lnTo>
                  <a:pt x="1994" y="684"/>
                </a:lnTo>
                <a:lnTo>
                  <a:pt x="1993" y="686"/>
                </a:lnTo>
                <a:lnTo>
                  <a:pt x="1993" y="688"/>
                </a:lnTo>
                <a:lnTo>
                  <a:pt x="1993" y="684"/>
                </a:lnTo>
                <a:lnTo>
                  <a:pt x="1993" y="683"/>
                </a:lnTo>
                <a:lnTo>
                  <a:pt x="1989" y="684"/>
                </a:lnTo>
                <a:lnTo>
                  <a:pt x="1988" y="686"/>
                </a:lnTo>
                <a:lnTo>
                  <a:pt x="1984" y="684"/>
                </a:lnTo>
                <a:lnTo>
                  <a:pt x="1982" y="684"/>
                </a:lnTo>
                <a:lnTo>
                  <a:pt x="1981" y="683"/>
                </a:lnTo>
                <a:lnTo>
                  <a:pt x="1982" y="683"/>
                </a:lnTo>
                <a:lnTo>
                  <a:pt x="1981" y="681"/>
                </a:lnTo>
                <a:lnTo>
                  <a:pt x="1981" y="677"/>
                </a:lnTo>
                <a:lnTo>
                  <a:pt x="1979" y="674"/>
                </a:lnTo>
                <a:lnTo>
                  <a:pt x="1981" y="672"/>
                </a:lnTo>
                <a:lnTo>
                  <a:pt x="1981" y="669"/>
                </a:lnTo>
                <a:lnTo>
                  <a:pt x="1982" y="669"/>
                </a:lnTo>
                <a:lnTo>
                  <a:pt x="1984" y="667"/>
                </a:lnTo>
                <a:lnTo>
                  <a:pt x="1984" y="666"/>
                </a:lnTo>
                <a:lnTo>
                  <a:pt x="1986" y="666"/>
                </a:lnTo>
                <a:lnTo>
                  <a:pt x="1988" y="664"/>
                </a:lnTo>
                <a:lnTo>
                  <a:pt x="1989" y="662"/>
                </a:lnTo>
                <a:lnTo>
                  <a:pt x="1986" y="662"/>
                </a:lnTo>
                <a:lnTo>
                  <a:pt x="1984" y="660"/>
                </a:lnTo>
                <a:lnTo>
                  <a:pt x="1984" y="659"/>
                </a:lnTo>
                <a:lnTo>
                  <a:pt x="1982" y="657"/>
                </a:lnTo>
                <a:lnTo>
                  <a:pt x="1984" y="655"/>
                </a:lnTo>
                <a:lnTo>
                  <a:pt x="1986" y="655"/>
                </a:lnTo>
                <a:lnTo>
                  <a:pt x="1988" y="655"/>
                </a:lnTo>
                <a:lnTo>
                  <a:pt x="1988" y="654"/>
                </a:lnTo>
                <a:lnTo>
                  <a:pt x="1986" y="654"/>
                </a:lnTo>
                <a:lnTo>
                  <a:pt x="1984" y="652"/>
                </a:lnTo>
                <a:lnTo>
                  <a:pt x="1981" y="652"/>
                </a:lnTo>
                <a:lnTo>
                  <a:pt x="1979" y="650"/>
                </a:lnTo>
                <a:lnTo>
                  <a:pt x="1979" y="649"/>
                </a:lnTo>
                <a:lnTo>
                  <a:pt x="1979" y="645"/>
                </a:lnTo>
                <a:lnTo>
                  <a:pt x="1979" y="643"/>
                </a:lnTo>
                <a:lnTo>
                  <a:pt x="1979" y="640"/>
                </a:lnTo>
                <a:lnTo>
                  <a:pt x="1979" y="638"/>
                </a:lnTo>
                <a:lnTo>
                  <a:pt x="1982" y="638"/>
                </a:lnTo>
                <a:lnTo>
                  <a:pt x="1982" y="637"/>
                </a:lnTo>
                <a:lnTo>
                  <a:pt x="1982" y="633"/>
                </a:lnTo>
                <a:lnTo>
                  <a:pt x="1984" y="632"/>
                </a:lnTo>
                <a:lnTo>
                  <a:pt x="1984" y="630"/>
                </a:lnTo>
                <a:lnTo>
                  <a:pt x="1986" y="630"/>
                </a:lnTo>
                <a:lnTo>
                  <a:pt x="1988" y="628"/>
                </a:lnTo>
                <a:lnTo>
                  <a:pt x="1988" y="630"/>
                </a:lnTo>
                <a:lnTo>
                  <a:pt x="1989" y="630"/>
                </a:lnTo>
                <a:lnTo>
                  <a:pt x="1993" y="628"/>
                </a:lnTo>
                <a:lnTo>
                  <a:pt x="1993" y="626"/>
                </a:lnTo>
                <a:lnTo>
                  <a:pt x="1993" y="625"/>
                </a:lnTo>
                <a:lnTo>
                  <a:pt x="1993" y="623"/>
                </a:lnTo>
                <a:lnTo>
                  <a:pt x="1996" y="625"/>
                </a:lnTo>
                <a:lnTo>
                  <a:pt x="1996" y="623"/>
                </a:lnTo>
                <a:lnTo>
                  <a:pt x="1993" y="623"/>
                </a:lnTo>
                <a:lnTo>
                  <a:pt x="1993" y="620"/>
                </a:lnTo>
                <a:lnTo>
                  <a:pt x="1993" y="618"/>
                </a:lnTo>
                <a:lnTo>
                  <a:pt x="1993" y="616"/>
                </a:lnTo>
                <a:lnTo>
                  <a:pt x="1991" y="616"/>
                </a:lnTo>
                <a:lnTo>
                  <a:pt x="1991" y="618"/>
                </a:lnTo>
                <a:lnTo>
                  <a:pt x="1991" y="620"/>
                </a:lnTo>
                <a:lnTo>
                  <a:pt x="1991" y="621"/>
                </a:lnTo>
                <a:lnTo>
                  <a:pt x="1989" y="625"/>
                </a:lnTo>
                <a:lnTo>
                  <a:pt x="1988" y="623"/>
                </a:lnTo>
                <a:lnTo>
                  <a:pt x="1986" y="625"/>
                </a:lnTo>
                <a:lnTo>
                  <a:pt x="1984" y="623"/>
                </a:lnTo>
                <a:lnTo>
                  <a:pt x="1984" y="620"/>
                </a:lnTo>
                <a:lnTo>
                  <a:pt x="1986" y="618"/>
                </a:lnTo>
                <a:lnTo>
                  <a:pt x="1986" y="616"/>
                </a:lnTo>
                <a:lnTo>
                  <a:pt x="1986" y="615"/>
                </a:lnTo>
                <a:lnTo>
                  <a:pt x="1988" y="613"/>
                </a:lnTo>
                <a:lnTo>
                  <a:pt x="1988" y="611"/>
                </a:lnTo>
                <a:lnTo>
                  <a:pt x="1988" y="609"/>
                </a:lnTo>
                <a:lnTo>
                  <a:pt x="1986" y="609"/>
                </a:lnTo>
                <a:lnTo>
                  <a:pt x="1986" y="611"/>
                </a:lnTo>
                <a:lnTo>
                  <a:pt x="1984" y="615"/>
                </a:lnTo>
                <a:lnTo>
                  <a:pt x="1982" y="613"/>
                </a:lnTo>
                <a:lnTo>
                  <a:pt x="1982" y="611"/>
                </a:lnTo>
                <a:lnTo>
                  <a:pt x="1982" y="609"/>
                </a:lnTo>
                <a:lnTo>
                  <a:pt x="1981" y="606"/>
                </a:lnTo>
                <a:lnTo>
                  <a:pt x="1982" y="604"/>
                </a:lnTo>
                <a:lnTo>
                  <a:pt x="1982" y="603"/>
                </a:lnTo>
                <a:lnTo>
                  <a:pt x="1984" y="601"/>
                </a:lnTo>
                <a:lnTo>
                  <a:pt x="1984" y="599"/>
                </a:lnTo>
                <a:lnTo>
                  <a:pt x="1984" y="598"/>
                </a:lnTo>
                <a:lnTo>
                  <a:pt x="1986" y="596"/>
                </a:lnTo>
                <a:lnTo>
                  <a:pt x="1988" y="594"/>
                </a:lnTo>
                <a:lnTo>
                  <a:pt x="1988" y="591"/>
                </a:lnTo>
                <a:lnTo>
                  <a:pt x="1989" y="591"/>
                </a:lnTo>
                <a:lnTo>
                  <a:pt x="1989" y="589"/>
                </a:lnTo>
                <a:lnTo>
                  <a:pt x="1986" y="591"/>
                </a:lnTo>
                <a:lnTo>
                  <a:pt x="1986" y="592"/>
                </a:lnTo>
                <a:lnTo>
                  <a:pt x="1986" y="594"/>
                </a:lnTo>
                <a:lnTo>
                  <a:pt x="1984" y="592"/>
                </a:lnTo>
                <a:lnTo>
                  <a:pt x="1984" y="591"/>
                </a:lnTo>
                <a:lnTo>
                  <a:pt x="1982" y="594"/>
                </a:lnTo>
                <a:lnTo>
                  <a:pt x="1979" y="596"/>
                </a:lnTo>
                <a:lnTo>
                  <a:pt x="1979" y="598"/>
                </a:lnTo>
                <a:lnTo>
                  <a:pt x="1977" y="599"/>
                </a:lnTo>
                <a:lnTo>
                  <a:pt x="1979" y="603"/>
                </a:lnTo>
                <a:lnTo>
                  <a:pt x="1977" y="604"/>
                </a:lnTo>
                <a:lnTo>
                  <a:pt x="1977" y="606"/>
                </a:lnTo>
                <a:lnTo>
                  <a:pt x="1974" y="606"/>
                </a:lnTo>
                <a:lnTo>
                  <a:pt x="1974" y="608"/>
                </a:lnTo>
                <a:lnTo>
                  <a:pt x="1972" y="608"/>
                </a:lnTo>
                <a:lnTo>
                  <a:pt x="1971" y="606"/>
                </a:lnTo>
                <a:lnTo>
                  <a:pt x="1969" y="606"/>
                </a:lnTo>
                <a:lnTo>
                  <a:pt x="1965" y="604"/>
                </a:lnTo>
                <a:lnTo>
                  <a:pt x="1964" y="604"/>
                </a:lnTo>
                <a:lnTo>
                  <a:pt x="1962" y="604"/>
                </a:lnTo>
                <a:lnTo>
                  <a:pt x="1960" y="604"/>
                </a:lnTo>
                <a:lnTo>
                  <a:pt x="1960" y="603"/>
                </a:lnTo>
                <a:lnTo>
                  <a:pt x="1959" y="601"/>
                </a:lnTo>
                <a:lnTo>
                  <a:pt x="1960" y="603"/>
                </a:lnTo>
                <a:lnTo>
                  <a:pt x="1962" y="601"/>
                </a:lnTo>
                <a:lnTo>
                  <a:pt x="1964" y="599"/>
                </a:lnTo>
                <a:lnTo>
                  <a:pt x="1965" y="598"/>
                </a:lnTo>
                <a:lnTo>
                  <a:pt x="1965" y="594"/>
                </a:lnTo>
                <a:lnTo>
                  <a:pt x="1964" y="594"/>
                </a:lnTo>
                <a:lnTo>
                  <a:pt x="1964" y="592"/>
                </a:lnTo>
                <a:lnTo>
                  <a:pt x="1964" y="591"/>
                </a:lnTo>
                <a:lnTo>
                  <a:pt x="1964" y="589"/>
                </a:lnTo>
                <a:lnTo>
                  <a:pt x="1964" y="587"/>
                </a:lnTo>
                <a:lnTo>
                  <a:pt x="1965" y="586"/>
                </a:lnTo>
                <a:lnTo>
                  <a:pt x="1965" y="584"/>
                </a:lnTo>
                <a:lnTo>
                  <a:pt x="1967" y="582"/>
                </a:lnTo>
                <a:lnTo>
                  <a:pt x="1969" y="581"/>
                </a:lnTo>
                <a:lnTo>
                  <a:pt x="1969" y="579"/>
                </a:lnTo>
                <a:lnTo>
                  <a:pt x="1969" y="577"/>
                </a:lnTo>
                <a:lnTo>
                  <a:pt x="1972" y="577"/>
                </a:lnTo>
                <a:lnTo>
                  <a:pt x="1974" y="577"/>
                </a:lnTo>
                <a:lnTo>
                  <a:pt x="1972" y="575"/>
                </a:lnTo>
                <a:lnTo>
                  <a:pt x="1969" y="575"/>
                </a:lnTo>
                <a:lnTo>
                  <a:pt x="1967" y="577"/>
                </a:lnTo>
                <a:lnTo>
                  <a:pt x="1965" y="575"/>
                </a:lnTo>
                <a:lnTo>
                  <a:pt x="1965" y="574"/>
                </a:lnTo>
                <a:lnTo>
                  <a:pt x="1965" y="572"/>
                </a:lnTo>
                <a:lnTo>
                  <a:pt x="1965" y="569"/>
                </a:lnTo>
                <a:lnTo>
                  <a:pt x="1965" y="567"/>
                </a:lnTo>
                <a:lnTo>
                  <a:pt x="1965" y="565"/>
                </a:lnTo>
                <a:lnTo>
                  <a:pt x="1965" y="562"/>
                </a:lnTo>
                <a:lnTo>
                  <a:pt x="1967" y="562"/>
                </a:lnTo>
                <a:lnTo>
                  <a:pt x="1969" y="560"/>
                </a:lnTo>
                <a:lnTo>
                  <a:pt x="1972" y="560"/>
                </a:lnTo>
                <a:lnTo>
                  <a:pt x="1974" y="560"/>
                </a:lnTo>
                <a:lnTo>
                  <a:pt x="1976" y="558"/>
                </a:lnTo>
                <a:lnTo>
                  <a:pt x="1977" y="557"/>
                </a:lnTo>
                <a:lnTo>
                  <a:pt x="1979" y="558"/>
                </a:lnTo>
                <a:lnTo>
                  <a:pt x="1981" y="557"/>
                </a:lnTo>
                <a:lnTo>
                  <a:pt x="1982" y="557"/>
                </a:lnTo>
                <a:lnTo>
                  <a:pt x="1984" y="555"/>
                </a:lnTo>
                <a:lnTo>
                  <a:pt x="1981" y="553"/>
                </a:lnTo>
                <a:lnTo>
                  <a:pt x="1979" y="555"/>
                </a:lnTo>
                <a:lnTo>
                  <a:pt x="1977" y="555"/>
                </a:lnTo>
                <a:lnTo>
                  <a:pt x="1974" y="553"/>
                </a:lnTo>
                <a:lnTo>
                  <a:pt x="1972" y="553"/>
                </a:lnTo>
                <a:lnTo>
                  <a:pt x="1969" y="555"/>
                </a:lnTo>
                <a:lnTo>
                  <a:pt x="1967" y="555"/>
                </a:lnTo>
                <a:lnTo>
                  <a:pt x="1965" y="557"/>
                </a:lnTo>
                <a:lnTo>
                  <a:pt x="1964" y="555"/>
                </a:lnTo>
                <a:lnTo>
                  <a:pt x="1964" y="553"/>
                </a:lnTo>
                <a:lnTo>
                  <a:pt x="1964" y="550"/>
                </a:lnTo>
                <a:lnTo>
                  <a:pt x="1967" y="553"/>
                </a:lnTo>
                <a:lnTo>
                  <a:pt x="1967" y="552"/>
                </a:lnTo>
                <a:lnTo>
                  <a:pt x="1969" y="550"/>
                </a:lnTo>
                <a:lnTo>
                  <a:pt x="1971" y="548"/>
                </a:lnTo>
                <a:lnTo>
                  <a:pt x="1971" y="546"/>
                </a:lnTo>
                <a:lnTo>
                  <a:pt x="1974" y="548"/>
                </a:lnTo>
                <a:lnTo>
                  <a:pt x="1972" y="545"/>
                </a:lnTo>
                <a:lnTo>
                  <a:pt x="1969" y="545"/>
                </a:lnTo>
                <a:lnTo>
                  <a:pt x="1967" y="543"/>
                </a:lnTo>
                <a:lnTo>
                  <a:pt x="1965" y="545"/>
                </a:lnTo>
                <a:lnTo>
                  <a:pt x="1962" y="546"/>
                </a:lnTo>
                <a:lnTo>
                  <a:pt x="1960" y="541"/>
                </a:lnTo>
                <a:lnTo>
                  <a:pt x="1960" y="540"/>
                </a:lnTo>
                <a:lnTo>
                  <a:pt x="1962" y="541"/>
                </a:lnTo>
                <a:lnTo>
                  <a:pt x="1962" y="540"/>
                </a:lnTo>
                <a:lnTo>
                  <a:pt x="1964" y="538"/>
                </a:lnTo>
                <a:lnTo>
                  <a:pt x="1964" y="536"/>
                </a:lnTo>
                <a:lnTo>
                  <a:pt x="1965" y="535"/>
                </a:lnTo>
                <a:lnTo>
                  <a:pt x="1969" y="535"/>
                </a:lnTo>
                <a:lnTo>
                  <a:pt x="1969" y="531"/>
                </a:lnTo>
                <a:lnTo>
                  <a:pt x="1971" y="529"/>
                </a:lnTo>
                <a:lnTo>
                  <a:pt x="1972" y="528"/>
                </a:lnTo>
                <a:lnTo>
                  <a:pt x="1972" y="526"/>
                </a:lnTo>
                <a:lnTo>
                  <a:pt x="1971" y="528"/>
                </a:lnTo>
                <a:lnTo>
                  <a:pt x="1969" y="529"/>
                </a:lnTo>
                <a:lnTo>
                  <a:pt x="1967" y="529"/>
                </a:lnTo>
                <a:lnTo>
                  <a:pt x="1967" y="528"/>
                </a:lnTo>
                <a:lnTo>
                  <a:pt x="1967" y="526"/>
                </a:lnTo>
                <a:lnTo>
                  <a:pt x="1964" y="528"/>
                </a:lnTo>
                <a:lnTo>
                  <a:pt x="1962" y="529"/>
                </a:lnTo>
                <a:lnTo>
                  <a:pt x="1962" y="531"/>
                </a:lnTo>
                <a:lnTo>
                  <a:pt x="1960" y="529"/>
                </a:lnTo>
                <a:lnTo>
                  <a:pt x="1957" y="531"/>
                </a:lnTo>
                <a:lnTo>
                  <a:pt x="1955" y="528"/>
                </a:lnTo>
                <a:lnTo>
                  <a:pt x="1954" y="526"/>
                </a:lnTo>
                <a:lnTo>
                  <a:pt x="1955" y="524"/>
                </a:lnTo>
                <a:lnTo>
                  <a:pt x="1955" y="523"/>
                </a:lnTo>
                <a:lnTo>
                  <a:pt x="1955" y="519"/>
                </a:lnTo>
                <a:lnTo>
                  <a:pt x="1957" y="519"/>
                </a:lnTo>
                <a:lnTo>
                  <a:pt x="1959" y="519"/>
                </a:lnTo>
                <a:lnTo>
                  <a:pt x="1960" y="519"/>
                </a:lnTo>
                <a:lnTo>
                  <a:pt x="1960" y="518"/>
                </a:lnTo>
                <a:lnTo>
                  <a:pt x="1962" y="516"/>
                </a:lnTo>
                <a:lnTo>
                  <a:pt x="1962" y="514"/>
                </a:lnTo>
                <a:lnTo>
                  <a:pt x="1964" y="512"/>
                </a:lnTo>
                <a:lnTo>
                  <a:pt x="1964" y="511"/>
                </a:lnTo>
                <a:lnTo>
                  <a:pt x="1967" y="511"/>
                </a:lnTo>
                <a:lnTo>
                  <a:pt x="1969" y="511"/>
                </a:lnTo>
                <a:lnTo>
                  <a:pt x="1971" y="511"/>
                </a:lnTo>
                <a:lnTo>
                  <a:pt x="1971" y="509"/>
                </a:lnTo>
                <a:lnTo>
                  <a:pt x="1969" y="509"/>
                </a:lnTo>
                <a:lnTo>
                  <a:pt x="1965" y="507"/>
                </a:lnTo>
                <a:lnTo>
                  <a:pt x="1964" y="507"/>
                </a:lnTo>
                <a:lnTo>
                  <a:pt x="1964" y="509"/>
                </a:lnTo>
                <a:lnTo>
                  <a:pt x="1962" y="507"/>
                </a:lnTo>
                <a:lnTo>
                  <a:pt x="1964" y="506"/>
                </a:lnTo>
                <a:lnTo>
                  <a:pt x="1964" y="504"/>
                </a:lnTo>
                <a:lnTo>
                  <a:pt x="1962" y="506"/>
                </a:lnTo>
                <a:lnTo>
                  <a:pt x="1960" y="507"/>
                </a:lnTo>
                <a:lnTo>
                  <a:pt x="1959" y="507"/>
                </a:lnTo>
                <a:lnTo>
                  <a:pt x="1957" y="507"/>
                </a:lnTo>
                <a:lnTo>
                  <a:pt x="1955" y="511"/>
                </a:lnTo>
                <a:lnTo>
                  <a:pt x="1955" y="512"/>
                </a:lnTo>
                <a:lnTo>
                  <a:pt x="1954" y="512"/>
                </a:lnTo>
                <a:lnTo>
                  <a:pt x="1952" y="512"/>
                </a:lnTo>
                <a:lnTo>
                  <a:pt x="1950" y="511"/>
                </a:lnTo>
                <a:lnTo>
                  <a:pt x="1952" y="509"/>
                </a:lnTo>
                <a:lnTo>
                  <a:pt x="1952" y="507"/>
                </a:lnTo>
                <a:lnTo>
                  <a:pt x="1952" y="506"/>
                </a:lnTo>
                <a:lnTo>
                  <a:pt x="1952" y="504"/>
                </a:lnTo>
                <a:lnTo>
                  <a:pt x="1954" y="501"/>
                </a:lnTo>
                <a:lnTo>
                  <a:pt x="1955" y="499"/>
                </a:lnTo>
                <a:lnTo>
                  <a:pt x="1957" y="499"/>
                </a:lnTo>
                <a:lnTo>
                  <a:pt x="1957" y="497"/>
                </a:lnTo>
                <a:lnTo>
                  <a:pt x="1957" y="495"/>
                </a:lnTo>
                <a:lnTo>
                  <a:pt x="1959" y="492"/>
                </a:lnTo>
                <a:lnTo>
                  <a:pt x="1955" y="494"/>
                </a:lnTo>
                <a:lnTo>
                  <a:pt x="1954" y="494"/>
                </a:lnTo>
                <a:lnTo>
                  <a:pt x="1955" y="497"/>
                </a:lnTo>
                <a:lnTo>
                  <a:pt x="1954" y="499"/>
                </a:lnTo>
                <a:lnTo>
                  <a:pt x="1954" y="495"/>
                </a:lnTo>
                <a:lnTo>
                  <a:pt x="1952" y="497"/>
                </a:lnTo>
                <a:lnTo>
                  <a:pt x="1952" y="494"/>
                </a:lnTo>
                <a:lnTo>
                  <a:pt x="1948" y="492"/>
                </a:lnTo>
                <a:lnTo>
                  <a:pt x="1948" y="494"/>
                </a:lnTo>
                <a:lnTo>
                  <a:pt x="1947" y="495"/>
                </a:lnTo>
                <a:lnTo>
                  <a:pt x="1947" y="497"/>
                </a:lnTo>
                <a:lnTo>
                  <a:pt x="1943" y="499"/>
                </a:lnTo>
                <a:lnTo>
                  <a:pt x="1942" y="497"/>
                </a:lnTo>
                <a:lnTo>
                  <a:pt x="1942" y="494"/>
                </a:lnTo>
                <a:lnTo>
                  <a:pt x="1938" y="494"/>
                </a:lnTo>
                <a:lnTo>
                  <a:pt x="1937" y="495"/>
                </a:lnTo>
                <a:lnTo>
                  <a:pt x="1937" y="494"/>
                </a:lnTo>
                <a:lnTo>
                  <a:pt x="1937" y="492"/>
                </a:lnTo>
                <a:lnTo>
                  <a:pt x="1935" y="490"/>
                </a:lnTo>
                <a:lnTo>
                  <a:pt x="1935" y="487"/>
                </a:lnTo>
                <a:lnTo>
                  <a:pt x="1935" y="485"/>
                </a:lnTo>
                <a:lnTo>
                  <a:pt x="1937" y="485"/>
                </a:lnTo>
                <a:lnTo>
                  <a:pt x="1938" y="485"/>
                </a:lnTo>
                <a:lnTo>
                  <a:pt x="1938" y="484"/>
                </a:lnTo>
                <a:lnTo>
                  <a:pt x="1940" y="485"/>
                </a:lnTo>
                <a:lnTo>
                  <a:pt x="1942" y="484"/>
                </a:lnTo>
                <a:lnTo>
                  <a:pt x="1943" y="485"/>
                </a:lnTo>
                <a:lnTo>
                  <a:pt x="1947" y="485"/>
                </a:lnTo>
                <a:lnTo>
                  <a:pt x="1948" y="489"/>
                </a:lnTo>
                <a:lnTo>
                  <a:pt x="1950" y="487"/>
                </a:lnTo>
                <a:lnTo>
                  <a:pt x="1950" y="485"/>
                </a:lnTo>
                <a:lnTo>
                  <a:pt x="1950" y="484"/>
                </a:lnTo>
                <a:lnTo>
                  <a:pt x="1948" y="482"/>
                </a:lnTo>
                <a:lnTo>
                  <a:pt x="1948" y="478"/>
                </a:lnTo>
                <a:lnTo>
                  <a:pt x="1948" y="475"/>
                </a:lnTo>
                <a:lnTo>
                  <a:pt x="1948" y="472"/>
                </a:lnTo>
                <a:lnTo>
                  <a:pt x="1947" y="472"/>
                </a:lnTo>
                <a:lnTo>
                  <a:pt x="1947" y="470"/>
                </a:lnTo>
                <a:lnTo>
                  <a:pt x="1943" y="472"/>
                </a:lnTo>
                <a:lnTo>
                  <a:pt x="1942" y="470"/>
                </a:lnTo>
                <a:lnTo>
                  <a:pt x="1942" y="468"/>
                </a:lnTo>
                <a:lnTo>
                  <a:pt x="1942" y="467"/>
                </a:lnTo>
                <a:lnTo>
                  <a:pt x="1943" y="463"/>
                </a:lnTo>
                <a:lnTo>
                  <a:pt x="1943" y="461"/>
                </a:lnTo>
                <a:lnTo>
                  <a:pt x="1945" y="461"/>
                </a:lnTo>
                <a:lnTo>
                  <a:pt x="1948" y="460"/>
                </a:lnTo>
                <a:lnTo>
                  <a:pt x="1948" y="458"/>
                </a:lnTo>
                <a:lnTo>
                  <a:pt x="1950" y="460"/>
                </a:lnTo>
                <a:lnTo>
                  <a:pt x="1952" y="460"/>
                </a:lnTo>
                <a:lnTo>
                  <a:pt x="1955" y="460"/>
                </a:lnTo>
                <a:lnTo>
                  <a:pt x="1955" y="458"/>
                </a:lnTo>
                <a:lnTo>
                  <a:pt x="1957" y="456"/>
                </a:lnTo>
                <a:lnTo>
                  <a:pt x="1959" y="456"/>
                </a:lnTo>
                <a:lnTo>
                  <a:pt x="1959" y="455"/>
                </a:lnTo>
                <a:lnTo>
                  <a:pt x="1957" y="453"/>
                </a:lnTo>
                <a:lnTo>
                  <a:pt x="1955" y="455"/>
                </a:lnTo>
                <a:lnTo>
                  <a:pt x="1954" y="455"/>
                </a:lnTo>
                <a:lnTo>
                  <a:pt x="1952" y="451"/>
                </a:lnTo>
                <a:lnTo>
                  <a:pt x="1950" y="450"/>
                </a:lnTo>
                <a:lnTo>
                  <a:pt x="1948" y="451"/>
                </a:lnTo>
                <a:lnTo>
                  <a:pt x="1947" y="450"/>
                </a:lnTo>
                <a:lnTo>
                  <a:pt x="1947" y="448"/>
                </a:lnTo>
                <a:lnTo>
                  <a:pt x="1947" y="446"/>
                </a:lnTo>
                <a:lnTo>
                  <a:pt x="1948" y="443"/>
                </a:lnTo>
                <a:lnTo>
                  <a:pt x="1948" y="439"/>
                </a:lnTo>
                <a:lnTo>
                  <a:pt x="1952" y="438"/>
                </a:lnTo>
                <a:lnTo>
                  <a:pt x="1952" y="434"/>
                </a:lnTo>
                <a:lnTo>
                  <a:pt x="1950" y="433"/>
                </a:lnTo>
                <a:lnTo>
                  <a:pt x="1948" y="434"/>
                </a:lnTo>
                <a:lnTo>
                  <a:pt x="1947" y="436"/>
                </a:lnTo>
                <a:lnTo>
                  <a:pt x="1945" y="436"/>
                </a:lnTo>
                <a:lnTo>
                  <a:pt x="1945" y="433"/>
                </a:lnTo>
                <a:lnTo>
                  <a:pt x="1947" y="429"/>
                </a:lnTo>
                <a:lnTo>
                  <a:pt x="1948" y="429"/>
                </a:lnTo>
                <a:lnTo>
                  <a:pt x="1948" y="426"/>
                </a:lnTo>
                <a:lnTo>
                  <a:pt x="1950" y="424"/>
                </a:lnTo>
                <a:lnTo>
                  <a:pt x="1952" y="421"/>
                </a:lnTo>
                <a:lnTo>
                  <a:pt x="1950" y="419"/>
                </a:lnTo>
                <a:lnTo>
                  <a:pt x="1948" y="421"/>
                </a:lnTo>
                <a:lnTo>
                  <a:pt x="1948" y="419"/>
                </a:lnTo>
                <a:lnTo>
                  <a:pt x="1948" y="415"/>
                </a:lnTo>
                <a:lnTo>
                  <a:pt x="1948" y="414"/>
                </a:lnTo>
                <a:lnTo>
                  <a:pt x="1948" y="410"/>
                </a:lnTo>
                <a:lnTo>
                  <a:pt x="1948" y="409"/>
                </a:lnTo>
                <a:lnTo>
                  <a:pt x="1952" y="409"/>
                </a:lnTo>
                <a:lnTo>
                  <a:pt x="1952" y="407"/>
                </a:lnTo>
                <a:lnTo>
                  <a:pt x="1952" y="405"/>
                </a:lnTo>
                <a:lnTo>
                  <a:pt x="1948" y="407"/>
                </a:lnTo>
                <a:lnTo>
                  <a:pt x="1948" y="405"/>
                </a:lnTo>
                <a:lnTo>
                  <a:pt x="1950" y="404"/>
                </a:lnTo>
                <a:lnTo>
                  <a:pt x="1952" y="404"/>
                </a:lnTo>
                <a:lnTo>
                  <a:pt x="1954" y="404"/>
                </a:lnTo>
                <a:lnTo>
                  <a:pt x="1952" y="400"/>
                </a:lnTo>
                <a:lnTo>
                  <a:pt x="1954" y="398"/>
                </a:lnTo>
                <a:lnTo>
                  <a:pt x="1955" y="398"/>
                </a:lnTo>
                <a:lnTo>
                  <a:pt x="1959" y="397"/>
                </a:lnTo>
                <a:lnTo>
                  <a:pt x="1959" y="395"/>
                </a:lnTo>
                <a:lnTo>
                  <a:pt x="1960" y="392"/>
                </a:lnTo>
                <a:lnTo>
                  <a:pt x="1959" y="390"/>
                </a:lnTo>
                <a:lnTo>
                  <a:pt x="1962" y="388"/>
                </a:lnTo>
                <a:lnTo>
                  <a:pt x="1964" y="385"/>
                </a:lnTo>
                <a:lnTo>
                  <a:pt x="1962" y="383"/>
                </a:lnTo>
                <a:lnTo>
                  <a:pt x="1960" y="383"/>
                </a:lnTo>
                <a:lnTo>
                  <a:pt x="1957" y="385"/>
                </a:lnTo>
                <a:lnTo>
                  <a:pt x="1955" y="385"/>
                </a:lnTo>
                <a:lnTo>
                  <a:pt x="1957" y="381"/>
                </a:lnTo>
                <a:lnTo>
                  <a:pt x="1957" y="380"/>
                </a:lnTo>
                <a:lnTo>
                  <a:pt x="1955" y="380"/>
                </a:lnTo>
                <a:lnTo>
                  <a:pt x="1955" y="381"/>
                </a:lnTo>
                <a:lnTo>
                  <a:pt x="1954" y="381"/>
                </a:lnTo>
                <a:lnTo>
                  <a:pt x="1952" y="383"/>
                </a:lnTo>
                <a:lnTo>
                  <a:pt x="1950" y="381"/>
                </a:lnTo>
                <a:lnTo>
                  <a:pt x="1952" y="380"/>
                </a:lnTo>
                <a:lnTo>
                  <a:pt x="1952" y="378"/>
                </a:lnTo>
                <a:lnTo>
                  <a:pt x="1954" y="376"/>
                </a:lnTo>
                <a:lnTo>
                  <a:pt x="1954" y="375"/>
                </a:lnTo>
                <a:lnTo>
                  <a:pt x="1955" y="371"/>
                </a:lnTo>
                <a:lnTo>
                  <a:pt x="1957" y="375"/>
                </a:lnTo>
                <a:lnTo>
                  <a:pt x="1955" y="376"/>
                </a:lnTo>
                <a:lnTo>
                  <a:pt x="1957" y="380"/>
                </a:lnTo>
                <a:lnTo>
                  <a:pt x="1959" y="376"/>
                </a:lnTo>
                <a:lnTo>
                  <a:pt x="1959" y="375"/>
                </a:lnTo>
                <a:lnTo>
                  <a:pt x="1960" y="375"/>
                </a:lnTo>
                <a:lnTo>
                  <a:pt x="1962" y="373"/>
                </a:lnTo>
                <a:lnTo>
                  <a:pt x="1964" y="371"/>
                </a:lnTo>
                <a:lnTo>
                  <a:pt x="1964" y="373"/>
                </a:lnTo>
                <a:lnTo>
                  <a:pt x="1964" y="376"/>
                </a:lnTo>
                <a:lnTo>
                  <a:pt x="1964" y="378"/>
                </a:lnTo>
                <a:lnTo>
                  <a:pt x="1964" y="380"/>
                </a:lnTo>
                <a:lnTo>
                  <a:pt x="1964" y="383"/>
                </a:lnTo>
                <a:lnTo>
                  <a:pt x="1965" y="383"/>
                </a:lnTo>
                <a:lnTo>
                  <a:pt x="1967" y="381"/>
                </a:lnTo>
                <a:lnTo>
                  <a:pt x="1969" y="381"/>
                </a:lnTo>
                <a:lnTo>
                  <a:pt x="1969" y="380"/>
                </a:lnTo>
                <a:lnTo>
                  <a:pt x="1967" y="376"/>
                </a:lnTo>
                <a:lnTo>
                  <a:pt x="1967" y="375"/>
                </a:lnTo>
                <a:lnTo>
                  <a:pt x="1969" y="373"/>
                </a:lnTo>
                <a:lnTo>
                  <a:pt x="1971" y="371"/>
                </a:lnTo>
                <a:lnTo>
                  <a:pt x="1969" y="370"/>
                </a:lnTo>
                <a:lnTo>
                  <a:pt x="1969" y="368"/>
                </a:lnTo>
                <a:lnTo>
                  <a:pt x="1967" y="366"/>
                </a:lnTo>
                <a:lnTo>
                  <a:pt x="1965" y="368"/>
                </a:lnTo>
                <a:lnTo>
                  <a:pt x="1964" y="368"/>
                </a:lnTo>
                <a:lnTo>
                  <a:pt x="1962" y="366"/>
                </a:lnTo>
                <a:lnTo>
                  <a:pt x="1962" y="364"/>
                </a:lnTo>
                <a:lnTo>
                  <a:pt x="1960" y="364"/>
                </a:lnTo>
                <a:lnTo>
                  <a:pt x="1959" y="363"/>
                </a:lnTo>
                <a:lnTo>
                  <a:pt x="1959" y="359"/>
                </a:lnTo>
                <a:lnTo>
                  <a:pt x="1960" y="358"/>
                </a:lnTo>
                <a:lnTo>
                  <a:pt x="1960" y="359"/>
                </a:lnTo>
                <a:lnTo>
                  <a:pt x="1962" y="356"/>
                </a:lnTo>
                <a:lnTo>
                  <a:pt x="1964" y="354"/>
                </a:lnTo>
                <a:lnTo>
                  <a:pt x="1965" y="353"/>
                </a:lnTo>
                <a:lnTo>
                  <a:pt x="1965" y="349"/>
                </a:lnTo>
                <a:lnTo>
                  <a:pt x="1969" y="351"/>
                </a:lnTo>
                <a:lnTo>
                  <a:pt x="1971" y="347"/>
                </a:lnTo>
                <a:lnTo>
                  <a:pt x="1972" y="349"/>
                </a:lnTo>
                <a:lnTo>
                  <a:pt x="1974" y="347"/>
                </a:lnTo>
                <a:lnTo>
                  <a:pt x="1976" y="346"/>
                </a:lnTo>
                <a:lnTo>
                  <a:pt x="1977" y="346"/>
                </a:lnTo>
                <a:lnTo>
                  <a:pt x="1979" y="344"/>
                </a:lnTo>
                <a:lnTo>
                  <a:pt x="1981" y="346"/>
                </a:lnTo>
                <a:lnTo>
                  <a:pt x="1982" y="347"/>
                </a:lnTo>
                <a:lnTo>
                  <a:pt x="1984" y="347"/>
                </a:lnTo>
                <a:lnTo>
                  <a:pt x="1984" y="344"/>
                </a:lnTo>
                <a:lnTo>
                  <a:pt x="1982" y="344"/>
                </a:lnTo>
                <a:lnTo>
                  <a:pt x="1984" y="344"/>
                </a:lnTo>
                <a:lnTo>
                  <a:pt x="1984" y="341"/>
                </a:lnTo>
                <a:lnTo>
                  <a:pt x="1982" y="339"/>
                </a:lnTo>
                <a:lnTo>
                  <a:pt x="1986" y="339"/>
                </a:lnTo>
                <a:lnTo>
                  <a:pt x="1986" y="341"/>
                </a:lnTo>
                <a:lnTo>
                  <a:pt x="1988" y="339"/>
                </a:lnTo>
                <a:lnTo>
                  <a:pt x="1988" y="341"/>
                </a:lnTo>
                <a:lnTo>
                  <a:pt x="1991" y="339"/>
                </a:lnTo>
                <a:lnTo>
                  <a:pt x="1989" y="337"/>
                </a:lnTo>
                <a:lnTo>
                  <a:pt x="1991" y="336"/>
                </a:lnTo>
                <a:lnTo>
                  <a:pt x="1991" y="332"/>
                </a:lnTo>
                <a:lnTo>
                  <a:pt x="1991" y="329"/>
                </a:lnTo>
                <a:lnTo>
                  <a:pt x="1993" y="327"/>
                </a:lnTo>
                <a:lnTo>
                  <a:pt x="1991" y="327"/>
                </a:lnTo>
                <a:lnTo>
                  <a:pt x="1993" y="324"/>
                </a:lnTo>
                <a:lnTo>
                  <a:pt x="1994" y="324"/>
                </a:lnTo>
                <a:lnTo>
                  <a:pt x="1994" y="320"/>
                </a:lnTo>
                <a:lnTo>
                  <a:pt x="1998" y="320"/>
                </a:lnTo>
                <a:lnTo>
                  <a:pt x="1999" y="320"/>
                </a:lnTo>
                <a:lnTo>
                  <a:pt x="1999" y="319"/>
                </a:lnTo>
                <a:lnTo>
                  <a:pt x="1999" y="317"/>
                </a:lnTo>
                <a:lnTo>
                  <a:pt x="1999" y="313"/>
                </a:lnTo>
                <a:lnTo>
                  <a:pt x="2001" y="313"/>
                </a:lnTo>
                <a:lnTo>
                  <a:pt x="1999" y="310"/>
                </a:lnTo>
                <a:lnTo>
                  <a:pt x="2003" y="310"/>
                </a:lnTo>
                <a:lnTo>
                  <a:pt x="2006" y="308"/>
                </a:lnTo>
                <a:lnTo>
                  <a:pt x="2005" y="308"/>
                </a:lnTo>
                <a:lnTo>
                  <a:pt x="2003" y="308"/>
                </a:lnTo>
                <a:lnTo>
                  <a:pt x="2001" y="307"/>
                </a:lnTo>
                <a:lnTo>
                  <a:pt x="2001" y="305"/>
                </a:lnTo>
                <a:lnTo>
                  <a:pt x="2001" y="303"/>
                </a:lnTo>
                <a:lnTo>
                  <a:pt x="1999" y="302"/>
                </a:lnTo>
                <a:lnTo>
                  <a:pt x="2001" y="298"/>
                </a:lnTo>
                <a:lnTo>
                  <a:pt x="2003" y="296"/>
                </a:lnTo>
                <a:lnTo>
                  <a:pt x="2005" y="298"/>
                </a:lnTo>
                <a:lnTo>
                  <a:pt x="2006" y="296"/>
                </a:lnTo>
                <a:lnTo>
                  <a:pt x="2005" y="295"/>
                </a:lnTo>
                <a:lnTo>
                  <a:pt x="2006" y="293"/>
                </a:lnTo>
                <a:lnTo>
                  <a:pt x="2005" y="290"/>
                </a:lnTo>
                <a:lnTo>
                  <a:pt x="2003" y="290"/>
                </a:lnTo>
                <a:lnTo>
                  <a:pt x="2003" y="286"/>
                </a:lnTo>
                <a:lnTo>
                  <a:pt x="2005" y="286"/>
                </a:lnTo>
                <a:lnTo>
                  <a:pt x="2006" y="286"/>
                </a:lnTo>
                <a:lnTo>
                  <a:pt x="2011" y="285"/>
                </a:lnTo>
                <a:lnTo>
                  <a:pt x="2013" y="285"/>
                </a:lnTo>
                <a:lnTo>
                  <a:pt x="2013" y="283"/>
                </a:lnTo>
                <a:lnTo>
                  <a:pt x="2013" y="281"/>
                </a:lnTo>
                <a:lnTo>
                  <a:pt x="2010" y="281"/>
                </a:lnTo>
                <a:lnTo>
                  <a:pt x="2008" y="279"/>
                </a:lnTo>
                <a:lnTo>
                  <a:pt x="2005" y="278"/>
                </a:lnTo>
                <a:lnTo>
                  <a:pt x="2003" y="278"/>
                </a:lnTo>
                <a:lnTo>
                  <a:pt x="2003" y="276"/>
                </a:lnTo>
                <a:lnTo>
                  <a:pt x="2001" y="274"/>
                </a:lnTo>
                <a:lnTo>
                  <a:pt x="2001" y="271"/>
                </a:lnTo>
                <a:lnTo>
                  <a:pt x="2001" y="269"/>
                </a:lnTo>
                <a:lnTo>
                  <a:pt x="2003" y="269"/>
                </a:lnTo>
                <a:lnTo>
                  <a:pt x="2003" y="268"/>
                </a:lnTo>
                <a:lnTo>
                  <a:pt x="2001" y="264"/>
                </a:lnTo>
                <a:lnTo>
                  <a:pt x="2003" y="264"/>
                </a:lnTo>
                <a:lnTo>
                  <a:pt x="2001" y="261"/>
                </a:lnTo>
                <a:lnTo>
                  <a:pt x="2001" y="259"/>
                </a:lnTo>
                <a:lnTo>
                  <a:pt x="2001" y="256"/>
                </a:lnTo>
                <a:lnTo>
                  <a:pt x="2003" y="256"/>
                </a:lnTo>
                <a:lnTo>
                  <a:pt x="2001" y="254"/>
                </a:lnTo>
                <a:lnTo>
                  <a:pt x="2003" y="252"/>
                </a:lnTo>
                <a:lnTo>
                  <a:pt x="2003" y="249"/>
                </a:lnTo>
                <a:lnTo>
                  <a:pt x="2003" y="245"/>
                </a:lnTo>
                <a:lnTo>
                  <a:pt x="2005" y="245"/>
                </a:lnTo>
                <a:lnTo>
                  <a:pt x="2006" y="244"/>
                </a:lnTo>
                <a:lnTo>
                  <a:pt x="2005" y="240"/>
                </a:lnTo>
                <a:lnTo>
                  <a:pt x="2006" y="239"/>
                </a:lnTo>
                <a:lnTo>
                  <a:pt x="2006" y="237"/>
                </a:lnTo>
                <a:lnTo>
                  <a:pt x="2008" y="233"/>
                </a:lnTo>
                <a:lnTo>
                  <a:pt x="2010" y="233"/>
                </a:lnTo>
                <a:close/>
                <a:moveTo>
                  <a:pt x="3149" y="2676"/>
                </a:moveTo>
                <a:lnTo>
                  <a:pt x="3150" y="2675"/>
                </a:lnTo>
                <a:lnTo>
                  <a:pt x="3150" y="2676"/>
                </a:lnTo>
                <a:lnTo>
                  <a:pt x="3149" y="2676"/>
                </a:lnTo>
                <a:close/>
                <a:moveTo>
                  <a:pt x="3145" y="2771"/>
                </a:moveTo>
                <a:lnTo>
                  <a:pt x="3147" y="2770"/>
                </a:lnTo>
                <a:lnTo>
                  <a:pt x="3147" y="2771"/>
                </a:lnTo>
                <a:lnTo>
                  <a:pt x="3145" y="2773"/>
                </a:lnTo>
                <a:lnTo>
                  <a:pt x="3145" y="2771"/>
                </a:lnTo>
                <a:close/>
                <a:moveTo>
                  <a:pt x="3149" y="2766"/>
                </a:moveTo>
                <a:lnTo>
                  <a:pt x="3149" y="2768"/>
                </a:lnTo>
                <a:lnTo>
                  <a:pt x="3149" y="2766"/>
                </a:lnTo>
                <a:close/>
                <a:moveTo>
                  <a:pt x="3171" y="2666"/>
                </a:moveTo>
                <a:lnTo>
                  <a:pt x="3172" y="2666"/>
                </a:lnTo>
                <a:lnTo>
                  <a:pt x="3174" y="2668"/>
                </a:lnTo>
                <a:lnTo>
                  <a:pt x="3172" y="2668"/>
                </a:lnTo>
                <a:lnTo>
                  <a:pt x="3171" y="2666"/>
                </a:lnTo>
                <a:close/>
                <a:moveTo>
                  <a:pt x="3140" y="2710"/>
                </a:moveTo>
                <a:lnTo>
                  <a:pt x="3142" y="2709"/>
                </a:lnTo>
                <a:lnTo>
                  <a:pt x="3142" y="2710"/>
                </a:lnTo>
                <a:lnTo>
                  <a:pt x="3140" y="2710"/>
                </a:lnTo>
                <a:close/>
                <a:moveTo>
                  <a:pt x="2695" y="2768"/>
                </a:moveTo>
                <a:lnTo>
                  <a:pt x="2695" y="2766"/>
                </a:lnTo>
                <a:lnTo>
                  <a:pt x="2696" y="2768"/>
                </a:lnTo>
                <a:lnTo>
                  <a:pt x="2695" y="2768"/>
                </a:lnTo>
                <a:close/>
                <a:moveTo>
                  <a:pt x="2701" y="2773"/>
                </a:moveTo>
                <a:lnTo>
                  <a:pt x="2703" y="2775"/>
                </a:lnTo>
                <a:lnTo>
                  <a:pt x="2701" y="2775"/>
                </a:lnTo>
                <a:lnTo>
                  <a:pt x="2701" y="2773"/>
                </a:lnTo>
                <a:close/>
                <a:moveTo>
                  <a:pt x="1945" y="3171"/>
                </a:moveTo>
                <a:lnTo>
                  <a:pt x="1948" y="3173"/>
                </a:lnTo>
                <a:lnTo>
                  <a:pt x="1950" y="3176"/>
                </a:lnTo>
                <a:lnTo>
                  <a:pt x="1948" y="3176"/>
                </a:lnTo>
                <a:lnTo>
                  <a:pt x="1950" y="3178"/>
                </a:lnTo>
                <a:lnTo>
                  <a:pt x="1952" y="3176"/>
                </a:lnTo>
                <a:lnTo>
                  <a:pt x="1952" y="3178"/>
                </a:lnTo>
                <a:lnTo>
                  <a:pt x="1948" y="3180"/>
                </a:lnTo>
                <a:lnTo>
                  <a:pt x="1945" y="3181"/>
                </a:lnTo>
                <a:lnTo>
                  <a:pt x="1943" y="3183"/>
                </a:lnTo>
                <a:lnTo>
                  <a:pt x="1942" y="3183"/>
                </a:lnTo>
                <a:lnTo>
                  <a:pt x="1938" y="3185"/>
                </a:lnTo>
                <a:lnTo>
                  <a:pt x="1937" y="3183"/>
                </a:lnTo>
                <a:lnTo>
                  <a:pt x="1933" y="3183"/>
                </a:lnTo>
                <a:lnTo>
                  <a:pt x="1933" y="3181"/>
                </a:lnTo>
                <a:lnTo>
                  <a:pt x="1935" y="3180"/>
                </a:lnTo>
                <a:lnTo>
                  <a:pt x="1937" y="3178"/>
                </a:lnTo>
                <a:lnTo>
                  <a:pt x="1938" y="3175"/>
                </a:lnTo>
                <a:lnTo>
                  <a:pt x="1942" y="3175"/>
                </a:lnTo>
                <a:lnTo>
                  <a:pt x="1943" y="3173"/>
                </a:lnTo>
                <a:lnTo>
                  <a:pt x="1945" y="3171"/>
                </a:lnTo>
                <a:close/>
                <a:moveTo>
                  <a:pt x="1892" y="3518"/>
                </a:moveTo>
                <a:lnTo>
                  <a:pt x="1894" y="3520"/>
                </a:lnTo>
                <a:lnTo>
                  <a:pt x="1892" y="3520"/>
                </a:lnTo>
                <a:lnTo>
                  <a:pt x="1894" y="3522"/>
                </a:lnTo>
                <a:lnTo>
                  <a:pt x="1894" y="3523"/>
                </a:lnTo>
                <a:lnTo>
                  <a:pt x="1894" y="3525"/>
                </a:lnTo>
                <a:lnTo>
                  <a:pt x="1896" y="3525"/>
                </a:lnTo>
                <a:lnTo>
                  <a:pt x="1896" y="3528"/>
                </a:lnTo>
                <a:lnTo>
                  <a:pt x="1899" y="3528"/>
                </a:lnTo>
                <a:lnTo>
                  <a:pt x="1901" y="3528"/>
                </a:lnTo>
                <a:lnTo>
                  <a:pt x="1904" y="3528"/>
                </a:lnTo>
                <a:lnTo>
                  <a:pt x="1908" y="3528"/>
                </a:lnTo>
                <a:lnTo>
                  <a:pt x="1908" y="3527"/>
                </a:lnTo>
                <a:lnTo>
                  <a:pt x="1911" y="3527"/>
                </a:lnTo>
                <a:lnTo>
                  <a:pt x="1911" y="3523"/>
                </a:lnTo>
                <a:lnTo>
                  <a:pt x="1913" y="3523"/>
                </a:lnTo>
                <a:lnTo>
                  <a:pt x="1911" y="3522"/>
                </a:lnTo>
                <a:lnTo>
                  <a:pt x="1913" y="3522"/>
                </a:lnTo>
                <a:lnTo>
                  <a:pt x="1914" y="3520"/>
                </a:lnTo>
                <a:lnTo>
                  <a:pt x="1916" y="3520"/>
                </a:lnTo>
                <a:lnTo>
                  <a:pt x="1918" y="3520"/>
                </a:lnTo>
                <a:lnTo>
                  <a:pt x="1920" y="3522"/>
                </a:lnTo>
                <a:lnTo>
                  <a:pt x="1920" y="3523"/>
                </a:lnTo>
                <a:lnTo>
                  <a:pt x="1920" y="3527"/>
                </a:lnTo>
                <a:lnTo>
                  <a:pt x="1918" y="3527"/>
                </a:lnTo>
                <a:lnTo>
                  <a:pt x="1914" y="3527"/>
                </a:lnTo>
                <a:lnTo>
                  <a:pt x="1913" y="3527"/>
                </a:lnTo>
                <a:lnTo>
                  <a:pt x="1913" y="3528"/>
                </a:lnTo>
                <a:lnTo>
                  <a:pt x="1914" y="3528"/>
                </a:lnTo>
                <a:lnTo>
                  <a:pt x="1916" y="3530"/>
                </a:lnTo>
                <a:lnTo>
                  <a:pt x="1918" y="3528"/>
                </a:lnTo>
                <a:lnTo>
                  <a:pt x="1921" y="3530"/>
                </a:lnTo>
                <a:lnTo>
                  <a:pt x="1923" y="3528"/>
                </a:lnTo>
                <a:lnTo>
                  <a:pt x="1925" y="3528"/>
                </a:lnTo>
                <a:lnTo>
                  <a:pt x="1925" y="3530"/>
                </a:lnTo>
                <a:lnTo>
                  <a:pt x="1925" y="3532"/>
                </a:lnTo>
                <a:lnTo>
                  <a:pt x="1926" y="3534"/>
                </a:lnTo>
                <a:lnTo>
                  <a:pt x="1926" y="3535"/>
                </a:lnTo>
                <a:lnTo>
                  <a:pt x="1928" y="3535"/>
                </a:lnTo>
                <a:lnTo>
                  <a:pt x="1931" y="3535"/>
                </a:lnTo>
                <a:lnTo>
                  <a:pt x="1933" y="3534"/>
                </a:lnTo>
                <a:lnTo>
                  <a:pt x="1935" y="3534"/>
                </a:lnTo>
                <a:lnTo>
                  <a:pt x="1938" y="3534"/>
                </a:lnTo>
                <a:lnTo>
                  <a:pt x="1938" y="3532"/>
                </a:lnTo>
                <a:lnTo>
                  <a:pt x="1940" y="3532"/>
                </a:lnTo>
                <a:lnTo>
                  <a:pt x="1943" y="3532"/>
                </a:lnTo>
                <a:lnTo>
                  <a:pt x="1945" y="3530"/>
                </a:lnTo>
                <a:lnTo>
                  <a:pt x="1947" y="3528"/>
                </a:lnTo>
                <a:lnTo>
                  <a:pt x="1948" y="3527"/>
                </a:lnTo>
                <a:lnTo>
                  <a:pt x="1950" y="3525"/>
                </a:lnTo>
                <a:lnTo>
                  <a:pt x="1954" y="3525"/>
                </a:lnTo>
                <a:lnTo>
                  <a:pt x="1955" y="3525"/>
                </a:lnTo>
                <a:lnTo>
                  <a:pt x="1957" y="3527"/>
                </a:lnTo>
                <a:lnTo>
                  <a:pt x="1959" y="3525"/>
                </a:lnTo>
                <a:lnTo>
                  <a:pt x="1960" y="3525"/>
                </a:lnTo>
                <a:lnTo>
                  <a:pt x="1962" y="3523"/>
                </a:lnTo>
                <a:lnTo>
                  <a:pt x="1964" y="3525"/>
                </a:lnTo>
                <a:lnTo>
                  <a:pt x="1965" y="3525"/>
                </a:lnTo>
                <a:lnTo>
                  <a:pt x="1967" y="3522"/>
                </a:lnTo>
                <a:lnTo>
                  <a:pt x="1967" y="3523"/>
                </a:lnTo>
                <a:lnTo>
                  <a:pt x="1969" y="3522"/>
                </a:lnTo>
                <a:lnTo>
                  <a:pt x="1971" y="3523"/>
                </a:lnTo>
                <a:lnTo>
                  <a:pt x="1971" y="3525"/>
                </a:lnTo>
                <a:lnTo>
                  <a:pt x="1972" y="3527"/>
                </a:lnTo>
                <a:lnTo>
                  <a:pt x="1974" y="3527"/>
                </a:lnTo>
                <a:lnTo>
                  <a:pt x="1976" y="3527"/>
                </a:lnTo>
                <a:lnTo>
                  <a:pt x="1979" y="3525"/>
                </a:lnTo>
                <a:lnTo>
                  <a:pt x="1977" y="3527"/>
                </a:lnTo>
                <a:lnTo>
                  <a:pt x="1981" y="3525"/>
                </a:lnTo>
                <a:lnTo>
                  <a:pt x="1981" y="3527"/>
                </a:lnTo>
                <a:lnTo>
                  <a:pt x="1982" y="3527"/>
                </a:lnTo>
                <a:lnTo>
                  <a:pt x="1984" y="3525"/>
                </a:lnTo>
                <a:lnTo>
                  <a:pt x="1988" y="3525"/>
                </a:lnTo>
                <a:lnTo>
                  <a:pt x="1991" y="3523"/>
                </a:lnTo>
                <a:lnTo>
                  <a:pt x="1993" y="3523"/>
                </a:lnTo>
                <a:lnTo>
                  <a:pt x="1993" y="3525"/>
                </a:lnTo>
                <a:lnTo>
                  <a:pt x="1994" y="3527"/>
                </a:lnTo>
                <a:lnTo>
                  <a:pt x="1996" y="3527"/>
                </a:lnTo>
                <a:lnTo>
                  <a:pt x="1998" y="3525"/>
                </a:lnTo>
                <a:lnTo>
                  <a:pt x="2001" y="3523"/>
                </a:lnTo>
                <a:lnTo>
                  <a:pt x="2003" y="3523"/>
                </a:lnTo>
                <a:lnTo>
                  <a:pt x="2005" y="3522"/>
                </a:lnTo>
                <a:lnTo>
                  <a:pt x="2006" y="3520"/>
                </a:lnTo>
                <a:lnTo>
                  <a:pt x="2008" y="3520"/>
                </a:lnTo>
                <a:lnTo>
                  <a:pt x="2010" y="3520"/>
                </a:lnTo>
                <a:lnTo>
                  <a:pt x="2011" y="3518"/>
                </a:lnTo>
                <a:lnTo>
                  <a:pt x="2013" y="3518"/>
                </a:lnTo>
                <a:lnTo>
                  <a:pt x="2015" y="3518"/>
                </a:lnTo>
                <a:lnTo>
                  <a:pt x="2015" y="3520"/>
                </a:lnTo>
                <a:lnTo>
                  <a:pt x="2013" y="3522"/>
                </a:lnTo>
                <a:lnTo>
                  <a:pt x="2013" y="3525"/>
                </a:lnTo>
                <a:lnTo>
                  <a:pt x="2015" y="3527"/>
                </a:lnTo>
                <a:lnTo>
                  <a:pt x="2013" y="3528"/>
                </a:lnTo>
                <a:lnTo>
                  <a:pt x="2013" y="3530"/>
                </a:lnTo>
                <a:lnTo>
                  <a:pt x="2013" y="3532"/>
                </a:lnTo>
                <a:lnTo>
                  <a:pt x="2015" y="3532"/>
                </a:lnTo>
                <a:lnTo>
                  <a:pt x="2015" y="3534"/>
                </a:lnTo>
                <a:lnTo>
                  <a:pt x="2016" y="3534"/>
                </a:lnTo>
                <a:lnTo>
                  <a:pt x="2018" y="3534"/>
                </a:lnTo>
                <a:lnTo>
                  <a:pt x="2020" y="3535"/>
                </a:lnTo>
                <a:lnTo>
                  <a:pt x="2022" y="3532"/>
                </a:lnTo>
                <a:lnTo>
                  <a:pt x="2022" y="3530"/>
                </a:lnTo>
                <a:lnTo>
                  <a:pt x="2023" y="3528"/>
                </a:lnTo>
                <a:lnTo>
                  <a:pt x="2027" y="3527"/>
                </a:lnTo>
                <a:lnTo>
                  <a:pt x="2028" y="3527"/>
                </a:lnTo>
                <a:lnTo>
                  <a:pt x="2030" y="3525"/>
                </a:lnTo>
                <a:lnTo>
                  <a:pt x="2030" y="3523"/>
                </a:lnTo>
                <a:lnTo>
                  <a:pt x="2033" y="3522"/>
                </a:lnTo>
                <a:lnTo>
                  <a:pt x="2033" y="3523"/>
                </a:lnTo>
                <a:lnTo>
                  <a:pt x="2035" y="3523"/>
                </a:lnTo>
                <a:lnTo>
                  <a:pt x="2035" y="3522"/>
                </a:lnTo>
                <a:lnTo>
                  <a:pt x="2037" y="3523"/>
                </a:lnTo>
                <a:lnTo>
                  <a:pt x="2039" y="3523"/>
                </a:lnTo>
                <a:lnTo>
                  <a:pt x="2040" y="3523"/>
                </a:lnTo>
                <a:lnTo>
                  <a:pt x="2040" y="3522"/>
                </a:lnTo>
                <a:lnTo>
                  <a:pt x="2042" y="3518"/>
                </a:lnTo>
                <a:lnTo>
                  <a:pt x="2042" y="3517"/>
                </a:lnTo>
                <a:lnTo>
                  <a:pt x="2044" y="3517"/>
                </a:lnTo>
                <a:lnTo>
                  <a:pt x="2045" y="3517"/>
                </a:lnTo>
                <a:lnTo>
                  <a:pt x="2044" y="3515"/>
                </a:lnTo>
                <a:lnTo>
                  <a:pt x="2045" y="3515"/>
                </a:lnTo>
                <a:lnTo>
                  <a:pt x="2044" y="3513"/>
                </a:lnTo>
                <a:lnTo>
                  <a:pt x="2045" y="3513"/>
                </a:lnTo>
                <a:lnTo>
                  <a:pt x="2045" y="3515"/>
                </a:lnTo>
                <a:lnTo>
                  <a:pt x="2045" y="3517"/>
                </a:lnTo>
                <a:lnTo>
                  <a:pt x="2044" y="3518"/>
                </a:lnTo>
                <a:lnTo>
                  <a:pt x="2045" y="3520"/>
                </a:lnTo>
                <a:lnTo>
                  <a:pt x="2045" y="3522"/>
                </a:lnTo>
                <a:lnTo>
                  <a:pt x="2047" y="3522"/>
                </a:lnTo>
                <a:lnTo>
                  <a:pt x="2049" y="3522"/>
                </a:lnTo>
                <a:lnTo>
                  <a:pt x="2049" y="3523"/>
                </a:lnTo>
                <a:lnTo>
                  <a:pt x="2047" y="3523"/>
                </a:lnTo>
                <a:lnTo>
                  <a:pt x="2047" y="3525"/>
                </a:lnTo>
                <a:lnTo>
                  <a:pt x="2047" y="3528"/>
                </a:lnTo>
                <a:lnTo>
                  <a:pt x="2047" y="3530"/>
                </a:lnTo>
                <a:lnTo>
                  <a:pt x="2047" y="3532"/>
                </a:lnTo>
                <a:lnTo>
                  <a:pt x="2045" y="3534"/>
                </a:lnTo>
                <a:lnTo>
                  <a:pt x="2044" y="3537"/>
                </a:lnTo>
                <a:lnTo>
                  <a:pt x="2042" y="3537"/>
                </a:lnTo>
                <a:lnTo>
                  <a:pt x="2040" y="3539"/>
                </a:lnTo>
                <a:lnTo>
                  <a:pt x="2039" y="3539"/>
                </a:lnTo>
                <a:lnTo>
                  <a:pt x="2039" y="3537"/>
                </a:lnTo>
                <a:lnTo>
                  <a:pt x="2037" y="3537"/>
                </a:lnTo>
                <a:lnTo>
                  <a:pt x="2035" y="3539"/>
                </a:lnTo>
                <a:lnTo>
                  <a:pt x="2033" y="3539"/>
                </a:lnTo>
                <a:lnTo>
                  <a:pt x="2032" y="3537"/>
                </a:lnTo>
                <a:lnTo>
                  <a:pt x="2030" y="3539"/>
                </a:lnTo>
                <a:lnTo>
                  <a:pt x="2028" y="3539"/>
                </a:lnTo>
                <a:lnTo>
                  <a:pt x="2027" y="3539"/>
                </a:lnTo>
                <a:lnTo>
                  <a:pt x="2025" y="3540"/>
                </a:lnTo>
                <a:lnTo>
                  <a:pt x="2023" y="3540"/>
                </a:lnTo>
                <a:lnTo>
                  <a:pt x="2022" y="3542"/>
                </a:lnTo>
                <a:lnTo>
                  <a:pt x="2018" y="3542"/>
                </a:lnTo>
                <a:lnTo>
                  <a:pt x="2018" y="3544"/>
                </a:lnTo>
                <a:lnTo>
                  <a:pt x="2015" y="3542"/>
                </a:lnTo>
                <a:lnTo>
                  <a:pt x="2013" y="3544"/>
                </a:lnTo>
                <a:lnTo>
                  <a:pt x="2010" y="3544"/>
                </a:lnTo>
                <a:lnTo>
                  <a:pt x="2006" y="3547"/>
                </a:lnTo>
                <a:lnTo>
                  <a:pt x="2005" y="3547"/>
                </a:lnTo>
                <a:lnTo>
                  <a:pt x="2001" y="3547"/>
                </a:lnTo>
                <a:lnTo>
                  <a:pt x="1999" y="3549"/>
                </a:lnTo>
                <a:lnTo>
                  <a:pt x="1996" y="3547"/>
                </a:lnTo>
                <a:lnTo>
                  <a:pt x="1994" y="3549"/>
                </a:lnTo>
                <a:lnTo>
                  <a:pt x="1991" y="3551"/>
                </a:lnTo>
                <a:lnTo>
                  <a:pt x="1991" y="3552"/>
                </a:lnTo>
                <a:lnTo>
                  <a:pt x="1988" y="3554"/>
                </a:lnTo>
                <a:lnTo>
                  <a:pt x="1986" y="3554"/>
                </a:lnTo>
                <a:lnTo>
                  <a:pt x="1984" y="3554"/>
                </a:lnTo>
                <a:lnTo>
                  <a:pt x="1981" y="3556"/>
                </a:lnTo>
                <a:lnTo>
                  <a:pt x="1977" y="3556"/>
                </a:lnTo>
                <a:lnTo>
                  <a:pt x="1977" y="3557"/>
                </a:lnTo>
                <a:lnTo>
                  <a:pt x="1974" y="3559"/>
                </a:lnTo>
                <a:lnTo>
                  <a:pt x="1972" y="3557"/>
                </a:lnTo>
                <a:lnTo>
                  <a:pt x="1971" y="3559"/>
                </a:lnTo>
                <a:lnTo>
                  <a:pt x="1969" y="3559"/>
                </a:lnTo>
                <a:lnTo>
                  <a:pt x="1965" y="3559"/>
                </a:lnTo>
                <a:lnTo>
                  <a:pt x="1964" y="3561"/>
                </a:lnTo>
                <a:lnTo>
                  <a:pt x="1962" y="3561"/>
                </a:lnTo>
                <a:lnTo>
                  <a:pt x="1960" y="3561"/>
                </a:lnTo>
                <a:lnTo>
                  <a:pt x="1960" y="3559"/>
                </a:lnTo>
                <a:lnTo>
                  <a:pt x="1960" y="3556"/>
                </a:lnTo>
                <a:lnTo>
                  <a:pt x="1960" y="3554"/>
                </a:lnTo>
                <a:lnTo>
                  <a:pt x="1959" y="3552"/>
                </a:lnTo>
                <a:lnTo>
                  <a:pt x="1959" y="3551"/>
                </a:lnTo>
                <a:lnTo>
                  <a:pt x="1955" y="3549"/>
                </a:lnTo>
                <a:lnTo>
                  <a:pt x="1952" y="3551"/>
                </a:lnTo>
                <a:lnTo>
                  <a:pt x="1950" y="3551"/>
                </a:lnTo>
                <a:lnTo>
                  <a:pt x="1948" y="3551"/>
                </a:lnTo>
                <a:lnTo>
                  <a:pt x="1947" y="3551"/>
                </a:lnTo>
                <a:lnTo>
                  <a:pt x="1945" y="3549"/>
                </a:lnTo>
                <a:lnTo>
                  <a:pt x="1942" y="3547"/>
                </a:lnTo>
                <a:lnTo>
                  <a:pt x="1940" y="3549"/>
                </a:lnTo>
                <a:lnTo>
                  <a:pt x="1938" y="3547"/>
                </a:lnTo>
                <a:lnTo>
                  <a:pt x="1937" y="3547"/>
                </a:lnTo>
                <a:lnTo>
                  <a:pt x="1937" y="3545"/>
                </a:lnTo>
                <a:lnTo>
                  <a:pt x="1935" y="3547"/>
                </a:lnTo>
                <a:lnTo>
                  <a:pt x="1931" y="3547"/>
                </a:lnTo>
                <a:lnTo>
                  <a:pt x="1930" y="3549"/>
                </a:lnTo>
                <a:lnTo>
                  <a:pt x="1926" y="3549"/>
                </a:lnTo>
                <a:lnTo>
                  <a:pt x="1925" y="3547"/>
                </a:lnTo>
                <a:lnTo>
                  <a:pt x="1923" y="3549"/>
                </a:lnTo>
                <a:lnTo>
                  <a:pt x="1921" y="3549"/>
                </a:lnTo>
                <a:lnTo>
                  <a:pt x="1918" y="3551"/>
                </a:lnTo>
                <a:lnTo>
                  <a:pt x="1916" y="3551"/>
                </a:lnTo>
                <a:lnTo>
                  <a:pt x="1914" y="3551"/>
                </a:lnTo>
                <a:lnTo>
                  <a:pt x="1913" y="3549"/>
                </a:lnTo>
                <a:lnTo>
                  <a:pt x="1909" y="3549"/>
                </a:lnTo>
                <a:lnTo>
                  <a:pt x="1908" y="3549"/>
                </a:lnTo>
                <a:lnTo>
                  <a:pt x="1906" y="3549"/>
                </a:lnTo>
                <a:lnTo>
                  <a:pt x="1904" y="3549"/>
                </a:lnTo>
                <a:lnTo>
                  <a:pt x="1903" y="3549"/>
                </a:lnTo>
                <a:lnTo>
                  <a:pt x="1901" y="3549"/>
                </a:lnTo>
                <a:lnTo>
                  <a:pt x="1899" y="3551"/>
                </a:lnTo>
                <a:lnTo>
                  <a:pt x="1897" y="3551"/>
                </a:lnTo>
                <a:lnTo>
                  <a:pt x="1896" y="3551"/>
                </a:lnTo>
                <a:lnTo>
                  <a:pt x="1894" y="3552"/>
                </a:lnTo>
                <a:lnTo>
                  <a:pt x="1892" y="3551"/>
                </a:lnTo>
                <a:lnTo>
                  <a:pt x="1892" y="3552"/>
                </a:lnTo>
                <a:lnTo>
                  <a:pt x="1889" y="3552"/>
                </a:lnTo>
                <a:lnTo>
                  <a:pt x="1887" y="3551"/>
                </a:lnTo>
                <a:lnTo>
                  <a:pt x="1884" y="3551"/>
                </a:lnTo>
                <a:lnTo>
                  <a:pt x="1886" y="3551"/>
                </a:lnTo>
                <a:lnTo>
                  <a:pt x="1884" y="3549"/>
                </a:lnTo>
                <a:lnTo>
                  <a:pt x="1886" y="3547"/>
                </a:lnTo>
                <a:lnTo>
                  <a:pt x="1884" y="3545"/>
                </a:lnTo>
                <a:lnTo>
                  <a:pt x="1884" y="3542"/>
                </a:lnTo>
                <a:lnTo>
                  <a:pt x="1884" y="3540"/>
                </a:lnTo>
                <a:lnTo>
                  <a:pt x="1886" y="3539"/>
                </a:lnTo>
                <a:lnTo>
                  <a:pt x="1884" y="3537"/>
                </a:lnTo>
                <a:lnTo>
                  <a:pt x="1886" y="3535"/>
                </a:lnTo>
                <a:lnTo>
                  <a:pt x="1884" y="3534"/>
                </a:lnTo>
                <a:lnTo>
                  <a:pt x="1884" y="3530"/>
                </a:lnTo>
                <a:lnTo>
                  <a:pt x="1884" y="3528"/>
                </a:lnTo>
                <a:lnTo>
                  <a:pt x="1884" y="3527"/>
                </a:lnTo>
                <a:lnTo>
                  <a:pt x="1884" y="3525"/>
                </a:lnTo>
                <a:lnTo>
                  <a:pt x="1884" y="3523"/>
                </a:lnTo>
                <a:lnTo>
                  <a:pt x="1886" y="3525"/>
                </a:lnTo>
                <a:lnTo>
                  <a:pt x="1884" y="3527"/>
                </a:lnTo>
                <a:lnTo>
                  <a:pt x="1886" y="3528"/>
                </a:lnTo>
                <a:lnTo>
                  <a:pt x="1886" y="3532"/>
                </a:lnTo>
                <a:lnTo>
                  <a:pt x="1887" y="3532"/>
                </a:lnTo>
                <a:lnTo>
                  <a:pt x="1889" y="3534"/>
                </a:lnTo>
                <a:lnTo>
                  <a:pt x="1891" y="3532"/>
                </a:lnTo>
                <a:lnTo>
                  <a:pt x="1892" y="3532"/>
                </a:lnTo>
                <a:lnTo>
                  <a:pt x="1892" y="3528"/>
                </a:lnTo>
                <a:lnTo>
                  <a:pt x="1892" y="3527"/>
                </a:lnTo>
                <a:lnTo>
                  <a:pt x="1891" y="3525"/>
                </a:lnTo>
                <a:lnTo>
                  <a:pt x="1891" y="3522"/>
                </a:lnTo>
                <a:lnTo>
                  <a:pt x="1891" y="3520"/>
                </a:lnTo>
                <a:lnTo>
                  <a:pt x="1891" y="3518"/>
                </a:lnTo>
                <a:lnTo>
                  <a:pt x="1892" y="3518"/>
                </a:lnTo>
                <a:close/>
                <a:moveTo>
                  <a:pt x="2028" y="3120"/>
                </a:moveTo>
                <a:lnTo>
                  <a:pt x="2030" y="3122"/>
                </a:lnTo>
                <a:lnTo>
                  <a:pt x="2032" y="3120"/>
                </a:lnTo>
                <a:lnTo>
                  <a:pt x="2032" y="3122"/>
                </a:lnTo>
                <a:lnTo>
                  <a:pt x="2035" y="3122"/>
                </a:lnTo>
                <a:lnTo>
                  <a:pt x="2033" y="3124"/>
                </a:lnTo>
                <a:lnTo>
                  <a:pt x="2032" y="3125"/>
                </a:lnTo>
                <a:lnTo>
                  <a:pt x="2030" y="3127"/>
                </a:lnTo>
                <a:lnTo>
                  <a:pt x="2027" y="3127"/>
                </a:lnTo>
                <a:lnTo>
                  <a:pt x="2025" y="3127"/>
                </a:lnTo>
                <a:lnTo>
                  <a:pt x="2023" y="3124"/>
                </a:lnTo>
                <a:lnTo>
                  <a:pt x="2025" y="3122"/>
                </a:lnTo>
                <a:lnTo>
                  <a:pt x="2025" y="3124"/>
                </a:lnTo>
                <a:lnTo>
                  <a:pt x="2027" y="3122"/>
                </a:lnTo>
                <a:lnTo>
                  <a:pt x="2028" y="3122"/>
                </a:lnTo>
                <a:lnTo>
                  <a:pt x="2028" y="3120"/>
                </a:lnTo>
                <a:close/>
                <a:moveTo>
                  <a:pt x="2049" y="2775"/>
                </a:moveTo>
                <a:lnTo>
                  <a:pt x="2050" y="2775"/>
                </a:lnTo>
                <a:lnTo>
                  <a:pt x="2050" y="2777"/>
                </a:lnTo>
                <a:lnTo>
                  <a:pt x="2050" y="2778"/>
                </a:lnTo>
                <a:lnTo>
                  <a:pt x="2050" y="2780"/>
                </a:lnTo>
                <a:lnTo>
                  <a:pt x="2049" y="2778"/>
                </a:lnTo>
                <a:lnTo>
                  <a:pt x="2047" y="2775"/>
                </a:lnTo>
                <a:lnTo>
                  <a:pt x="2049" y="2775"/>
                </a:lnTo>
                <a:close/>
                <a:moveTo>
                  <a:pt x="1821" y="3285"/>
                </a:moveTo>
                <a:lnTo>
                  <a:pt x="1824" y="3287"/>
                </a:lnTo>
                <a:lnTo>
                  <a:pt x="1826" y="3287"/>
                </a:lnTo>
                <a:lnTo>
                  <a:pt x="1828" y="3290"/>
                </a:lnTo>
                <a:lnTo>
                  <a:pt x="1829" y="3290"/>
                </a:lnTo>
                <a:lnTo>
                  <a:pt x="1829" y="3294"/>
                </a:lnTo>
                <a:lnTo>
                  <a:pt x="1831" y="3294"/>
                </a:lnTo>
                <a:lnTo>
                  <a:pt x="1831" y="3295"/>
                </a:lnTo>
                <a:lnTo>
                  <a:pt x="1833" y="3297"/>
                </a:lnTo>
                <a:lnTo>
                  <a:pt x="1836" y="3299"/>
                </a:lnTo>
                <a:lnTo>
                  <a:pt x="1840" y="3301"/>
                </a:lnTo>
                <a:lnTo>
                  <a:pt x="1841" y="3301"/>
                </a:lnTo>
                <a:lnTo>
                  <a:pt x="1841" y="3302"/>
                </a:lnTo>
                <a:lnTo>
                  <a:pt x="1841" y="3301"/>
                </a:lnTo>
                <a:lnTo>
                  <a:pt x="1843" y="3302"/>
                </a:lnTo>
                <a:lnTo>
                  <a:pt x="1845" y="3302"/>
                </a:lnTo>
                <a:lnTo>
                  <a:pt x="1846" y="3301"/>
                </a:lnTo>
                <a:lnTo>
                  <a:pt x="1850" y="3302"/>
                </a:lnTo>
                <a:lnTo>
                  <a:pt x="1852" y="3304"/>
                </a:lnTo>
                <a:lnTo>
                  <a:pt x="1853" y="3304"/>
                </a:lnTo>
                <a:lnTo>
                  <a:pt x="1855" y="3304"/>
                </a:lnTo>
                <a:lnTo>
                  <a:pt x="1857" y="3306"/>
                </a:lnTo>
                <a:lnTo>
                  <a:pt x="1858" y="3304"/>
                </a:lnTo>
                <a:lnTo>
                  <a:pt x="1862" y="3306"/>
                </a:lnTo>
                <a:lnTo>
                  <a:pt x="1863" y="3304"/>
                </a:lnTo>
                <a:lnTo>
                  <a:pt x="1865" y="3304"/>
                </a:lnTo>
                <a:lnTo>
                  <a:pt x="1867" y="3302"/>
                </a:lnTo>
                <a:lnTo>
                  <a:pt x="1869" y="3304"/>
                </a:lnTo>
                <a:lnTo>
                  <a:pt x="1869" y="3302"/>
                </a:lnTo>
                <a:lnTo>
                  <a:pt x="1870" y="3302"/>
                </a:lnTo>
                <a:lnTo>
                  <a:pt x="1872" y="3302"/>
                </a:lnTo>
                <a:lnTo>
                  <a:pt x="1874" y="3304"/>
                </a:lnTo>
                <a:lnTo>
                  <a:pt x="1872" y="3306"/>
                </a:lnTo>
                <a:lnTo>
                  <a:pt x="1872" y="3307"/>
                </a:lnTo>
                <a:lnTo>
                  <a:pt x="1875" y="3309"/>
                </a:lnTo>
                <a:lnTo>
                  <a:pt x="1877" y="3311"/>
                </a:lnTo>
                <a:lnTo>
                  <a:pt x="1879" y="3311"/>
                </a:lnTo>
                <a:lnTo>
                  <a:pt x="1879" y="3314"/>
                </a:lnTo>
                <a:lnTo>
                  <a:pt x="1877" y="3314"/>
                </a:lnTo>
                <a:lnTo>
                  <a:pt x="1879" y="3318"/>
                </a:lnTo>
                <a:lnTo>
                  <a:pt x="1879" y="3319"/>
                </a:lnTo>
                <a:lnTo>
                  <a:pt x="1880" y="3319"/>
                </a:lnTo>
                <a:lnTo>
                  <a:pt x="1879" y="3319"/>
                </a:lnTo>
                <a:lnTo>
                  <a:pt x="1879" y="3321"/>
                </a:lnTo>
                <a:lnTo>
                  <a:pt x="1880" y="3323"/>
                </a:lnTo>
                <a:lnTo>
                  <a:pt x="1880" y="3324"/>
                </a:lnTo>
                <a:lnTo>
                  <a:pt x="1882" y="3326"/>
                </a:lnTo>
                <a:lnTo>
                  <a:pt x="1884" y="3328"/>
                </a:lnTo>
                <a:lnTo>
                  <a:pt x="1886" y="3331"/>
                </a:lnTo>
                <a:lnTo>
                  <a:pt x="1884" y="3333"/>
                </a:lnTo>
                <a:lnTo>
                  <a:pt x="1886" y="3335"/>
                </a:lnTo>
                <a:lnTo>
                  <a:pt x="1889" y="3335"/>
                </a:lnTo>
                <a:lnTo>
                  <a:pt x="1891" y="3336"/>
                </a:lnTo>
                <a:lnTo>
                  <a:pt x="1894" y="3335"/>
                </a:lnTo>
                <a:lnTo>
                  <a:pt x="1896" y="3336"/>
                </a:lnTo>
                <a:lnTo>
                  <a:pt x="1897" y="3336"/>
                </a:lnTo>
                <a:lnTo>
                  <a:pt x="1901" y="3335"/>
                </a:lnTo>
                <a:lnTo>
                  <a:pt x="1903" y="3335"/>
                </a:lnTo>
                <a:lnTo>
                  <a:pt x="1904" y="3333"/>
                </a:lnTo>
                <a:lnTo>
                  <a:pt x="1904" y="3335"/>
                </a:lnTo>
                <a:lnTo>
                  <a:pt x="1904" y="3338"/>
                </a:lnTo>
                <a:lnTo>
                  <a:pt x="1904" y="3340"/>
                </a:lnTo>
                <a:lnTo>
                  <a:pt x="1906" y="3340"/>
                </a:lnTo>
                <a:lnTo>
                  <a:pt x="1906" y="3343"/>
                </a:lnTo>
                <a:lnTo>
                  <a:pt x="1906" y="3345"/>
                </a:lnTo>
                <a:lnTo>
                  <a:pt x="1906" y="3346"/>
                </a:lnTo>
                <a:lnTo>
                  <a:pt x="1904" y="3346"/>
                </a:lnTo>
                <a:lnTo>
                  <a:pt x="1903" y="3348"/>
                </a:lnTo>
                <a:lnTo>
                  <a:pt x="1903" y="3350"/>
                </a:lnTo>
                <a:lnTo>
                  <a:pt x="1901" y="3348"/>
                </a:lnTo>
                <a:lnTo>
                  <a:pt x="1899" y="3346"/>
                </a:lnTo>
                <a:lnTo>
                  <a:pt x="1897" y="3345"/>
                </a:lnTo>
                <a:lnTo>
                  <a:pt x="1896" y="3346"/>
                </a:lnTo>
                <a:lnTo>
                  <a:pt x="1896" y="3348"/>
                </a:lnTo>
                <a:lnTo>
                  <a:pt x="1897" y="3348"/>
                </a:lnTo>
                <a:lnTo>
                  <a:pt x="1896" y="3350"/>
                </a:lnTo>
                <a:lnTo>
                  <a:pt x="1892" y="3348"/>
                </a:lnTo>
                <a:lnTo>
                  <a:pt x="1892" y="3346"/>
                </a:lnTo>
                <a:lnTo>
                  <a:pt x="1891" y="3346"/>
                </a:lnTo>
                <a:lnTo>
                  <a:pt x="1891" y="3345"/>
                </a:lnTo>
                <a:lnTo>
                  <a:pt x="1891" y="3343"/>
                </a:lnTo>
                <a:lnTo>
                  <a:pt x="1889" y="3343"/>
                </a:lnTo>
                <a:lnTo>
                  <a:pt x="1889" y="3341"/>
                </a:lnTo>
                <a:lnTo>
                  <a:pt x="1887" y="3341"/>
                </a:lnTo>
                <a:lnTo>
                  <a:pt x="1884" y="3343"/>
                </a:lnTo>
                <a:lnTo>
                  <a:pt x="1884" y="3340"/>
                </a:lnTo>
                <a:lnTo>
                  <a:pt x="1882" y="3340"/>
                </a:lnTo>
                <a:lnTo>
                  <a:pt x="1884" y="3336"/>
                </a:lnTo>
                <a:lnTo>
                  <a:pt x="1882" y="3336"/>
                </a:lnTo>
                <a:lnTo>
                  <a:pt x="1882" y="3335"/>
                </a:lnTo>
                <a:lnTo>
                  <a:pt x="1879" y="3333"/>
                </a:lnTo>
                <a:lnTo>
                  <a:pt x="1879" y="3335"/>
                </a:lnTo>
                <a:lnTo>
                  <a:pt x="1877" y="3335"/>
                </a:lnTo>
                <a:lnTo>
                  <a:pt x="1879" y="3333"/>
                </a:lnTo>
                <a:lnTo>
                  <a:pt x="1879" y="3331"/>
                </a:lnTo>
                <a:lnTo>
                  <a:pt x="1879" y="3329"/>
                </a:lnTo>
                <a:lnTo>
                  <a:pt x="1877" y="3329"/>
                </a:lnTo>
                <a:lnTo>
                  <a:pt x="1877" y="3333"/>
                </a:lnTo>
                <a:lnTo>
                  <a:pt x="1875" y="3329"/>
                </a:lnTo>
                <a:lnTo>
                  <a:pt x="1877" y="3329"/>
                </a:lnTo>
                <a:lnTo>
                  <a:pt x="1875" y="3328"/>
                </a:lnTo>
                <a:lnTo>
                  <a:pt x="1874" y="3328"/>
                </a:lnTo>
                <a:lnTo>
                  <a:pt x="1870" y="3328"/>
                </a:lnTo>
                <a:lnTo>
                  <a:pt x="1872" y="3326"/>
                </a:lnTo>
                <a:lnTo>
                  <a:pt x="1872" y="3324"/>
                </a:lnTo>
                <a:lnTo>
                  <a:pt x="1872" y="3323"/>
                </a:lnTo>
                <a:lnTo>
                  <a:pt x="1870" y="3323"/>
                </a:lnTo>
                <a:lnTo>
                  <a:pt x="1869" y="3323"/>
                </a:lnTo>
                <a:lnTo>
                  <a:pt x="1867" y="3324"/>
                </a:lnTo>
                <a:lnTo>
                  <a:pt x="1865" y="3324"/>
                </a:lnTo>
                <a:lnTo>
                  <a:pt x="1863" y="3324"/>
                </a:lnTo>
                <a:lnTo>
                  <a:pt x="1860" y="3324"/>
                </a:lnTo>
                <a:lnTo>
                  <a:pt x="1858" y="3324"/>
                </a:lnTo>
                <a:lnTo>
                  <a:pt x="1858" y="3326"/>
                </a:lnTo>
                <a:lnTo>
                  <a:pt x="1857" y="3326"/>
                </a:lnTo>
                <a:lnTo>
                  <a:pt x="1853" y="3326"/>
                </a:lnTo>
                <a:lnTo>
                  <a:pt x="1853" y="3324"/>
                </a:lnTo>
                <a:lnTo>
                  <a:pt x="1850" y="3326"/>
                </a:lnTo>
                <a:lnTo>
                  <a:pt x="1848" y="3326"/>
                </a:lnTo>
                <a:lnTo>
                  <a:pt x="1846" y="3324"/>
                </a:lnTo>
                <a:lnTo>
                  <a:pt x="1846" y="3323"/>
                </a:lnTo>
                <a:lnTo>
                  <a:pt x="1845" y="3324"/>
                </a:lnTo>
                <a:lnTo>
                  <a:pt x="1845" y="3321"/>
                </a:lnTo>
                <a:lnTo>
                  <a:pt x="1846" y="3321"/>
                </a:lnTo>
                <a:lnTo>
                  <a:pt x="1846" y="3319"/>
                </a:lnTo>
                <a:lnTo>
                  <a:pt x="1846" y="3318"/>
                </a:lnTo>
                <a:lnTo>
                  <a:pt x="1845" y="3316"/>
                </a:lnTo>
                <a:lnTo>
                  <a:pt x="1841" y="3314"/>
                </a:lnTo>
                <a:lnTo>
                  <a:pt x="1840" y="3316"/>
                </a:lnTo>
                <a:lnTo>
                  <a:pt x="1840" y="3314"/>
                </a:lnTo>
                <a:lnTo>
                  <a:pt x="1838" y="3314"/>
                </a:lnTo>
                <a:lnTo>
                  <a:pt x="1838" y="3312"/>
                </a:lnTo>
                <a:lnTo>
                  <a:pt x="1835" y="3311"/>
                </a:lnTo>
                <a:lnTo>
                  <a:pt x="1833" y="3309"/>
                </a:lnTo>
                <a:lnTo>
                  <a:pt x="1831" y="3309"/>
                </a:lnTo>
                <a:lnTo>
                  <a:pt x="1828" y="3307"/>
                </a:lnTo>
                <a:lnTo>
                  <a:pt x="1826" y="3304"/>
                </a:lnTo>
                <a:lnTo>
                  <a:pt x="1824" y="3304"/>
                </a:lnTo>
                <a:lnTo>
                  <a:pt x="1821" y="3302"/>
                </a:lnTo>
                <a:lnTo>
                  <a:pt x="1818" y="3301"/>
                </a:lnTo>
                <a:lnTo>
                  <a:pt x="1814" y="3301"/>
                </a:lnTo>
                <a:lnTo>
                  <a:pt x="1812" y="3302"/>
                </a:lnTo>
                <a:lnTo>
                  <a:pt x="1809" y="3301"/>
                </a:lnTo>
                <a:lnTo>
                  <a:pt x="1809" y="3299"/>
                </a:lnTo>
                <a:lnTo>
                  <a:pt x="1806" y="3299"/>
                </a:lnTo>
                <a:lnTo>
                  <a:pt x="1804" y="3301"/>
                </a:lnTo>
                <a:lnTo>
                  <a:pt x="1806" y="3301"/>
                </a:lnTo>
                <a:lnTo>
                  <a:pt x="1807" y="3302"/>
                </a:lnTo>
                <a:lnTo>
                  <a:pt x="1806" y="3302"/>
                </a:lnTo>
                <a:lnTo>
                  <a:pt x="1804" y="3304"/>
                </a:lnTo>
                <a:lnTo>
                  <a:pt x="1801" y="3304"/>
                </a:lnTo>
                <a:lnTo>
                  <a:pt x="1799" y="3306"/>
                </a:lnTo>
                <a:lnTo>
                  <a:pt x="1799" y="3304"/>
                </a:lnTo>
                <a:lnTo>
                  <a:pt x="1799" y="3302"/>
                </a:lnTo>
                <a:lnTo>
                  <a:pt x="1802" y="3301"/>
                </a:lnTo>
                <a:lnTo>
                  <a:pt x="1804" y="3299"/>
                </a:lnTo>
                <a:lnTo>
                  <a:pt x="1806" y="3297"/>
                </a:lnTo>
                <a:lnTo>
                  <a:pt x="1807" y="3297"/>
                </a:lnTo>
                <a:lnTo>
                  <a:pt x="1809" y="3295"/>
                </a:lnTo>
                <a:lnTo>
                  <a:pt x="1809" y="3294"/>
                </a:lnTo>
                <a:lnTo>
                  <a:pt x="1811" y="3294"/>
                </a:lnTo>
                <a:lnTo>
                  <a:pt x="1811" y="3292"/>
                </a:lnTo>
                <a:lnTo>
                  <a:pt x="1812" y="3289"/>
                </a:lnTo>
                <a:lnTo>
                  <a:pt x="1814" y="3289"/>
                </a:lnTo>
                <a:lnTo>
                  <a:pt x="1816" y="3289"/>
                </a:lnTo>
                <a:lnTo>
                  <a:pt x="1818" y="3287"/>
                </a:lnTo>
                <a:lnTo>
                  <a:pt x="1821" y="3285"/>
                </a:lnTo>
                <a:close/>
                <a:moveTo>
                  <a:pt x="1982" y="3226"/>
                </a:moveTo>
                <a:lnTo>
                  <a:pt x="1982" y="3229"/>
                </a:lnTo>
                <a:lnTo>
                  <a:pt x="1986" y="3229"/>
                </a:lnTo>
                <a:lnTo>
                  <a:pt x="1988" y="3229"/>
                </a:lnTo>
                <a:lnTo>
                  <a:pt x="1988" y="3231"/>
                </a:lnTo>
                <a:lnTo>
                  <a:pt x="1986" y="3231"/>
                </a:lnTo>
                <a:lnTo>
                  <a:pt x="1986" y="3232"/>
                </a:lnTo>
                <a:lnTo>
                  <a:pt x="1986" y="3234"/>
                </a:lnTo>
                <a:lnTo>
                  <a:pt x="1988" y="3234"/>
                </a:lnTo>
                <a:lnTo>
                  <a:pt x="1989" y="3236"/>
                </a:lnTo>
                <a:lnTo>
                  <a:pt x="1991" y="3236"/>
                </a:lnTo>
                <a:lnTo>
                  <a:pt x="1993" y="3239"/>
                </a:lnTo>
                <a:lnTo>
                  <a:pt x="1996" y="3239"/>
                </a:lnTo>
                <a:lnTo>
                  <a:pt x="1996" y="3241"/>
                </a:lnTo>
                <a:lnTo>
                  <a:pt x="1998" y="3243"/>
                </a:lnTo>
                <a:lnTo>
                  <a:pt x="1998" y="3244"/>
                </a:lnTo>
                <a:lnTo>
                  <a:pt x="2001" y="3246"/>
                </a:lnTo>
                <a:lnTo>
                  <a:pt x="2003" y="3249"/>
                </a:lnTo>
                <a:lnTo>
                  <a:pt x="1999" y="3249"/>
                </a:lnTo>
                <a:lnTo>
                  <a:pt x="1998" y="3249"/>
                </a:lnTo>
                <a:lnTo>
                  <a:pt x="1998" y="3248"/>
                </a:lnTo>
                <a:lnTo>
                  <a:pt x="1996" y="3248"/>
                </a:lnTo>
                <a:lnTo>
                  <a:pt x="1998" y="3246"/>
                </a:lnTo>
                <a:lnTo>
                  <a:pt x="1996" y="3244"/>
                </a:lnTo>
                <a:lnTo>
                  <a:pt x="1994" y="3243"/>
                </a:lnTo>
                <a:lnTo>
                  <a:pt x="1993" y="3243"/>
                </a:lnTo>
                <a:lnTo>
                  <a:pt x="1991" y="3244"/>
                </a:lnTo>
                <a:lnTo>
                  <a:pt x="1993" y="3246"/>
                </a:lnTo>
                <a:lnTo>
                  <a:pt x="1994" y="3248"/>
                </a:lnTo>
                <a:lnTo>
                  <a:pt x="1996" y="3249"/>
                </a:lnTo>
                <a:lnTo>
                  <a:pt x="1998" y="3249"/>
                </a:lnTo>
                <a:lnTo>
                  <a:pt x="1998" y="3251"/>
                </a:lnTo>
                <a:lnTo>
                  <a:pt x="1999" y="3251"/>
                </a:lnTo>
                <a:lnTo>
                  <a:pt x="1998" y="3253"/>
                </a:lnTo>
                <a:lnTo>
                  <a:pt x="1996" y="3253"/>
                </a:lnTo>
                <a:lnTo>
                  <a:pt x="1993" y="3255"/>
                </a:lnTo>
                <a:lnTo>
                  <a:pt x="1991" y="3255"/>
                </a:lnTo>
                <a:lnTo>
                  <a:pt x="1989" y="3255"/>
                </a:lnTo>
                <a:lnTo>
                  <a:pt x="1988" y="3255"/>
                </a:lnTo>
                <a:lnTo>
                  <a:pt x="1984" y="3255"/>
                </a:lnTo>
                <a:lnTo>
                  <a:pt x="1982" y="3253"/>
                </a:lnTo>
                <a:lnTo>
                  <a:pt x="1979" y="3255"/>
                </a:lnTo>
                <a:lnTo>
                  <a:pt x="1977" y="3255"/>
                </a:lnTo>
                <a:lnTo>
                  <a:pt x="1976" y="3253"/>
                </a:lnTo>
                <a:lnTo>
                  <a:pt x="1974" y="3251"/>
                </a:lnTo>
                <a:lnTo>
                  <a:pt x="1972" y="3251"/>
                </a:lnTo>
                <a:lnTo>
                  <a:pt x="1974" y="3249"/>
                </a:lnTo>
                <a:lnTo>
                  <a:pt x="1976" y="3249"/>
                </a:lnTo>
                <a:lnTo>
                  <a:pt x="1977" y="3248"/>
                </a:lnTo>
                <a:lnTo>
                  <a:pt x="1977" y="3246"/>
                </a:lnTo>
                <a:lnTo>
                  <a:pt x="1979" y="3246"/>
                </a:lnTo>
                <a:lnTo>
                  <a:pt x="1981" y="3244"/>
                </a:lnTo>
                <a:lnTo>
                  <a:pt x="1982" y="3243"/>
                </a:lnTo>
                <a:lnTo>
                  <a:pt x="1982" y="3241"/>
                </a:lnTo>
                <a:lnTo>
                  <a:pt x="1981" y="3241"/>
                </a:lnTo>
                <a:lnTo>
                  <a:pt x="1979" y="3239"/>
                </a:lnTo>
                <a:lnTo>
                  <a:pt x="1977" y="3241"/>
                </a:lnTo>
                <a:lnTo>
                  <a:pt x="1976" y="3241"/>
                </a:lnTo>
                <a:lnTo>
                  <a:pt x="1976" y="3244"/>
                </a:lnTo>
                <a:lnTo>
                  <a:pt x="1974" y="3246"/>
                </a:lnTo>
                <a:lnTo>
                  <a:pt x="1974" y="3249"/>
                </a:lnTo>
                <a:lnTo>
                  <a:pt x="1972" y="3248"/>
                </a:lnTo>
                <a:lnTo>
                  <a:pt x="1972" y="3251"/>
                </a:lnTo>
                <a:lnTo>
                  <a:pt x="1971" y="3251"/>
                </a:lnTo>
                <a:lnTo>
                  <a:pt x="1971" y="3249"/>
                </a:lnTo>
                <a:lnTo>
                  <a:pt x="1967" y="3249"/>
                </a:lnTo>
                <a:lnTo>
                  <a:pt x="1965" y="3251"/>
                </a:lnTo>
                <a:lnTo>
                  <a:pt x="1964" y="3249"/>
                </a:lnTo>
                <a:lnTo>
                  <a:pt x="1962" y="3249"/>
                </a:lnTo>
                <a:lnTo>
                  <a:pt x="1960" y="3248"/>
                </a:lnTo>
                <a:lnTo>
                  <a:pt x="1959" y="3248"/>
                </a:lnTo>
                <a:lnTo>
                  <a:pt x="1957" y="3246"/>
                </a:lnTo>
                <a:lnTo>
                  <a:pt x="1959" y="3246"/>
                </a:lnTo>
                <a:lnTo>
                  <a:pt x="1959" y="3243"/>
                </a:lnTo>
                <a:lnTo>
                  <a:pt x="1957" y="3243"/>
                </a:lnTo>
                <a:lnTo>
                  <a:pt x="1957" y="3241"/>
                </a:lnTo>
                <a:lnTo>
                  <a:pt x="1959" y="3239"/>
                </a:lnTo>
                <a:lnTo>
                  <a:pt x="1960" y="3239"/>
                </a:lnTo>
                <a:lnTo>
                  <a:pt x="1959" y="3238"/>
                </a:lnTo>
                <a:lnTo>
                  <a:pt x="1962" y="3239"/>
                </a:lnTo>
                <a:lnTo>
                  <a:pt x="1964" y="3238"/>
                </a:lnTo>
                <a:lnTo>
                  <a:pt x="1965" y="3238"/>
                </a:lnTo>
                <a:lnTo>
                  <a:pt x="1967" y="3236"/>
                </a:lnTo>
                <a:lnTo>
                  <a:pt x="1969" y="3236"/>
                </a:lnTo>
                <a:lnTo>
                  <a:pt x="1969" y="3234"/>
                </a:lnTo>
                <a:lnTo>
                  <a:pt x="1971" y="3234"/>
                </a:lnTo>
                <a:lnTo>
                  <a:pt x="1972" y="3232"/>
                </a:lnTo>
                <a:lnTo>
                  <a:pt x="1974" y="3232"/>
                </a:lnTo>
                <a:lnTo>
                  <a:pt x="1972" y="3229"/>
                </a:lnTo>
                <a:lnTo>
                  <a:pt x="1974" y="3229"/>
                </a:lnTo>
                <a:lnTo>
                  <a:pt x="1976" y="3227"/>
                </a:lnTo>
                <a:lnTo>
                  <a:pt x="1977" y="3227"/>
                </a:lnTo>
                <a:lnTo>
                  <a:pt x="1981" y="3227"/>
                </a:lnTo>
                <a:lnTo>
                  <a:pt x="1981" y="3226"/>
                </a:lnTo>
                <a:lnTo>
                  <a:pt x="1982" y="3226"/>
                </a:lnTo>
                <a:close/>
                <a:moveTo>
                  <a:pt x="2135" y="3406"/>
                </a:moveTo>
                <a:lnTo>
                  <a:pt x="2137" y="3408"/>
                </a:lnTo>
                <a:lnTo>
                  <a:pt x="2137" y="3409"/>
                </a:lnTo>
                <a:lnTo>
                  <a:pt x="2139" y="3411"/>
                </a:lnTo>
                <a:lnTo>
                  <a:pt x="2137" y="3413"/>
                </a:lnTo>
                <a:lnTo>
                  <a:pt x="2137" y="3414"/>
                </a:lnTo>
                <a:lnTo>
                  <a:pt x="2137" y="3416"/>
                </a:lnTo>
                <a:lnTo>
                  <a:pt x="2135" y="3420"/>
                </a:lnTo>
                <a:lnTo>
                  <a:pt x="2137" y="3421"/>
                </a:lnTo>
                <a:lnTo>
                  <a:pt x="2135" y="3423"/>
                </a:lnTo>
                <a:lnTo>
                  <a:pt x="2135" y="3426"/>
                </a:lnTo>
                <a:lnTo>
                  <a:pt x="2134" y="3426"/>
                </a:lnTo>
                <a:lnTo>
                  <a:pt x="2134" y="3430"/>
                </a:lnTo>
                <a:lnTo>
                  <a:pt x="2134" y="3433"/>
                </a:lnTo>
                <a:lnTo>
                  <a:pt x="2135" y="3433"/>
                </a:lnTo>
                <a:lnTo>
                  <a:pt x="2134" y="3435"/>
                </a:lnTo>
                <a:lnTo>
                  <a:pt x="2135" y="3437"/>
                </a:lnTo>
                <a:lnTo>
                  <a:pt x="2134" y="3437"/>
                </a:lnTo>
                <a:lnTo>
                  <a:pt x="2132" y="3435"/>
                </a:lnTo>
                <a:lnTo>
                  <a:pt x="2130" y="3437"/>
                </a:lnTo>
                <a:lnTo>
                  <a:pt x="2129" y="3438"/>
                </a:lnTo>
                <a:lnTo>
                  <a:pt x="2127" y="3438"/>
                </a:lnTo>
                <a:lnTo>
                  <a:pt x="2127" y="3442"/>
                </a:lnTo>
                <a:lnTo>
                  <a:pt x="2125" y="3445"/>
                </a:lnTo>
                <a:lnTo>
                  <a:pt x="2125" y="3449"/>
                </a:lnTo>
                <a:lnTo>
                  <a:pt x="2124" y="3450"/>
                </a:lnTo>
                <a:lnTo>
                  <a:pt x="2122" y="3452"/>
                </a:lnTo>
                <a:lnTo>
                  <a:pt x="2120" y="3452"/>
                </a:lnTo>
                <a:lnTo>
                  <a:pt x="2117" y="3450"/>
                </a:lnTo>
                <a:lnTo>
                  <a:pt x="2117" y="3449"/>
                </a:lnTo>
                <a:lnTo>
                  <a:pt x="2117" y="3445"/>
                </a:lnTo>
                <a:lnTo>
                  <a:pt x="2117" y="3443"/>
                </a:lnTo>
                <a:lnTo>
                  <a:pt x="2117" y="3442"/>
                </a:lnTo>
                <a:lnTo>
                  <a:pt x="2117" y="3438"/>
                </a:lnTo>
                <a:lnTo>
                  <a:pt x="2115" y="3438"/>
                </a:lnTo>
                <a:lnTo>
                  <a:pt x="2113" y="3437"/>
                </a:lnTo>
                <a:lnTo>
                  <a:pt x="2112" y="3435"/>
                </a:lnTo>
                <a:lnTo>
                  <a:pt x="2110" y="3435"/>
                </a:lnTo>
                <a:lnTo>
                  <a:pt x="2113" y="3433"/>
                </a:lnTo>
                <a:lnTo>
                  <a:pt x="2115" y="3432"/>
                </a:lnTo>
                <a:lnTo>
                  <a:pt x="2115" y="3428"/>
                </a:lnTo>
                <a:lnTo>
                  <a:pt x="2115" y="3426"/>
                </a:lnTo>
                <a:lnTo>
                  <a:pt x="2115" y="3425"/>
                </a:lnTo>
                <a:lnTo>
                  <a:pt x="2117" y="3423"/>
                </a:lnTo>
                <a:lnTo>
                  <a:pt x="2118" y="3421"/>
                </a:lnTo>
                <a:lnTo>
                  <a:pt x="2118" y="3420"/>
                </a:lnTo>
                <a:lnTo>
                  <a:pt x="2120" y="3420"/>
                </a:lnTo>
                <a:lnTo>
                  <a:pt x="2120" y="3418"/>
                </a:lnTo>
                <a:lnTo>
                  <a:pt x="2122" y="3416"/>
                </a:lnTo>
                <a:lnTo>
                  <a:pt x="2124" y="3416"/>
                </a:lnTo>
                <a:lnTo>
                  <a:pt x="2125" y="3414"/>
                </a:lnTo>
                <a:lnTo>
                  <a:pt x="2127" y="3413"/>
                </a:lnTo>
                <a:lnTo>
                  <a:pt x="2129" y="3411"/>
                </a:lnTo>
                <a:lnTo>
                  <a:pt x="2130" y="3409"/>
                </a:lnTo>
                <a:lnTo>
                  <a:pt x="2132" y="3409"/>
                </a:lnTo>
                <a:lnTo>
                  <a:pt x="2134" y="3409"/>
                </a:lnTo>
                <a:lnTo>
                  <a:pt x="2135" y="3406"/>
                </a:lnTo>
                <a:close/>
                <a:moveTo>
                  <a:pt x="1976" y="3285"/>
                </a:moveTo>
                <a:lnTo>
                  <a:pt x="1979" y="3285"/>
                </a:lnTo>
                <a:lnTo>
                  <a:pt x="1981" y="3287"/>
                </a:lnTo>
                <a:lnTo>
                  <a:pt x="1982" y="3287"/>
                </a:lnTo>
                <a:lnTo>
                  <a:pt x="1982" y="3289"/>
                </a:lnTo>
                <a:lnTo>
                  <a:pt x="1982" y="3287"/>
                </a:lnTo>
                <a:lnTo>
                  <a:pt x="1984" y="3289"/>
                </a:lnTo>
                <a:lnTo>
                  <a:pt x="1984" y="3287"/>
                </a:lnTo>
                <a:lnTo>
                  <a:pt x="1986" y="3289"/>
                </a:lnTo>
                <a:lnTo>
                  <a:pt x="1986" y="3290"/>
                </a:lnTo>
                <a:lnTo>
                  <a:pt x="1984" y="3292"/>
                </a:lnTo>
                <a:lnTo>
                  <a:pt x="1986" y="3292"/>
                </a:lnTo>
                <a:lnTo>
                  <a:pt x="1986" y="3294"/>
                </a:lnTo>
                <a:lnTo>
                  <a:pt x="1986" y="3297"/>
                </a:lnTo>
                <a:lnTo>
                  <a:pt x="1988" y="3301"/>
                </a:lnTo>
                <a:lnTo>
                  <a:pt x="1988" y="3302"/>
                </a:lnTo>
                <a:lnTo>
                  <a:pt x="1989" y="3302"/>
                </a:lnTo>
                <a:lnTo>
                  <a:pt x="1989" y="3304"/>
                </a:lnTo>
                <a:lnTo>
                  <a:pt x="1986" y="3307"/>
                </a:lnTo>
                <a:lnTo>
                  <a:pt x="1988" y="3309"/>
                </a:lnTo>
                <a:lnTo>
                  <a:pt x="1988" y="3311"/>
                </a:lnTo>
                <a:lnTo>
                  <a:pt x="1986" y="3312"/>
                </a:lnTo>
                <a:lnTo>
                  <a:pt x="1984" y="3312"/>
                </a:lnTo>
                <a:lnTo>
                  <a:pt x="1984" y="3316"/>
                </a:lnTo>
                <a:lnTo>
                  <a:pt x="1984" y="3318"/>
                </a:lnTo>
                <a:lnTo>
                  <a:pt x="1981" y="3316"/>
                </a:lnTo>
                <a:lnTo>
                  <a:pt x="1979" y="3314"/>
                </a:lnTo>
                <a:lnTo>
                  <a:pt x="1977" y="3316"/>
                </a:lnTo>
                <a:lnTo>
                  <a:pt x="1977" y="3312"/>
                </a:lnTo>
                <a:lnTo>
                  <a:pt x="1976" y="3314"/>
                </a:lnTo>
                <a:lnTo>
                  <a:pt x="1976" y="3312"/>
                </a:lnTo>
                <a:lnTo>
                  <a:pt x="1974" y="3312"/>
                </a:lnTo>
                <a:lnTo>
                  <a:pt x="1974" y="3311"/>
                </a:lnTo>
                <a:lnTo>
                  <a:pt x="1976" y="3307"/>
                </a:lnTo>
                <a:lnTo>
                  <a:pt x="1977" y="3309"/>
                </a:lnTo>
                <a:lnTo>
                  <a:pt x="1977" y="3307"/>
                </a:lnTo>
                <a:lnTo>
                  <a:pt x="1979" y="3307"/>
                </a:lnTo>
                <a:lnTo>
                  <a:pt x="1979" y="3306"/>
                </a:lnTo>
                <a:lnTo>
                  <a:pt x="1979" y="3304"/>
                </a:lnTo>
                <a:lnTo>
                  <a:pt x="1979" y="3302"/>
                </a:lnTo>
                <a:lnTo>
                  <a:pt x="1979" y="3301"/>
                </a:lnTo>
                <a:lnTo>
                  <a:pt x="1976" y="3301"/>
                </a:lnTo>
                <a:lnTo>
                  <a:pt x="1976" y="3297"/>
                </a:lnTo>
                <a:lnTo>
                  <a:pt x="1974" y="3295"/>
                </a:lnTo>
                <a:lnTo>
                  <a:pt x="1972" y="3295"/>
                </a:lnTo>
                <a:lnTo>
                  <a:pt x="1971" y="3295"/>
                </a:lnTo>
                <a:lnTo>
                  <a:pt x="1969" y="3292"/>
                </a:lnTo>
                <a:lnTo>
                  <a:pt x="1967" y="3292"/>
                </a:lnTo>
                <a:lnTo>
                  <a:pt x="1969" y="3289"/>
                </a:lnTo>
                <a:lnTo>
                  <a:pt x="1971" y="3287"/>
                </a:lnTo>
                <a:lnTo>
                  <a:pt x="1972" y="3287"/>
                </a:lnTo>
                <a:lnTo>
                  <a:pt x="1976" y="3285"/>
                </a:lnTo>
                <a:close/>
                <a:moveTo>
                  <a:pt x="1676" y="3350"/>
                </a:moveTo>
                <a:lnTo>
                  <a:pt x="1678" y="3352"/>
                </a:lnTo>
                <a:lnTo>
                  <a:pt x="1680" y="3353"/>
                </a:lnTo>
                <a:lnTo>
                  <a:pt x="1680" y="3355"/>
                </a:lnTo>
                <a:lnTo>
                  <a:pt x="1682" y="3357"/>
                </a:lnTo>
                <a:lnTo>
                  <a:pt x="1682" y="3358"/>
                </a:lnTo>
                <a:lnTo>
                  <a:pt x="1682" y="3362"/>
                </a:lnTo>
                <a:lnTo>
                  <a:pt x="1680" y="3362"/>
                </a:lnTo>
                <a:lnTo>
                  <a:pt x="1682" y="3363"/>
                </a:lnTo>
                <a:lnTo>
                  <a:pt x="1683" y="3365"/>
                </a:lnTo>
                <a:lnTo>
                  <a:pt x="1685" y="3363"/>
                </a:lnTo>
                <a:lnTo>
                  <a:pt x="1685" y="3365"/>
                </a:lnTo>
                <a:lnTo>
                  <a:pt x="1687" y="3365"/>
                </a:lnTo>
                <a:lnTo>
                  <a:pt x="1688" y="3367"/>
                </a:lnTo>
                <a:lnTo>
                  <a:pt x="1690" y="3370"/>
                </a:lnTo>
                <a:lnTo>
                  <a:pt x="1692" y="3370"/>
                </a:lnTo>
                <a:lnTo>
                  <a:pt x="1692" y="3372"/>
                </a:lnTo>
                <a:lnTo>
                  <a:pt x="1693" y="3372"/>
                </a:lnTo>
                <a:lnTo>
                  <a:pt x="1693" y="3374"/>
                </a:lnTo>
                <a:lnTo>
                  <a:pt x="1695" y="3374"/>
                </a:lnTo>
                <a:lnTo>
                  <a:pt x="1695" y="3377"/>
                </a:lnTo>
                <a:lnTo>
                  <a:pt x="1693" y="3379"/>
                </a:lnTo>
                <a:lnTo>
                  <a:pt x="1692" y="3377"/>
                </a:lnTo>
                <a:lnTo>
                  <a:pt x="1692" y="3379"/>
                </a:lnTo>
                <a:lnTo>
                  <a:pt x="1688" y="3379"/>
                </a:lnTo>
                <a:lnTo>
                  <a:pt x="1687" y="3377"/>
                </a:lnTo>
                <a:lnTo>
                  <a:pt x="1685" y="3375"/>
                </a:lnTo>
                <a:lnTo>
                  <a:pt x="1683" y="3375"/>
                </a:lnTo>
                <a:lnTo>
                  <a:pt x="1682" y="3377"/>
                </a:lnTo>
                <a:lnTo>
                  <a:pt x="1678" y="3377"/>
                </a:lnTo>
                <a:lnTo>
                  <a:pt x="1676" y="3375"/>
                </a:lnTo>
                <a:lnTo>
                  <a:pt x="1675" y="3374"/>
                </a:lnTo>
                <a:lnTo>
                  <a:pt x="1675" y="3372"/>
                </a:lnTo>
                <a:lnTo>
                  <a:pt x="1676" y="3372"/>
                </a:lnTo>
                <a:lnTo>
                  <a:pt x="1675" y="3370"/>
                </a:lnTo>
                <a:lnTo>
                  <a:pt x="1673" y="3367"/>
                </a:lnTo>
                <a:lnTo>
                  <a:pt x="1673" y="3365"/>
                </a:lnTo>
                <a:lnTo>
                  <a:pt x="1671" y="3367"/>
                </a:lnTo>
                <a:lnTo>
                  <a:pt x="1673" y="3369"/>
                </a:lnTo>
                <a:lnTo>
                  <a:pt x="1673" y="3370"/>
                </a:lnTo>
                <a:lnTo>
                  <a:pt x="1673" y="3374"/>
                </a:lnTo>
                <a:lnTo>
                  <a:pt x="1671" y="3374"/>
                </a:lnTo>
                <a:lnTo>
                  <a:pt x="1670" y="3375"/>
                </a:lnTo>
                <a:lnTo>
                  <a:pt x="1670" y="3374"/>
                </a:lnTo>
                <a:lnTo>
                  <a:pt x="1668" y="3374"/>
                </a:lnTo>
                <a:lnTo>
                  <a:pt x="1668" y="3372"/>
                </a:lnTo>
                <a:lnTo>
                  <a:pt x="1668" y="3370"/>
                </a:lnTo>
                <a:lnTo>
                  <a:pt x="1668" y="3367"/>
                </a:lnTo>
                <a:lnTo>
                  <a:pt x="1670" y="3367"/>
                </a:lnTo>
                <a:lnTo>
                  <a:pt x="1670" y="3365"/>
                </a:lnTo>
                <a:lnTo>
                  <a:pt x="1670" y="3363"/>
                </a:lnTo>
                <a:lnTo>
                  <a:pt x="1670" y="3362"/>
                </a:lnTo>
                <a:lnTo>
                  <a:pt x="1670" y="3360"/>
                </a:lnTo>
                <a:lnTo>
                  <a:pt x="1670" y="3362"/>
                </a:lnTo>
                <a:lnTo>
                  <a:pt x="1671" y="3360"/>
                </a:lnTo>
                <a:lnTo>
                  <a:pt x="1671" y="3362"/>
                </a:lnTo>
                <a:lnTo>
                  <a:pt x="1673" y="3362"/>
                </a:lnTo>
                <a:lnTo>
                  <a:pt x="1673" y="3363"/>
                </a:lnTo>
                <a:lnTo>
                  <a:pt x="1675" y="3362"/>
                </a:lnTo>
                <a:lnTo>
                  <a:pt x="1676" y="3360"/>
                </a:lnTo>
                <a:lnTo>
                  <a:pt x="1676" y="3358"/>
                </a:lnTo>
                <a:lnTo>
                  <a:pt x="1676" y="3357"/>
                </a:lnTo>
                <a:lnTo>
                  <a:pt x="1676" y="3353"/>
                </a:lnTo>
                <a:lnTo>
                  <a:pt x="1675" y="3352"/>
                </a:lnTo>
                <a:lnTo>
                  <a:pt x="1676" y="3350"/>
                </a:lnTo>
                <a:close/>
                <a:moveTo>
                  <a:pt x="1624" y="3260"/>
                </a:moveTo>
                <a:lnTo>
                  <a:pt x="1625" y="3261"/>
                </a:lnTo>
                <a:lnTo>
                  <a:pt x="1629" y="3263"/>
                </a:lnTo>
                <a:lnTo>
                  <a:pt x="1629" y="3261"/>
                </a:lnTo>
                <a:lnTo>
                  <a:pt x="1631" y="3263"/>
                </a:lnTo>
                <a:lnTo>
                  <a:pt x="1629" y="3266"/>
                </a:lnTo>
                <a:lnTo>
                  <a:pt x="1627" y="3266"/>
                </a:lnTo>
                <a:lnTo>
                  <a:pt x="1625" y="3268"/>
                </a:lnTo>
                <a:lnTo>
                  <a:pt x="1624" y="3270"/>
                </a:lnTo>
                <a:lnTo>
                  <a:pt x="1625" y="3272"/>
                </a:lnTo>
                <a:lnTo>
                  <a:pt x="1625" y="3273"/>
                </a:lnTo>
                <a:lnTo>
                  <a:pt x="1625" y="3272"/>
                </a:lnTo>
                <a:lnTo>
                  <a:pt x="1627" y="3273"/>
                </a:lnTo>
                <a:lnTo>
                  <a:pt x="1629" y="3273"/>
                </a:lnTo>
                <a:lnTo>
                  <a:pt x="1631" y="3273"/>
                </a:lnTo>
                <a:lnTo>
                  <a:pt x="1631" y="3275"/>
                </a:lnTo>
                <a:lnTo>
                  <a:pt x="1629" y="3275"/>
                </a:lnTo>
                <a:lnTo>
                  <a:pt x="1631" y="3277"/>
                </a:lnTo>
                <a:lnTo>
                  <a:pt x="1631" y="3278"/>
                </a:lnTo>
                <a:lnTo>
                  <a:pt x="1631" y="3280"/>
                </a:lnTo>
                <a:lnTo>
                  <a:pt x="1632" y="3284"/>
                </a:lnTo>
                <a:lnTo>
                  <a:pt x="1632" y="3285"/>
                </a:lnTo>
                <a:lnTo>
                  <a:pt x="1634" y="3285"/>
                </a:lnTo>
                <a:lnTo>
                  <a:pt x="1636" y="3285"/>
                </a:lnTo>
                <a:lnTo>
                  <a:pt x="1637" y="3287"/>
                </a:lnTo>
                <a:lnTo>
                  <a:pt x="1639" y="3285"/>
                </a:lnTo>
                <a:lnTo>
                  <a:pt x="1639" y="3284"/>
                </a:lnTo>
                <a:lnTo>
                  <a:pt x="1641" y="3285"/>
                </a:lnTo>
                <a:lnTo>
                  <a:pt x="1642" y="3287"/>
                </a:lnTo>
                <a:lnTo>
                  <a:pt x="1641" y="3287"/>
                </a:lnTo>
                <a:lnTo>
                  <a:pt x="1642" y="3287"/>
                </a:lnTo>
                <a:lnTo>
                  <a:pt x="1642" y="3289"/>
                </a:lnTo>
                <a:lnTo>
                  <a:pt x="1642" y="3290"/>
                </a:lnTo>
                <a:lnTo>
                  <a:pt x="1641" y="3290"/>
                </a:lnTo>
                <a:lnTo>
                  <a:pt x="1639" y="3290"/>
                </a:lnTo>
                <a:lnTo>
                  <a:pt x="1637" y="3289"/>
                </a:lnTo>
                <a:lnTo>
                  <a:pt x="1636" y="3289"/>
                </a:lnTo>
                <a:lnTo>
                  <a:pt x="1634" y="3289"/>
                </a:lnTo>
                <a:lnTo>
                  <a:pt x="1632" y="3287"/>
                </a:lnTo>
                <a:lnTo>
                  <a:pt x="1631" y="3287"/>
                </a:lnTo>
                <a:lnTo>
                  <a:pt x="1629" y="3287"/>
                </a:lnTo>
                <a:lnTo>
                  <a:pt x="1627" y="3284"/>
                </a:lnTo>
                <a:lnTo>
                  <a:pt x="1627" y="3282"/>
                </a:lnTo>
                <a:lnTo>
                  <a:pt x="1627" y="3280"/>
                </a:lnTo>
                <a:lnTo>
                  <a:pt x="1625" y="3278"/>
                </a:lnTo>
                <a:lnTo>
                  <a:pt x="1624" y="3277"/>
                </a:lnTo>
                <a:lnTo>
                  <a:pt x="1622" y="3277"/>
                </a:lnTo>
                <a:lnTo>
                  <a:pt x="1622" y="3275"/>
                </a:lnTo>
                <a:lnTo>
                  <a:pt x="1620" y="3275"/>
                </a:lnTo>
                <a:lnTo>
                  <a:pt x="1619" y="3273"/>
                </a:lnTo>
                <a:lnTo>
                  <a:pt x="1619" y="3272"/>
                </a:lnTo>
                <a:lnTo>
                  <a:pt x="1615" y="3272"/>
                </a:lnTo>
                <a:lnTo>
                  <a:pt x="1615" y="3270"/>
                </a:lnTo>
                <a:lnTo>
                  <a:pt x="1615" y="3268"/>
                </a:lnTo>
                <a:lnTo>
                  <a:pt x="1614" y="3270"/>
                </a:lnTo>
                <a:lnTo>
                  <a:pt x="1614" y="3268"/>
                </a:lnTo>
                <a:lnTo>
                  <a:pt x="1612" y="3266"/>
                </a:lnTo>
                <a:lnTo>
                  <a:pt x="1614" y="3266"/>
                </a:lnTo>
                <a:lnTo>
                  <a:pt x="1614" y="3265"/>
                </a:lnTo>
                <a:lnTo>
                  <a:pt x="1615" y="3263"/>
                </a:lnTo>
                <a:lnTo>
                  <a:pt x="1617" y="3263"/>
                </a:lnTo>
                <a:lnTo>
                  <a:pt x="1619" y="3263"/>
                </a:lnTo>
                <a:lnTo>
                  <a:pt x="1620" y="3263"/>
                </a:lnTo>
                <a:lnTo>
                  <a:pt x="1622" y="3263"/>
                </a:lnTo>
                <a:lnTo>
                  <a:pt x="1622" y="3261"/>
                </a:lnTo>
                <a:lnTo>
                  <a:pt x="1624" y="3260"/>
                </a:lnTo>
                <a:close/>
                <a:moveTo>
                  <a:pt x="1923" y="3193"/>
                </a:moveTo>
                <a:lnTo>
                  <a:pt x="1925" y="3195"/>
                </a:lnTo>
                <a:lnTo>
                  <a:pt x="1923" y="3197"/>
                </a:lnTo>
                <a:lnTo>
                  <a:pt x="1921" y="3198"/>
                </a:lnTo>
                <a:lnTo>
                  <a:pt x="1921" y="3202"/>
                </a:lnTo>
                <a:lnTo>
                  <a:pt x="1921" y="3204"/>
                </a:lnTo>
                <a:lnTo>
                  <a:pt x="1920" y="3204"/>
                </a:lnTo>
                <a:lnTo>
                  <a:pt x="1921" y="3205"/>
                </a:lnTo>
                <a:lnTo>
                  <a:pt x="1921" y="3207"/>
                </a:lnTo>
                <a:lnTo>
                  <a:pt x="1923" y="3209"/>
                </a:lnTo>
                <a:lnTo>
                  <a:pt x="1921" y="3209"/>
                </a:lnTo>
                <a:lnTo>
                  <a:pt x="1923" y="3210"/>
                </a:lnTo>
                <a:lnTo>
                  <a:pt x="1920" y="3210"/>
                </a:lnTo>
                <a:lnTo>
                  <a:pt x="1918" y="3209"/>
                </a:lnTo>
                <a:lnTo>
                  <a:pt x="1916" y="3209"/>
                </a:lnTo>
                <a:lnTo>
                  <a:pt x="1916" y="3207"/>
                </a:lnTo>
                <a:lnTo>
                  <a:pt x="1914" y="3207"/>
                </a:lnTo>
                <a:lnTo>
                  <a:pt x="1916" y="3205"/>
                </a:lnTo>
                <a:lnTo>
                  <a:pt x="1916" y="3204"/>
                </a:lnTo>
                <a:lnTo>
                  <a:pt x="1914" y="3202"/>
                </a:lnTo>
                <a:lnTo>
                  <a:pt x="1914" y="3204"/>
                </a:lnTo>
                <a:lnTo>
                  <a:pt x="1913" y="3205"/>
                </a:lnTo>
                <a:lnTo>
                  <a:pt x="1914" y="3205"/>
                </a:lnTo>
                <a:lnTo>
                  <a:pt x="1913" y="3205"/>
                </a:lnTo>
                <a:lnTo>
                  <a:pt x="1911" y="3207"/>
                </a:lnTo>
                <a:lnTo>
                  <a:pt x="1914" y="3209"/>
                </a:lnTo>
                <a:lnTo>
                  <a:pt x="1914" y="3210"/>
                </a:lnTo>
                <a:lnTo>
                  <a:pt x="1911" y="3212"/>
                </a:lnTo>
                <a:lnTo>
                  <a:pt x="1911" y="3210"/>
                </a:lnTo>
                <a:lnTo>
                  <a:pt x="1911" y="3212"/>
                </a:lnTo>
                <a:lnTo>
                  <a:pt x="1909" y="3210"/>
                </a:lnTo>
                <a:lnTo>
                  <a:pt x="1911" y="3209"/>
                </a:lnTo>
                <a:lnTo>
                  <a:pt x="1911" y="3207"/>
                </a:lnTo>
                <a:lnTo>
                  <a:pt x="1909" y="3209"/>
                </a:lnTo>
                <a:lnTo>
                  <a:pt x="1908" y="3209"/>
                </a:lnTo>
                <a:lnTo>
                  <a:pt x="1908" y="3210"/>
                </a:lnTo>
                <a:lnTo>
                  <a:pt x="1906" y="3210"/>
                </a:lnTo>
                <a:lnTo>
                  <a:pt x="1904" y="3210"/>
                </a:lnTo>
                <a:lnTo>
                  <a:pt x="1906" y="3209"/>
                </a:lnTo>
                <a:lnTo>
                  <a:pt x="1904" y="3209"/>
                </a:lnTo>
                <a:lnTo>
                  <a:pt x="1906" y="3207"/>
                </a:lnTo>
                <a:lnTo>
                  <a:pt x="1904" y="3207"/>
                </a:lnTo>
                <a:lnTo>
                  <a:pt x="1904" y="3204"/>
                </a:lnTo>
                <a:lnTo>
                  <a:pt x="1903" y="3200"/>
                </a:lnTo>
                <a:lnTo>
                  <a:pt x="1906" y="3198"/>
                </a:lnTo>
                <a:lnTo>
                  <a:pt x="1908" y="3197"/>
                </a:lnTo>
                <a:lnTo>
                  <a:pt x="1909" y="3198"/>
                </a:lnTo>
                <a:lnTo>
                  <a:pt x="1911" y="3197"/>
                </a:lnTo>
                <a:lnTo>
                  <a:pt x="1913" y="3197"/>
                </a:lnTo>
                <a:lnTo>
                  <a:pt x="1914" y="3197"/>
                </a:lnTo>
                <a:lnTo>
                  <a:pt x="1914" y="3198"/>
                </a:lnTo>
                <a:lnTo>
                  <a:pt x="1916" y="3200"/>
                </a:lnTo>
                <a:lnTo>
                  <a:pt x="1918" y="3198"/>
                </a:lnTo>
                <a:lnTo>
                  <a:pt x="1920" y="3198"/>
                </a:lnTo>
                <a:lnTo>
                  <a:pt x="1918" y="3197"/>
                </a:lnTo>
                <a:lnTo>
                  <a:pt x="1920" y="3195"/>
                </a:lnTo>
                <a:lnTo>
                  <a:pt x="1920" y="3193"/>
                </a:lnTo>
                <a:lnTo>
                  <a:pt x="1921" y="3195"/>
                </a:lnTo>
                <a:lnTo>
                  <a:pt x="1921" y="3193"/>
                </a:lnTo>
                <a:lnTo>
                  <a:pt x="1923" y="3192"/>
                </a:lnTo>
                <a:lnTo>
                  <a:pt x="1923" y="3193"/>
                </a:lnTo>
                <a:close/>
                <a:moveTo>
                  <a:pt x="2030" y="3331"/>
                </a:moveTo>
                <a:lnTo>
                  <a:pt x="2032" y="3331"/>
                </a:lnTo>
                <a:lnTo>
                  <a:pt x="2033" y="3331"/>
                </a:lnTo>
                <a:lnTo>
                  <a:pt x="2035" y="3331"/>
                </a:lnTo>
                <a:lnTo>
                  <a:pt x="2037" y="3331"/>
                </a:lnTo>
                <a:lnTo>
                  <a:pt x="2040" y="3331"/>
                </a:lnTo>
                <a:lnTo>
                  <a:pt x="2042" y="3333"/>
                </a:lnTo>
                <a:lnTo>
                  <a:pt x="2044" y="3333"/>
                </a:lnTo>
                <a:lnTo>
                  <a:pt x="2042" y="3329"/>
                </a:lnTo>
                <a:lnTo>
                  <a:pt x="2044" y="3331"/>
                </a:lnTo>
                <a:lnTo>
                  <a:pt x="2044" y="3329"/>
                </a:lnTo>
                <a:lnTo>
                  <a:pt x="2044" y="3331"/>
                </a:lnTo>
                <a:lnTo>
                  <a:pt x="2045" y="3329"/>
                </a:lnTo>
                <a:lnTo>
                  <a:pt x="2047" y="3329"/>
                </a:lnTo>
                <a:lnTo>
                  <a:pt x="2045" y="3331"/>
                </a:lnTo>
                <a:lnTo>
                  <a:pt x="2047" y="3333"/>
                </a:lnTo>
                <a:lnTo>
                  <a:pt x="2049" y="3333"/>
                </a:lnTo>
                <a:lnTo>
                  <a:pt x="2049" y="3335"/>
                </a:lnTo>
                <a:lnTo>
                  <a:pt x="2047" y="3335"/>
                </a:lnTo>
                <a:lnTo>
                  <a:pt x="2044" y="3336"/>
                </a:lnTo>
                <a:lnTo>
                  <a:pt x="2044" y="3338"/>
                </a:lnTo>
                <a:lnTo>
                  <a:pt x="2040" y="3338"/>
                </a:lnTo>
                <a:lnTo>
                  <a:pt x="2040" y="3340"/>
                </a:lnTo>
                <a:lnTo>
                  <a:pt x="2040" y="3341"/>
                </a:lnTo>
                <a:lnTo>
                  <a:pt x="2039" y="3341"/>
                </a:lnTo>
                <a:lnTo>
                  <a:pt x="2037" y="3343"/>
                </a:lnTo>
                <a:lnTo>
                  <a:pt x="2035" y="3343"/>
                </a:lnTo>
                <a:lnTo>
                  <a:pt x="2033" y="3340"/>
                </a:lnTo>
                <a:lnTo>
                  <a:pt x="2032" y="3340"/>
                </a:lnTo>
                <a:lnTo>
                  <a:pt x="2030" y="3338"/>
                </a:lnTo>
                <a:lnTo>
                  <a:pt x="2028" y="3340"/>
                </a:lnTo>
                <a:lnTo>
                  <a:pt x="2025" y="3340"/>
                </a:lnTo>
                <a:lnTo>
                  <a:pt x="2025" y="3341"/>
                </a:lnTo>
                <a:lnTo>
                  <a:pt x="2023" y="3343"/>
                </a:lnTo>
                <a:lnTo>
                  <a:pt x="2022" y="3341"/>
                </a:lnTo>
                <a:lnTo>
                  <a:pt x="2022" y="3340"/>
                </a:lnTo>
                <a:lnTo>
                  <a:pt x="2022" y="3336"/>
                </a:lnTo>
                <a:lnTo>
                  <a:pt x="2025" y="3336"/>
                </a:lnTo>
                <a:lnTo>
                  <a:pt x="2025" y="3333"/>
                </a:lnTo>
                <a:lnTo>
                  <a:pt x="2027" y="3333"/>
                </a:lnTo>
                <a:lnTo>
                  <a:pt x="2028" y="3331"/>
                </a:lnTo>
                <a:lnTo>
                  <a:pt x="2030" y="3331"/>
                </a:lnTo>
                <a:close/>
                <a:moveTo>
                  <a:pt x="1972" y="3389"/>
                </a:moveTo>
                <a:lnTo>
                  <a:pt x="1972" y="3391"/>
                </a:lnTo>
                <a:lnTo>
                  <a:pt x="1974" y="3391"/>
                </a:lnTo>
                <a:lnTo>
                  <a:pt x="1976" y="3392"/>
                </a:lnTo>
                <a:lnTo>
                  <a:pt x="1977" y="3394"/>
                </a:lnTo>
                <a:lnTo>
                  <a:pt x="1977" y="3397"/>
                </a:lnTo>
                <a:lnTo>
                  <a:pt x="1976" y="3397"/>
                </a:lnTo>
                <a:lnTo>
                  <a:pt x="1977" y="3399"/>
                </a:lnTo>
                <a:lnTo>
                  <a:pt x="1977" y="3403"/>
                </a:lnTo>
                <a:lnTo>
                  <a:pt x="1976" y="3403"/>
                </a:lnTo>
                <a:lnTo>
                  <a:pt x="1977" y="3404"/>
                </a:lnTo>
                <a:lnTo>
                  <a:pt x="1976" y="3406"/>
                </a:lnTo>
                <a:lnTo>
                  <a:pt x="1974" y="3408"/>
                </a:lnTo>
                <a:lnTo>
                  <a:pt x="1972" y="3409"/>
                </a:lnTo>
                <a:lnTo>
                  <a:pt x="1971" y="3411"/>
                </a:lnTo>
                <a:lnTo>
                  <a:pt x="1969" y="3409"/>
                </a:lnTo>
                <a:lnTo>
                  <a:pt x="1969" y="3408"/>
                </a:lnTo>
                <a:lnTo>
                  <a:pt x="1967" y="3408"/>
                </a:lnTo>
                <a:lnTo>
                  <a:pt x="1967" y="3406"/>
                </a:lnTo>
                <a:lnTo>
                  <a:pt x="1965" y="3404"/>
                </a:lnTo>
                <a:lnTo>
                  <a:pt x="1965" y="3403"/>
                </a:lnTo>
                <a:lnTo>
                  <a:pt x="1964" y="3401"/>
                </a:lnTo>
                <a:lnTo>
                  <a:pt x="1962" y="3401"/>
                </a:lnTo>
                <a:lnTo>
                  <a:pt x="1962" y="3399"/>
                </a:lnTo>
                <a:lnTo>
                  <a:pt x="1964" y="3399"/>
                </a:lnTo>
                <a:lnTo>
                  <a:pt x="1964" y="3397"/>
                </a:lnTo>
                <a:lnTo>
                  <a:pt x="1965" y="3396"/>
                </a:lnTo>
                <a:lnTo>
                  <a:pt x="1969" y="3394"/>
                </a:lnTo>
                <a:lnTo>
                  <a:pt x="1969" y="3392"/>
                </a:lnTo>
                <a:lnTo>
                  <a:pt x="1969" y="3391"/>
                </a:lnTo>
                <a:lnTo>
                  <a:pt x="1972" y="3389"/>
                </a:lnTo>
                <a:close/>
                <a:moveTo>
                  <a:pt x="1690" y="3387"/>
                </a:moveTo>
                <a:lnTo>
                  <a:pt x="1692" y="3389"/>
                </a:lnTo>
                <a:lnTo>
                  <a:pt x="1693" y="3391"/>
                </a:lnTo>
                <a:lnTo>
                  <a:pt x="1693" y="3392"/>
                </a:lnTo>
                <a:lnTo>
                  <a:pt x="1695" y="3394"/>
                </a:lnTo>
                <a:lnTo>
                  <a:pt x="1699" y="3394"/>
                </a:lnTo>
                <a:lnTo>
                  <a:pt x="1700" y="3394"/>
                </a:lnTo>
                <a:lnTo>
                  <a:pt x="1704" y="3396"/>
                </a:lnTo>
                <a:lnTo>
                  <a:pt x="1704" y="3397"/>
                </a:lnTo>
                <a:lnTo>
                  <a:pt x="1705" y="3397"/>
                </a:lnTo>
                <a:lnTo>
                  <a:pt x="1707" y="3399"/>
                </a:lnTo>
                <a:lnTo>
                  <a:pt x="1709" y="3399"/>
                </a:lnTo>
                <a:lnTo>
                  <a:pt x="1709" y="3403"/>
                </a:lnTo>
                <a:lnTo>
                  <a:pt x="1709" y="3401"/>
                </a:lnTo>
                <a:lnTo>
                  <a:pt x="1707" y="3401"/>
                </a:lnTo>
                <a:lnTo>
                  <a:pt x="1705" y="3401"/>
                </a:lnTo>
                <a:lnTo>
                  <a:pt x="1705" y="3399"/>
                </a:lnTo>
                <a:lnTo>
                  <a:pt x="1702" y="3401"/>
                </a:lnTo>
                <a:lnTo>
                  <a:pt x="1700" y="3404"/>
                </a:lnTo>
                <a:lnTo>
                  <a:pt x="1702" y="3406"/>
                </a:lnTo>
                <a:lnTo>
                  <a:pt x="1700" y="3408"/>
                </a:lnTo>
                <a:lnTo>
                  <a:pt x="1699" y="3406"/>
                </a:lnTo>
                <a:lnTo>
                  <a:pt x="1697" y="3404"/>
                </a:lnTo>
                <a:lnTo>
                  <a:pt x="1695" y="3403"/>
                </a:lnTo>
                <a:lnTo>
                  <a:pt x="1693" y="3403"/>
                </a:lnTo>
                <a:lnTo>
                  <a:pt x="1692" y="3401"/>
                </a:lnTo>
                <a:lnTo>
                  <a:pt x="1690" y="3399"/>
                </a:lnTo>
                <a:lnTo>
                  <a:pt x="1690" y="3397"/>
                </a:lnTo>
                <a:lnTo>
                  <a:pt x="1688" y="3397"/>
                </a:lnTo>
                <a:lnTo>
                  <a:pt x="1687" y="3394"/>
                </a:lnTo>
                <a:lnTo>
                  <a:pt x="1688" y="3391"/>
                </a:lnTo>
                <a:lnTo>
                  <a:pt x="1690" y="3389"/>
                </a:lnTo>
                <a:lnTo>
                  <a:pt x="1690" y="3387"/>
                </a:lnTo>
                <a:close/>
                <a:moveTo>
                  <a:pt x="1870" y="3147"/>
                </a:moveTo>
                <a:lnTo>
                  <a:pt x="1872" y="3149"/>
                </a:lnTo>
                <a:lnTo>
                  <a:pt x="1874" y="3147"/>
                </a:lnTo>
                <a:lnTo>
                  <a:pt x="1875" y="3149"/>
                </a:lnTo>
                <a:lnTo>
                  <a:pt x="1877" y="3149"/>
                </a:lnTo>
                <a:lnTo>
                  <a:pt x="1877" y="3151"/>
                </a:lnTo>
                <a:lnTo>
                  <a:pt x="1877" y="3153"/>
                </a:lnTo>
                <a:lnTo>
                  <a:pt x="1879" y="3153"/>
                </a:lnTo>
                <a:lnTo>
                  <a:pt x="1879" y="3154"/>
                </a:lnTo>
                <a:lnTo>
                  <a:pt x="1877" y="3154"/>
                </a:lnTo>
                <a:lnTo>
                  <a:pt x="1879" y="3158"/>
                </a:lnTo>
                <a:lnTo>
                  <a:pt x="1879" y="3159"/>
                </a:lnTo>
                <a:lnTo>
                  <a:pt x="1877" y="3159"/>
                </a:lnTo>
                <a:lnTo>
                  <a:pt x="1875" y="3161"/>
                </a:lnTo>
                <a:lnTo>
                  <a:pt x="1874" y="3163"/>
                </a:lnTo>
                <a:lnTo>
                  <a:pt x="1872" y="3163"/>
                </a:lnTo>
                <a:lnTo>
                  <a:pt x="1870" y="3163"/>
                </a:lnTo>
                <a:lnTo>
                  <a:pt x="1869" y="3161"/>
                </a:lnTo>
                <a:lnTo>
                  <a:pt x="1865" y="3161"/>
                </a:lnTo>
                <a:lnTo>
                  <a:pt x="1865" y="3158"/>
                </a:lnTo>
                <a:lnTo>
                  <a:pt x="1865" y="3156"/>
                </a:lnTo>
                <a:lnTo>
                  <a:pt x="1865" y="3154"/>
                </a:lnTo>
                <a:lnTo>
                  <a:pt x="1865" y="3153"/>
                </a:lnTo>
                <a:lnTo>
                  <a:pt x="1865" y="3151"/>
                </a:lnTo>
                <a:lnTo>
                  <a:pt x="1867" y="3151"/>
                </a:lnTo>
                <a:lnTo>
                  <a:pt x="1867" y="3149"/>
                </a:lnTo>
                <a:lnTo>
                  <a:pt x="1869" y="3147"/>
                </a:lnTo>
                <a:lnTo>
                  <a:pt x="1870" y="3147"/>
                </a:lnTo>
                <a:close/>
                <a:moveTo>
                  <a:pt x="1918" y="3343"/>
                </a:moveTo>
                <a:lnTo>
                  <a:pt x="1918" y="3345"/>
                </a:lnTo>
                <a:lnTo>
                  <a:pt x="1921" y="3345"/>
                </a:lnTo>
                <a:lnTo>
                  <a:pt x="1921" y="3346"/>
                </a:lnTo>
                <a:lnTo>
                  <a:pt x="1921" y="3348"/>
                </a:lnTo>
                <a:lnTo>
                  <a:pt x="1925" y="3348"/>
                </a:lnTo>
                <a:lnTo>
                  <a:pt x="1928" y="3348"/>
                </a:lnTo>
                <a:lnTo>
                  <a:pt x="1928" y="3346"/>
                </a:lnTo>
                <a:lnTo>
                  <a:pt x="1928" y="3348"/>
                </a:lnTo>
                <a:lnTo>
                  <a:pt x="1930" y="3350"/>
                </a:lnTo>
                <a:lnTo>
                  <a:pt x="1928" y="3352"/>
                </a:lnTo>
                <a:lnTo>
                  <a:pt x="1930" y="3352"/>
                </a:lnTo>
                <a:lnTo>
                  <a:pt x="1931" y="3353"/>
                </a:lnTo>
                <a:lnTo>
                  <a:pt x="1931" y="3355"/>
                </a:lnTo>
                <a:lnTo>
                  <a:pt x="1930" y="3357"/>
                </a:lnTo>
                <a:lnTo>
                  <a:pt x="1933" y="3357"/>
                </a:lnTo>
                <a:lnTo>
                  <a:pt x="1933" y="3360"/>
                </a:lnTo>
                <a:lnTo>
                  <a:pt x="1931" y="3362"/>
                </a:lnTo>
                <a:lnTo>
                  <a:pt x="1930" y="3362"/>
                </a:lnTo>
                <a:lnTo>
                  <a:pt x="1928" y="3360"/>
                </a:lnTo>
                <a:lnTo>
                  <a:pt x="1926" y="3358"/>
                </a:lnTo>
                <a:lnTo>
                  <a:pt x="1925" y="3357"/>
                </a:lnTo>
                <a:lnTo>
                  <a:pt x="1923" y="3357"/>
                </a:lnTo>
                <a:lnTo>
                  <a:pt x="1923" y="3355"/>
                </a:lnTo>
                <a:lnTo>
                  <a:pt x="1921" y="3355"/>
                </a:lnTo>
                <a:lnTo>
                  <a:pt x="1921" y="3353"/>
                </a:lnTo>
                <a:lnTo>
                  <a:pt x="1920" y="3353"/>
                </a:lnTo>
                <a:lnTo>
                  <a:pt x="1918" y="3352"/>
                </a:lnTo>
                <a:lnTo>
                  <a:pt x="1916" y="3352"/>
                </a:lnTo>
                <a:lnTo>
                  <a:pt x="1914" y="3350"/>
                </a:lnTo>
                <a:lnTo>
                  <a:pt x="1913" y="3348"/>
                </a:lnTo>
                <a:lnTo>
                  <a:pt x="1913" y="3346"/>
                </a:lnTo>
                <a:lnTo>
                  <a:pt x="1914" y="3345"/>
                </a:lnTo>
                <a:lnTo>
                  <a:pt x="1916" y="3343"/>
                </a:lnTo>
                <a:lnTo>
                  <a:pt x="1918" y="3343"/>
                </a:lnTo>
                <a:close/>
                <a:moveTo>
                  <a:pt x="1807" y="3204"/>
                </a:moveTo>
                <a:lnTo>
                  <a:pt x="1809" y="3204"/>
                </a:lnTo>
                <a:lnTo>
                  <a:pt x="1811" y="3207"/>
                </a:lnTo>
                <a:lnTo>
                  <a:pt x="1812" y="3207"/>
                </a:lnTo>
                <a:lnTo>
                  <a:pt x="1814" y="3209"/>
                </a:lnTo>
                <a:lnTo>
                  <a:pt x="1816" y="3210"/>
                </a:lnTo>
                <a:lnTo>
                  <a:pt x="1818" y="3212"/>
                </a:lnTo>
                <a:lnTo>
                  <a:pt x="1819" y="3214"/>
                </a:lnTo>
                <a:lnTo>
                  <a:pt x="1821" y="3214"/>
                </a:lnTo>
                <a:lnTo>
                  <a:pt x="1824" y="3215"/>
                </a:lnTo>
                <a:lnTo>
                  <a:pt x="1828" y="3215"/>
                </a:lnTo>
                <a:lnTo>
                  <a:pt x="1829" y="3215"/>
                </a:lnTo>
                <a:lnTo>
                  <a:pt x="1831" y="3219"/>
                </a:lnTo>
                <a:lnTo>
                  <a:pt x="1833" y="3217"/>
                </a:lnTo>
                <a:lnTo>
                  <a:pt x="1835" y="3219"/>
                </a:lnTo>
                <a:lnTo>
                  <a:pt x="1833" y="3219"/>
                </a:lnTo>
                <a:lnTo>
                  <a:pt x="1831" y="3219"/>
                </a:lnTo>
                <a:lnTo>
                  <a:pt x="1829" y="3221"/>
                </a:lnTo>
                <a:lnTo>
                  <a:pt x="1826" y="3221"/>
                </a:lnTo>
                <a:lnTo>
                  <a:pt x="1824" y="3219"/>
                </a:lnTo>
                <a:lnTo>
                  <a:pt x="1823" y="3219"/>
                </a:lnTo>
                <a:lnTo>
                  <a:pt x="1819" y="3219"/>
                </a:lnTo>
                <a:lnTo>
                  <a:pt x="1818" y="3217"/>
                </a:lnTo>
                <a:lnTo>
                  <a:pt x="1816" y="3219"/>
                </a:lnTo>
                <a:lnTo>
                  <a:pt x="1814" y="3219"/>
                </a:lnTo>
                <a:lnTo>
                  <a:pt x="1812" y="3221"/>
                </a:lnTo>
                <a:lnTo>
                  <a:pt x="1812" y="3217"/>
                </a:lnTo>
                <a:lnTo>
                  <a:pt x="1812" y="3215"/>
                </a:lnTo>
                <a:lnTo>
                  <a:pt x="1811" y="3214"/>
                </a:lnTo>
                <a:lnTo>
                  <a:pt x="1811" y="3212"/>
                </a:lnTo>
                <a:lnTo>
                  <a:pt x="1807" y="3210"/>
                </a:lnTo>
                <a:lnTo>
                  <a:pt x="1809" y="3209"/>
                </a:lnTo>
                <a:lnTo>
                  <a:pt x="1807" y="3207"/>
                </a:lnTo>
                <a:lnTo>
                  <a:pt x="1807" y="3204"/>
                </a:lnTo>
                <a:close/>
                <a:moveTo>
                  <a:pt x="1680" y="3323"/>
                </a:moveTo>
                <a:lnTo>
                  <a:pt x="1682" y="3323"/>
                </a:lnTo>
                <a:lnTo>
                  <a:pt x="1682" y="3324"/>
                </a:lnTo>
                <a:lnTo>
                  <a:pt x="1683" y="3326"/>
                </a:lnTo>
                <a:lnTo>
                  <a:pt x="1683" y="3329"/>
                </a:lnTo>
                <a:lnTo>
                  <a:pt x="1683" y="3331"/>
                </a:lnTo>
                <a:lnTo>
                  <a:pt x="1682" y="3335"/>
                </a:lnTo>
                <a:lnTo>
                  <a:pt x="1683" y="3335"/>
                </a:lnTo>
                <a:lnTo>
                  <a:pt x="1683" y="3333"/>
                </a:lnTo>
                <a:lnTo>
                  <a:pt x="1683" y="3335"/>
                </a:lnTo>
                <a:lnTo>
                  <a:pt x="1683" y="3336"/>
                </a:lnTo>
                <a:lnTo>
                  <a:pt x="1685" y="3338"/>
                </a:lnTo>
                <a:lnTo>
                  <a:pt x="1683" y="3338"/>
                </a:lnTo>
                <a:lnTo>
                  <a:pt x="1683" y="3340"/>
                </a:lnTo>
                <a:lnTo>
                  <a:pt x="1682" y="3338"/>
                </a:lnTo>
                <a:lnTo>
                  <a:pt x="1682" y="3340"/>
                </a:lnTo>
                <a:lnTo>
                  <a:pt x="1680" y="3340"/>
                </a:lnTo>
                <a:lnTo>
                  <a:pt x="1680" y="3343"/>
                </a:lnTo>
                <a:lnTo>
                  <a:pt x="1680" y="3341"/>
                </a:lnTo>
                <a:lnTo>
                  <a:pt x="1678" y="3341"/>
                </a:lnTo>
                <a:lnTo>
                  <a:pt x="1676" y="3340"/>
                </a:lnTo>
                <a:lnTo>
                  <a:pt x="1676" y="3341"/>
                </a:lnTo>
                <a:lnTo>
                  <a:pt x="1676" y="3343"/>
                </a:lnTo>
                <a:lnTo>
                  <a:pt x="1675" y="3345"/>
                </a:lnTo>
                <a:lnTo>
                  <a:pt x="1675" y="3343"/>
                </a:lnTo>
                <a:lnTo>
                  <a:pt x="1675" y="3341"/>
                </a:lnTo>
                <a:lnTo>
                  <a:pt x="1675" y="3340"/>
                </a:lnTo>
                <a:lnTo>
                  <a:pt x="1675" y="3338"/>
                </a:lnTo>
                <a:lnTo>
                  <a:pt x="1675" y="3336"/>
                </a:lnTo>
                <a:lnTo>
                  <a:pt x="1675" y="3335"/>
                </a:lnTo>
                <a:lnTo>
                  <a:pt x="1675" y="3331"/>
                </a:lnTo>
                <a:lnTo>
                  <a:pt x="1676" y="3328"/>
                </a:lnTo>
                <a:lnTo>
                  <a:pt x="1678" y="3324"/>
                </a:lnTo>
                <a:lnTo>
                  <a:pt x="1680" y="3324"/>
                </a:lnTo>
                <a:lnTo>
                  <a:pt x="1680" y="3323"/>
                </a:lnTo>
                <a:close/>
                <a:moveTo>
                  <a:pt x="2090" y="3464"/>
                </a:moveTo>
                <a:lnTo>
                  <a:pt x="2091" y="3464"/>
                </a:lnTo>
                <a:lnTo>
                  <a:pt x="2091" y="3467"/>
                </a:lnTo>
                <a:lnTo>
                  <a:pt x="2090" y="3469"/>
                </a:lnTo>
                <a:lnTo>
                  <a:pt x="2091" y="3471"/>
                </a:lnTo>
                <a:lnTo>
                  <a:pt x="2090" y="3474"/>
                </a:lnTo>
                <a:lnTo>
                  <a:pt x="2091" y="3476"/>
                </a:lnTo>
                <a:lnTo>
                  <a:pt x="2090" y="3477"/>
                </a:lnTo>
                <a:lnTo>
                  <a:pt x="2090" y="3481"/>
                </a:lnTo>
                <a:lnTo>
                  <a:pt x="2091" y="3481"/>
                </a:lnTo>
                <a:lnTo>
                  <a:pt x="2093" y="3483"/>
                </a:lnTo>
                <a:lnTo>
                  <a:pt x="2095" y="3484"/>
                </a:lnTo>
                <a:lnTo>
                  <a:pt x="2095" y="3488"/>
                </a:lnTo>
                <a:lnTo>
                  <a:pt x="2096" y="3488"/>
                </a:lnTo>
                <a:lnTo>
                  <a:pt x="2096" y="3489"/>
                </a:lnTo>
                <a:lnTo>
                  <a:pt x="2095" y="3489"/>
                </a:lnTo>
                <a:lnTo>
                  <a:pt x="2095" y="3491"/>
                </a:lnTo>
                <a:lnTo>
                  <a:pt x="2093" y="3491"/>
                </a:lnTo>
                <a:lnTo>
                  <a:pt x="2093" y="3494"/>
                </a:lnTo>
                <a:lnTo>
                  <a:pt x="2095" y="3494"/>
                </a:lnTo>
                <a:lnTo>
                  <a:pt x="2093" y="3496"/>
                </a:lnTo>
                <a:lnTo>
                  <a:pt x="2093" y="3494"/>
                </a:lnTo>
                <a:lnTo>
                  <a:pt x="2091" y="3494"/>
                </a:lnTo>
                <a:lnTo>
                  <a:pt x="2088" y="3493"/>
                </a:lnTo>
                <a:lnTo>
                  <a:pt x="2090" y="3491"/>
                </a:lnTo>
                <a:lnTo>
                  <a:pt x="2088" y="3488"/>
                </a:lnTo>
                <a:lnTo>
                  <a:pt x="2088" y="3486"/>
                </a:lnTo>
                <a:lnTo>
                  <a:pt x="2086" y="3484"/>
                </a:lnTo>
                <a:lnTo>
                  <a:pt x="2084" y="3483"/>
                </a:lnTo>
                <a:lnTo>
                  <a:pt x="2086" y="3481"/>
                </a:lnTo>
                <a:lnTo>
                  <a:pt x="2088" y="3479"/>
                </a:lnTo>
                <a:lnTo>
                  <a:pt x="2086" y="3476"/>
                </a:lnTo>
                <a:lnTo>
                  <a:pt x="2088" y="3474"/>
                </a:lnTo>
                <a:lnTo>
                  <a:pt x="2088" y="3472"/>
                </a:lnTo>
                <a:lnTo>
                  <a:pt x="2088" y="3471"/>
                </a:lnTo>
                <a:lnTo>
                  <a:pt x="2088" y="3467"/>
                </a:lnTo>
                <a:lnTo>
                  <a:pt x="2086" y="3467"/>
                </a:lnTo>
                <a:lnTo>
                  <a:pt x="2088" y="3467"/>
                </a:lnTo>
                <a:lnTo>
                  <a:pt x="2090" y="3466"/>
                </a:lnTo>
                <a:lnTo>
                  <a:pt x="2090" y="3464"/>
                </a:lnTo>
                <a:close/>
                <a:moveTo>
                  <a:pt x="2076" y="3389"/>
                </a:moveTo>
                <a:lnTo>
                  <a:pt x="2078" y="3387"/>
                </a:lnTo>
                <a:lnTo>
                  <a:pt x="2079" y="3391"/>
                </a:lnTo>
                <a:lnTo>
                  <a:pt x="2078" y="3391"/>
                </a:lnTo>
                <a:lnTo>
                  <a:pt x="2076" y="3392"/>
                </a:lnTo>
                <a:lnTo>
                  <a:pt x="2074" y="3392"/>
                </a:lnTo>
                <a:lnTo>
                  <a:pt x="2073" y="3394"/>
                </a:lnTo>
                <a:lnTo>
                  <a:pt x="2071" y="3396"/>
                </a:lnTo>
                <a:lnTo>
                  <a:pt x="2069" y="3399"/>
                </a:lnTo>
                <a:lnTo>
                  <a:pt x="2067" y="3401"/>
                </a:lnTo>
                <a:lnTo>
                  <a:pt x="2064" y="3401"/>
                </a:lnTo>
                <a:lnTo>
                  <a:pt x="2062" y="3401"/>
                </a:lnTo>
                <a:lnTo>
                  <a:pt x="2061" y="3403"/>
                </a:lnTo>
                <a:lnTo>
                  <a:pt x="2061" y="3406"/>
                </a:lnTo>
                <a:lnTo>
                  <a:pt x="2061" y="3408"/>
                </a:lnTo>
                <a:lnTo>
                  <a:pt x="2057" y="3406"/>
                </a:lnTo>
                <a:lnTo>
                  <a:pt x="2057" y="3404"/>
                </a:lnTo>
                <a:lnTo>
                  <a:pt x="2057" y="3403"/>
                </a:lnTo>
                <a:lnTo>
                  <a:pt x="2059" y="3401"/>
                </a:lnTo>
                <a:lnTo>
                  <a:pt x="2061" y="3401"/>
                </a:lnTo>
                <a:lnTo>
                  <a:pt x="2062" y="3399"/>
                </a:lnTo>
                <a:lnTo>
                  <a:pt x="2062" y="3397"/>
                </a:lnTo>
                <a:lnTo>
                  <a:pt x="2064" y="3394"/>
                </a:lnTo>
                <a:lnTo>
                  <a:pt x="2066" y="3394"/>
                </a:lnTo>
                <a:lnTo>
                  <a:pt x="2067" y="3391"/>
                </a:lnTo>
                <a:lnTo>
                  <a:pt x="2069" y="3391"/>
                </a:lnTo>
                <a:lnTo>
                  <a:pt x="2071" y="3389"/>
                </a:lnTo>
                <a:lnTo>
                  <a:pt x="2073" y="3389"/>
                </a:lnTo>
                <a:lnTo>
                  <a:pt x="2074" y="3387"/>
                </a:lnTo>
                <a:lnTo>
                  <a:pt x="2076" y="3389"/>
                </a:lnTo>
                <a:close/>
                <a:moveTo>
                  <a:pt x="1836" y="3477"/>
                </a:moveTo>
                <a:lnTo>
                  <a:pt x="1838" y="3479"/>
                </a:lnTo>
                <a:lnTo>
                  <a:pt x="1840" y="3481"/>
                </a:lnTo>
                <a:lnTo>
                  <a:pt x="1840" y="3483"/>
                </a:lnTo>
                <a:lnTo>
                  <a:pt x="1843" y="3483"/>
                </a:lnTo>
                <a:lnTo>
                  <a:pt x="1846" y="3484"/>
                </a:lnTo>
                <a:lnTo>
                  <a:pt x="1846" y="3486"/>
                </a:lnTo>
                <a:lnTo>
                  <a:pt x="1846" y="3488"/>
                </a:lnTo>
                <a:lnTo>
                  <a:pt x="1845" y="3488"/>
                </a:lnTo>
                <a:lnTo>
                  <a:pt x="1845" y="3491"/>
                </a:lnTo>
                <a:lnTo>
                  <a:pt x="1846" y="3493"/>
                </a:lnTo>
                <a:lnTo>
                  <a:pt x="1845" y="3494"/>
                </a:lnTo>
                <a:lnTo>
                  <a:pt x="1843" y="3494"/>
                </a:lnTo>
                <a:lnTo>
                  <a:pt x="1841" y="3494"/>
                </a:lnTo>
                <a:lnTo>
                  <a:pt x="1840" y="3493"/>
                </a:lnTo>
                <a:lnTo>
                  <a:pt x="1838" y="3493"/>
                </a:lnTo>
                <a:lnTo>
                  <a:pt x="1836" y="3491"/>
                </a:lnTo>
                <a:lnTo>
                  <a:pt x="1836" y="3489"/>
                </a:lnTo>
                <a:lnTo>
                  <a:pt x="1836" y="3488"/>
                </a:lnTo>
                <a:lnTo>
                  <a:pt x="1836" y="3484"/>
                </a:lnTo>
                <a:lnTo>
                  <a:pt x="1835" y="3483"/>
                </a:lnTo>
                <a:lnTo>
                  <a:pt x="1835" y="3479"/>
                </a:lnTo>
                <a:lnTo>
                  <a:pt x="1835" y="3477"/>
                </a:lnTo>
                <a:lnTo>
                  <a:pt x="1836" y="3477"/>
                </a:lnTo>
                <a:close/>
                <a:moveTo>
                  <a:pt x="2010" y="3345"/>
                </a:moveTo>
                <a:lnTo>
                  <a:pt x="2010" y="3346"/>
                </a:lnTo>
                <a:lnTo>
                  <a:pt x="2010" y="3350"/>
                </a:lnTo>
                <a:lnTo>
                  <a:pt x="2008" y="3350"/>
                </a:lnTo>
                <a:lnTo>
                  <a:pt x="2008" y="3352"/>
                </a:lnTo>
                <a:lnTo>
                  <a:pt x="2006" y="3352"/>
                </a:lnTo>
                <a:lnTo>
                  <a:pt x="2006" y="3353"/>
                </a:lnTo>
                <a:lnTo>
                  <a:pt x="2005" y="3353"/>
                </a:lnTo>
                <a:lnTo>
                  <a:pt x="2005" y="3355"/>
                </a:lnTo>
                <a:lnTo>
                  <a:pt x="2003" y="3357"/>
                </a:lnTo>
                <a:lnTo>
                  <a:pt x="2001" y="3357"/>
                </a:lnTo>
                <a:lnTo>
                  <a:pt x="1999" y="3357"/>
                </a:lnTo>
                <a:lnTo>
                  <a:pt x="1998" y="3358"/>
                </a:lnTo>
                <a:lnTo>
                  <a:pt x="1996" y="3360"/>
                </a:lnTo>
                <a:lnTo>
                  <a:pt x="1996" y="3362"/>
                </a:lnTo>
                <a:lnTo>
                  <a:pt x="1994" y="3362"/>
                </a:lnTo>
                <a:lnTo>
                  <a:pt x="1991" y="3362"/>
                </a:lnTo>
                <a:lnTo>
                  <a:pt x="1991" y="3360"/>
                </a:lnTo>
                <a:lnTo>
                  <a:pt x="1993" y="3357"/>
                </a:lnTo>
                <a:lnTo>
                  <a:pt x="1994" y="3355"/>
                </a:lnTo>
                <a:lnTo>
                  <a:pt x="1994" y="3353"/>
                </a:lnTo>
                <a:lnTo>
                  <a:pt x="1996" y="3352"/>
                </a:lnTo>
                <a:lnTo>
                  <a:pt x="1999" y="3352"/>
                </a:lnTo>
                <a:lnTo>
                  <a:pt x="2003" y="3352"/>
                </a:lnTo>
                <a:lnTo>
                  <a:pt x="2003" y="3350"/>
                </a:lnTo>
                <a:lnTo>
                  <a:pt x="2005" y="3348"/>
                </a:lnTo>
                <a:lnTo>
                  <a:pt x="2006" y="3346"/>
                </a:lnTo>
                <a:lnTo>
                  <a:pt x="2008" y="3346"/>
                </a:lnTo>
                <a:lnTo>
                  <a:pt x="2010" y="3345"/>
                </a:lnTo>
                <a:close/>
                <a:moveTo>
                  <a:pt x="1887" y="3277"/>
                </a:moveTo>
                <a:lnTo>
                  <a:pt x="1889" y="3278"/>
                </a:lnTo>
                <a:lnTo>
                  <a:pt x="1891" y="3278"/>
                </a:lnTo>
                <a:lnTo>
                  <a:pt x="1892" y="3280"/>
                </a:lnTo>
                <a:lnTo>
                  <a:pt x="1894" y="3282"/>
                </a:lnTo>
                <a:lnTo>
                  <a:pt x="1892" y="3284"/>
                </a:lnTo>
                <a:lnTo>
                  <a:pt x="1894" y="3284"/>
                </a:lnTo>
                <a:lnTo>
                  <a:pt x="1896" y="3284"/>
                </a:lnTo>
                <a:lnTo>
                  <a:pt x="1899" y="3285"/>
                </a:lnTo>
                <a:lnTo>
                  <a:pt x="1901" y="3287"/>
                </a:lnTo>
                <a:lnTo>
                  <a:pt x="1901" y="3289"/>
                </a:lnTo>
                <a:lnTo>
                  <a:pt x="1899" y="3290"/>
                </a:lnTo>
                <a:lnTo>
                  <a:pt x="1897" y="3289"/>
                </a:lnTo>
                <a:lnTo>
                  <a:pt x="1897" y="3290"/>
                </a:lnTo>
                <a:lnTo>
                  <a:pt x="1896" y="3289"/>
                </a:lnTo>
                <a:lnTo>
                  <a:pt x="1894" y="3290"/>
                </a:lnTo>
                <a:lnTo>
                  <a:pt x="1892" y="3290"/>
                </a:lnTo>
                <a:lnTo>
                  <a:pt x="1894" y="3289"/>
                </a:lnTo>
                <a:lnTo>
                  <a:pt x="1894" y="3285"/>
                </a:lnTo>
                <a:lnTo>
                  <a:pt x="1892" y="3287"/>
                </a:lnTo>
                <a:lnTo>
                  <a:pt x="1891" y="3285"/>
                </a:lnTo>
                <a:lnTo>
                  <a:pt x="1891" y="3287"/>
                </a:lnTo>
                <a:lnTo>
                  <a:pt x="1891" y="3285"/>
                </a:lnTo>
                <a:lnTo>
                  <a:pt x="1889" y="3285"/>
                </a:lnTo>
                <a:lnTo>
                  <a:pt x="1887" y="3284"/>
                </a:lnTo>
                <a:lnTo>
                  <a:pt x="1886" y="3285"/>
                </a:lnTo>
                <a:lnTo>
                  <a:pt x="1886" y="3282"/>
                </a:lnTo>
                <a:lnTo>
                  <a:pt x="1887" y="3282"/>
                </a:lnTo>
                <a:lnTo>
                  <a:pt x="1886" y="3280"/>
                </a:lnTo>
                <a:lnTo>
                  <a:pt x="1886" y="3278"/>
                </a:lnTo>
                <a:lnTo>
                  <a:pt x="1887" y="3277"/>
                </a:lnTo>
                <a:close/>
                <a:moveTo>
                  <a:pt x="1935" y="3362"/>
                </a:moveTo>
                <a:lnTo>
                  <a:pt x="1938" y="3362"/>
                </a:lnTo>
                <a:lnTo>
                  <a:pt x="1938" y="3363"/>
                </a:lnTo>
                <a:lnTo>
                  <a:pt x="1940" y="3363"/>
                </a:lnTo>
                <a:lnTo>
                  <a:pt x="1942" y="3363"/>
                </a:lnTo>
                <a:lnTo>
                  <a:pt x="1943" y="3363"/>
                </a:lnTo>
                <a:lnTo>
                  <a:pt x="1945" y="3363"/>
                </a:lnTo>
                <a:lnTo>
                  <a:pt x="1948" y="3363"/>
                </a:lnTo>
                <a:lnTo>
                  <a:pt x="1948" y="3365"/>
                </a:lnTo>
                <a:lnTo>
                  <a:pt x="1950" y="3363"/>
                </a:lnTo>
                <a:lnTo>
                  <a:pt x="1950" y="3367"/>
                </a:lnTo>
                <a:lnTo>
                  <a:pt x="1948" y="3369"/>
                </a:lnTo>
                <a:lnTo>
                  <a:pt x="1950" y="3370"/>
                </a:lnTo>
                <a:lnTo>
                  <a:pt x="1947" y="3370"/>
                </a:lnTo>
                <a:lnTo>
                  <a:pt x="1945" y="3370"/>
                </a:lnTo>
                <a:lnTo>
                  <a:pt x="1943" y="3370"/>
                </a:lnTo>
                <a:lnTo>
                  <a:pt x="1942" y="3369"/>
                </a:lnTo>
                <a:lnTo>
                  <a:pt x="1940" y="3369"/>
                </a:lnTo>
                <a:lnTo>
                  <a:pt x="1938" y="3367"/>
                </a:lnTo>
                <a:lnTo>
                  <a:pt x="1937" y="3367"/>
                </a:lnTo>
                <a:lnTo>
                  <a:pt x="1937" y="3365"/>
                </a:lnTo>
                <a:lnTo>
                  <a:pt x="1933" y="3363"/>
                </a:lnTo>
                <a:lnTo>
                  <a:pt x="1935" y="3363"/>
                </a:lnTo>
                <a:lnTo>
                  <a:pt x="1935" y="3362"/>
                </a:lnTo>
                <a:close/>
                <a:moveTo>
                  <a:pt x="1955" y="3397"/>
                </a:moveTo>
                <a:lnTo>
                  <a:pt x="1955" y="3399"/>
                </a:lnTo>
                <a:lnTo>
                  <a:pt x="1957" y="3399"/>
                </a:lnTo>
                <a:lnTo>
                  <a:pt x="1957" y="3397"/>
                </a:lnTo>
                <a:lnTo>
                  <a:pt x="1957" y="3396"/>
                </a:lnTo>
                <a:lnTo>
                  <a:pt x="1959" y="3397"/>
                </a:lnTo>
                <a:lnTo>
                  <a:pt x="1959" y="3399"/>
                </a:lnTo>
                <a:lnTo>
                  <a:pt x="1957" y="3401"/>
                </a:lnTo>
                <a:lnTo>
                  <a:pt x="1959" y="3404"/>
                </a:lnTo>
                <a:lnTo>
                  <a:pt x="1959" y="3406"/>
                </a:lnTo>
                <a:lnTo>
                  <a:pt x="1957" y="3408"/>
                </a:lnTo>
                <a:lnTo>
                  <a:pt x="1955" y="3409"/>
                </a:lnTo>
                <a:lnTo>
                  <a:pt x="1954" y="3409"/>
                </a:lnTo>
                <a:lnTo>
                  <a:pt x="1952" y="3409"/>
                </a:lnTo>
                <a:lnTo>
                  <a:pt x="1950" y="3408"/>
                </a:lnTo>
                <a:lnTo>
                  <a:pt x="1950" y="3406"/>
                </a:lnTo>
                <a:lnTo>
                  <a:pt x="1950" y="3404"/>
                </a:lnTo>
                <a:lnTo>
                  <a:pt x="1952" y="3403"/>
                </a:lnTo>
                <a:lnTo>
                  <a:pt x="1950" y="3403"/>
                </a:lnTo>
                <a:lnTo>
                  <a:pt x="1952" y="3399"/>
                </a:lnTo>
                <a:lnTo>
                  <a:pt x="1954" y="3397"/>
                </a:lnTo>
                <a:lnTo>
                  <a:pt x="1955" y="3397"/>
                </a:lnTo>
                <a:close/>
                <a:moveTo>
                  <a:pt x="1923" y="3158"/>
                </a:moveTo>
                <a:lnTo>
                  <a:pt x="1925" y="3158"/>
                </a:lnTo>
                <a:lnTo>
                  <a:pt x="1926" y="3158"/>
                </a:lnTo>
                <a:lnTo>
                  <a:pt x="1928" y="3158"/>
                </a:lnTo>
                <a:lnTo>
                  <a:pt x="1930" y="3158"/>
                </a:lnTo>
                <a:lnTo>
                  <a:pt x="1930" y="3159"/>
                </a:lnTo>
                <a:lnTo>
                  <a:pt x="1931" y="3161"/>
                </a:lnTo>
                <a:lnTo>
                  <a:pt x="1930" y="3163"/>
                </a:lnTo>
                <a:lnTo>
                  <a:pt x="1928" y="3163"/>
                </a:lnTo>
                <a:lnTo>
                  <a:pt x="1926" y="3164"/>
                </a:lnTo>
                <a:lnTo>
                  <a:pt x="1925" y="3164"/>
                </a:lnTo>
                <a:lnTo>
                  <a:pt x="1923" y="3164"/>
                </a:lnTo>
                <a:lnTo>
                  <a:pt x="1921" y="3164"/>
                </a:lnTo>
                <a:lnTo>
                  <a:pt x="1918" y="3163"/>
                </a:lnTo>
                <a:lnTo>
                  <a:pt x="1916" y="3161"/>
                </a:lnTo>
                <a:lnTo>
                  <a:pt x="1918" y="3161"/>
                </a:lnTo>
                <a:lnTo>
                  <a:pt x="1920" y="3159"/>
                </a:lnTo>
                <a:lnTo>
                  <a:pt x="1920" y="3158"/>
                </a:lnTo>
                <a:lnTo>
                  <a:pt x="1923" y="3158"/>
                </a:lnTo>
                <a:close/>
                <a:moveTo>
                  <a:pt x="1916" y="3433"/>
                </a:moveTo>
                <a:lnTo>
                  <a:pt x="1916" y="3435"/>
                </a:lnTo>
                <a:lnTo>
                  <a:pt x="1918" y="3435"/>
                </a:lnTo>
                <a:lnTo>
                  <a:pt x="1920" y="3433"/>
                </a:lnTo>
                <a:lnTo>
                  <a:pt x="1923" y="3433"/>
                </a:lnTo>
                <a:lnTo>
                  <a:pt x="1921" y="3435"/>
                </a:lnTo>
                <a:lnTo>
                  <a:pt x="1923" y="3437"/>
                </a:lnTo>
                <a:lnTo>
                  <a:pt x="1923" y="3438"/>
                </a:lnTo>
                <a:lnTo>
                  <a:pt x="1923" y="3440"/>
                </a:lnTo>
                <a:lnTo>
                  <a:pt x="1921" y="3438"/>
                </a:lnTo>
                <a:lnTo>
                  <a:pt x="1920" y="3440"/>
                </a:lnTo>
                <a:lnTo>
                  <a:pt x="1918" y="3440"/>
                </a:lnTo>
                <a:lnTo>
                  <a:pt x="1918" y="3442"/>
                </a:lnTo>
                <a:lnTo>
                  <a:pt x="1916" y="3442"/>
                </a:lnTo>
                <a:lnTo>
                  <a:pt x="1914" y="3442"/>
                </a:lnTo>
                <a:lnTo>
                  <a:pt x="1913" y="3443"/>
                </a:lnTo>
                <a:lnTo>
                  <a:pt x="1911" y="3443"/>
                </a:lnTo>
                <a:lnTo>
                  <a:pt x="1911" y="3440"/>
                </a:lnTo>
                <a:lnTo>
                  <a:pt x="1911" y="3438"/>
                </a:lnTo>
                <a:lnTo>
                  <a:pt x="1911" y="3435"/>
                </a:lnTo>
                <a:lnTo>
                  <a:pt x="1913" y="3437"/>
                </a:lnTo>
                <a:lnTo>
                  <a:pt x="1914" y="3437"/>
                </a:lnTo>
                <a:lnTo>
                  <a:pt x="1914" y="3438"/>
                </a:lnTo>
                <a:lnTo>
                  <a:pt x="1918" y="3438"/>
                </a:lnTo>
                <a:lnTo>
                  <a:pt x="1920" y="3438"/>
                </a:lnTo>
                <a:lnTo>
                  <a:pt x="1918" y="3437"/>
                </a:lnTo>
                <a:lnTo>
                  <a:pt x="1916" y="3437"/>
                </a:lnTo>
                <a:lnTo>
                  <a:pt x="1914" y="3435"/>
                </a:lnTo>
                <a:lnTo>
                  <a:pt x="1914" y="3433"/>
                </a:lnTo>
                <a:lnTo>
                  <a:pt x="1916" y="3433"/>
                </a:lnTo>
                <a:close/>
                <a:moveTo>
                  <a:pt x="1897" y="3370"/>
                </a:moveTo>
                <a:lnTo>
                  <a:pt x="1901" y="3370"/>
                </a:lnTo>
                <a:lnTo>
                  <a:pt x="1903" y="3372"/>
                </a:lnTo>
                <a:lnTo>
                  <a:pt x="1901" y="3372"/>
                </a:lnTo>
                <a:lnTo>
                  <a:pt x="1901" y="3374"/>
                </a:lnTo>
                <a:lnTo>
                  <a:pt x="1901" y="3375"/>
                </a:lnTo>
                <a:lnTo>
                  <a:pt x="1899" y="3377"/>
                </a:lnTo>
                <a:lnTo>
                  <a:pt x="1899" y="3379"/>
                </a:lnTo>
                <a:lnTo>
                  <a:pt x="1897" y="3380"/>
                </a:lnTo>
                <a:lnTo>
                  <a:pt x="1896" y="3382"/>
                </a:lnTo>
                <a:lnTo>
                  <a:pt x="1896" y="3380"/>
                </a:lnTo>
                <a:lnTo>
                  <a:pt x="1896" y="3377"/>
                </a:lnTo>
                <a:lnTo>
                  <a:pt x="1894" y="3377"/>
                </a:lnTo>
                <a:lnTo>
                  <a:pt x="1894" y="3375"/>
                </a:lnTo>
                <a:lnTo>
                  <a:pt x="1896" y="3374"/>
                </a:lnTo>
                <a:lnTo>
                  <a:pt x="1896" y="3372"/>
                </a:lnTo>
                <a:lnTo>
                  <a:pt x="1897" y="3370"/>
                </a:lnTo>
                <a:close/>
                <a:moveTo>
                  <a:pt x="2003" y="3403"/>
                </a:moveTo>
                <a:lnTo>
                  <a:pt x="2005" y="3403"/>
                </a:lnTo>
                <a:lnTo>
                  <a:pt x="2005" y="3404"/>
                </a:lnTo>
                <a:lnTo>
                  <a:pt x="2008" y="3404"/>
                </a:lnTo>
                <a:lnTo>
                  <a:pt x="2006" y="3404"/>
                </a:lnTo>
                <a:lnTo>
                  <a:pt x="2003" y="3406"/>
                </a:lnTo>
                <a:lnTo>
                  <a:pt x="2001" y="3406"/>
                </a:lnTo>
                <a:lnTo>
                  <a:pt x="2001" y="3409"/>
                </a:lnTo>
                <a:lnTo>
                  <a:pt x="1999" y="3409"/>
                </a:lnTo>
                <a:lnTo>
                  <a:pt x="1998" y="3411"/>
                </a:lnTo>
                <a:lnTo>
                  <a:pt x="1998" y="3413"/>
                </a:lnTo>
                <a:lnTo>
                  <a:pt x="1996" y="3414"/>
                </a:lnTo>
                <a:lnTo>
                  <a:pt x="1994" y="3414"/>
                </a:lnTo>
                <a:lnTo>
                  <a:pt x="1993" y="3416"/>
                </a:lnTo>
                <a:lnTo>
                  <a:pt x="1993" y="3418"/>
                </a:lnTo>
                <a:lnTo>
                  <a:pt x="1991" y="3416"/>
                </a:lnTo>
                <a:lnTo>
                  <a:pt x="1989" y="3416"/>
                </a:lnTo>
                <a:lnTo>
                  <a:pt x="1991" y="3416"/>
                </a:lnTo>
                <a:lnTo>
                  <a:pt x="1991" y="3414"/>
                </a:lnTo>
                <a:lnTo>
                  <a:pt x="1993" y="3414"/>
                </a:lnTo>
                <a:lnTo>
                  <a:pt x="1993" y="3413"/>
                </a:lnTo>
                <a:lnTo>
                  <a:pt x="1996" y="3413"/>
                </a:lnTo>
                <a:lnTo>
                  <a:pt x="1994" y="3413"/>
                </a:lnTo>
                <a:lnTo>
                  <a:pt x="1996" y="3411"/>
                </a:lnTo>
                <a:lnTo>
                  <a:pt x="1994" y="3411"/>
                </a:lnTo>
                <a:lnTo>
                  <a:pt x="1996" y="3409"/>
                </a:lnTo>
                <a:lnTo>
                  <a:pt x="1998" y="3409"/>
                </a:lnTo>
                <a:lnTo>
                  <a:pt x="1999" y="3408"/>
                </a:lnTo>
                <a:lnTo>
                  <a:pt x="2001" y="3406"/>
                </a:lnTo>
                <a:lnTo>
                  <a:pt x="1999" y="3404"/>
                </a:lnTo>
                <a:lnTo>
                  <a:pt x="2003" y="3403"/>
                </a:lnTo>
                <a:close/>
                <a:moveTo>
                  <a:pt x="2050" y="3380"/>
                </a:moveTo>
                <a:lnTo>
                  <a:pt x="2052" y="3380"/>
                </a:lnTo>
                <a:lnTo>
                  <a:pt x="2054" y="3382"/>
                </a:lnTo>
                <a:lnTo>
                  <a:pt x="2054" y="3380"/>
                </a:lnTo>
                <a:lnTo>
                  <a:pt x="2056" y="3382"/>
                </a:lnTo>
                <a:lnTo>
                  <a:pt x="2057" y="3384"/>
                </a:lnTo>
                <a:lnTo>
                  <a:pt x="2059" y="3384"/>
                </a:lnTo>
                <a:lnTo>
                  <a:pt x="2061" y="3384"/>
                </a:lnTo>
                <a:lnTo>
                  <a:pt x="2059" y="3387"/>
                </a:lnTo>
                <a:lnTo>
                  <a:pt x="2061" y="3387"/>
                </a:lnTo>
                <a:lnTo>
                  <a:pt x="2057" y="3389"/>
                </a:lnTo>
                <a:lnTo>
                  <a:pt x="2057" y="3391"/>
                </a:lnTo>
                <a:lnTo>
                  <a:pt x="2056" y="3391"/>
                </a:lnTo>
                <a:lnTo>
                  <a:pt x="2052" y="3389"/>
                </a:lnTo>
                <a:lnTo>
                  <a:pt x="2054" y="3387"/>
                </a:lnTo>
                <a:lnTo>
                  <a:pt x="2054" y="3384"/>
                </a:lnTo>
                <a:lnTo>
                  <a:pt x="2056" y="3384"/>
                </a:lnTo>
                <a:lnTo>
                  <a:pt x="2054" y="3382"/>
                </a:lnTo>
                <a:lnTo>
                  <a:pt x="2052" y="3384"/>
                </a:lnTo>
                <a:lnTo>
                  <a:pt x="2052" y="3382"/>
                </a:lnTo>
                <a:lnTo>
                  <a:pt x="2049" y="3382"/>
                </a:lnTo>
                <a:lnTo>
                  <a:pt x="2050" y="3380"/>
                </a:lnTo>
                <a:close/>
                <a:moveTo>
                  <a:pt x="1965" y="3421"/>
                </a:moveTo>
                <a:lnTo>
                  <a:pt x="1967" y="3423"/>
                </a:lnTo>
                <a:lnTo>
                  <a:pt x="1969" y="3423"/>
                </a:lnTo>
                <a:lnTo>
                  <a:pt x="1969" y="3425"/>
                </a:lnTo>
                <a:lnTo>
                  <a:pt x="1972" y="3426"/>
                </a:lnTo>
                <a:lnTo>
                  <a:pt x="1971" y="3428"/>
                </a:lnTo>
                <a:lnTo>
                  <a:pt x="1972" y="3430"/>
                </a:lnTo>
                <a:lnTo>
                  <a:pt x="1971" y="3430"/>
                </a:lnTo>
                <a:lnTo>
                  <a:pt x="1971" y="3432"/>
                </a:lnTo>
                <a:lnTo>
                  <a:pt x="1969" y="3430"/>
                </a:lnTo>
                <a:lnTo>
                  <a:pt x="1965" y="3428"/>
                </a:lnTo>
                <a:lnTo>
                  <a:pt x="1965" y="3426"/>
                </a:lnTo>
                <a:lnTo>
                  <a:pt x="1962" y="3426"/>
                </a:lnTo>
                <a:lnTo>
                  <a:pt x="1964" y="3426"/>
                </a:lnTo>
                <a:lnTo>
                  <a:pt x="1964" y="3425"/>
                </a:lnTo>
                <a:lnTo>
                  <a:pt x="1962" y="3423"/>
                </a:lnTo>
                <a:lnTo>
                  <a:pt x="1964" y="3423"/>
                </a:lnTo>
                <a:lnTo>
                  <a:pt x="1965" y="3421"/>
                </a:lnTo>
                <a:close/>
                <a:moveTo>
                  <a:pt x="1906" y="3382"/>
                </a:moveTo>
                <a:lnTo>
                  <a:pt x="1906" y="3386"/>
                </a:lnTo>
                <a:lnTo>
                  <a:pt x="1908" y="3386"/>
                </a:lnTo>
                <a:lnTo>
                  <a:pt x="1909" y="3387"/>
                </a:lnTo>
                <a:lnTo>
                  <a:pt x="1909" y="3389"/>
                </a:lnTo>
                <a:lnTo>
                  <a:pt x="1908" y="3389"/>
                </a:lnTo>
                <a:lnTo>
                  <a:pt x="1909" y="3391"/>
                </a:lnTo>
                <a:lnTo>
                  <a:pt x="1908" y="3392"/>
                </a:lnTo>
                <a:lnTo>
                  <a:pt x="1908" y="3394"/>
                </a:lnTo>
                <a:lnTo>
                  <a:pt x="1906" y="3396"/>
                </a:lnTo>
                <a:lnTo>
                  <a:pt x="1904" y="3396"/>
                </a:lnTo>
                <a:lnTo>
                  <a:pt x="1904" y="3392"/>
                </a:lnTo>
                <a:lnTo>
                  <a:pt x="1906" y="3391"/>
                </a:lnTo>
                <a:lnTo>
                  <a:pt x="1904" y="3391"/>
                </a:lnTo>
                <a:lnTo>
                  <a:pt x="1904" y="3387"/>
                </a:lnTo>
                <a:lnTo>
                  <a:pt x="1903" y="3389"/>
                </a:lnTo>
                <a:lnTo>
                  <a:pt x="1904" y="3389"/>
                </a:lnTo>
                <a:lnTo>
                  <a:pt x="1903" y="3387"/>
                </a:lnTo>
                <a:lnTo>
                  <a:pt x="1904" y="3384"/>
                </a:lnTo>
                <a:lnTo>
                  <a:pt x="1906" y="3382"/>
                </a:lnTo>
                <a:close/>
                <a:moveTo>
                  <a:pt x="1836" y="3270"/>
                </a:moveTo>
                <a:lnTo>
                  <a:pt x="1838" y="3272"/>
                </a:lnTo>
                <a:lnTo>
                  <a:pt x="1840" y="3273"/>
                </a:lnTo>
                <a:lnTo>
                  <a:pt x="1841" y="3273"/>
                </a:lnTo>
                <a:lnTo>
                  <a:pt x="1843" y="3273"/>
                </a:lnTo>
                <a:lnTo>
                  <a:pt x="1843" y="3275"/>
                </a:lnTo>
                <a:lnTo>
                  <a:pt x="1845" y="3273"/>
                </a:lnTo>
                <a:lnTo>
                  <a:pt x="1846" y="3273"/>
                </a:lnTo>
                <a:lnTo>
                  <a:pt x="1846" y="3277"/>
                </a:lnTo>
                <a:lnTo>
                  <a:pt x="1845" y="3278"/>
                </a:lnTo>
                <a:lnTo>
                  <a:pt x="1843" y="3277"/>
                </a:lnTo>
                <a:lnTo>
                  <a:pt x="1840" y="3278"/>
                </a:lnTo>
                <a:lnTo>
                  <a:pt x="1840" y="3277"/>
                </a:lnTo>
                <a:lnTo>
                  <a:pt x="1840" y="3275"/>
                </a:lnTo>
                <a:lnTo>
                  <a:pt x="1838" y="3275"/>
                </a:lnTo>
                <a:lnTo>
                  <a:pt x="1838" y="3273"/>
                </a:lnTo>
                <a:lnTo>
                  <a:pt x="1836" y="3273"/>
                </a:lnTo>
                <a:lnTo>
                  <a:pt x="1835" y="3272"/>
                </a:lnTo>
                <a:lnTo>
                  <a:pt x="1836" y="3270"/>
                </a:lnTo>
                <a:close/>
                <a:moveTo>
                  <a:pt x="1682" y="3348"/>
                </a:moveTo>
                <a:lnTo>
                  <a:pt x="1683" y="3348"/>
                </a:lnTo>
                <a:lnTo>
                  <a:pt x="1683" y="3350"/>
                </a:lnTo>
                <a:lnTo>
                  <a:pt x="1685" y="3350"/>
                </a:lnTo>
                <a:lnTo>
                  <a:pt x="1685" y="3352"/>
                </a:lnTo>
                <a:lnTo>
                  <a:pt x="1685" y="3353"/>
                </a:lnTo>
                <a:lnTo>
                  <a:pt x="1685" y="3357"/>
                </a:lnTo>
                <a:lnTo>
                  <a:pt x="1687" y="3357"/>
                </a:lnTo>
                <a:lnTo>
                  <a:pt x="1685" y="3357"/>
                </a:lnTo>
                <a:lnTo>
                  <a:pt x="1687" y="3355"/>
                </a:lnTo>
                <a:lnTo>
                  <a:pt x="1688" y="3357"/>
                </a:lnTo>
                <a:lnTo>
                  <a:pt x="1688" y="3358"/>
                </a:lnTo>
                <a:lnTo>
                  <a:pt x="1690" y="3360"/>
                </a:lnTo>
                <a:lnTo>
                  <a:pt x="1688" y="3362"/>
                </a:lnTo>
                <a:lnTo>
                  <a:pt x="1687" y="3360"/>
                </a:lnTo>
                <a:lnTo>
                  <a:pt x="1685" y="3358"/>
                </a:lnTo>
                <a:lnTo>
                  <a:pt x="1683" y="3358"/>
                </a:lnTo>
                <a:lnTo>
                  <a:pt x="1683" y="3355"/>
                </a:lnTo>
                <a:lnTo>
                  <a:pt x="1682" y="3353"/>
                </a:lnTo>
                <a:lnTo>
                  <a:pt x="1682" y="3352"/>
                </a:lnTo>
                <a:lnTo>
                  <a:pt x="1680" y="3350"/>
                </a:lnTo>
                <a:lnTo>
                  <a:pt x="1682" y="3350"/>
                </a:lnTo>
                <a:lnTo>
                  <a:pt x="1682" y="3348"/>
                </a:lnTo>
                <a:close/>
                <a:moveTo>
                  <a:pt x="1845" y="3357"/>
                </a:moveTo>
                <a:lnTo>
                  <a:pt x="1848" y="3357"/>
                </a:lnTo>
                <a:lnTo>
                  <a:pt x="1848" y="3358"/>
                </a:lnTo>
                <a:lnTo>
                  <a:pt x="1850" y="3358"/>
                </a:lnTo>
                <a:lnTo>
                  <a:pt x="1848" y="3358"/>
                </a:lnTo>
                <a:lnTo>
                  <a:pt x="1852" y="3360"/>
                </a:lnTo>
                <a:lnTo>
                  <a:pt x="1850" y="3360"/>
                </a:lnTo>
                <a:lnTo>
                  <a:pt x="1850" y="3362"/>
                </a:lnTo>
                <a:lnTo>
                  <a:pt x="1848" y="3362"/>
                </a:lnTo>
                <a:lnTo>
                  <a:pt x="1848" y="3363"/>
                </a:lnTo>
                <a:lnTo>
                  <a:pt x="1846" y="3363"/>
                </a:lnTo>
                <a:lnTo>
                  <a:pt x="1845" y="3365"/>
                </a:lnTo>
                <a:lnTo>
                  <a:pt x="1841" y="3365"/>
                </a:lnTo>
                <a:lnTo>
                  <a:pt x="1841" y="3362"/>
                </a:lnTo>
                <a:lnTo>
                  <a:pt x="1843" y="3363"/>
                </a:lnTo>
                <a:lnTo>
                  <a:pt x="1845" y="3362"/>
                </a:lnTo>
                <a:lnTo>
                  <a:pt x="1846" y="3360"/>
                </a:lnTo>
                <a:lnTo>
                  <a:pt x="1846" y="3358"/>
                </a:lnTo>
                <a:lnTo>
                  <a:pt x="1845" y="3360"/>
                </a:lnTo>
                <a:lnTo>
                  <a:pt x="1843" y="3360"/>
                </a:lnTo>
                <a:lnTo>
                  <a:pt x="1843" y="3358"/>
                </a:lnTo>
                <a:lnTo>
                  <a:pt x="1841" y="3358"/>
                </a:lnTo>
                <a:lnTo>
                  <a:pt x="1845" y="3358"/>
                </a:lnTo>
                <a:lnTo>
                  <a:pt x="1845" y="3357"/>
                </a:lnTo>
                <a:close/>
                <a:moveTo>
                  <a:pt x="2028" y="3418"/>
                </a:moveTo>
                <a:lnTo>
                  <a:pt x="2030" y="3418"/>
                </a:lnTo>
                <a:lnTo>
                  <a:pt x="2032" y="3420"/>
                </a:lnTo>
                <a:lnTo>
                  <a:pt x="2033" y="3421"/>
                </a:lnTo>
                <a:lnTo>
                  <a:pt x="2035" y="3421"/>
                </a:lnTo>
                <a:lnTo>
                  <a:pt x="2033" y="3421"/>
                </a:lnTo>
                <a:lnTo>
                  <a:pt x="2030" y="3423"/>
                </a:lnTo>
                <a:lnTo>
                  <a:pt x="2028" y="3423"/>
                </a:lnTo>
                <a:lnTo>
                  <a:pt x="2028" y="3426"/>
                </a:lnTo>
                <a:lnTo>
                  <a:pt x="2030" y="3428"/>
                </a:lnTo>
                <a:lnTo>
                  <a:pt x="2027" y="3428"/>
                </a:lnTo>
                <a:lnTo>
                  <a:pt x="2025" y="3428"/>
                </a:lnTo>
                <a:lnTo>
                  <a:pt x="2023" y="3426"/>
                </a:lnTo>
                <a:lnTo>
                  <a:pt x="2023" y="3425"/>
                </a:lnTo>
                <a:lnTo>
                  <a:pt x="2022" y="3423"/>
                </a:lnTo>
                <a:lnTo>
                  <a:pt x="2025" y="3423"/>
                </a:lnTo>
                <a:lnTo>
                  <a:pt x="2027" y="3425"/>
                </a:lnTo>
                <a:lnTo>
                  <a:pt x="2028" y="3421"/>
                </a:lnTo>
                <a:lnTo>
                  <a:pt x="2030" y="3423"/>
                </a:lnTo>
                <a:lnTo>
                  <a:pt x="2030" y="3421"/>
                </a:lnTo>
                <a:lnTo>
                  <a:pt x="2030" y="3420"/>
                </a:lnTo>
                <a:lnTo>
                  <a:pt x="2028" y="3420"/>
                </a:lnTo>
                <a:lnTo>
                  <a:pt x="2028" y="3418"/>
                </a:lnTo>
                <a:close/>
                <a:moveTo>
                  <a:pt x="1957" y="3370"/>
                </a:moveTo>
                <a:lnTo>
                  <a:pt x="1959" y="3374"/>
                </a:lnTo>
                <a:lnTo>
                  <a:pt x="1959" y="3370"/>
                </a:lnTo>
                <a:lnTo>
                  <a:pt x="1962" y="3370"/>
                </a:lnTo>
                <a:lnTo>
                  <a:pt x="1962" y="3372"/>
                </a:lnTo>
                <a:lnTo>
                  <a:pt x="1964" y="3372"/>
                </a:lnTo>
                <a:lnTo>
                  <a:pt x="1964" y="3374"/>
                </a:lnTo>
                <a:lnTo>
                  <a:pt x="1960" y="3375"/>
                </a:lnTo>
                <a:lnTo>
                  <a:pt x="1960" y="3377"/>
                </a:lnTo>
                <a:lnTo>
                  <a:pt x="1960" y="3375"/>
                </a:lnTo>
                <a:lnTo>
                  <a:pt x="1959" y="3377"/>
                </a:lnTo>
                <a:lnTo>
                  <a:pt x="1957" y="3377"/>
                </a:lnTo>
                <a:lnTo>
                  <a:pt x="1955" y="3379"/>
                </a:lnTo>
                <a:lnTo>
                  <a:pt x="1955" y="3377"/>
                </a:lnTo>
                <a:lnTo>
                  <a:pt x="1955" y="3375"/>
                </a:lnTo>
                <a:lnTo>
                  <a:pt x="1957" y="3377"/>
                </a:lnTo>
                <a:lnTo>
                  <a:pt x="1957" y="3375"/>
                </a:lnTo>
                <a:lnTo>
                  <a:pt x="1955" y="3372"/>
                </a:lnTo>
                <a:lnTo>
                  <a:pt x="1957" y="3370"/>
                </a:lnTo>
                <a:close/>
                <a:moveTo>
                  <a:pt x="1930" y="3375"/>
                </a:moveTo>
                <a:lnTo>
                  <a:pt x="1933" y="3375"/>
                </a:lnTo>
                <a:lnTo>
                  <a:pt x="1935" y="3377"/>
                </a:lnTo>
                <a:lnTo>
                  <a:pt x="1935" y="3379"/>
                </a:lnTo>
                <a:lnTo>
                  <a:pt x="1935" y="3380"/>
                </a:lnTo>
                <a:lnTo>
                  <a:pt x="1937" y="3382"/>
                </a:lnTo>
                <a:lnTo>
                  <a:pt x="1937" y="3384"/>
                </a:lnTo>
                <a:lnTo>
                  <a:pt x="1935" y="3384"/>
                </a:lnTo>
                <a:lnTo>
                  <a:pt x="1931" y="3386"/>
                </a:lnTo>
                <a:lnTo>
                  <a:pt x="1931" y="3384"/>
                </a:lnTo>
                <a:lnTo>
                  <a:pt x="1930" y="3384"/>
                </a:lnTo>
                <a:lnTo>
                  <a:pt x="1931" y="3382"/>
                </a:lnTo>
                <a:lnTo>
                  <a:pt x="1930" y="3382"/>
                </a:lnTo>
                <a:lnTo>
                  <a:pt x="1933" y="3380"/>
                </a:lnTo>
                <a:lnTo>
                  <a:pt x="1931" y="3379"/>
                </a:lnTo>
                <a:lnTo>
                  <a:pt x="1931" y="3377"/>
                </a:lnTo>
                <a:lnTo>
                  <a:pt x="1930" y="3375"/>
                </a:lnTo>
                <a:close/>
                <a:moveTo>
                  <a:pt x="1848" y="3372"/>
                </a:moveTo>
                <a:lnTo>
                  <a:pt x="1852" y="3372"/>
                </a:lnTo>
                <a:lnTo>
                  <a:pt x="1853" y="3372"/>
                </a:lnTo>
                <a:lnTo>
                  <a:pt x="1852" y="3374"/>
                </a:lnTo>
                <a:lnTo>
                  <a:pt x="1852" y="3375"/>
                </a:lnTo>
                <a:lnTo>
                  <a:pt x="1852" y="3379"/>
                </a:lnTo>
                <a:lnTo>
                  <a:pt x="1850" y="3380"/>
                </a:lnTo>
                <a:lnTo>
                  <a:pt x="1848" y="3379"/>
                </a:lnTo>
                <a:lnTo>
                  <a:pt x="1848" y="3377"/>
                </a:lnTo>
                <a:lnTo>
                  <a:pt x="1846" y="3377"/>
                </a:lnTo>
                <a:lnTo>
                  <a:pt x="1845" y="3374"/>
                </a:lnTo>
                <a:lnTo>
                  <a:pt x="1846" y="3374"/>
                </a:lnTo>
                <a:lnTo>
                  <a:pt x="1848" y="3372"/>
                </a:lnTo>
                <a:close/>
                <a:moveTo>
                  <a:pt x="1923" y="3411"/>
                </a:moveTo>
                <a:lnTo>
                  <a:pt x="1926" y="3413"/>
                </a:lnTo>
                <a:lnTo>
                  <a:pt x="1928" y="3413"/>
                </a:lnTo>
                <a:lnTo>
                  <a:pt x="1928" y="3414"/>
                </a:lnTo>
                <a:lnTo>
                  <a:pt x="1930" y="3414"/>
                </a:lnTo>
                <a:lnTo>
                  <a:pt x="1931" y="3416"/>
                </a:lnTo>
                <a:lnTo>
                  <a:pt x="1931" y="3418"/>
                </a:lnTo>
                <a:lnTo>
                  <a:pt x="1930" y="3418"/>
                </a:lnTo>
                <a:lnTo>
                  <a:pt x="1930" y="3421"/>
                </a:lnTo>
                <a:lnTo>
                  <a:pt x="1928" y="3420"/>
                </a:lnTo>
                <a:lnTo>
                  <a:pt x="1926" y="3418"/>
                </a:lnTo>
                <a:lnTo>
                  <a:pt x="1925" y="3416"/>
                </a:lnTo>
                <a:lnTo>
                  <a:pt x="1926" y="3414"/>
                </a:lnTo>
                <a:lnTo>
                  <a:pt x="1925" y="3414"/>
                </a:lnTo>
                <a:lnTo>
                  <a:pt x="1923" y="3413"/>
                </a:lnTo>
                <a:lnTo>
                  <a:pt x="1925" y="3413"/>
                </a:lnTo>
                <a:lnTo>
                  <a:pt x="1923" y="3411"/>
                </a:lnTo>
                <a:close/>
                <a:moveTo>
                  <a:pt x="1976" y="3442"/>
                </a:moveTo>
                <a:lnTo>
                  <a:pt x="1977" y="3443"/>
                </a:lnTo>
                <a:lnTo>
                  <a:pt x="1979" y="3445"/>
                </a:lnTo>
                <a:lnTo>
                  <a:pt x="1981" y="3447"/>
                </a:lnTo>
                <a:lnTo>
                  <a:pt x="1981" y="3449"/>
                </a:lnTo>
                <a:lnTo>
                  <a:pt x="1982" y="3450"/>
                </a:lnTo>
                <a:lnTo>
                  <a:pt x="1979" y="3452"/>
                </a:lnTo>
                <a:lnTo>
                  <a:pt x="1976" y="3452"/>
                </a:lnTo>
                <a:lnTo>
                  <a:pt x="1974" y="3452"/>
                </a:lnTo>
                <a:lnTo>
                  <a:pt x="1976" y="3450"/>
                </a:lnTo>
                <a:lnTo>
                  <a:pt x="1977" y="3450"/>
                </a:lnTo>
                <a:lnTo>
                  <a:pt x="1979" y="3449"/>
                </a:lnTo>
                <a:lnTo>
                  <a:pt x="1977" y="3445"/>
                </a:lnTo>
                <a:lnTo>
                  <a:pt x="1976" y="3443"/>
                </a:lnTo>
                <a:lnTo>
                  <a:pt x="1974" y="3443"/>
                </a:lnTo>
                <a:lnTo>
                  <a:pt x="1974" y="3442"/>
                </a:lnTo>
                <a:lnTo>
                  <a:pt x="1976" y="3442"/>
                </a:lnTo>
                <a:close/>
                <a:moveTo>
                  <a:pt x="1913" y="3401"/>
                </a:moveTo>
                <a:lnTo>
                  <a:pt x="1916" y="3403"/>
                </a:lnTo>
                <a:lnTo>
                  <a:pt x="1914" y="3404"/>
                </a:lnTo>
                <a:lnTo>
                  <a:pt x="1916" y="3406"/>
                </a:lnTo>
                <a:lnTo>
                  <a:pt x="1914" y="3406"/>
                </a:lnTo>
                <a:lnTo>
                  <a:pt x="1916" y="3408"/>
                </a:lnTo>
                <a:lnTo>
                  <a:pt x="1914" y="3409"/>
                </a:lnTo>
                <a:lnTo>
                  <a:pt x="1914" y="3408"/>
                </a:lnTo>
                <a:lnTo>
                  <a:pt x="1913" y="3408"/>
                </a:lnTo>
                <a:lnTo>
                  <a:pt x="1909" y="3409"/>
                </a:lnTo>
                <a:lnTo>
                  <a:pt x="1911" y="3408"/>
                </a:lnTo>
                <a:lnTo>
                  <a:pt x="1909" y="3406"/>
                </a:lnTo>
                <a:lnTo>
                  <a:pt x="1911" y="3404"/>
                </a:lnTo>
                <a:lnTo>
                  <a:pt x="1913" y="3403"/>
                </a:lnTo>
                <a:lnTo>
                  <a:pt x="1913" y="3401"/>
                </a:lnTo>
                <a:close/>
                <a:moveTo>
                  <a:pt x="1853" y="3260"/>
                </a:moveTo>
                <a:lnTo>
                  <a:pt x="1853" y="3261"/>
                </a:lnTo>
                <a:lnTo>
                  <a:pt x="1855" y="3261"/>
                </a:lnTo>
                <a:lnTo>
                  <a:pt x="1855" y="3263"/>
                </a:lnTo>
                <a:lnTo>
                  <a:pt x="1855" y="3266"/>
                </a:lnTo>
                <a:lnTo>
                  <a:pt x="1853" y="3266"/>
                </a:lnTo>
                <a:lnTo>
                  <a:pt x="1853" y="3268"/>
                </a:lnTo>
                <a:lnTo>
                  <a:pt x="1852" y="3272"/>
                </a:lnTo>
                <a:lnTo>
                  <a:pt x="1848" y="3273"/>
                </a:lnTo>
                <a:lnTo>
                  <a:pt x="1848" y="3272"/>
                </a:lnTo>
                <a:lnTo>
                  <a:pt x="1852" y="3270"/>
                </a:lnTo>
                <a:lnTo>
                  <a:pt x="1850" y="3268"/>
                </a:lnTo>
                <a:lnTo>
                  <a:pt x="1852" y="3266"/>
                </a:lnTo>
                <a:lnTo>
                  <a:pt x="1852" y="3265"/>
                </a:lnTo>
                <a:lnTo>
                  <a:pt x="1852" y="3263"/>
                </a:lnTo>
                <a:lnTo>
                  <a:pt x="1853" y="3263"/>
                </a:lnTo>
                <a:lnTo>
                  <a:pt x="1853" y="3260"/>
                </a:lnTo>
                <a:close/>
                <a:moveTo>
                  <a:pt x="2084" y="3496"/>
                </a:moveTo>
                <a:lnTo>
                  <a:pt x="2084" y="3498"/>
                </a:lnTo>
                <a:lnTo>
                  <a:pt x="2083" y="3500"/>
                </a:lnTo>
                <a:lnTo>
                  <a:pt x="2081" y="3501"/>
                </a:lnTo>
                <a:lnTo>
                  <a:pt x="2079" y="3501"/>
                </a:lnTo>
                <a:lnTo>
                  <a:pt x="2079" y="3503"/>
                </a:lnTo>
                <a:lnTo>
                  <a:pt x="2076" y="3503"/>
                </a:lnTo>
                <a:lnTo>
                  <a:pt x="2076" y="3501"/>
                </a:lnTo>
                <a:lnTo>
                  <a:pt x="2078" y="3500"/>
                </a:lnTo>
                <a:lnTo>
                  <a:pt x="2078" y="3498"/>
                </a:lnTo>
                <a:lnTo>
                  <a:pt x="2081" y="3498"/>
                </a:lnTo>
                <a:lnTo>
                  <a:pt x="2083" y="3496"/>
                </a:lnTo>
                <a:lnTo>
                  <a:pt x="2084" y="3496"/>
                </a:lnTo>
                <a:close/>
                <a:moveTo>
                  <a:pt x="2086" y="3416"/>
                </a:moveTo>
                <a:lnTo>
                  <a:pt x="2088" y="3418"/>
                </a:lnTo>
                <a:lnTo>
                  <a:pt x="2088" y="3420"/>
                </a:lnTo>
                <a:lnTo>
                  <a:pt x="2090" y="3420"/>
                </a:lnTo>
                <a:lnTo>
                  <a:pt x="2090" y="3421"/>
                </a:lnTo>
                <a:lnTo>
                  <a:pt x="2090" y="3420"/>
                </a:lnTo>
                <a:lnTo>
                  <a:pt x="2091" y="3421"/>
                </a:lnTo>
                <a:lnTo>
                  <a:pt x="2093" y="3420"/>
                </a:lnTo>
                <a:lnTo>
                  <a:pt x="2093" y="3421"/>
                </a:lnTo>
                <a:lnTo>
                  <a:pt x="2090" y="3423"/>
                </a:lnTo>
                <a:lnTo>
                  <a:pt x="2088" y="3421"/>
                </a:lnTo>
                <a:lnTo>
                  <a:pt x="2088" y="3423"/>
                </a:lnTo>
                <a:lnTo>
                  <a:pt x="2086" y="3420"/>
                </a:lnTo>
                <a:lnTo>
                  <a:pt x="2086" y="3421"/>
                </a:lnTo>
                <a:lnTo>
                  <a:pt x="2083" y="3421"/>
                </a:lnTo>
                <a:lnTo>
                  <a:pt x="2083" y="3420"/>
                </a:lnTo>
                <a:lnTo>
                  <a:pt x="2083" y="3418"/>
                </a:lnTo>
                <a:lnTo>
                  <a:pt x="2084" y="3418"/>
                </a:lnTo>
                <a:lnTo>
                  <a:pt x="2086" y="3416"/>
                </a:lnTo>
                <a:close/>
                <a:moveTo>
                  <a:pt x="2110" y="3399"/>
                </a:moveTo>
                <a:lnTo>
                  <a:pt x="2110" y="3401"/>
                </a:lnTo>
                <a:lnTo>
                  <a:pt x="2112" y="3401"/>
                </a:lnTo>
                <a:lnTo>
                  <a:pt x="2113" y="3399"/>
                </a:lnTo>
                <a:lnTo>
                  <a:pt x="2112" y="3401"/>
                </a:lnTo>
                <a:lnTo>
                  <a:pt x="2113" y="3399"/>
                </a:lnTo>
                <a:lnTo>
                  <a:pt x="2113" y="3401"/>
                </a:lnTo>
                <a:lnTo>
                  <a:pt x="2113" y="3403"/>
                </a:lnTo>
                <a:lnTo>
                  <a:pt x="2115" y="3404"/>
                </a:lnTo>
                <a:lnTo>
                  <a:pt x="2113" y="3406"/>
                </a:lnTo>
                <a:lnTo>
                  <a:pt x="2112" y="3406"/>
                </a:lnTo>
                <a:lnTo>
                  <a:pt x="2112" y="3404"/>
                </a:lnTo>
                <a:lnTo>
                  <a:pt x="2110" y="3404"/>
                </a:lnTo>
                <a:lnTo>
                  <a:pt x="2110" y="3403"/>
                </a:lnTo>
                <a:lnTo>
                  <a:pt x="2108" y="3404"/>
                </a:lnTo>
                <a:lnTo>
                  <a:pt x="2107" y="3401"/>
                </a:lnTo>
                <a:lnTo>
                  <a:pt x="2108" y="3403"/>
                </a:lnTo>
                <a:lnTo>
                  <a:pt x="2108" y="3399"/>
                </a:lnTo>
                <a:lnTo>
                  <a:pt x="2110" y="3399"/>
                </a:lnTo>
                <a:close/>
                <a:moveTo>
                  <a:pt x="2044" y="3374"/>
                </a:moveTo>
                <a:lnTo>
                  <a:pt x="2045" y="3374"/>
                </a:lnTo>
                <a:lnTo>
                  <a:pt x="2045" y="3375"/>
                </a:lnTo>
                <a:lnTo>
                  <a:pt x="2047" y="3375"/>
                </a:lnTo>
                <a:lnTo>
                  <a:pt x="2047" y="3377"/>
                </a:lnTo>
                <a:lnTo>
                  <a:pt x="2049" y="3379"/>
                </a:lnTo>
                <a:lnTo>
                  <a:pt x="2049" y="3380"/>
                </a:lnTo>
                <a:lnTo>
                  <a:pt x="2047" y="3380"/>
                </a:lnTo>
                <a:lnTo>
                  <a:pt x="2045" y="3379"/>
                </a:lnTo>
                <a:lnTo>
                  <a:pt x="2047" y="3379"/>
                </a:lnTo>
                <a:lnTo>
                  <a:pt x="2047" y="3377"/>
                </a:lnTo>
                <a:lnTo>
                  <a:pt x="2045" y="3379"/>
                </a:lnTo>
                <a:lnTo>
                  <a:pt x="2044" y="3379"/>
                </a:lnTo>
                <a:lnTo>
                  <a:pt x="2045" y="3377"/>
                </a:lnTo>
                <a:lnTo>
                  <a:pt x="2044" y="3377"/>
                </a:lnTo>
                <a:lnTo>
                  <a:pt x="2042" y="3375"/>
                </a:lnTo>
                <a:lnTo>
                  <a:pt x="2042" y="3374"/>
                </a:lnTo>
                <a:lnTo>
                  <a:pt x="2044" y="3374"/>
                </a:lnTo>
                <a:lnTo>
                  <a:pt x="2042" y="3374"/>
                </a:lnTo>
                <a:lnTo>
                  <a:pt x="2044" y="3374"/>
                </a:lnTo>
                <a:close/>
                <a:moveTo>
                  <a:pt x="1828" y="3272"/>
                </a:moveTo>
                <a:lnTo>
                  <a:pt x="1831" y="3273"/>
                </a:lnTo>
                <a:lnTo>
                  <a:pt x="1831" y="3275"/>
                </a:lnTo>
                <a:lnTo>
                  <a:pt x="1831" y="3273"/>
                </a:lnTo>
                <a:lnTo>
                  <a:pt x="1829" y="3275"/>
                </a:lnTo>
                <a:lnTo>
                  <a:pt x="1829" y="3277"/>
                </a:lnTo>
                <a:lnTo>
                  <a:pt x="1828" y="3277"/>
                </a:lnTo>
                <a:lnTo>
                  <a:pt x="1824" y="3277"/>
                </a:lnTo>
                <a:lnTo>
                  <a:pt x="1824" y="3275"/>
                </a:lnTo>
                <a:lnTo>
                  <a:pt x="1828" y="3273"/>
                </a:lnTo>
                <a:lnTo>
                  <a:pt x="1828" y="3272"/>
                </a:lnTo>
                <a:close/>
                <a:moveTo>
                  <a:pt x="1858" y="3401"/>
                </a:moveTo>
                <a:lnTo>
                  <a:pt x="1857" y="3403"/>
                </a:lnTo>
                <a:lnTo>
                  <a:pt x="1855" y="3403"/>
                </a:lnTo>
                <a:lnTo>
                  <a:pt x="1855" y="3404"/>
                </a:lnTo>
                <a:lnTo>
                  <a:pt x="1852" y="3406"/>
                </a:lnTo>
                <a:lnTo>
                  <a:pt x="1850" y="3408"/>
                </a:lnTo>
                <a:lnTo>
                  <a:pt x="1848" y="3408"/>
                </a:lnTo>
                <a:lnTo>
                  <a:pt x="1848" y="3406"/>
                </a:lnTo>
                <a:lnTo>
                  <a:pt x="1852" y="3404"/>
                </a:lnTo>
                <a:lnTo>
                  <a:pt x="1853" y="3403"/>
                </a:lnTo>
                <a:lnTo>
                  <a:pt x="1855" y="3401"/>
                </a:lnTo>
                <a:lnTo>
                  <a:pt x="1858" y="3401"/>
                </a:lnTo>
                <a:close/>
                <a:moveTo>
                  <a:pt x="1908" y="3231"/>
                </a:moveTo>
                <a:lnTo>
                  <a:pt x="1909" y="3231"/>
                </a:lnTo>
                <a:lnTo>
                  <a:pt x="1909" y="3234"/>
                </a:lnTo>
                <a:lnTo>
                  <a:pt x="1908" y="3236"/>
                </a:lnTo>
                <a:lnTo>
                  <a:pt x="1908" y="3238"/>
                </a:lnTo>
                <a:lnTo>
                  <a:pt x="1906" y="3236"/>
                </a:lnTo>
                <a:lnTo>
                  <a:pt x="1906" y="3234"/>
                </a:lnTo>
                <a:lnTo>
                  <a:pt x="1906" y="3231"/>
                </a:lnTo>
                <a:lnTo>
                  <a:pt x="1908" y="3231"/>
                </a:lnTo>
                <a:close/>
                <a:moveTo>
                  <a:pt x="1959" y="3428"/>
                </a:moveTo>
                <a:lnTo>
                  <a:pt x="1959" y="3430"/>
                </a:lnTo>
                <a:lnTo>
                  <a:pt x="1959" y="3432"/>
                </a:lnTo>
                <a:lnTo>
                  <a:pt x="1957" y="3432"/>
                </a:lnTo>
                <a:lnTo>
                  <a:pt x="1957" y="3433"/>
                </a:lnTo>
                <a:lnTo>
                  <a:pt x="1955" y="3435"/>
                </a:lnTo>
                <a:lnTo>
                  <a:pt x="1954" y="3435"/>
                </a:lnTo>
                <a:lnTo>
                  <a:pt x="1954" y="3433"/>
                </a:lnTo>
                <a:lnTo>
                  <a:pt x="1955" y="3432"/>
                </a:lnTo>
                <a:lnTo>
                  <a:pt x="1957" y="3428"/>
                </a:lnTo>
                <a:lnTo>
                  <a:pt x="1959" y="3428"/>
                </a:lnTo>
                <a:close/>
                <a:moveTo>
                  <a:pt x="2074" y="3409"/>
                </a:moveTo>
                <a:lnTo>
                  <a:pt x="2076" y="3411"/>
                </a:lnTo>
                <a:lnTo>
                  <a:pt x="2076" y="3413"/>
                </a:lnTo>
                <a:lnTo>
                  <a:pt x="2073" y="3413"/>
                </a:lnTo>
                <a:lnTo>
                  <a:pt x="2073" y="3414"/>
                </a:lnTo>
                <a:lnTo>
                  <a:pt x="2071" y="3413"/>
                </a:lnTo>
                <a:lnTo>
                  <a:pt x="2071" y="3411"/>
                </a:lnTo>
                <a:lnTo>
                  <a:pt x="2074" y="3409"/>
                </a:lnTo>
                <a:close/>
                <a:moveTo>
                  <a:pt x="1952" y="3290"/>
                </a:moveTo>
                <a:lnTo>
                  <a:pt x="1954" y="3290"/>
                </a:lnTo>
                <a:lnTo>
                  <a:pt x="1955" y="3290"/>
                </a:lnTo>
                <a:lnTo>
                  <a:pt x="1955" y="3292"/>
                </a:lnTo>
                <a:lnTo>
                  <a:pt x="1955" y="3295"/>
                </a:lnTo>
                <a:lnTo>
                  <a:pt x="1954" y="3295"/>
                </a:lnTo>
                <a:lnTo>
                  <a:pt x="1952" y="3294"/>
                </a:lnTo>
                <a:lnTo>
                  <a:pt x="1950" y="3292"/>
                </a:lnTo>
                <a:lnTo>
                  <a:pt x="1952" y="3290"/>
                </a:lnTo>
                <a:close/>
                <a:moveTo>
                  <a:pt x="1998" y="3443"/>
                </a:moveTo>
                <a:lnTo>
                  <a:pt x="2001" y="3445"/>
                </a:lnTo>
                <a:lnTo>
                  <a:pt x="2003" y="3445"/>
                </a:lnTo>
                <a:lnTo>
                  <a:pt x="2001" y="3445"/>
                </a:lnTo>
                <a:lnTo>
                  <a:pt x="1999" y="3447"/>
                </a:lnTo>
                <a:lnTo>
                  <a:pt x="1996" y="3447"/>
                </a:lnTo>
                <a:lnTo>
                  <a:pt x="1998" y="3443"/>
                </a:lnTo>
                <a:close/>
                <a:moveTo>
                  <a:pt x="1923" y="3426"/>
                </a:moveTo>
                <a:lnTo>
                  <a:pt x="1925" y="3428"/>
                </a:lnTo>
                <a:lnTo>
                  <a:pt x="1925" y="3430"/>
                </a:lnTo>
                <a:lnTo>
                  <a:pt x="1923" y="3432"/>
                </a:lnTo>
                <a:lnTo>
                  <a:pt x="1921" y="3432"/>
                </a:lnTo>
                <a:lnTo>
                  <a:pt x="1920" y="3430"/>
                </a:lnTo>
                <a:lnTo>
                  <a:pt x="1920" y="3428"/>
                </a:lnTo>
                <a:lnTo>
                  <a:pt x="1923" y="3426"/>
                </a:lnTo>
                <a:close/>
                <a:moveTo>
                  <a:pt x="1948" y="3406"/>
                </a:moveTo>
                <a:lnTo>
                  <a:pt x="1948" y="3408"/>
                </a:lnTo>
                <a:lnTo>
                  <a:pt x="1948" y="3409"/>
                </a:lnTo>
                <a:lnTo>
                  <a:pt x="1948" y="3411"/>
                </a:lnTo>
                <a:lnTo>
                  <a:pt x="1950" y="3414"/>
                </a:lnTo>
                <a:lnTo>
                  <a:pt x="1947" y="3411"/>
                </a:lnTo>
                <a:lnTo>
                  <a:pt x="1945" y="3411"/>
                </a:lnTo>
                <a:lnTo>
                  <a:pt x="1945" y="3409"/>
                </a:lnTo>
                <a:lnTo>
                  <a:pt x="1947" y="3408"/>
                </a:lnTo>
                <a:lnTo>
                  <a:pt x="1948" y="3406"/>
                </a:lnTo>
                <a:close/>
                <a:moveTo>
                  <a:pt x="2027" y="3363"/>
                </a:moveTo>
                <a:lnTo>
                  <a:pt x="2027" y="3365"/>
                </a:lnTo>
                <a:lnTo>
                  <a:pt x="2030" y="3367"/>
                </a:lnTo>
                <a:lnTo>
                  <a:pt x="2027" y="3365"/>
                </a:lnTo>
                <a:lnTo>
                  <a:pt x="2027" y="3369"/>
                </a:lnTo>
                <a:lnTo>
                  <a:pt x="2028" y="3369"/>
                </a:lnTo>
                <a:lnTo>
                  <a:pt x="2028" y="3370"/>
                </a:lnTo>
                <a:lnTo>
                  <a:pt x="2028" y="3372"/>
                </a:lnTo>
                <a:lnTo>
                  <a:pt x="2027" y="3372"/>
                </a:lnTo>
                <a:lnTo>
                  <a:pt x="2027" y="3370"/>
                </a:lnTo>
                <a:lnTo>
                  <a:pt x="2025" y="3369"/>
                </a:lnTo>
                <a:lnTo>
                  <a:pt x="2027" y="3367"/>
                </a:lnTo>
                <a:lnTo>
                  <a:pt x="2025" y="3365"/>
                </a:lnTo>
                <a:lnTo>
                  <a:pt x="2027" y="3365"/>
                </a:lnTo>
                <a:lnTo>
                  <a:pt x="2027" y="3363"/>
                </a:lnTo>
                <a:close/>
                <a:moveTo>
                  <a:pt x="1921" y="3573"/>
                </a:moveTo>
                <a:lnTo>
                  <a:pt x="1925" y="3573"/>
                </a:lnTo>
                <a:lnTo>
                  <a:pt x="1925" y="3576"/>
                </a:lnTo>
                <a:lnTo>
                  <a:pt x="1926" y="3576"/>
                </a:lnTo>
                <a:lnTo>
                  <a:pt x="1926" y="3578"/>
                </a:lnTo>
                <a:lnTo>
                  <a:pt x="1925" y="3578"/>
                </a:lnTo>
                <a:lnTo>
                  <a:pt x="1923" y="3576"/>
                </a:lnTo>
                <a:lnTo>
                  <a:pt x="1921" y="3576"/>
                </a:lnTo>
                <a:lnTo>
                  <a:pt x="1920" y="3574"/>
                </a:lnTo>
                <a:lnTo>
                  <a:pt x="1921" y="3573"/>
                </a:lnTo>
                <a:close/>
                <a:moveTo>
                  <a:pt x="1942" y="3437"/>
                </a:moveTo>
                <a:lnTo>
                  <a:pt x="1945" y="3437"/>
                </a:lnTo>
                <a:lnTo>
                  <a:pt x="1947" y="3437"/>
                </a:lnTo>
                <a:lnTo>
                  <a:pt x="1948" y="3438"/>
                </a:lnTo>
                <a:lnTo>
                  <a:pt x="1945" y="3440"/>
                </a:lnTo>
                <a:lnTo>
                  <a:pt x="1943" y="3438"/>
                </a:lnTo>
                <a:lnTo>
                  <a:pt x="1942" y="3438"/>
                </a:lnTo>
                <a:lnTo>
                  <a:pt x="1942" y="3437"/>
                </a:lnTo>
                <a:lnTo>
                  <a:pt x="1940" y="3437"/>
                </a:lnTo>
                <a:lnTo>
                  <a:pt x="1942" y="3437"/>
                </a:lnTo>
                <a:close/>
                <a:moveTo>
                  <a:pt x="2020" y="3345"/>
                </a:moveTo>
                <a:lnTo>
                  <a:pt x="2020" y="3346"/>
                </a:lnTo>
                <a:lnTo>
                  <a:pt x="2020" y="3348"/>
                </a:lnTo>
                <a:lnTo>
                  <a:pt x="2022" y="3348"/>
                </a:lnTo>
                <a:lnTo>
                  <a:pt x="2022" y="3350"/>
                </a:lnTo>
                <a:lnTo>
                  <a:pt x="2020" y="3352"/>
                </a:lnTo>
                <a:lnTo>
                  <a:pt x="2022" y="3353"/>
                </a:lnTo>
                <a:lnTo>
                  <a:pt x="2020" y="3355"/>
                </a:lnTo>
                <a:lnTo>
                  <a:pt x="2020" y="3352"/>
                </a:lnTo>
                <a:lnTo>
                  <a:pt x="2018" y="3353"/>
                </a:lnTo>
                <a:lnTo>
                  <a:pt x="2018" y="3352"/>
                </a:lnTo>
                <a:lnTo>
                  <a:pt x="2018" y="3353"/>
                </a:lnTo>
                <a:lnTo>
                  <a:pt x="2018" y="3352"/>
                </a:lnTo>
                <a:lnTo>
                  <a:pt x="2018" y="3350"/>
                </a:lnTo>
                <a:lnTo>
                  <a:pt x="2020" y="3350"/>
                </a:lnTo>
                <a:lnTo>
                  <a:pt x="2020" y="3348"/>
                </a:lnTo>
                <a:lnTo>
                  <a:pt x="2018" y="3346"/>
                </a:lnTo>
                <a:lnTo>
                  <a:pt x="2020" y="3345"/>
                </a:lnTo>
                <a:close/>
                <a:moveTo>
                  <a:pt x="2105" y="3430"/>
                </a:moveTo>
                <a:lnTo>
                  <a:pt x="2105" y="3432"/>
                </a:lnTo>
                <a:lnTo>
                  <a:pt x="2103" y="3433"/>
                </a:lnTo>
                <a:lnTo>
                  <a:pt x="2103" y="3432"/>
                </a:lnTo>
                <a:lnTo>
                  <a:pt x="2101" y="3432"/>
                </a:lnTo>
                <a:lnTo>
                  <a:pt x="2100" y="3433"/>
                </a:lnTo>
                <a:lnTo>
                  <a:pt x="2100" y="3432"/>
                </a:lnTo>
                <a:lnTo>
                  <a:pt x="2101" y="3432"/>
                </a:lnTo>
                <a:lnTo>
                  <a:pt x="2105" y="3430"/>
                </a:lnTo>
                <a:close/>
                <a:moveTo>
                  <a:pt x="1860" y="3255"/>
                </a:moveTo>
                <a:lnTo>
                  <a:pt x="1858" y="3256"/>
                </a:lnTo>
                <a:lnTo>
                  <a:pt x="1860" y="3255"/>
                </a:lnTo>
                <a:lnTo>
                  <a:pt x="1862" y="3258"/>
                </a:lnTo>
                <a:lnTo>
                  <a:pt x="1860" y="3260"/>
                </a:lnTo>
                <a:lnTo>
                  <a:pt x="1858" y="3258"/>
                </a:lnTo>
                <a:lnTo>
                  <a:pt x="1860" y="3258"/>
                </a:lnTo>
                <a:lnTo>
                  <a:pt x="1858" y="3258"/>
                </a:lnTo>
                <a:lnTo>
                  <a:pt x="1858" y="3255"/>
                </a:lnTo>
                <a:lnTo>
                  <a:pt x="1860" y="3255"/>
                </a:lnTo>
                <a:close/>
                <a:moveTo>
                  <a:pt x="1697" y="3335"/>
                </a:moveTo>
                <a:lnTo>
                  <a:pt x="1695" y="3338"/>
                </a:lnTo>
                <a:lnTo>
                  <a:pt x="1693" y="3338"/>
                </a:lnTo>
                <a:lnTo>
                  <a:pt x="1693" y="3340"/>
                </a:lnTo>
                <a:lnTo>
                  <a:pt x="1692" y="3340"/>
                </a:lnTo>
                <a:lnTo>
                  <a:pt x="1693" y="3338"/>
                </a:lnTo>
                <a:lnTo>
                  <a:pt x="1693" y="3335"/>
                </a:lnTo>
                <a:lnTo>
                  <a:pt x="1697" y="3335"/>
                </a:lnTo>
                <a:close/>
                <a:moveTo>
                  <a:pt x="1852" y="3387"/>
                </a:moveTo>
                <a:lnTo>
                  <a:pt x="1852" y="3391"/>
                </a:lnTo>
                <a:lnTo>
                  <a:pt x="1853" y="3391"/>
                </a:lnTo>
                <a:lnTo>
                  <a:pt x="1853" y="3392"/>
                </a:lnTo>
                <a:lnTo>
                  <a:pt x="1850" y="3392"/>
                </a:lnTo>
                <a:lnTo>
                  <a:pt x="1852" y="3392"/>
                </a:lnTo>
                <a:lnTo>
                  <a:pt x="1848" y="3391"/>
                </a:lnTo>
                <a:lnTo>
                  <a:pt x="1852" y="3389"/>
                </a:lnTo>
                <a:lnTo>
                  <a:pt x="1852" y="3387"/>
                </a:lnTo>
                <a:close/>
                <a:moveTo>
                  <a:pt x="1646" y="3299"/>
                </a:moveTo>
                <a:lnTo>
                  <a:pt x="1648" y="3301"/>
                </a:lnTo>
                <a:lnTo>
                  <a:pt x="1649" y="3302"/>
                </a:lnTo>
                <a:lnTo>
                  <a:pt x="1651" y="3304"/>
                </a:lnTo>
                <a:lnTo>
                  <a:pt x="1648" y="3304"/>
                </a:lnTo>
                <a:lnTo>
                  <a:pt x="1646" y="3302"/>
                </a:lnTo>
                <a:lnTo>
                  <a:pt x="1646" y="3299"/>
                </a:lnTo>
                <a:close/>
                <a:moveTo>
                  <a:pt x="1687" y="3335"/>
                </a:moveTo>
                <a:lnTo>
                  <a:pt x="1688" y="3335"/>
                </a:lnTo>
                <a:lnTo>
                  <a:pt x="1688" y="3336"/>
                </a:lnTo>
                <a:lnTo>
                  <a:pt x="1687" y="3336"/>
                </a:lnTo>
                <a:lnTo>
                  <a:pt x="1687" y="3338"/>
                </a:lnTo>
                <a:lnTo>
                  <a:pt x="1688" y="3340"/>
                </a:lnTo>
                <a:lnTo>
                  <a:pt x="1690" y="3340"/>
                </a:lnTo>
                <a:lnTo>
                  <a:pt x="1687" y="3340"/>
                </a:lnTo>
                <a:lnTo>
                  <a:pt x="1685" y="3338"/>
                </a:lnTo>
                <a:lnTo>
                  <a:pt x="1685" y="3335"/>
                </a:lnTo>
                <a:lnTo>
                  <a:pt x="1687" y="3335"/>
                </a:lnTo>
                <a:close/>
                <a:moveTo>
                  <a:pt x="1835" y="3411"/>
                </a:moveTo>
                <a:lnTo>
                  <a:pt x="1838" y="3413"/>
                </a:lnTo>
                <a:lnTo>
                  <a:pt x="1838" y="3414"/>
                </a:lnTo>
                <a:lnTo>
                  <a:pt x="1836" y="3414"/>
                </a:lnTo>
                <a:lnTo>
                  <a:pt x="1835" y="3414"/>
                </a:lnTo>
                <a:lnTo>
                  <a:pt x="1833" y="3413"/>
                </a:lnTo>
                <a:lnTo>
                  <a:pt x="1835" y="3411"/>
                </a:lnTo>
                <a:close/>
                <a:moveTo>
                  <a:pt x="1862" y="3508"/>
                </a:moveTo>
                <a:lnTo>
                  <a:pt x="1862" y="3510"/>
                </a:lnTo>
                <a:lnTo>
                  <a:pt x="1863" y="3508"/>
                </a:lnTo>
                <a:lnTo>
                  <a:pt x="1863" y="3510"/>
                </a:lnTo>
                <a:lnTo>
                  <a:pt x="1865" y="3511"/>
                </a:lnTo>
                <a:lnTo>
                  <a:pt x="1865" y="3513"/>
                </a:lnTo>
                <a:lnTo>
                  <a:pt x="1863" y="3511"/>
                </a:lnTo>
                <a:lnTo>
                  <a:pt x="1862" y="3510"/>
                </a:lnTo>
                <a:lnTo>
                  <a:pt x="1862" y="3508"/>
                </a:lnTo>
                <a:close/>
                <a:moveTo>
                  <a:pt x="2090" y="3459"/>
                </a:moveTo>
                <a:lnTo>
                  <a:pt x="2090" y="3460"/>
                </a:lnTo>
                <a:lnTo>
                  <a:pt x="2091" y="3462"/>
                </a:lnTo>
                <a:lnTo>
                  <a:pt x="2091" y="3464"/>
                </a:lnTo>
                <a:lnTo>
                  <a:pt x="2090" y="3464"/>
                </a:lnTo>
                <a:lnTo>
                  <a:pt x="2088" y="3462"/>
                </a:lnTo>
                <a:lnTo>
                  <a:pt x="2088" y="3459"/>
                </a:lnTo>
                <a:lnTo>
                  <a:pt x="2090" y="3459"/>
                </a:lnTo>
                <a:close/>
                <a:moveTo>
                  <a:pt x="1886" y="3367"/>
                </a:moveTo>
                <a:lnTo>
                  <a:pt x="1886" y="3369"/>
                </a:lnTo>
                <a:lnTo>
                  <a:pt x="1886" y="3370"/>
                </a:lnTo>
                <a:lnTo>
                  <a:pt x="1886" y="3372"/>
                </a:lnTo>
                <a:lnTo>
                  <a:pt x="1886" y="3375"/>
                </a:lnTo>
                <a:lnTo>
                  <a:pt x="1884" y="3372"/>
                </a:lnTo>
                <a:lnTo>
                  <a:pt x="1886" y="3370"/>
                </a:lnTo>
                <a:lnTo>
                  <a:pt x="1886" y="3369"/>
                </a:lnTo>
                <a:lnTo>
                  <a:pt x="1886" y="3367"/>
                </a:lnTo>
                <a:close/>
                <a:moveTo>
                  <a:pt x="1974" y="3414"/>
                </a:moveTo>
                <a:lnTo>
                  <a:pt x="1974" y="3416"/>
                </a:lnTo>
                <a:lnTo>
                  <a:pt x="1971" y="3418"/>
                </a:lnTo>
                <a:lnTo>
                  <a:pt x="1972" y="3416"/>
                </a:lnTo>
                <a:lnTo>
                  <a:pt x="1974" y="3414"/>
                </a:lnTo>
                <a:close/>
                <a:moveTo>
                  <a:pt x="1836" y="3467"/>
                </a:moveTo>
                <a:lnTo>
                  <a:pt x="1838" y="3471"/>
                </a:lnTo>
                <a:lnTo>
                  <a:pt x="1838" y="3472"/>
                </a:lnTo>
                <a:lnTo>
                  <a:pt x="1836" y="3471"/>
                </a:lnTo>
                <a:lnTo>
                  <a:pt x="1835" y="3472"/>
                </a:lnTo>
                <a:lnTo>
                  <a:pt x="1835" y="3471"/>
                </a:lnTo>
                <a:lnTo>
                  <a:pt x="1836" y="3467"/>
                </a:lnTo>
                <a:close/>
                <a:moveTo>
                  <a:pt x="1920" y="3369"/>
                </a:moveTo>
                <a:lnTo>
                  <a:pt x="1921" y="3372"/>
                </a:lnTo>
                <a:lnTo>
                  <a:pt x="1920" y="3372"/>
                </a:lnTo>
                <a:lnTo>
                  <a:pt x="1918" y="3372"/>
                </a:lnTo>
                <a:lnTo>
                  <a:pt x="1916" y="3372"/>
                </a:lnTo>
                <a:lnTo>
                  <a:pt x="1918" y="3372"/>
                </a:lnTo>
                <a:lnTo>
                  <a:pt x="1920" y="3369"/>
                </a:lnTo>
                <a:close/>
                <a:moveTo>
                  <a:pt x="1926" y="3430"/>
                </a:moveTo>
                <a:lnTo>
                  <a:pt x="1928" y="3430"/>
                </a:lnTo>
                <a:lnTo>
                  <a:pt x="1930" y="3432"/>
                </a:lnTo>
                <a:lnTo>
                  <a:pt x="1928" y="3433"/>
                </a:lnTo>
                <a:lnTo>
                  <a:pt x="1926" y="3432"/>
                </a:lnTo>
                <a:lnTo>
                  <a:pt x="1925" y="3430"/>
                </a:lnTo>
                <a:lnTo>
                  <a:pt x="1926" y="3430"/>
                </a:lnTo>
                <a:close/>
                <a:moveTo>
                  <a:pt x="1889" y="3346"/>
                </a:moveTo>
                <a:lnTo>
                  <a:pt x="1891" y="3348"/>
                </a:lnTo>
                <a:lnTo>
                  <a:pt x="1887" y="3350"/>
                </a:lnTo>
                <a:lnTo>
                  <a:pt x="1887" y="3348"/>
                </a:lnTo>
                <a:lnTo>
                  <a:pt x="1887" y="3346"/>
                </a:lnTo>
                <a:lnTo>
                  <a:pt x="1889" y="3346"/>
                </a:lnTo>
                <a:close/>
                <a:moveTo>
                  <a:pt x="2037" y="3365"/>
                </a:moveTo>
                <a:lnTo>
                  <a:pt x="2039" y="3367"/>
                </a:lnTo>
                <a:lnTo>
                  <a:pt x="2040" y="3367"/>
                </a:lnTo>
                <a:lnTo>
                  <a:pt x="2040" y="3369"/>
                </a:lnTo>
                <a:lnTo>
                  <a:pt x="2039" y="3369"/>
                </a:lnTo>
                <a:lnTo>
                  <a:pt x="2039" y="3367"/>
                </a:lnTo>
                <a:lnTo>
                  <a:pt x="2037" y="3367"/>
                </a:lnTo>
                <a:lnTo>
                  <a:pt x="2037" y="3365"/>
                </a:lnTo>
                <a:close/>
                <a:moveTo>
                  <a:pt x="1982" y="3409"/>
                </a:moveTo>
                <a:lnTo>
                  <a:pt x="1984" y="3409"/>
                </a:lnTo>
                <a:lnTo>
                  <a:pt x="1984" y="3411"/>
                </a:lnTo>
                <a:lnTo>
                  <a:pt x="1982" y="3411"/>
                </a:lnTo>
                <a:lnTo>
                  <a:pt x="1981" y="3411"/>
                </a:lnTo>
                <a:lnTo>
                  <a:pt x="1982" y="3409"/>
                </a:lnTo>
                <a:close/>
                <a:moveTo>
                  <a:pt x="1855" y="3265"/>
                </a:moveTo>
                <a:lnTo>
                  <a:pt x="1857" y="3266"/>
                </a:lnTo>
                <a:lnTo>
                  <a:pt x="1857" y="3265"/>
                </a:lnTo>
                <a:lnTo>
                  <a:pt x="1857" y="3268"/>
                </a:lnTo>
                <a:lnTo>
                  <a:pt x="1857" y="3270"/>
                </a:lnTo>
                <a:lnTo>
                  <a:pt x="1855" y="3270"/>
                </a:lnTo>
                <a:lnTo>
                  <a:pt x="1855" y="3268"/>
                </a:lnTo>
                <a:lnTo>
                  <a:pt x="1857" y="3266"/>
                </a:lnTo>
                <a:lnTo>
                  <a:pt x="1855" y="3265"/>
                </a:lnTo>
                <a:lnTo>
                  <a:pt x="1855" y="3263"/>
                </a:lnTo>
                <a:lnTo>
                  <a:pt x="1855" y="3265"/>
                </a:lnTo>
                <a:close/>
                <a:moveTo>
                  <a:pt x="2066" y="3386"/>
                </a:moveTo>
                <a:lnTo>
                  <a:pt x="2067" y="3386"/>
                </a:lnTo>
                <a:lnTo>
                  <a:pt x="2067" y="3387"/>
                </a:lnTo>
                <a:lnTo>
                  <a:pt x="2069" y="3387"/>
                </a:lnTo>
                <a:lnTo>
                  <a:pt x="2066" y="3389"/>
                </a:lnTo>
                <a:lnTo>
                  <a:pt x="2064" y="3387"/>
                </a:lnTo>
                <a:lnTo>
                  <a:pt x="2066" y="3386"/>
                </a:lnTo>
                <a:close/>
                <a:moveTo>
                  <a:pt x="1988" y="3287"/>
                </a:moveTo>
                <a:lnTo>
                  <a:pt x="1989" y="3287"/>
                </a:lnTo>
                <a:lnTo>
                  <a:pt x="1991" y="3289"/>
                </a:lnTo>
                <a:lnTo>
                  <a:pt x="1991" y="3287"/>
                </a:lnTo>
                <a:lnTo>
                  <a:pt x="1991" y="3289"/>
                </a:lnTo>
                <a:lnTo>
                  <a:pt x="1988" y="3289"/>
                </a:lnTo>
                <a:lnTo>
                  <a:pt x="1988" y="3287"/>
                </a:lnTo>
                <a:close/>
                <a:moveTo>
                  <a:pt x="1950" y="3377"/>
                </a:moveTo>
                <a:lnTo>
                  <a:pt x="1952" y="3377"/>
                </a:lnTo>
                <a:lnTo>
                  <a:pt x="1952" y="3380"/>
                </a:lnTo>
                <a:lnTo>
                  <a:pt x="1954" y="3379"/>
                </a:lnTo>
                <a:lnTo>
                  <a:pt x="1954" y="3380"/>
                </a:lnTo>
                <a:lnTo>
                  <a:pt x="1952" y="3380"/>
                </a:lnTo>
                <a:lnTo>
                  <a:pt x="1952" y="3382"/>
                </a:lnTo>
                <a:lnTo>
                  <a:pt x="1952" y="3379"/>
                </a:lnTo>
                <a:lnTo>
                  <a:pt x="1950" y="3379"/>
                </a:lnTo>
                <a:lnTo>
                  <a:pt x="1948" y="3377"/>
                </a:lnTo>
                <a:lnTo>
                  <a:pt x="1950" y="3377"/>
                </a:lnTo>
                <a:close/>
                <a:moveTo>
                  <a:pt x="2049" y="3352"/>
                </a:moveTo>
                <a:lnTo>
                  <a:pt x="2050" y="3353"/>
                </a:lnTo>
                <a:lnTo>
                  <a:pt x="2049" y="3352"/>
                </a:lnTo>
                <a:lnTo>
                  <a:pt x="2047" y="3355"/>
                </a:lnTo>
                <a:lnTo>
                  <a:pt x="2045" y="3353"/>
                </a:lnTo>
                <a:lnTo>
                  <a:pt x="2049" y="3352"/>
                </a:lnTo>
                <a:close/>
                <a:moveTo>
                  <a:pt x="1846" y="3404"/>
                </a:moveTo>
                <a:lnTo>
                  <a:pt x="1846" y="3406"/>
                </a:lnTo>
                <a:lnTo>
                  <a:pt x="1843" y="3406"/>
                </a:lnTo>
                <a:lnTo>
                  <a:pt x="1845" y="3404"/>
                </a:lnTo>
                <a:lnTo>
                  <a:pt x="1846" y="3406"/>
                </a:lnTo>
                <a:lnTo>
                  <a:pt x="1846" y="3404"/>
                </a:lnTo>
                <a:close/>
                <a:moveTo>
                  <a:pt x="1989" y="3391"/>
                </a:moveTo>
                <a:lnTo>
                  <a:pt x="1989" y="3392"/>
                </a:lnTo>
                <a:lnTo>
                  <a:pt x="1991" y="3392"/>
                </a:lnTo>
                <a:lnTo>
                  <a:pt x="1991" y="3394"/>
                </a:lnTo>
                <a:lnTo>
                  <a:pt x="1988" y="3394"/>
                </a:lnTo>
                <a:lnTo>
                  <a:pt x="1986" y="3392"/>
                </a:lnTo>
                <a:lnTo>
                  <a:pt x="1988" y="3392"/>
                </a:lnTo>
                <a:lnTo>
                  <a:pt x="1988" y="3391"/>
                </a:lnTo>
                <a:lnTo>
                  <a:pt x="1989" y="3391"/>
                </a:lnTo>
                <a:close/>
                <a:moveTo>
                  <a:pt x="1765" y="3462"/>
                </a:moveTo>
                <a:lnTo>
                  <a:pt x="1765" y="3464"/>
                </a:lnTo>
                <a:lnTo>
                  <a:pt x="1765" y="3466"/>
                </a:lnTo>
                <a:lnTo>
                  <a:pt x="1763" y="3466"/>
                </a:lnTo>
                <a:lnTo>
                  <a:pt x="1763" y="3462"/>
                </a:lnTo>
                <a:lnTo>
                  <a:pt x="1765" y="3462"/>
                </a:lnTo>
                <a:close/>
                <a:moveTo>
                  <a:pt x="1841" y="3379"/>
                </a:moveTo>
                <a:lnTo>
                  <a:pt x="1843" y="3379"/>
                </a:lnTo>
                <a:lnTo>
                  <a:pt x="1841" y="3380"/>
                </a:lnTo>
                <a:lnTo>
                  <a:pt x="1840" y="3380"/>
                </a:lnTo>
                <a:lnTo>
                  <a:pt x="1841" y="3379"/>
                </a:lnTo>
                <a:close/>
                <a:moveTo>
                  <a:pt x="1981" y="3517"/>
                </a:moveTo>
                <a:lnTo>
                  <a:pt x="1982" y="3517"/>
                </a:lnTo>
                <a:lnTo>
                  <a:pt x="1982" y="3520"/>
                </a:lnTo>
                <a:lnTo>
                  <a:pt x="1981" y="3518"/>
                </a:lnTo>
                <a:lnTo>
                  <a:pt x="1979" y="3518"/>
                </a:lnTo>
                <a:lnTo>
                  <a:pt x="1981" y="3517"/>
                </a:lnTo>
                <a:close/>
                <a:moveTo>
                  <a:pt x="1863" y="3248"/>
                </a:moveTo>
                <a:lnTo>
                  <a:pt x="1865" y="3251"/>
                </a:lnTo>
                <a:lnTo>
                  <a:pt x="1863" y="3253"/>
                </a:lnTo>
                <a:lnTo>
                  <a:pt x="1862" y="3253"/>
                </a:lnTo>
                <a:lnTo>
                  <a:pt x="1863" y="3251"/>
                </a:lnTo>
                <a:lnTo>
                  <a:pt x="1863" y="3248"/>
                </a:lnTo>
                <a:close/>
                <a:moveTo>
                  <a:pt x="1598" y="3261"/>
                </a:moveTo>
                <a:lnTo>
                  <a:pt x="1602" y="3260"/>
                </a:lnTo>
                <a:lnTo>
                  <a:pt x="1598" y="3263"/>
                </a:lnTo>
                <a:lnTo>
                  <a:pt x="1598" y="3261"/>
                </a:lnTo>
                <a:close/>
                <a:moveTo>
                  <a:pt x="2016" y="3350"/>
                </a:moveTo>
                <a:lnTo>
                  <a:pt x="2018" y="3352"/>
                </a:lnTo>
                <a:lnTo>
                  <a:pt x="2016" y="3353"/>
                </a:lnTo>
                <a:lnTo>
                  <a:pt x="2016" y="3352"/>
                </a:lnTo>
                <a:lnTo>
                  <a:pt x="2015" y="3353"/>
                </a:lnTo>
                <a:lnTo>
                  <a:pt x="2016" y="3350"/>
                </a:lnTo>
                <a:close/>
                <a:moveTo>
                  <a:pt x="1760" y="3460"/>
                </a:moveTo>
                <a:lnTo>
                  <a:pt x="1761" y="3460"/>
                </a:lnTo>
                <a:lnTo>
                  <a:pt x="1760" y="3462"/>
                </a:lnTo>
                <a:lnTo>
                  <a:pt x="1760" y="3464"/>
                </a:lnTo>
                <a:lnTo>
                  <a:pt x="1760" y="3462"/>
                </a:lnTo>
                <a:lnTo>
                  <a:pt x="1760" y="3460"/>
                </a:lnTo>
                <a:close/>
                <a:moveTo>
                  <a:pt x="2217" y="3406"/>
                </a:moveTo>
                <a:lnTo>
                  <a:pt x="2219" y="3406"/>
                </a:lnTo>
                <a:lnTo>
                  <a:pt x="2220" y="3409"/>
                </a:lnTo>
                <a:lnTo>
                  <a:pt x="2217" y="3409"/>
                </a:lnTo>
                <a:lnTo>
                  <a:pt x="2217" y="3406"/>
                </a:lnTo>
                <a:close/>
                <a:moveTo>
                  <a:pt x="2027" y="3391"/>
                </a:moveTo>
                <a:lnTo>
                  <a:pt x="2028" y="3392"/>
                </a:lnTo>
                <a:lnTo>
                  <a:pt x="2027" y="3392"/>
                </a:lnTo>
                <a:lnTo>
                  <a:pt x="2025" y="3392"/>
                </a:lnTo>
                <a:lnTo>
                  <a:pt x="2027" y="3392"/>
                </a:lnTo>
                <a:lnTo>
                  <a:pt x="2025" y="3392"/>
                </a:lnTo>
                <a:lnTo>
                  <a:pt x="2027" y="3391"/>
                </a:lnTo>
                <a:close/>
                <a:moveTo>
                  <a:pt x="1972" y="3445"/>
                </a:moveTo>
                <a:lnTo>
                  <a:pt x="1974" y="3449"/>
                </a:lnTo>
                <a:lnTo>
                  <a:pt x="1972" y="3447"/>
                </a:lnTo>
                <a:lnTo>
                  <a:pt x="1972" y="3445"/>
                </a:lnTo>
                <a:close/>
                <a:moveTo>
                  <a:pt x="1903" y="3433"/>
                </a:moveTo>
                <a:lnTo>
                  <a:pt x="1906" y="3433"/>
                </a:lnTo>
                <a:lnTo>
                  <a:pt x="1906" y="3435"/>
                </a:lnTo>
                <a:lnTo>
                  <a:pt x="1904" y="3437"/>
                </a:lnTo>
                <a:lnTo>
                  <a:pt x="1903" y="3433"/>
                </a:lnTo>
                <a:close/>
                <a:moveTo>
                  <a:pt x="2049" y="3435"/>
                </a:moveTo>
                <a:lnTo>
                  <a:pt x="2050" y="3435"/>
                </a:lnTo>
                <a:lnTo>
                  <a:pt x="2052" y="3437"/>
                </a:lnTo>
                <a:lnTo>
                  <a:pt x="2049" y="3437"/>
                </a:lnTo>
                <a:lnTo>
                  <a:pt x="2049" y="3435"/>
                </a:lnTo>
                <a:close/>
                <a:moveTo>
                  <a:pt x="1974" y="3411"/>
                </a:moveTo>
                <a:lnTo>
                  <a:pt x="1977" y="3411"/>
                </a:lnTo>
                <a:lnTo>
                  <a:pt x="1977" y="3414"/>
                </a:lnTo>
                <a:lnTo>
                  <a:pt x="1976" y="3414"/>
                </a:lnTo>
                <a:lnTo>
                  <a:pt x="1974" y="3411"/>
                </a:lnTo>
                <a:close/>
                <a:moveTo>
                  <a:pt x="1945" y="3413"/>
                </a:moveTo>
                <a:lnTo>
                  <a:pt x="1947" y="3413"/>
                </a:lnTo>
                <a:lnTo>
                  <a:pt x="1945" y="3414"/>
                </a:lnTo>
                <a:lnTo>
                  <a:pt x="1943" y="3413"/>
                </a:lnTo>
                <a:lnTo>
                  <a:pt x="1945" y="3413"/>
                </a:lnTo>
                <a:close/>
                <a:moveTo>
                  <a:pt x="2108" y="3426"/>
                </a:moveTo>
                <a:lnTo>
                  <a:pt x="2110" y="3425"/>
                </a:lnTo>
                <a:lnTo>
                  <a:pt x="2112" y="3428"/>
                </a:lnTo>
                <a:lnTo>
                  <a:pt x="2108" y="3428"/>
                </a:lnTo>
                <a:lnTo>
                  <a:pt x="2108" y="3426"/>
                </a:lnTo>
                <a:close/>
                <a:moveTo>
                  <a:pt x="1838" y="3187"/>
                </a:moveTo>
                <a:lnTo>
                  <a:pt x="1838" y="3188"/>
                </a:lnTo>
                <a:lnTo>
                  <a:pt x="1840" y="3190"/>
                </a:lnTo>
                <a:lnTo>
                  <a:pt x="1838" y="3190"/>
                </a:lnTo>
                <a:lnTo>
                  <a:pt x="1836" y="3188"/>
                </a:lnTo>
                <a:lnTo>
                  <a:pt x="1838" y="3187"/>
                </a:lnTo>
                <a:close/>
                <a:moveTo>
                  <a:pt x="2035" y="3360"/>
                </a:moveTo>
                <a:lnTo>
                  <a:pt x="2037" y="3360"/>
                </a:lnTo>
                <a:lnTo>
                  <a:pt x="2037" y="3363"/>
                </a:lnTo>
                <a:lnTo>
                  <a:pt x="2035" y="3363"/>
                </a:lnTo>
                <a:lnTo>
                  <a:pt x="2035" y="3360"/>
                </a:lnTo>
                <a:close/>
                <a:moveTo>
                  <a:pt x="1863" y="3272"/>
                </a:moveTo>
                <a:lnTo>
                  <a:pt x="1865" y="3272"/>
                </a:lnTo>
                <a:lnTo>
                  <a:pt x="1867" y="3275"/>
                </a:lnTo>
                <a:lnTo>
                  <a:pt x="1865" y="3275"/>
                </a:lnTo>
                <a:lnTo>
                  <a:pt x="1863" y="3272"/>
                </a:lnTo>
                <a:close/>
                <a:moveTo>
                  <a:pt x="2013" y="3522"/>
                </a:moveTo>
                <a:lnTo>
                  <a:pt x="2015" y="3522"/>
                </a:lnTo>
                <a:lnTo>
                  <a:pt x="2015" y="3525"/>
                </a:lnTo>
                <a:lnTo>
                  <a:pt x="2013" y="3525"/>
                </a:lnTo>
                <a:lnTo>
                  <a:pt x="2013" y="3522"/>
                </a:lnTo>
                <a:close/>
                <a:moveTo>
                  <a:pt x="1697" y="3338"/>
                </a:moveTo>
                <a:lnTo>
                  <a:pt x="1695" y="3341"/>
                </a:lnTo>
                <a:lnTo>
                  <a:pt x="1695" y="3343"/>
                </a:lnTo>
                <a:lnTo>
                  <a:pt x="1695" y="3341"/>
                </a:lnTo>
                <a:lnTo>
                  <a:pt x="1697" y="3338"/>
                </a:lnTo>
                <a:close/>
                <a:moveTo>
                  <a:pt x="1979" y="3406"/>
                </a:moveTo>
                <a:lnTo>
                  <a:pt x="1981" y="3406"/>
                </a:lnTo>
                <a:lnTo>
                  <a:pt x="1981" y="3408"/>
                </a:lnTo>
                <a:lnTo>
                  <a:pt x="1979" y="3408"/>
                </a:lnTo>
                <a:lnTo>
                  <a:pt x="1979" y="3406"/>
                </a:lnTo>
                <a:close/>
                <a:moveTo>
                  <a:pt x="1707" y="3348"/>
                </a:moveTo>
                <a:lnTo>
                  <a:pt x="1709" y="3352"/>
                </a:lnTo>
                <a:lnTo>
                  <a:pt x="1707" y="3352"/>
                </a:lnTo>
                <a:lnTo>
                  <a:pt x="1707" y="3348"/>
                </a:lnTo>
                <a:close/>
                <a:moveTo>
                  <a:pt x="2016" y="3552"/>
                </a:moveTo>
                <a:lnTo>
                  <a:pt x="2020" y="3552"/>
                </a:lnTo>
                <a:lnTo>
                  <a:pt x="2018" y="3554"/>
                </a:lnTo>
                <a:lnTo>
                  <a:pt x="2016" y="3552"/>
                </a:lnTo>
                <a:close/>
                <a:moveTo>
                  <a:pt x="2050" y="3386"/>
                </a:moveTo>
                <a:lnTo>
                  <a:pt x="2052" y="3386"/>
                </a:lnTo>
                <a:lnTo>
                  <a:pt x="2052" y="3387"/>
                </a:lnTo>
                <a:lnTo>
                  <a:pt x="2050" y="3387"/>
                </a:lnTo>
                <a:lnTo>
                  <a:pt x="2050" y="3386"/>
                </a:lnTo>
                <a:close/>
                <a:moveTo>
                  <a:pt x="2110" y="3397"/>
                </a:moveTo>
                <a:lnTo>
                  <a:pt x="2112" y="3396"/>
                </a:lnTo>
                <a:lnTo>
                  <a:pt x="2112" y="3397"/>
                </a:lnTo>
                <a:lnTo>
                  <a:pt x="2110" y="3397"/>
                </a:lnTo>
                <a:close/>
                <a:moveTo>
                  <a:pt x="2069" y="3406"/>
                </a:moveTo>
                <a:lnTo>
                  <a:pt x="2071" y="3406"/>
                </a:lnTo>
                <a:lnTo>
                  <a:pt x="2071" y="3408"/>
                </a:lnTo>
                <a:lnTo>
                  <a:pt x="2069" y="3409"/>
                </a:lnTo>
                <a:lnTo>
                  <a:pt x="2069" y="3406"/>
                </a:lnTo>
                <a:close/>
                <a:moveTo>
                  <a:pt x="1889" y="3287"/>
                </a:moveTo>
                <a:lnTo>
                  <a:pt x="1891" y="3287"/>
                </a:lnTo>
                <a:lnTo>
                  <a:pt x="1891" y="3289"/>
                </a:lnTo>
                <a:lnTo>
                  <a:pt x="1889" y="3289"/>
                </a:lnTo>
                <a:lnTo>
                  <a:pt x="1889" y="3287"/>
                </a:lnTo>
                <a:close/>
                <a:moveTo>
                  <a:pt x="1690" y="3346"/>
                </a:moveTo>
                <a:lnTo>
                  <a:pt x="1692" y="3346"/>
                </a:lnTo>
                <a:lnTo>
                  <a:pt x="1692" y="3348"/>
                </a:lnTo>
                <a:lnTo>
                  <a:pt x="1690" y="3348"/>
                </a:lnTo>
                <a:lnTo>
                  <a:pt x="1690" y="3346"/>
                </a:lnTo>
                <a:close/>
                <a:moveTo>
                  <a:pt x="1683" y="3343"/>
                </a:moveTo>
                <a:lnTo>
                  <a:pt x="1685" y="3343"/>
                </a:lnTo>
                <a:lnTo>
                  <a:pt x="1685" y="3345"/>
                </a:lnTo>
                <a:lnTo>
                  <a:pt x="1683" y="3345"/>
                </a:lnTo>
                <a:lnTo>
                  <a:pt x="1683" y="3343"/>
                </a:lnTo>
                <a:close/>
                <a:moveTo>
                  <a:pt x="2016" y="3396"/>
                </a:moveTo>
                <a:lnTo>
                  <a:pt x="2018" y="3394"/>
                </a:lnTo>
                <a:lnTo>
                  <a:pt x="2018" y="3396"/>
                </a:lnTo>
                <a:lnTo>
                  <a:pt x="2016" y="3397"/>
                </a:lnTo>
                <a:lnTo>
                  <a:pt x="2016" y="3396"/>
                </a:lnTo>
                <a:close/>
                <a:moveTo>
                  <a:pt x="1948" y="3295"/>
                </a:moveTo>
                <a:lnTo>
                  <a:pt x="1950" y="3295"/>
                </a:lnTo>
                <a:lnTo>
                  <a:pt x="1948" y="3297"/>
                </a:lnTo>
                <a:lnTo>
                  <a:pt x="1948" y="3295"/>
                </a:lnTo>
                <a:close/>
                <a:moveTo>
                  <a:pt x="1872" y="3251"/>
                </a:moveTo>
                <a:lnTo>
                  <a:pt x="1874" y="3251"/>
                </a:lnTo>
                <a:lnTo>
                  <a:pt x="1874" y="3253"/>
                </a:lnTo>
                <a:lnTo>
                  <a:pt x="1872" y="3253"/>
                </a:lnTo>
                <a:lnTo>
                  <a:pt x="1872" y="3251"/>
                </a:lnTo>
                <a:close/>
                <a:moveTo>
                  <a:pt x="1709" y="3357"/>
                </a:moveTo>
                <a:lnTo>
                  <a:pt x="1710" y="3360"/>
                </a:lnTo>
                <a:lnTo>
                  <a:pt x="1709" y="3360"/>
                </a:lnTo>
                <a:lnTo>
                  <a:pt x="1709" y="3357"/>
                </a:lnTo>
                <a:close/>
                <a:moveTo>
                  <a:pt x="1875" y="3389"/>
                </a:moveTo>
                <a:lnTo>
                  <a:pt x="1877" y="3387"/>
                </a:lnTo>
                <a:lnTo>
                  <a:pt x="1879" y="3391"/>
                </a:lnTo>
                <a:lnTo>
                  <a:pt x="1875" y="3391"/>
                </a:lnTo>
                <a:lnTo>
                  <a:pt x="1875" y="3389"/>
                </a:lnTo>
                <a:close/>
                <a:moveTo>
                  <a:pt x="2042" y="3542"/>
                </a:moveTo>
                <a:lnTo>
                  <a:pt x="2044" y="3542"/>
                </a:lnTo>
                <a:lnTo>
                  <a:pt x="2044" y="3544"/>
                </a:lnTo>
                <a:lnTo>
                  <a:pt x="2042" y="3544"/>
                </a:lnTo>
                <a:lnTo>
                  <a:pt x="2042" y="3542"/>
                </a:lnTo>
                <a:close/>
                <a:moveTo>
                  <a:pt x="1880" y="3287"/>
                </a:moveTo>
                <a:lnTo>
                  <a:pt x="1882" y="3287"/>
                </a:lnTo>
                <a:lnTo>
                  <a:pt x="1884" y="3289"/>
                </a:lnTo>
                <a:lnTo>
                  <a:pt x="1882" y="3289"/>
                </a:lnTo>
                <a:lnTo>
                  <a:pt x="1880" y="3287"/>
                </a:lnTo>
                <a:close/>
                <a:moveTo>
                  <a:pt x="1977" y="3409"/>
                </a:moveTo>
                <a:lnTo>
                  <a:pt x="1979" y="3409"/>
                </a:lnTo>
                <a:lnTo>
                  <a:pt x="1981" y="3411"/>
                </a:lnTo>
                <a:lnTo>
                  <a:pt x="1977" y="3411"/>
                </a:lnTo>
                <a:lnTo>
                  <a:pt x="1977" y="3409"/>
                </a:lnTo>
                <a:close/>
                <a:moveTo>
                  <a:pt x="2057" y="3362"/>
                </a:moveTo>
                <a:lnTo>
                  <a:pt x="2059" y="3363"/>
                </a:lnTo>
                <a:lnTo>
                  <a:pt x="2057" y="3365"/>
                </a:lnTo>
                <a:lnTo>
                  <a:pt x="2057" y="3362"/>
                </a:lnTo>
                <a:close/>
                <a:moveTo>
                  <a:pt x="1889" y="3345"/>
                </a:moveTo>
                <a:lnTo>
                  <a:pt x="1891" y="3345"/>
                </a:lnTo>
                <a:lnTo>
                  <a:pt x="1891" y="3346"/>
                </a:lnTo>
                <a:lnTo>
                  <a:pt x="1889" y="3346"/>
                </a:lnTo>
                <a:lnTo>
                  <a:pt x="1889" y="3345"/>
                </a:lnTo>
                <a:close/>
                <a:moveTo>
                  <a:pt x="1651" y="3304"/>
                </a:moveTo>
                <a:lnTo>
                  <a:pt x="1653" y="3304"/>
                </a:lnTo>
                <a:lnTo>
                  <a:pt x="1653" y="3306"/>
                </a:lnTo>
                <a:lnTo>
                  <a:pt x="1651" y="3306"/>
                </a:lnTo>
                <a:lnTo>
                  <a:pt x="1651" y="3304"/>
                </a:lnTo>
                <a:close/>
                <a:moveTo>
                  <a:pt x="1608" y="3256"/>
                </a:moveTo>
                <a:lnTo>
                  <a:pt x="1610" y="3258"/>
                </a:lnTo>
                <a:lnTo>
                  <a:pt x="1608" y="3258"/>
                </a:lnTo>
                <a:lnTo>
                  <a:pt x="1608" y="3256"/>
                </a:lnTo>
                <a:close/>
                <a:moveTo>
                  <a:pt x="1954" y="3379"/>
                </a:moveTo>
                <a:lnTo>
                  <a:pt x="1954" y="3377"/>
                </a:lnTo>
                <a:lnTo>
                  <a:pt x="1955" y="3380"/>
                </a:lnTo>
                <a:lnTo>
                  <a:pt x="1954" y="3380"/>
                </a:lnTo>
                <a:lnTo>
                  <a:pt x="1954" y="3379"/>
                </a:lnTo>
                <a:close/>
                <a:moveTo>
                  <a:pt x="1831" y="3197"/>
                </a:moveTo>
                <a:lnTo>
                  <a:pt x="1833" y="3197"/>
                </a:lnTo>
                <a:lnTo>
                  <a:pt x="1833" y="3198"/>
                </a:lnTo>
                <a:lnTo>
                  <a:pt x="1831" y="3198"/>
                </a:lnTo>
                <a:lnTo>
                  <a:pt x="1831" y="3197"/>
                </a:lnTo>
                <a:close/>
                <a:moveTo>
                  <a:pt x="1896" y="3290"/>
                </a:moveTo>
                <a:lnTo>
                  <a:pt x="1897" y="3290"/>
                </a:lnTo>
                <a:lnTo>
                  <a:pt x="1897" y="3292"/>
                </a:lnTo>
                <a:lnTo>
                  <a:pt x="1896" y="3292"/>
                </a:lnTo>
                <a:lnTo>
                  <a:pt x="1896" y="3290"/>
                </a:lnTo>
                <a:close/>
                <a:moveTo>
                  <a:pt x="1755" y="3450"/>
                </a:moveTo>
                <a:lnTo>
                  <a:pt x="1756" y="3450"/>
                </a:lnTo>
                <a:lnTo>
                  <a:pt x="1756" y="3452"/>
                </a:lnTo>
                <a:lnTo>
                  <a:pt x="1755" y="3450"/>
                </a:lnTo>
                <a:close/>
                <a:moveTo>
                  <a:pt x="1880" y="3336"/>
                </a:moveTo>
                <a:lnTo>
                  <a:pt x="1882" y="3336"/>
                </a:lnTo>
                <a:lnTo>
                  <a:pt x="1882" y="3338"/>
                </a:lnTo>
                <a:lnTo>
                  <a:pt x="1880" y="3338"/>
                </a:lnTo>
                <a:lnTo>
                  <a:pt x="1880" y="3336"/>
                </a:lnTo>
                <a:close/>
                <a:moveTo>
                  <a:pt x="1607" y="3266"/>
                </a:moveTo>
                <a:lnTo>
                  <a:pt x="1607" y="3265"/>
                </a:lnTo>
                <a:lnTo>
                  <a:pt x="1607" y="3266"/>
                </a:lnTo>
                <a:close/>
                <a:moveTo>
                  <a:pt x="2037" y="3513"/>
                </a:moveTo>
                <a:lnTo>
                  <a:pt x="2039" y="3511"/>
                </a:lnTo>
                <a:lnTo>
                  <a:pt x="2039" y="3513"/>
                </a:lnTo>
                <a:lnTo>
                  <a:pt x="2037" y="3513"/>
                </a:lnTo>
                <a:close/>
                <a:moveTo>
                  <a:pt x="1996" y="3408"/>
                </a:moveTo>
                <a:lnTo>
                  <a:pt x="1999" y="3406"/>
                </a:lnTo>
                <a:lnTo>
                  <a:pt x="1999" y="3408"/>
                </a:lnTo>
                <a:lnTo>
                  <a:pt x="1996" y="3408"/>
                </a:lnTo>
                <a:close/>
                <a:moveTo>
                  <a:pt x="2074" y="3498"/>
                </a:moveTo>
                <a:lnTo>
                  <a:pt x="2076" y="3496"/>
                </a:lnTo>
                <a:lnTo>
                  <a:pt x="2076" y="3498"/>
                </a:lnTo>
                <a:lnTo>
                  <a:pt x="2074" y="3498"/>
                </a:lnTo>
                <a:close/>
                <a:moveTo>
                  <a:pt x="1761" y="3345"/>
                </a:moveTo>
                <a:lnTo>
                  <a:pt x="1763" y="3345"/>
                </a:lnTo>
                <a:lnTo>
                  <a:pt x="1761" y="3345"/>
                </a:lnTo>
                <a:close/>
                <a:moveTo>
                  <a:pt x="2022" y="3348"/>
                </a:moveTo>
                <a:lnTo>
                  <a:pt x="2023" y="3348"/>
                </a:lnTo>
                <a:lnTo>
                  <a:pt x="2022" y="3350"/>
                </a:lnTo>
                <a:lnTo>
                  <a:pt x="2022" y="3348"/>
                </a:lnTo>
                <a:close/>
                <a:moveTo>
                  <a:pt x="1916" y="3569"/>
                </a:moveTo>
                <a:lnTo>
                  <a:pt x="1918" y="3569"/>
                </a:lnTo>
                <a:lnTo>
                  <a:pt x="1916" y="3571"/>
                </a:lnTo>
                <a:lnTo>
                  <a:pt x="1916" y="3569"/>
                </a:lnTo>
                <a:close/>
                <a:moveTo>
                  <a:pt x="2037" y="3515"/>
                </a:moveTo>
                <a:lnTo>
                  <a:pt x="2039" y="3513"/>
                </a:lnTo>
                <a:lnTo>
                  <a:pt x="2039" y="3515"/>
                </a:lnTo>
                <a:lnTo>
                  <a:pt x="2037" y="3515"/>
                </a:lnTo>
                <a:close/>
                <a:moveTo>
                  <a:pt x="1838" y="3414"/>
                </a:moveTo>
                <a:lnTo>
                  <a:pt x="1838" y="3416"/>
                </a:lnTo>
                <a:lnTo>
                  <a:pt x="1838" y="3414"/>
                </a:lnTo>
                <a:close/>
                <a:moveTo>
                  <a:pt x="1875" y="3333"/>
                </a:moveTo>
                <a:lnTo>
                  <a:pt x="1877" y="3333"/>
                </a:lnTo>
                <a:lnTo>
                  <a:pt x="1877" y="3335"/>
                </a:lnTo>
                <a:lnTo>
                  <a:pt x="1875" y="3333"/>
                </a:lnTo>
                <a:close/>
                <a:moveTo>
                  <a:pt x="2061" y="3379"/>
                </a:moveTo>
                <a:lnTo>
                  <a:pt x="2062" y="3379"/>
                </a:lnTo>
                <a:lnTo>
                  <a:pt x="2061" y="3380"/>
                </a:lnTo>
                <a:lnTo>
                  <a:pt x="2061" y="3379"/>
                </a:lnTo>
                <a:close/>
                <a:moveTo>
                  <a:pt x="1819" y="3397"/>
                </a:moveTo>
                <a:lnTo>
                  <a:pt x="1821" y="3397"/>
                </a:lnTo>
                <a:lnTo>
                  <a:pt x="1821" y="3399"/>
                </a:lnTo>
                <a:lnTo>
                  <a:pt x="1819" y="3399"/>
                </a:lnTo>
                <a:lnTo>
                  <a:pt x="1819" y="3397"/>
                </a:lnTo>
                <a:close/>
                <a:moveTo>
                  <a:pt x="2015" y="3428"/>
                </a:moveTo>
                <a:lnTo>
                  <a:pt x="2016" y="3426"/>
                </a:lnTo>
                <a:lnTo>
                  <a:pt x="2016" y="3430"/>
                </a:lnTo>
                <a:lnTo>
                  <a:pt x="2015" y="3428"/>
                </a:lnTo>
                <a:close/>
                <a:moveTo>
                  <a:pt x="1858" y="3433"/>
                </a:moveTo>
                <a:lnTo>
                  <a:pt x="1858" y="3435"/>
                </a:lnTo>
                <a:lnTo>
                  <a:pt x="1858" y="3433"/>
                </a:lnTo>
                <a:close/>
                <a:moveTo>
                  <a:pt x="2040" y="3374"/>
                </a:moveTo>
                <a:lnTo>
                  <a:pt x="2042" y="3374"/>
                </a:lnTo>
                <a:lnTo>
                  <a:pt x="2040" y="3374"/>
                </a:lnTo>
                <a:close/>
                <a:moveTo>
                  <a:pt x="2022" y="3528"/>
                </a:moveTo>
                <a:lnTo>
                  <a:pt x="2022" y="3527"/>
                </a:lnTo>
                <a:lnTo>
                  <a:pt x="2023" y="3528"/>
                </a:lnTo>
                <a:lnTo>
                  <a:pt x="2022" y="3528"/>
                </a:lnTo>
                <a:close/>
                <a:moveTo>
                  <a:pt x="1918" y="3397"/>
                </a:moveTo>
                <a:lnTo>
                  <a:pt x="1920" y="3396"/>
                </a:lnTo>
                <a:lnTo>
                  <a:pt x="1920" y="3397"/>
                </a:lnTo>
                <a:lnTo>
                  <a:pt x="1918" y="3397"/>
                </a:lnTo>
                <a:close/>
                <a:moveTo>
                  <a:pt x="2064" y="3420"/>
                </a:moveTo>
                <a:lnTo>
                  <a:pt x="2064" y="3421"/>
                </a:lnTo>
                <a:lnTo>
                  <a:pt x="2064" y="3420"/>
                </a:lnTo>
                <a:close/>
                <a:moveTo>
                  <a:pt x="1964" y="3372"/>
                </a:moveTo>
                <a:lnTo>
                  <a:pt x="1965" y="3372"/>
                </a:lnTo>
                <a:lnTo>
                  <a:pt x="1965" y="3374"/>
                </a:lnTo>
                <a:lnTo>
                  <a:pt x="1964" y="3372"/>
                </a:lnTo>
                <a:close/>
                <a:moveTo>
                  <a:pt x="2066" y="3413"/>
                </a:moveTo>
                <a:lnTo>
                  <a:pt x="2067" y="3413"/>
                </a:lnTo>
                <a:lnTo>
                  <a:pt x="2067" y="3414"/>
                </a:lnTo>
                <a:lnTo>
                  <a:pt x="2066" y="3414"/>
                </a:lnTo>
                <a:lnTo>
                  <a:pt x="2066" y="3413"/>
                </a:lnTo>
                <a:close/>
                <a:moveTo>
                  <a:pt x="1950" y="3437"/>
                </a:moveTo>
                <a:lnTo>
                  <a:pt x="1952" y="3435"/>
                </a:lnTo>
                <a:lnTo>
                  <a:pt x="1952" y="3437"/>
                </a:lnTo>
                <a:lnTo>
                  <a:pt x="1950" y="3437"/>
                </a:lnTo>
                <a:close/>
                <a:moveTo>
                  <a:pt x="2039" y="3459"/>
                </a:moveTo>
                <a:lnTo>
                  <a:pt x="2039" y="3457"/>
                </a:lnTo>
                <a:lnTo>
                  <a:pt x="2039" y="3459"/>
                </a:lnTo>
                <a:close/>
                <a:moveTo>
                  <a:pt x="1704" y="3353"/>
                </a:moveTo>
                <a:lnTo>
                  <a:pt x="1705" y="3353"/>
                </a:lnTo>
                <a:lnTo>
                  <a:pt x="1705" y="3355"/>
                </a:lnTo>
                <a:lnTo>
                  <a:pt x="1704" y="3355"/>
                </a:lnTo>
                <a:lnTo>
                  <a:pt x="1704" y="3353"/>
                </a:lnTo>
                <a:close/>
                <a:moveTo>
                  <a:pt x="2027" y="3421"/>
                </a:moveTo>
                <a:lnTo>
                  <a:pt x="2028" y="3421"/>
                </a:lnTo>
                <a:lnTo>
                  <a:pt x="2027" y="3423"/>
                </a:lnTo>
                <a:lnTo>
                  <a:pt x="2027" y="3421"/>
                </a:lnTo>
                <a:close/>
                <a:moveTo>
                  <a:pt x="1719" y="3355"/>
                </a:moveTo>
                <a:lnTo>
                  <a:pt x="1721" y="3355"/>
                </a:lnTo>
                <a:lnTo>
                  <a:pt x="1721" y="3357"/>
                </a:lnTo>
                <a:lnTo>
                  <a:pt x="1719" y="3357"/>
                </a:lnTo>
                <a:lnTo>
                  <a:pt x="1719" y="3355"/>
                </a:lnTo>
                <a:close/>
                <a:moveTo>
                  <a:pt x="1642" y="3278"/>
                </a:moveTo>
                <a:lnTo>
                  <a:pt x="1642" y="3277"/>
                </a:lnTo>
                <a:lnTo>
                  <a:pt x="1642" y="3278"/>
                </a:lnTo>
                <a:close/>
                <a:moveTo>
                  <a:pt x="2509" y="3350"/>
                </a:moveTo>
                <a:lnTo>
                  <a:pt x="2508" y="3350"/>
                </a:lnTo>
                <a:lnTo>
                  <a:pt x="2508" y="3353"/>
                </a:lnTo>
                <a:lnTo>
                  <a:pt x="2506" y="3355"/>
                </a:lnTo>
                <a:lnTo>
                  <a:pt x="2506" y="3357"/>
                </a:lnTo>
                <a:lnTo>
                  <a:pt x="2504" y="3357"/>
                </a:lnTo>
                <a:lnTo>
                  <a:pt x="2503" y="3358"/>
                </a:lnTo>
                <a:lnTo>
                  <a:pt x="2503" y="3360"/>
                </a:lnTo>
                <a:lnTo>
                  <a:pt x="2503" y="3362"/>
                </a:lnTo>
                <a:lnTo>
                  <a:pt x="2501" y="3363"/>
                </a:lnTo>
                <a:lnTo>
                  <a:pt x="2499" y="3365"/>
                </a:lnTo>
                <a:lnTo>
                  <a:pt x="2499" y="3367"/>
                </a:lnTo>
                <a:lnTo>
                  <a:pt x="2497" y="3369"/>
                </a:lnTo>
                <a:lnTo>
                  <a:pt x="2497" y="3370"/>
                </a:lnTo>
                <a:lnTo>
                  <a:pt x="2494" y="3372"/>
                </a:lnTo>
                <a:lnTo>
                  <a:pt x="2494" y="3374"/>
                </a:lnTo>
                <a:lnTo>
                  <a:pt x="2492" y="3375"/>
                </a:lnTo>
                <a:lnTo>
                  <a:pt x="2491" y="3377"/>
                </a:lnTo>
                <a:lnTo>
                  <a:pt x="2489" y="3379"/>
                </a:lnTo>
                <a:lnTo>
                  <a:pt x="2489" y="3380"/>
                </a:lnTo>
                <a:lnTo>
                  <a:pt x="2489" y="3382"/>
                </a:lnTo>
                <a:lnTo>
                  <a:pt x="2489" y="3386"/>
                </a:lnTo>
                <a:lnTo>
                  <a:pt x="2486" y="3386"/>
                </a:lnTo>
                <a:lnTo>
                  <a:pt x="2482" y="3387"/>
                </a:lnTo>
                <a:lnTo>
                  <a:pt x="2482" y="3389"/>
                </a:lnTo>
                <a:lnTo>
                  <a:pt x="2482" y="3391"/>
                </a:lnTo>
                <a:lnTo>
                  <a:pt x="2480" y="3392"/>
                </a:lnTo>
                <a:lnTo>
                  <a:pt x="2482" y="3396"/>
                </a:lnTo>
                <a:lnTo>
                  <a:pt x="2484" y="3399"/>
                </a:lnTo>
                <a:lnTo>
                  <a:pt x="2486" y="3401"/>
                </a:lnTo>
                <a:lnTo>
                  <a:pt x="2487" y="3401"/>
                </a:lnTo>
                <a:lnTo>
                  <a:pt x="2487" y="3403"/>
                </a:lnTo>
                <a:lnTo>
                  <a:pt x="2489" y="3404"/>
                </a:lnTo>
                <a:lnTo>
                  <a:pt x="2491" y="3404"/>
                </a:lnTo>
                <a:lnTo>
                  <a:pt x="2492" y="3404"/>
                </a:lnTo>
                <a:lnTo>
                  <a:pt x="2496" y="3406"/>
                </a:lnTo>
                <a:lnTo>
                  <a:pt x="2497" y="3408"/>
                </a:lnTo>
                <a:lnTo>
                  <a:pt x="2497" y="3409"/>
                </a:lnTo>
                <a:lnTo>
                  <a:pt x="2496" y="3409"/>
                </a:lnTo>
                <a:lnTo>
                  <a:pt x="2494" y="3409"/>
                </a:lnTo>
                <a:lnTo>
                  <a:pt x="2491" y="3409"/>
                </a:lnTo>
                <a:lnTo>
                  <a:pt x="2491" y="3411"/>
                </a:lnTo>
                <a:lnTo>
                  <a:pt x="2487" y="3413"/>
                </a:lnTo>
                <a:lnTo>
                  <a:pt x="2487" y="3414"/>
                </a:lnTo>
                <a:lnTo>
                  <a:pt x="2486" y="3416"/>
                </a:lnTo>
                <a:lnTo>
                  <a:pt x="2484" y="3414"/>
                </a:lnTo>
                <a:lnTo>
                  <a:pt x="2480" y="3414"/>
                </a:lnTo>
                <a:lnTo>
                  <a:pt x="2477" y="3414"/>
                </a:lnTo>
                <a:lnTo>
                  <a:pt x="2475" y="3416"/>
                </a:lnTo>
                <a:lnTo>
                  <a:pt x="2474" y="3420"/>
                </a:lnTo>
                <a:lnTo>
                  <a:pt x="2474" y="3421"/>
                </a:lnTo>
                <a:lnTo>
                  <a:pt x="2475" y="3425"/>
                </a:lnTo>
                <a:lnTo>
                  <a:pt x="2474" y="3428"/>
                </a:lnTo>
                <a:lnTo>
                  <a:pt x="2474" y="3430"/>
                </a:lnTo>
                <a:lnTo>
                  <a:pt x="2472" y="3430"/>
                </a:lnTo>
                <a:lnTo>
                  <a:pt x="2470" y="3432"/>
                </a:lnTo>
                <a:lnTo>
                  <a:pt x="2469" y="3433"/>
                </a:lnTo>
                <a:lnTo>
                  <a:pt x="2469" y="3435"/>
                </a:lnTo>
                <a:lnTo>
                  <a:pt x="2465" y="3437"/>
                </a:lnTo>
                <a:lnTo>
                  <a:pt x="2463" y="3440"/>
                </a:lnTo>
                <a:lnTo>
                  <a:pt x="2462" y="3440"/>
                </a:lnTo>
                <a:lnTo>
                  <a:pt x="2460" y="3442"/>
                </a:lnTo>
                <a:lnTo>
                  <a:pt x="2458" y="3442"/>
                </a:lnTo>
                <a:lnTo>
                  <a:pt x="2457" y="3443"/>
                </a:lnTo>
                <a:lnTo>
                  <a:pt x="2453" y="3445"/>
                </a:lnTo>
                <a:lnTo>
                  <a:pt x="2452" y="3445"/>
                </a:lnTo>
                <a:lnTo>
                  <a:pt x="2450" y="3447"/>
                </a:lnTo>
                <a:lnTo>
                  <a:pt x="2448" y="3447"/>
                </a:lnTo>
                <a:lnTo>
                  <a:pt x="2446" y="3449"/>
                </a:lnTo>
                <a:lnTo>
                  <a:pt x="2445" y="3450"/>
                </a:lnTo>
                <a:lnTo>
                  <a:pt x="2445" y="3452"/>
                </a:lnTo>
                <a:lnTo>
                  <a:pt x="2446" y="3452"/>
                </a:lnTo>
                <a:lnTo>
                  <a:pt x="2445" y="3452"/>
                </a:lnTo>
                <a:lnTo>
                  <a:pt x="2445" y="3454"/>
                </a:lnTo>
                <a:lnTo>
                  <a:pt x="2445" y="3455"/>
                </a:lnTo>
                <a:lnTo>
                  <a:pt x="2448" y="3457"/>
                </a:lnTo>
                <a:lnTo>
                  <a:pt x="2445" y="3459"/>
                </a:lnTo>
                <a:lnTo>
                  <a:pt x="2441" y="3459"/>
                </a:lnTo>
                <a:lnTo>
                  <a:pt x="2440" y="3455"/>
                </a:lnTo>
                <a:lnTo>
                  <a:pt x="2436" y="3454"/>
                </a:lnTo>
                <a:lnTo>
                  <a:pt x="2435" y="3454"/>
                </a:lnTo>
                <a:lnTo>
                  <a:pt x="2431" y="3455"/>
                </a:lnTo>
                <a:lnTo>
                  <a:pt x="2429" y="3457"/>
                </a:lnTo>
                <a:lnTo>
                  <a:pt x="2428" y="3459"/>
                </a:lnTo>
                <a:lnTo>
                  <a:pt x="2426" y="3459"/>
                </a:lnTo>
                <a:lnTo>
                  <a:pt x="2424" y="3459"/>
                </a:lnTo>
                <a:lnTo>
                  <a:pt x="2421" y="3459"/>
                </a:lnTo>
                <a:lnTo>
                  <a:pt x="2419" y="3457"/>
                </a:lnTo>
                <a:lnTo>
                  <a:pt x="2418" y="3457"/>
                </a:lnTo>
                <a:lnTo>
                  <a:pt x="2414" y="3457"/>
                </a:lnTo>
                <a:lnTo>
                  <a:pt x="2414" y="3459"/>
                </a:lnTo>
                <a:lnTo>
                  <a:pt x="2413" y="3457"/>
                </a:lnTo>
                <a:lnTo>
                  <a:pt x="2411" y="3457"/>
                </a:lnTo>
                <a:lnTo>
                  <a:pt x="2409" y="3457"/>
                </a:lnTo>
                <a:lnTo>
                  <a:pt x="2407" y="3455"/>
                </a:lnTo>
                <a:lnTo>
                  <a:pt x="2406" y="3454"/>
                </a:lnTo>
                <a:lnTo>
                  <a:pt x="2406" y="3452"/>
                </a:lnTo>
                <a:lnTo>
                  <a:pt x="2404" y="3450"/>
                </a:lnTo>
                <a:lnTo>
                  <a:pt x="2402" y="3450"/>
                </a:lnTo>
                <a:lnTo>
                  <a:pt x="2401" y="3449"/>
                </a:lnTo>
                <a:lnTo>
                  <a:pt x="2399" y="3447"/>
                </a:lnTo>
                <a:lnTo>
                  <a:pt x="2399" y="3445"/>
                </a:lnTo>
                <a:lnTo>
                  <a:pt x="2397" y="3443"/>
                </a:lnTo>
                <a:lnTo>
                  <a:pt x="2397" y="3440"/>
                </a:lnTo>
                <a:lnTo>
                  <a:pt x="2396" y="3440"/>
                </a:lnTo>
                <a:lnTo>
                  <a:pt x="2394" y="3438"/>
                </a:lnTo>
                <a:lnTo>
                  <a:pt x="2392" y="3437"/>
                </a:lnTo>
                <a:lnTo>
                  <a:pt x="2392" y="3435"/>
                </a:lnTo>
                <a:lnTo>
                  <a:pt x="2394" y="3433"/>
                </a:lnTo>
                <a:lnTo>
                  <a:pt x="2394" y="3435"/>
                </a:lnTo>
                <a:lnTo>
                  <a:pt x="2397" y="3437"/>
                </a:lnTo>
                <a:lnTo>
                  <a:pt x="2399" y="3437"/>
                </a:lnTo>
                <a:lnTo>
                  <a:pt x="2401" y="3437"/>
                </a:lnTo>
                <a:lnTo>
                  <a:pt x="2402" y="3435"/>
                </a:lnTo>
                <a:lnTo>
                  <a:pt x="2404" y="3433"/>
                </a:lnTo>
                <a:lnTo>
                  <a:pt x="2406" y="3430"/>
                </a:lnTo>
                <a:lnTo>
                  <a:pt x="2406" y="3428"/>
                </a:lnTo>
                <a:lnTo>
                  <a:pt x="2406" y="3426"/>
                </a:lnTo>
                <a:lnTo>
                  <a:pt x="2406" y="3425"/>
                </a:lnTo>
                <a:lnTo>
                  <a:pt x="2409" y="3423"/>
                </a:lnTo>
                <a:lnTo>
                  <a:pt x="2411" y="3421"/>
                </a:lnTo>
                <a:lnTo>
                  <a:pt x="2413" y="3421"/>
                </a:lnTo>
                <a:lnTo>
                  <a:pt x="2414" y="3421"/>
                </a:lnTo>
                <a:lnTo>
                  <a:pt x="2418" y="3420"/>
                </a:lnTo>
                <a:lnTo>
                  <a:pt x="2418" y="3421"/>
                </a:lnTo>
                <a:lnTo>
                  <a:pt x="2419" y="3421"/>
                </a:lnTo>
                <a:lnTo>
                  <a:pt x="2423" y="3421"/>
                </a:lnTo>
                <a:lnTo>
                  <a:pt x="2424" y="3420"/>
                </a:lnTo>
                <a:lnTo>
                  <a:pt x="2426" y="3420"/>
                </a:lnTo>
                <a:lnTo>
                  <a:pt x="2426" y="3418"/>
                </a:lnTo>
                <a:lnTo>
                  <a:pt x="2426" y="3414"/>
                </a:lnTo>
                <a:lnTo>
                  <a:pt x="2426" y="3413"/>
                </a:lnTo>
                <a:lnTo>
                  <a:pt x="2426" y="3409"/>
                </a:lnTo>
                <a:lnTo>
                  <a:pt x="2426" y="3408"/>
                </a:lnTo>
                <a:lnTo>
                  <a:pt x="2424" y="3406"/>
                </a:lnTo>
                <a:lnTo>
                  <a:pt x="2423" y="3404"/>
                </a:lnTo>
                <a:lnTo>
                  <a:pt x="2423" y="3401"/>
                </a:lnTo>
                <a:lnTo>
                  <a:pt x="2424" y="3401"/>
                </a:lnTo>
                <a:lnTo>
                  <a:pt x="2428" y="3403"/>
                </a:lnTo>
                <a:lnTo>
                  <a:pt x="2429" y="3403"/>
                </a:lnTo>
                <a:lnTo>
                  <a:pt x="2431" y="3403"/>
                </a:lnTo>
                <a:lnTo>
                  <a:pt x="2433" y="3401"/>
                </a:lnTo>
                <a:lnTo>
                  <a:pt x="2435" y="3401"/>
                </a:lnTo>
                <a:lnTo>
                  <a:pt x="2436" y="3401"/>
                </a:lnTo>
                <a:lnTo>
                  <a:pt x="2438" y="3399"/>
                </a:lnTo>
                <a:lnTo>
                  <a:pt x="2441" y="3399"/>
                </a:lnTo>
                <a:lnTo>
                  <a:pt x="2445" y="3397"/>
                </a:lnTo>
                <a:lnTo>
                  <a:pt x="2446" y="3397"/>
                </a:lnTo>
                <a:lnTo>
                  <a:pt x="2448" y="3397"/>
                </a:lnTo>
                <a:lnTo>
                  <a:pt x="2450" y="3397"/>
                </a:lnTo>
                <a:lnTo>
                  <a:pt x="2452" y="3397"/>
                </a:lnTo>
                <a:lnTo>
                  <a:pt x="2453" y="3396"/>
                </a:lnTo>
                <a:lnTo>
                  <a:pt x="2455" y="3396"/>
                </a:lnTo>
                <a:lnTo>
                  <a:pt x="2458" y="3394"/>
                </a:lnTo>
                <a:lnTo>
                  <a:pt x="2460" y="3392"/>
                </a:lnTo>
                <a:lnTo>
                  <a:pt x="2462" y="3391"/>
                </a:lnTo>
                <a:lnTo>
                  <a:pt x="2463" y="3391"/>
                </a:lnTo>
                <a:lnTo>
                  <a:pt x="2465" y="3389"/>
                </a:lnTo>
                <a:lnTo>
                  <a:pt x="2467" y="3387"/>
                </a:lnTo>
                <a:lnTo>
                  <a:pt x="2469" y="3386"/>
                </a:lnTo>
                <a:lnTo>
                  <a:pt x="2470" y="3384"/>
                </a:lnTo>
                <a:lnTo>
                  <a:pt x="2472" y="3384"/>
                </a:lnTo>
                <a:lnTo>
                  <a:pt x="2474" y="3384"/>
                </a:lnTo>
                <a:lnTo>
                  <a:pt x="2475" y="3382"/>
                </a:lnTo>
                <a:lnTo>
                  <a:pt x="2477" y="3380"/>
                </a:lnTo>
                <a:lnTo>
                  <a:pt x="2479" y="3380"/>
                </a:lnTo>
                <a:lnTo>
                  <a:pt x="2479" y="3379"/>
                </a:lnTo>
                <a:lnTo>
                  <a:pt x="2480" y="3379"/>
                </a:lnTo>
                <a:lnTo>
                  <a:pt x="2480" y="3377"/>
                </a:lnTo>
                <a:lnTo>
                  <a:pt x="2482" y="3377"/>
                </a:lnTo>
                <a:lnTo>
                  <a:pt x="2484" y="3375"/>
                </a:lnTo>
                <a:lnTo>
                  <a:pt x="2486" y="3374"/>
                </a:lnTo>
                <a:lnTo>
                  <a:pt x="2487" y="3372"/>
                </a:lnTo>
                <a:lnTo>
                  <a:pt x="2489" y="3369"/>
                </a:lnTo>
                <a:lnTo>
                  <a:pt x="2489" y="3367"/>
                </a:lnTo>
                <a:lnTo>
                  <a:pt x="2492" y="3365"/>
                </a:lnTo>
                <a:lnTo>
                  <a:pt x="2494" y="3363"/>
                </a:lnTo>
                <a:lnTo>
                  <a:pt x="2496" y="3360"/>
                </a:lnTo>
                <a:lnTo>
                  <a:pt x="2497" y="3360"/>
                </a:lnTo>
                <a:lnTo>
                  <a:pt x="2497" y="3358"/>
                </a:lnTo>
                <a:lnTo>
                  <a:pt x="2499" y="3357"/>
                </a:lnTo>
                <a:lnTo>
                  <a:pt x="2501" y="3357"/>
                </a:lnTo>
                <a:lnTo>
                  <a:pt x="2501" y="3355"/>
                </a:lnTo>
                <a:lnTo>
                  <a:pt x="2504" y="3353"/>
                </a:lnTo>
                <a:lnTo>
                  <a:pt x="2504" y="3352"/>
                </a:lnTo>
                <a:lnTo>
                  <a:pt x="2506" y="3352"/>
                </a:lnTo>
                <a:lnTo>
                  <a:pt x="2506" y="3350"/>
                </a:lnTo>
                <a:lnTo>
                  <a:pt x="2509" y="3350"/>
                </a:lnTo>
                <a:close/>
                <a:moveTo>
                  <a:pt x="2015" y="3280"/>
                </a:moveTo>
                <a:lnTo>
                  <a:pt x="2016" y="3282"/>
                </a:lnTo>
                <a:lnTo>
                  <a:pt x="2016" y="3284"/>
                </a:lnTo>
                <a:lnTo>
                  <a:pt x="2018" y="3284"/>
                </a:lnTo>
                <a:lnTo>
                  <a:pt x="2018" y="3285"/>
                </a:lnTo>
                <a:lnTo>
                  <a:pt x="2015" y="3285"/>
                </a:lnTo>
                <a:lnTo>
                  <a:pt x="2015" y="3282"/>
                </a:lnTo>
                <a:lnTo>
                  <a:pt x="2015" y="3280"/>
                </a:lnTo>
                <a:close/>
                <a:moveTo>
                  <a:pt x="1996" y="3222"/>
                </a:moveTo>
                <a:lnTo>
                  <a:pt x="1999" y="3222"/>
                </a:lnTo>
                <a:lnTo>
                  <a:pt x="1996" y="3222"/>
                </a:lnTo>
                <a:lnTo>
                  <a:pt x="1998" y="3224"/>
                </a:lnTo>
                <a:lnTo>
                  <a:pt x="1999" y="3224"/>
                </a:lnTo>
                <a:lnTo>
                  <a:pt x="1999" y="3226"/>
                </a:lnTo>
                <a:lnTo>
                  <a:pt x="2001" y="3224"/>
                </a:lnTo>
                <a:lnTo>
                  <a:pt x="2001" y="3226"/>
                </a:lnTo>
                <a:lnTo>
                  <a:pt x="1999" y="3227"/>
                </a:lnTo>
                <a:lnTo>
                  <a:pt x="1998" y="3227"/>
                </a:lnTo>
                <a:lnTo>
                  <a:pt x="1996" y="3226"/>
                </a:lnTo>
                <a:lnTo>
                  <a:pt x="1998" y="3224"/>
                </a:lnTo>
                <a:lnTo>
                  <a:pt x="1996" y="3224"/>
                </a:lnTo>
                <a:lnTo>
                  <a:pt x="1996" y="3222"/>
                </a:lnTo>
                <a:close/>
                <a:moveTo>
                  <a:pt x="2032" y="3132"/>
                </a:moveTo>
                <a:lnTo>
                  <a:pt x="2033" y="3132"/>
                </a:lnTo>
                <a:lnTo>
                  <a:pt x="2033" y="3136"/>
                </a:lnTo>
                <a:lnTo>
                  <a:pt x="2033" y="3134"/>
                </a:lnTo>
                <a:lnTo>
                  <a:pt x="2035" y="3136"/>
                </a:lnTo>
                <a:lnTo>
                  <a:pt x="2032" y="3136"/>
                </a:lnTo>
                <a:lnTo>
                  <a:pt x="2030" y="3136"/>
                </a:lnTo>
                <a:lnTo>
                  <a:pt x="2030" y="3134"/>
                </a:lnTo>
                <a:lnTo>
                  <a:pt x="2030" y="3132"/>
                </a:lnTo>
                <a:lnTo>
                  <a:pt x="2032" y="3132"/>
                </a:lnTo>
                <a:close/>
                <a:moveTo>
                  <a:pt x="2025" y="3130"/>
                </a:moveTo>
                <a:lnTo>
                  <a:pt x="2027" y="3132"/>
                </a:lnTo>
                <a:lnTo>
                  <a:pt x="2027" y="3134"/>
                </a:lnTo>
                <a:lnTo>
                  <a:pt x="2025" y="3136"/>
                </a:lnTo>
                <a:lnTo>
                  <a:pt x="2023" y="3134"/>
                </a:lnTo>
                <a:lnTo>
                  <a:pt x="2025" y="3134"/>
                </a:lnTo>
                <a:lnTo>
                  <a:pt x="2025" y="3130"/>
                </a:lnTo>
                <a:close/>
                <a:moveTo>
                  <a:pt x="2078" y="3115"/>
                </a:moveTo>
                <a:lnTo>
                  <a:pt x="2079" y="3115"/>
                </a:lnTo>
                <a:lnTo>
                  <a:pt x="2078" y="3117"/>
                </a:lnTo>
                <a:lnTo>
                  <a:pt x="2079" y="3119"/>
                </a:lnTo>
                <a:lnTo>
                  <a:pt x="2078" y="3120"/>
                </a:lnTo>
                <a:lnTo>
                  <a:pt x="2078" y="3119"/>
                </a:lnTo>
                <a:lnTo>
                  <a:pt x="2078" y="3115"/>
                </a:lnTo>
                <a:close/>
                <a:moveTo>
                  <a:pt x="2083" y="3379"/>
                </a:moveTo>
                <a:lnTo>
                  <a:pt x="2084" y="3380"/>
                </a:lnTo>
                <a:lnTo>
                  <a:pt x="2083" y="3380"/>
                </a:lnTo>
                <a:lnTo>
                  <a:pt x="2081" y="3379"/>
                </a:lnTo>
                <a:lnTo>
                  <a:pt x="2083" y="3379"/>
                </a:lnTo>
                <a:close/>
                <a:moveTo>
                  <a:pt x="1996" y="3292"/>
                </a:moveTo>
                <a:lnTo>
                  <a:pt x="1998" y="3290"/>
                </a:lnTo>
                <a:lnTo>
                  <a:pt x="1998" y="3294"/>
                </a:lnTo>
                <a:lnTo>
                  <a:pt x="1996" y="3294"/>
                </a:lnTo>
                <a:lnTo>
                  <a:pt x="1996" y="3292"/>
                </a:lnTo>
                <a:close/>
                <a:moveTo>
                  <a:pt x="2236" y="3397"/>
                </a:moveTo>
                <a:lnTo>
                  <a:pt x="2234" y="3401"/>
                </a:lnTo>
                <a:lnTo>
                  <a:pt x="2232" y="3401"/>
                </a:lnTo>
                <a:lnTo>
                  <a:pt x="2234" y="3399"/>
                </a:lnTo>
                <a:lnTo>
                  <a:pt x="2236" y="3397"/>
                </a:lnTo>
                <a:close/>
                <a:moveTo>
                  <a:pt x="2081" y="3367"/>
                </a:moveTo>
                <a:lnTo>
                  <a:pt x="2084" y="3367"/>
                </a:lnTo>
                <a:lnTo>
                  <a:pt x="2083" y="3369"/>
                </a:lnTo>
                <a:lnTo>
                  <a:pt x="2081" y="3367"/>
                </a:lnTo>
                <a:close/>
                <a:moveTo>
                  <a:pt x="2101" y="3086"/>
                </a:moveTo>
                <a:lnTo>
                  <a:pt x="2103" y="3086"/>
                </a:lnTo>
                <a:lnTo>
                  <a:pt x="2105" y="3088"/>
                </a:lnTo>
                <a:lnTo>
                  <a:pt x="2103" y="3088"/>
                </a:lnTo>
                <a:lnTo>
                  <a:pt x="2101" y="3086"/>
                </a:lnTo>
                <a:close/>
                <a:moveTo>
                  <a:pt x="2171" y="3380"/>
                </a:moveTo>
                <a:lnTo>
                  <a:pt x="2173" y="3382"/>
                </a:lnTo>
                <a:lnTo>
                  <a:pt x="2171" y="3382"/>
                </a:lnTo>
                <a:lnTo>
                  <a:pt x="2171" y="3380"/>
                </a:lnTo>
                <a:close/>
                <a:moveTo>
                  <a:pt x="1994" y="3222"/>
                </a:moveTo>
                <a:lnTo>
                  <a:pt x="1996" y="3224"/>
                </a:lnTo>
                <a:lnTo>
                  <a:pt x="1994" y="3224"/>
                </a:lnTo>
                <a:lnTo>
                  <a:pt x="1994" y="3222"/>
                </a:lnTo>
                <a:close/>
                <a:moveTo>
                  <a:pt x="2450" y="3331"/>
                </a:moveTo>
                <a:lnTo>
                  <a:pt x="2452" y="3329"/>
                </a:lnTo>
                <a:lnTo>
                  <a:pt x="2452" y="3331"/>
                </a:lnTo>
                <a:lnTo>
                  <a:pt x="2450" y="3331"/>
                </a:lnTo>
                <a:close/>
                <a:moveTo>
                  <a:pt x="1996" y="3229"/>
                </a:moveTo>
                <a:lnTo>
                  <a:pt x="1998" y="3229"/>
                </a:lnTo>
                <a:lnTo>
                  <a:pt x="1998" y="3231"/>
                </a:lnTo>
                <a:lnTo>
                  <a:pt x="1996" y="3231"/>
                </a:lnTo>
                <a:lnTo>
                  <a:pt x="1996" y="3229"/>
                </a:lnTo>
                <a:close/>
                <a:moveTo>
                  <a:pt x="2100" y="3086"/>
                </a:moveTo>
                <a:lnTo>
                  <a:pt x="2101" y="3086"/>
                </a:lnTo>
                <a:lnTo>
                  <a:pt x="2101" y="3088"/>
                </a:lnTo>
                <a:lnTo>
                  <a:pt x="2100" y="3086"/>
                </a:lnTo>
                <a:close/>
                <a:moveTo>
                  <a:pt x="2022" y="3130"/>
                </a:moveTo>
                <a:lnTo>
                  <a:pt x="2025" y="3130"/>
                </a:lnTo>
                <a:lnTo>
                  <a:pt x="2022" y="3132"/>
                </a:lnTo>
                <a:lnTo>
                  <a:pt x="2022" y="3130"/>
                </a:lnTo>
                <a:close/>
                <a:moveTo>
                  <a:pt x="2020" y="3285"/>
                </a:moveTo>
                <a:lnTo>
                  <a:pt x="2022" y="3287"/>
                </a:lnTo>
                <a:lnTo>
                  <a:pt x="2020" y="3287"/>
                </a:lnTo>
                <a:lnTo>
                  <a:pt x="2020" y="3285"/>
                </a:lnTo>
                <a:close/>
                <a:moveTo>
                  <a:pt x="2028" y="3130"/>
                </a:moveTo>
                <a:lnTo>
                  <a:pt x="2030" y="3134"/>
                </a:lnTo>
                <a:lnTo>
                  <a:pt x="2028" y="3134"/>
                </a:lnTo>
                <a:lnTo>
                  <a:pt x="2028" y="3130"/>
                </a:lnTo>
                <a:close/>
                <a:moveTo>
                  <a:pt x="2169" y="3380"/>
                </a:moveTo>
                <a:lnTo>
                  <a:pt x="2171" y="3382"/>
                </a:lnTo>
                <a:lnTo>
                  <a:pt x="2169" y="3382"/>
                </a:lnTo>
                <a:lnTo>
                  <a:pt x="2169" y="3380"/>
                </a:lnTo>
                <a:close/>
                <a:moveTo>
                  <a:pt x="2118" y="3391"/>
                </a:moveTo>
                <a:lnTo>
                  <a:pt x="2120" y="3391"/>
                </a:lnTo>
                <a:lnTo>
                  <a:pt x="2118" y="3391"/>
                </a:lnTo>
                <a:close/>
                <a:moveTo>
                  <a:pt x="2227" y="3404"/>
                </a:moveTo>
                <a:lnTo>
                  <a:pt x="2229" y="3404"/>
                </a:lnTo>
                <a:lnTo>
                  <a:pt x="2229" y="3406"/>
                </a:lnTo>
                <a:lnTo>
                  <a:pt x="2227" y="3406"/>
                </a:lnTo>
                <a:lnTo>
                  <a:pt x="2227" y="3404"/>
                </a:lnTo>
                <a:close/>
                <a:moveTo>
                  <a:pt x="2203" y="3406"/>
                </a:moveTo>
                <a:lnTo>
                  <a:pt x="2205" y="3406"/>
                </a:lnTo>
                <a:lnTo>
                  <a:pt x="2203" y="3406"/>
                </a:lnTo>
                <a:close/>
                <a:moveTo>
                  <a:pt x="1342" y="3566"/>
                </a:moveTo>
                <a:lnTo>
                  <a:pt x="1340" y="3568"/>
                </a:lnTo>
                <a:lnTo>
                  <a:pt x="1343" y="3568"/>
                </a:lnTo>
                <a:lnTo>
                  <a:pt x="1342" y="3569"/>
                </a:lnTo>
                <a:lnTo>
                  <a:pt x="1345" y="3568"/>
                </a:lnTo>
                <a:lnTo>
                  <a:pt x="1345" y="3569"/>
                </a:lnTo>
                <a:lnTo>
                  <a:pt x="1345" y="3568"/>
                </a:lnTo>
                <a:lnTo>
                  <a:pt x="1348" y="3569"/>
                </a:lnTo>
                <a:lnTo>
                  <a:pt x="1350" y="3571"/>
                </a:lnTo>
                <a:lnTo>
                  <a:pt x="1348" y="3573"/>
                </a:lnTo>
                <a:lnTo>
                  <a:pt x="1350" y="3571"/>
                </a:lnTo>
                <a:lnTo>
                  <a:pt x="1350" y="3573"/>
                </a:lnTo>
                <a:lnTo>
                  <a:pt x="1352" y="3573"/>
                </a:lnTo>
                <a:lnTo>
                  <a:pt x="1350" y="3571"/>
                </a:lnTo>
                <a:lnTo>
                  <a:pt x="1353" y="3573"/>
                </a:lnTo>
                <a:lnTo>
                  <a:pt x="1353" y="3574"/>
                </a:lnTo>
                <a:lnTo>
                  <a:pt x="1353" y="3578"/>
                </a:lnTo>
                <a:lnTo>
                  <a:pt x="1352" y="3576"/>
                </a:lnTo>
                <a:lnTo>
                  <a:pt x="1352" y="3578"/>
                </a:lnTo>
                <a:lnTo>
                  <a:pt x="1353" y="3578"/>
                </a:lnTo>
                <a:lnTo>
                  <a:pt x="1352" y="3578"/>
                </a:lnTo>
                <a:lnTo>
                  <a:pt x="1350" y="3578"/>
                </a:lnTo>
                <a:lnTo>
                  <a:pt x="1348" y="3578"/>
                </a:lnTo>
                <a:lnTo>
                  <a:pt x="1347" y="3578"/>
                </a:lnTo>
                <a:lnTo>
                  <a:pt x="1345" y="3578"/>
                </a:lnTo>
                <a:lnTo>
                  <a:pt x="1343" y="3576"/>
                </a:lnTo>
                <a:lnTo>
                  <a:pt x="1342" y="3574"/>
                </a:lnTo>
                <a:lnTo>
                  <a:pt x="1340" y="3574"/>
                </a:lnTo>
                <a:lnTo>
                  <a:pt x="1340" y="3573"/>
                </a:lnTo>
                <a:lnTo>
                  <a:pt x="1340" y="3569"/>
                </a:lnTo>
                <a:lnTo>
                  <a:pt x="1340" y="3568"/>
                </a:lnTo>
                <a:lnTo>
                  <a:pt x="1338" y="3568"/>
                </a:lnTo>
                <a:lnTo>
                  <a:pt x="1338" y="3566"/>
                </a:lnTo>
                <a:lnTo>
                  <a:pt x="1342" y="3566"/>
                </a:lnTo>
                <a:close/>
                <a:moveTo>
                  <a:pt x="1333" y="3559"/>
                </a:moveTo>
                <a:lnTo>
                  <a:pt x="1336" y="3561"/>
                </a:lnTo>
                <a:lnTo>
                  <a:pt x="1338" y="3561"/>
                </a:lnTo>
                <a:lnTo>
                  <a:pt x="1340" y="3562"/>
                </a:lnTo>
                <a:lnTo>
                  <a:pt x="1336" y="3562"/>
                </a:lnTo>
                <a:lnTo>
                  <a:pt x="1336" y="3564"/>
                </a:lnTo>
                <a:lnTo>
                  <a:pt x="1335" y="3564"/>
                </a:lnTo>
                <a:lnTo>
                  <a:pt x="1333" y="3564"/>
                </a:lnTo>
                <a:lnTo>
                  <a:pt x="1331" y="3562"/>
                </a:lnTo>
                <a:lnTo>
                  <a:pt x="1330" y="3562"/>
                </a:lnTo>
                <a:lnTo>
                  <a:pt x="1330" y="3561"/>
                </a:lnTo>
                <a:lnTo>
                  <a:pt x="1333" y="3559"/>
                </a:lnTo>
                <a:close/>
                <a:moveTo>
                  <a:pt x="1338" y="3564"/>
                </a:moveTo>
                <a:lnTo>
                  <a:pt x="1340" y="3564"/>
                </a:lnTo>
                <a:lnTo>
                  <a:pt x="1338" y="3564"/>
                </a:lnTo>
                <a:close/>
                <a:moveTo>
                  <a:pt x="2047" y="2766"/>
                </a:moveTo>
                <a:lnTo>
                  <a:pt x="2049" y="2766"/>
                </a:lnTo>
                <a:lnTo>
                  <a:pt x="2049" y="2768"/>
                </a:lnTo>
                <a:lnTo>
                  <a:pt x="2047" y="2768"/>
                </a:lnTo>
                <a:lnTo>
                  <a:pt x="2049" y="2768"/>
                </a:lnTo>
                <a:lnTo>
                  <a:pt x="2049" y="2770"/>
                </a:lnTo>
                <a:lnTo>
                  <a:pt x="2049" y="2768"/>
                </a:lnTo>
                <a:lnTo>
                  <a:pt x="2049" y="2770"/>
                </a:lnTo>
                <a:lnTo>
                  <a:pt x="2050" y="2771"/>
                </a:lnTo>
                <a:lnTo>
                  <a:pt x="2049" y="2773"/>
                </a:lnTo>
                <a:lnTo>
                  <a:pt x="2049" y="2771"/>
                </a:lnTo>
                <a:lnTo>
                  <a:pt x="2047" y="2773"/>
                </a:lnTo>
                <a:lnTo>
                  <a:pt x="2045" y="2773"/>
                </a:lnTo>
                <a:lnTo>
                  <a:pt x="2044" y="2773"/>
                </a:lnTo>
                <a:lnTo>
                  <a:pt x="2042" y="2771"/>
                </a:lnTo>
                <a:lnTo>
                  <a:pt x="2042" y="2770"/>
                </a:lnTo>
                <a:lnTo>
                  <a:pt x="2044" y="2768"/>
                </a:lnTo>
                <a:lnTo>
                  <a:pt x="2047" y="2768"/>
                </a:lnTo>
                <a:lnTo>
                  <a:pt x="2045" y="2766"/>
                </a:lnTo>
                <a:lnTo>
                  <a:pt x="2047" y="2766"/>
                </a:lnTo>
                <a:close/>
                <a:moveTo>
                  <a:pt x="1027" y="2258"/>
                </a:moveTo>
                <a:lnTo>
                  <a:pt x="1027" y="2259"/>
                </a:lnTo>
                <a:lnTo>
                  <a:pt x="1025" y="2259"/>
                </a:lnTo>
                <a:lnTo>
                  <a:pt x="1024" y="2258"/>
                </a:lnTo>
                <a:lnTo>
                  <a:pt x="1027" y="2258"/>
                </a:lnTo>
                <a:close/>
                <a:moveTo>
                  <a:pt x="2156" y="2646"/>
                </a:moveTo>
                <a:lnTo>
                  <a:pt x="2158" y="2646"/>
                </a:lnTo>
                <a:lnTo>
                  <a:pt x="2158" y="2647"/>
                </a:lnTo>
                <a:lnTo>
                  <a:pt x="2156" y="2649"/>
                </a:lnTo>
                <a:lnTo>
                  <a:pt x="2156" y="2646"/>
                </a:lnTo>
                <a:lnTo>
                  <a:pt x="2154" y="2647"/>
                </a:lnTo>
                <a:lnTo>
                  <a:pt x="2156" y="2649"/>
                </a:lnTo>
                <a:lnTo>
                  <a:pt x="2154" y="2649"/>
                </a:lnTo>
                <a:lnTo>
                  <a:pt x="2152" y="2651"/>
                </a:lnTo>
                <a:lnTo>
                  <a:pt x="2152" y="2647"/>
                </a:lnTo>
                <a:lnTo>
                  <a:pt x="2154" y="2647"/>
                </a:lnTo>
                <a:lnTo>
                  <a:pt x="2152" y="2647"/>
                </a:lnTo>
                <a:lnTo>
                  <a:pt x="2154" y="2647"/>
                </a:lnTo>
                <a:lnTo>
                  <a:pt x="2156" y="2646"/>
                </a:lnTo>
                <a:close/>
                <a:moveTo>
                  <a:pt x="1398" y="3394"/>
                </a:moveTo>
                <a:lnTo>
                  <a:pt x="1399" y="3396"/>
                </a:lnTo>
                <a:lnTo>
                  <a:pt x="1401" y="3396"/>
                </a:lnTo>
                <a:lnTo>
                  <a:pt x="1403" y="3396"/>
                </a:lnTo>
                <a:lnTo>
                  <a:pt x="1401" y="3397"/>
                </a:lnTo>
                <a:lnTo>
                  <a:pt x="1399" y="3397"/>
                </a:lnTo>
                <a:lnTo>
                  <a:pt x="1399" y="3399"/>
                </a:lnTo>
                <a:lnTo>
                  <a:pt x="1399" y="3403"/>
                </a:lnTo>
                <a:lnTo>
                  <a:pt x="1398" y="3406"/>
                </a:lnTo>
                <a:lnTo>
                  <a:pt x="1396" y="3408"/>
                </a:lnTo>
                <a:lnTo>
                  <a:pt x="1396" y="3411"/>
                </a:lnTo>
                <a:lnTo>
                  <a:pt x="1394" y="3413"/>
                </a:lnTo>
                <a:lnTo>
                  <a:pt x="1393" y="3414"/>
                </a:lnTo>
                <a:lnTo>
                  <a:pt x="1391" y="3418"/>
                </a:lnTo>
                <a:lnTo>
                  <a:pt x="1389" y="3420"/>
                </a:lnTo>
                <a:lnTo>
                  <a:pt x="1389" y="3421"/>
                </a:lnTo>
                <a:lnTo>
                  <a:pt x="1389" y="3423"/>
                </a:lnTo>
                <a:lnTo>
                  <a:pt x="1387" y="3423"/>
                </a:lnTo>
                <a:lnTo>
                  <a:pt x="1386" y="3426"/>
                </a:lnTo>
                <a:lnTo>
                  <a:pt x="1386" y="3428"/>
                </a:lnTo>
                <a:lnTo>
                  <a:pt x="1384" y="3428"/>
                </a:lnTo>
                <a:lnTo>
                  <a:pt x="1384" y="3430"/>
                </a:lnTo>
                <a:lnTo>
                  <a:pt x="1382" y="3432"/>
                </a:lnTo>
                <a:lnTo>
                  <a:pt x="1382" y="3433"/>
                </a:lnTo>
                <a:lnTo>
                  <a:pt x="1382" y="3435"/>
                </a:lnTo>
                <a:lnTo>
                  <a:pt x="1381" y="3437"/>
                </a:lnTo>
                <a:lnTo>
                  <a:pt x="1382" y="3438"/>
                </a:lnTo>
                <a:lnTo>
                  <a:pt x="1381" y="3440"/>
                </a:lnTo>
                <a:lnTo>
                  <a:pt x="1381" y="3442"/>
                </a:lnTo>
                <a:lnTo>
                  <a:pt x="1381" y="3443"/>
                </a:lnTo>
                <a:lnTo>
                  <a:pt x="1381" y="3445"/>
                </a:lnTo>
                <a:lnTo>
                  <a:pt x="1381" y="3449"/>
                </a:lnTo>
                <a:lnTo>
                  <a:pt x="1379" y="3450"/>
                </a:lnTo>
                <a:lnTo>
                  <a:pt x="1377" y="3452"/>
                </a:lnTo>
                <a:lnTo>
                  <a:pt x="1376" y="3454"/>
                </a:lnTo>
                <a:lnTo>
                  <a:pt x="1377" y="3455"/>
                </a:lnTo>
                <a:lnTo>
                  <a:pt x="1376" y="3454"/>
                </a:lnTo>
                <a:lnTo>
                  <a:pt x="1376" y="3457"/>
                </a:lnTo>
                <a:lnTo>
                  <a:pt x="1376" y="3459"/>
                </a:lnTo>
                <a:lnTo>
                  <a:pt x="1376" y="3460"/>
                </a:lnTo>
                <a:lnTo>
                  <a:pt x="1377" y="3460"/>
                </a:lnTo>
                <a:lnTo>
                  <a:pt x="1376" y="3460"/>
                </a:lnTo>
                <a:lnTo>
                  <a:pt x="1377" y="3464"/>
                </a:lnTo>
                <a:lnTo>
                  <a:pt x="1377" y="3467"/>
                </a:lnTo>
                <a:lnTo>
                  <a:pt x="1379" y="3467"/>
                </a:lnTo>
                <a:lnTo>
                  <a:pt x="1381" y="3469"/>
                </a:lnTo>
                <a:lnTo>
                  <a:pt x="1382" y="3469"/>
                </a:lnTo>
                <a:lnTo>
                  <a:pt x="1384" y="3469"/>
                </a:lnTo>
                <a:lnTo>
                  <a:pt x="1386" y="3471"/>
                </a:lnTo>
                <a:lnTo>
                  <a:pt x="1386" y="3472"/>
                </a:lnTo>
                <a:lnTo>
                  <a:pt x="1387" y="3472"/>
                </a:lnTo>
                <a:lnTo>
                  <a:pt x="1386" y="3472"/>
                </a:lnTo>
                <a:lnTo>
                  <a:pt x="1384" y="3472"/>
                </a:lnTo>
                <a:lnTo>
                  <a:pt x="1386" y="3474"/>
                </a:lnTo>
                <a:lnTo>
                  <a:pt x="1384" y="3472"/>
                </a:lnTo>
                <a:lnTo>
                  <a:pt x="1382" y="3472"/>
                </a:lnTo>
                <a:lnTo>
                  <a:pt x="1382" y="3476"/>
                </a:lnTo>
                <a:lnTo>
                  <a:pt x="1384" y="3477"/>
                </a:lnTo>
                <a:lnTo>
                  <a:pt x="1384" y="3479"/>
                </a:lnTo>
                <a:lnTo>
                  <a:pt x="1386" y="3477"/>
                </a:lnTo>
                <a:lnTo>
                  <a:pt x="1386" y="3479"/>
                </a:lnTo>
                <a:lnTo>
                  <a:pt x="1386" y="3481"/>
                </a:lnTo>
                <a:lnTo>
                  <a:pt x="1387" y="3481"/>
                </a:lnTo>
                <a:lnTo>
                  <a:pt x="1389" y="3481"/>
                </a:lnTo>
                <a:lnTo>
                  <a:pt x="1389" y="3484"/>
                </a:lnTo>
                <a:lnTo>
                  <a:pt x="1391" y="3484"/>
                </a:lnTo>
                <a:lnTo>
                  <a:pt x="1389" y="3484"/>
                </a:lnTo>
                <a:lnTo>
                  <a:pt x="1389" y="3486"/>
                </a:lnTo>
                <a:lnTo>
                  <a:pt x="1391" y="3486"/>
                </a:lnTo>
                <a:lnTo>
                  <a:pt x="1393" y="3488"/>
                </a:lnTo>
                <a:lnTo>
                  <a:pt x="1393" y="3489"/>
                </a:lnTo>
                <a:lnTo>
                  <a:pt x="1391" y="3488"/>
                </a:lnTo>
                <a:lnTo>
                  <a:pt x="1389" y="3489"/>
                </a:lnTo>
                <a:lnTo>
                  <a:pt x="1389" y="3491"/>
                </a:lnTo>
                <a:lnTo>
                  <a:pt x="1386" y="3493"/>
                </a:lnTo>
                <a:lnTo>
                  <a:pt x="1384" y="3493"/>
                </a:lnTo>
                <a:lnTo>
                  <a:pt x="1382" y="3496"/>
                </a:lnTo>
                <a:lnTo>
                  <a:pt x="1382" y="3498"/>
                </a:lnTo>
                <a:lnTo>
                  <a:pt x="1382" y="3500"/>
                </a:lnTo>
                <a:lnTo>
                  <a:pt x="1381" y="3501"/>
                </a:lnTo>
                <a:lnTo>
                  <a:pt x="1381" y="3503"/>
                </a:lnTo>
                <a:lnTo>
                  <a:pt x="1379" y="3505"/>
                </a:lnTo>
                <a:lnTo>
                  <a:pt x="1379" y="3506"/>
                </a:lnTo>
                <a:lnTo>
                  <a:pt x="1381" y="3508"/>
                </a:lnTo>
                <a:lnTo>
                  <a:pt x="1382" y="3511"/>
                </a:lnTo>
                <a:lnTo>
                  <a:pt x="1382" y="3513"/>
                </a:lnTo>
                <a:lnTo>
                  <a:pt x="1381" y="3513"/>
                </a:lnTo>
                <a:lnTo>
                  <a:pt x="1379" y="3515"/>
                </a:lnTo>
                <a:lnTo>
                  <a:pt x="1377" y="3515"/>
                </a:lnTo>
                <a:lnTo>
                  <a:pt x="1377" y="3513"/>
                </a:lnTo>
                <a:lnTo>
                  <a:pt x="1376" y="3511"/>
                </a:lnTo>
                <a:lnTo>
                  <a:pt x="1374" y="3513"/>
                </a:lnTo>
                <a:lnTo>
                  <a:pt x="1372" y="3513"/>
                </a:lnTo>
                <a:lnTo>
                  <a:pt x="1370" y="3511"/>
                </a:lnTo>
                <a:lnTo>
                  <a:pt x="1369" y="3510"/>
                </a:lnTo>
                <a:lnTo>
                  <a:pt x="1367" y="3510"/>
                </a:lnTo>
                <a:lnTo>
                  <a:pt x="1365" y="3511"/>
                </a:lnTo>
                <a:lnTo>
                  <a:pt x="1364" y="3511"/>
                </a:lnTo>
                <a:lnTo>
                  <a:pt x="1362" y="3513"/>
                </a:lnTo>
                <a:lnTo>
                  <a:pt x="1360" y="3511"/>
                </a:lnTo>
                <a:lnTo>
                  <a:pt x="1357" y="3511"/>
                </a:lnTo>
                <a:lnTo>
                  <a:pt x="1355" y="3510"/>
                </a:lnTo>
                <a:lnTo>
                  <a:pt x="1353" y="3508"/>
                </a:lnTo>
                <a:lnTo>
                  <a:pt x="1352" y="3508"/>
                </a:lnTo>
                <a:lnTo>
                  <a:pt x="1348" y="3508"/>
                </a:lnTo>
                <a:lnTo>
                  <a:pt x="1347" y="3508"/>
                </a:lnTo>
                <a:lnTo>
                  <a:pt x="1345" y="3508"/>
                </a:lnTo>
                <a:lnTo>
                  <a:pt x="1343" y="3506"/>
                </a:lnTo>
                <a:lnTo>
                  <a:pt x="1343" y="3505"/>
                </a:lnTo>
                <a:lnTo>
                  <a:pt x="1342" y="3503"/>
                </a:lnTo>
                <a:lnTo>
                  <a:pt x="1342" y="3501"/>
                </a:lnTo>
                <a:lnTo>
                  <a:pt x="1340" y="3500"/>
                </a:lnTo>
                <a:lnTo>
                  <a:pt x="1340" y="3498"/>
                </a:lnTo>
                <a:lnTo>
                  <a:pt x="1338" y="3498"/>
                </a:lnTo>
                <a:lnTo>
                  <a:pt x="1338" y="3496"/>
                </a:lnTo>
                <a:lnTo>
                  <a:pt x="1336" y="3493"/>
                </a:lnTo>
                <a:lnTo>
                  <a:pt x="1335" y="3491"/>
                </a:lnTo>
                <a:lnTo>
                  <a:pt x="1333" y="3491"/>
                </a:lnTo>
                <a:lnTo>
                  <a:pt x="1330" y="3489"/>
                </a:lnTo>
                <a:lnTo>
                  <a:pt x="1328" y="3489"/>
                </a:lnTo>
                <a:lnTo>
                  <a:pt x="1328" y="3488"/>
                </a:lnTo>
                <a:lnTo>
                  <a:pt x="1328" y="3489"/>
                </a:lnTo>
                <a:lnTo>
                  <a:pt x="1326" y="3488"/>
                </a:lnTo>
                <a:lnTo>
                  <a:pt x="1325" y="3486"/>
                </a:lnTo>
                <a:lnTo>
                  <a:pt x="1323" y="3486"/>
                </a:lnTo>
                <a:lnTo>
                  <a:pt x="1321" y="3486"/>
                </a:lnTo>
                <a:lnTo>
                  <a:pt x="1319" y="3486"/>
                </a:lnTo>
                <a:lnTo>
                  <a:pt x="1318" y="3486"/>
                </a:lnTo>
                <a:lnTo>
                  <a:pt x="1316" y="3486"/>
                </a:lnTo>
                <a:lnTo>
                  <a:pt x="1314" y="3486"/>
                </a:lnTo>
                <a:lnTo>
                  <a:pt x="1313" y="3488"/>
                </a:lnTo>
                <a:lnTo>
                  <a:pt x="1311" y="3488"/>
                </a:lnTo>
                <a:lnTo>
                  <a:pt x="1308" y="3488"/>
                </a:lnTo>
                <a:lnTo>
                  <a:pt x="1306" y="3484"/>
                </a:lnTo>
                <a:lnTo>
                  <a:pt x="1304" y="3484"/>
                </a:lnTo>
                <a:lnTo>
                  <a:pt x="1302" y="3484"/>
                </a:lnTo>
                <a:lnTo>
                  <a:pt x="1301" y="3484"/>
                </a:lnTo>
                <a:lnTo>
                  <a:pt x="1299" y="3483"/>
                </a:lnTo>
                <a:lnTo>
                  <a:pt x="1297" y="3481"/>
                </a:lnTo>
                <a:lnTo>
                  <a:pt x="1296" y="3481"/>
                </a:lnTo>
                <a:lnTo>
                  <a:pt x="1294" y="3479"/>
                </a:lnTo>
                <a:lnTo>
                  <a:pt x="1291" y="3476"/>
                </a:lnTo>
                <a:lnTo>
                  <a:pt x="1289" y="3474"/>
                </a:lnTo>
                <a:lnTo>
                  <a:pt x="1287" y="3474"/>
                </a:lnTo>
                <a:lnTo>
                  <a:pt x="1287" y="3476"/>
                </a:lnTo>
                <a:lnTo>
                  <a:pt x="1287" y="3474"/>
                </a:lnTo>
                <a:lnTo>
                  <a:pt x="1285" y="3474"/>
                </a:lnTo>
                <a:lnTo>
                  <a:pt x="1282" y="3474"/>
                </a:lnTo>
                <a:lnTo>
                  <a:pt x="1280" y="3472"/>
                </a:lnTo>
                <a:lnTo>
                  <a:pt x="1279" y="3472"/>
                </a:lnTo>
                <a:lnTo>
                  <a:pt x="1277" y="3471"/>
                </a:lnTo>
                <a:lnTo>
                  <a:pt x="1275" y="3469"/>
                </a:lnTo>
                <a:lnTo>
                  <a:pt x="1274" y="3467"/>
                </a:lnTo>
                <a:lnTo>
                  <a:pt x="1272" y="3467"/>
                </a:lnTo>
                <a:lnTo>
                  <a:pt x="1272" y="3466"/>
                </a:lnTo>
                <a:lnTo>
                  <a:pt x="1270" y="3466"/>
                </a:lnTo>
                <a:lnTo>
                  <a:pt x="1268" y="3462"/>
                </a:lnTo>
                <a:lnTo>
                  <a:pt x="1267" y="3460"/>
                </a:lnTo>
                <a:lnTo>
                  <a:pt x="1263" y="3460"/>
                </a:lnTo>
                <a:lnTo>
                  <a:pt x="1262" y="3460"/>
                </a:lnTo>
                <a:lnTo>
                  <a:pt x="1260" y="3460"/>
                </a:lnTo>
                <a:lnTo>
                  <a:pt x="1258" y="3460"/>
                </a:lnTo>
                <a:lnTo>
                  <a:pt x="1257" y="3459"/>
                </a:lnTo>
                <a:lnTo>
                  <a:pt x="1253" y="3455"/>
                </a:lnTo>
                <a:lnTo>
                  <a:pt x="1251" y="3455"/>
                </a:lnTo>
                <a:lnTo>
                  <a:pt x="1248" y="3455"/>
                </a:lnTo>
                <a:lnTo>
                  <a:pt x="1246" y="3455"/>
                </a:lnTo>
                <a:lnTo>
                  <a:pt x="1243" y="3455"/>
                </a:lnTo>
                <a:lnTo>
                  <a:pt x="1241" y="3457"/>
                </a:lnTo>
                <a:lnTo>
                  <a:pt x="1238" y="3457"/>
                </a:lnTo>
                <a:lnTo>
                  <a:pt x="1236" y="3455"/>
                </a:lnTo>
                <a:lnTo>
                  <a:pt x="1234" y="3454"/>
                </a:lnTo>
                <a:lnTo>
                  <a:pt x="1233" y="3452"/>
                </a:lnTo>
                <a:lnTo>
                  <a:pt x="1231" y="3450"/>
                </a:lnTo>
                <a:lnTo>
                  <a:pt x="1228" y="3450"/>
                </a:lnTo>
                <a:lnTo>
                  <a:pt x="1228" y="3449"/>
                </a:lnTo>
                <a:lnTo>
                  <a:pt x="1226" y="3447"/>
                </a:lnTo>
                <a:lnTo>
                  <a:pt x="1226" y="3445"/>
                </a:lnTo>
                <a:lnTo>
                  <a:pt x="1224" y="3442"/>
                </a:lnTo>
                <a:lnTo>
                  <a:pt x="1223" y="3440"/>
                </a:lnTo>
                <a:lnTo>
                  <a:pt x="1224" y="3438"/>
                </a:lnTo>
                <a:lnTo>
                  <a:pt x="1224" y="3437"/>
                </a:lnTo>
                <a:lnTo>
                  <a:pt x="1226" y="3437"/>
                </a:lnTo>
                <a:lnTo>
                  <a:pt x="1226" y="3435"/>
                </a:lnTo>
                <a:lnTo>
                  <a:pt x="1224" y="3432"/>
                </a:lnTo>
                <a:lnTo>
                  <a:pt x="1226" y="3430"/>
                </a:lnTo>
                <a:lnTo>
                  <a:pt x="1226" y="3426"/>
                </a:lnTo>
                <a:lnTo>
                  <a:pt x="1228" y="3425"/>
                </a:lnTo>
                <a:lnTo>
                  <a:pt x="1226" y="3425"/>
                </a:lnTo>
                <a:lnTo>
                  <a:pt x="1228" y="3425"/>
                </a:lnTo>
                <a:lnTo>
                  <a:pt x="1228" y="3423"/>
                </a:lnTo>
                <a:lnTo>
                  <a:pt x="1229" y="3423"/>
                </a:lnTo>
                <a:lnTo>
                  <a:pt x="1231" y="3421"/>
                </a:lnTo>
                <a:lnTo>
                  <a:pt x="1233" y="3421"/>
                </a:lnTo>
                <a:lnTo>
                  <a:pt x="1234" y="3420"/>
                </a:lnTo>
                <a:lnTo>
                  <a:pt x="1236" y="3418"/>
                </a:lnTo>
                <a:lnTo>
                  <a:pt x="1238" y="3418"/>
                </a:lnTo>
                <a:lnTo>
                  <a:pt x="1240" y="3414"/>
                </a:lnTo>
                <a:lnTo>
                  <a:pt x="1238" y="3413"/>
                </a:lnTo>
                <a:lnTo>
                  <a:pt x="1240" y="3411"/>
                </a:lnTo>
                <a:lnTo>
                  <a:pt x="1240" y="3413"/>
                </a:lnTo>
                <a:lnTo>
                  <a:pt x="1241" y="3413"/>
                </a:lnTo>
                <a:lnTo>
                  <a:pt x="1241" y="3414"/>
                </a:lnTo>
                <a:lnTo>
                  <a:pt x="1243" y="3414"/>
                </a:lnTo>
                <a:lnTo>
                  <a:pt x="1243" y="3418"/>
                </a:lnTo>
                <a:lnTo>
                  <a:pt x="1245" y="3420"/>
                </a:lnTo>
                <a:lnTo>
                  <a:pt x="1246" y="3421"/>
                </a:lnTo>
                <a:lnTo>
                  <a:pt x="1248" y="3421"/>
                </a:lnTo>
                <a:lnTo>
                  <a:pt x="1248" y="3423"/>
                </a:lnTo>
                <a:lnTo>
                  <a:pt x="1250" y="3423"/>
                </a:lnTo>
                <a:lnTo>
                  <a:pt x="1251" y="3423"/>
                </a:lnTo>
                <a:lnTo>
                  <a:pt x="1255" y="3421"/>
                </a:lnTo>
                <a:lnTo>
                  <a:pt x="1255" y="3420"/>
                </a:lnTo>
                <a:lnTo>
                  <a:pt x="1257" y="3420"/>
                </a:lnTo>
                <a:lnTo>
                  <a:pt x="1258" y="3418"/>
                </a:lnTo>
                <a:lnTo>
                  <a:pt x="1258" y="3416"/>
                </a:lnTo>
                <a:lnTo>
                  <a:pt x="1257" y="3414"/>
                </a:lnTo>
                <a:lnTo>
                  <a:pt x="1258" y="3414"/>
                </a:lnTo>
                <a:lnTo>
                  <a:pt x="1258" y="3413"/>
                </a:lnTo>
                <a:lnTo>
                  <a:pt x="1260" y="3411"/>
                </a:lnTo>
                <a:lnTo>
                  <a:pt x="1263" y="3411"/>
                </a:lnTo>
                <a:lnTo>
                  <a:pt x="1265" y="3411"/>
                </a:lnTo>
                <a:lnTo>
                  <a:pt x="1268" y="3411"/>
                </a:lnTo>
                <a:lnTo>
                  <a:pt x="1268" y="3409"/>
                </a:lnTo>
                <a:lnTo>
                  <a:pt x="1270" y="3409"/>
                </a:lnTo>
                <a:lnTo>
                  <a:pt x="1272" y="3408"/>
                </a:lnTo>
                <a:lnTo>
                  <a:pt x="1274" y="3409"/>
                </a:lnTo>
                <a:lnTo>
                  <a:pt x="1275" y="3411"/>
                </a:lnTo>
                <a:lnTo>
                  <a:pt x="1275" y="3413"/>
                </a:lnTo>
                <a:lnTo>
                  <a:pt x="1275" y="3414"/>
                </a:lnTo>
                <a:lnTo>
                  <a:pt x="1277" y="3416"/>
                </a:lnTo>
                <a:lnTo>
                  <a:pt x="1280" y="3416"/>
                </a:lnTo>
                <a:lnTo>
                  <a:pt x="1282" y="3416"/>
                </a:lnTo>
                <a:lnTo>
                  <a:pt x="1284" y="3414"/>
                </a:lnTo>
                <a:lnTo>
                  <a:pt x="1285" y="3414"/>
                </a:lnTo>
                <a:lnTo>
                  <a:pt x="1285" y="3418"/>
                </a:lnTo>
                <a:lnTo>
                  <a:pt x="1287" y="3420"/>
                </a:lnTo>
                <a:lnTo>
                  <a:pt x="1289" y="3421"/>
                </a:lnTo>
                <a:lnTo>
                  <a:pt x="1291" y="3421"/>
                </a:lnTo>
                <a:lnTo>
                  <a:pt x="1292" y="3423"/>
                </a:lnTo>
                <a:lnTo>
                  <a:pt x="1296" y="3423"/>
                </a:lnTo>
                <a:lnTo>
                  <a:pt x="1294" y="3423"/>
                </a:lnTo>
                <a:lnTo>
                  <a:pt x="1296" y="3425"/>
                </a:lnTo>
                <a:lnTo>
                  <a:pt x="1297" y="3425"/>
                </a:lnTo>
                <a:lnTo>
                  <a:pt x="1301" y="3425"/>
                </a:lnTo>
                <a:lnTo>
                  <a:pt x="1302" y="3423"/>
                </a:lnTo>
                <a:lnTo>
                  <a:pt x="1304" y="3423"/>
                </a:lnTo>
                <a:lnTo>
                  <a:pt x="1306" y="3421"/>
                </a:lnTo>
                <a:lnTo>
                  <a:pt x="1308" y="3420"/>
                </a:lnTo>
                <a:lnTo>
                  <a:pt x="1309" y="3420"/>
                </a:lnTo>
                <a:lnTo>
                  <a:pt x="1311" y="3420"/>
                </a:lnTo>
                <a:lnTo>
                  <a:pt x="1313" y="3418"/>
                </a:lnTo>
                <a:lnTo>
                  <a:pt x="1314" y="3420"/>
                </a:lnTo>
                <a:lnTo>
                  <a:pt x="1318" y="3420"/>
                </a:lnTo>
                <a:lnTo>
                  <a:pt x="1319" y="3420"/>
                </a:lnTo>
                <a:lnTo>
                  <a:pt x="1321" y="3420"/>
                </a:lnTo>
                <a:lnTo>
                  <a:pt x="1325" y="3420"/>
                </a:lnTo>
                <a:lnTo>
                  <a:pt x="1326" y="3420"/>
                </a:lnTo>
                <a:lnTo>
                  <a:pt x="1328" y="3420"/>
                </a:lnTo>
                <a:lnTo>
                  <a:pt x="1331" y="3420"/>
                </a:lnTo>
                <a:lnTo>
                  <a:pt x="1333" y="3420"/>
                </a:lnTo>
                <a:lnTo>
                  <a:pt x="1335" y="3418"/>
                </a:lnTo>
                <a:lnTo>
                  <a:pt x="1338" y="3418"/>
                </a:lnTo>
                <a:lnTo>
                  <a:pt x="1342" y="3416"/>
                </a:lnTo>
                <a:lnTo>
                  <a:pt x="1343" y="3416"/>
                </a:lnTo>
                <a:lnTo>
                  <a:pt x="1345" y="3416"/>
                </a:lnTo>
                <a:lnTo>
                  <a:pt x="1347" y="3414"/>
                </a:lnTo>
                <a:lnTo>
                  <a:pt x="1350" y="3413"/>
                </a:lnTo>
                <a:lnTo>
                  <a:pt x="1352" y="3409"/>
                </a:lnTo>
                <a:lnTo>
                  <a:pt x="1353" y="3408"/>
                </a:lnTo>
                <a:lnTo>
                  <a:pt x="1355" y="3408"/>
                </a:lnTo>
                <a:lnTo>
                  <a:pt x="1359" y="3408"/>
                </a:lnTo>
                <a:lnTo>
                  <a:pt x="1359" y="3406"/>
                </a:lnTo>
                <a:lnTo>
                  <a:pt x="1360" y="3406"/>
                </a:lnTo>
                <a:lnTo>
                  <a:pt x="1362" y="3404"/>
                </a:lnTo>
                <a:lnTo>
                  <a:pt x="1364" y="3406"/>
                </a:lnTo>
                <a:lnTo>
                  <a:pt x="1365" y="3408"/>
                </a:lnTo>
                <a:lnTo>
                  <a:pt x="1369" y="3408"/>
                </a:lnTo>
                <a:lnTo>
                  <a:pt x="1370" y="3408"/>
                </a:lnTo>
                <a:lnTo>
                  <a:pt x="1370" y="3409"/>
                </a:lnTo>
                <a:lnTo>
                  <a:pt x="1374" y="3409"/>
                </a:lnTo>
                <a:lnTo>
                  <a:pt x="1376" y="3408"/>
                </a:lnTo>
                <a:lnTo>
                  <a:pt x="1377" y="3406"/>
                </a:lnTo>
                <a:lnTo>
                  <a:pt x="1379" y="3404"/>
                </a:lnTo>
                <a:lnTo>
                  <a:pt x="1379" y="3403"/>
                </a:lnTo>
                <a:lnTo>
                  <a:pt x="1381" y="3403"/>
                </a:lnTo>
                <a:lnTo>
                  <a:pt x="1381" y="3399"/>
                </a:lnTo>
                <a:lnTo>
                  <a:pt x="1379" y="3397"/>
                </a:lnTo>
                <a:lnTo>
                  <a:pt x="1381" y="3399"/>
                </a:lnTo>
                <a:lnTo>
                  <a:pt x="1381" y="3403"/>
                </a:lnTo>
                <a:lnTo>
                  <a:pt x="1384" y="3403"/>
                </a:lnTo>
                <a:lnTo>
                  <a:pt x="1387" y="3401"/>
                </a:lnTo>
                <a:lnTo>
                  <a:pt x="1389" y="3401"/>
                </a:lnTo>
                <a:lnTo>
                  <a:pt x="1393" y="3399"/>
                </a:lnTo>
                <a:lnTo>
                  <a:pt x="1394" y="3397"/>
                </a:lnTo>
                <a:lnTo>
                  <a:pt x="1394" y="3396"/>
                </a:lnTo>
                <a:lnTo>
                  <a:pt x="1396" y="3394"/>
                </a:lnTo>
                <a:lnTo>
                  <a:pt x="1398" y="3394"/>
                </a:lnTo>
                <a:close/>
                <a:moveTo>
                  <a:pt x="1044" y="3195"/>
                </a:moveTo>
                <a:lnTo>
                  <a:pt x="1046" y="3197"/>
                </a:lnTo>
                <a:lnTo>
                  <a:pt x="1046" y="3198"/>
                </a:lnTo>
                <a:lnTo>
                  <a:pt x="1046" y="3200"/>
                </a:lnTo>
                <a:lnTo>
                  <a:pt x="1046" y="3197"/>
                </a:lnTo>
                <a:lnTo>
                  <a:pt x="1047" y="3198"/>
                </a:lnTo>
                <a:lnTo>
                  <a:pt x="1049" y="3200"/>
                </a:lnTo>
                <a:lnTo>
                  <a:pt x="1049" y="3198"/>
                </a:lnTo>
                <a:lnTo>
                  <a:pt x="1051" y="3198"/>
                </a:lnTo>
                <a:lnTo>
                  <a:pt x="1051" y="3200"/>
                </a:lnTo>
                <a:lnTo>
                  <a:pt x="1054" y="3200"/>
                </a:lnTo>
                <a:lnTo>
                  <a:pt x="1053" y="3202"/>
                </a:lnTo>
                <a:lnTo>
                  <a:pt x="1054" y="3202"/>
                </a:lnTo>
                <a:lnTo>
                  <a:pt x="1054" y="3204"/>
                </a:lnTo>
                <a:lnTo>
                  <a:pt x="1054" y="3205"/>
                </a:lnTo>
                <a:lnTo>
                  <a:pt x="1056" y="3204"/>
                </a:lnTo>
                <a:lnTo>
                  <a:pt x="1058" y="3204"/>
                </a:lnTo>
                <a:lnTo>
                  <a:pt x="1059" y="3202"/>
                </a:lnTo>
                <a:lnTo>
                  <a:pt x="1059" y="3204"/>
                </a:lnTo>
                <a:lnTo>
                  <a:pt x="1061" y="3204"/>
                </a:lnTo>
                <a:lnTo>
                  <a:pt x="1059" y="3205"/>
                </a:lnTo>
                <a:lnTo>
                  <a:pt x="1061" y="3205"/>
                </a:lnTo>
                <a:lnTo>
                  <a:pt x="1061" y="3207"/>
                </a:lnTo>
                <a:lnTo>
                  <a:pt x="1059" y="3207"/>
                </a:lnTo>
                <a:lnTo>
                  <a:pt x="1059" y="3209"/>
                </a:lnTo>
                <a:lnTo>
                  <a:pt x="1059" y="3210"/>
                </a:lnTo>
                <a:lnTo>
                  <a:pt x="1058" y="3212"/>
                </a:lnTo>
                <a:lnTo>
                  <a:pt x="1059" y="3212"/>
                </a:lnTo>
                <a:lnTo>
                  <a:pt x="1059" y="3210"/>
                </a:lnTo>
                <a:lnTo>
                  <a:pt x="1061" y="3210"/>
                </a:lnTo>
                <a:lnTo>
                  <a:pt x="1061" y="3212"/>
                </a:lnTo>
                <a:lnTo>
                  <a:pt x="1063" y="3212"/>
                </a:lnTo>
                <a:lnTo>
                  <a:pt x="1064" y="3212"/>
                </a:lnTo>
                <a:lnTo>
                  <a:pt x="1066" y="3214"/>
                </a:lnTo>
                <a:lnTo>
                  <a:pt x="1064" y="3212"/>
                </a:lnTo>
                <a:lnTo>
                  <a:pt x="1063" y="3214"/>
                </a:lnTo>
                <a:lnTo>
                  <a:pt x="1063" y="3215"/>
                </a:lnTo>
                <a:lnTo>
                  <a:pt x="1061" y="3217"/>
                </a:lnTo>
                <a:lnTo>
                  <a:pt x="1061" y="3219"/>
                </a:lnTo>
                <a:lnTo>
                  <a:pt x="1059" y="3217"/>
                </a:lnTo>
                <a:lnTo>
                  <a:pt x="1058" y="3219"/>
                </a:lnTo>
                <a:lnTo>
                  <a:pt x="1059" y="3219"/>
                </a:lnTo>
                <a:lnTo>
                  <a:pt x="1058" y="3219"/>
                </a:lnTo>
                <a:lnTo>
                  <a:pt x="1059" y="3219"/>
                </a:lnTo>
                <a:lnTo>
                  <a:pt x="1061" y="3219"/>
                </a:lnTo>
                <a:lnTo>
                  <a:pt x="1063" y="3221"/>
                </a:lnTo>
                <a:lnTo>
                  <a:pt x="1064" y="3219"/>
                </a:lnTo>
                <a:lnTo>
                  <a:pt x="1066" y="3219"/>
                </a:lnTo>
                <a:lnTo>
                  <a:pt x="1064" y="3221"/>
                </a:lnTo>
                <a:lnTo>
                  <a:pt x="1066" y="3222"/>
                </a:lnTo>
                <a:lnTo>
                  <a:pt x="1066" y="3224"/>
                </a:lnTo>
                <a:lnTo>
                  <a:pt x="1068" y="3222"/>
                </a:lnTo>
                <a:lnTo>
                  <a:pt x="1070" y="3224"/>
                </a:lnTo>
                <a:lnTo>
                  <a:pt x="1068" y="3226"/>
                </a:lnTo>
                <a:lnTo>
                  <a:pt x="1068" y="3227"/>
                </a:lnTo>
                <a:lnTo>
                  <a:pt x="1066" y="3229"/>
                </a:lnTo>
                <a:lnTo>
                  <a:pt x="1068" y="3231"/>
                </a:lnTo>
                <a:lnTo>
                  <a:pt x="1070" y="3231"/>
                </a:lnTo>
                <a:lnTo>
                  <a:pt x="1070" y="3234"/>
                </a:lnTo>
                <a:lnTo>
                  <a:pt x="1071" y="3234"/>
                </a:lnTo>
                <a:lnTo>
                  <a:pt x="1071" y="3236"/>
                </a:lnTo>
                <a:lnTo>
                  <a:pt x="1071" y="3239"/>
                </a:lnTo>
                <a:lnTo>
                  <a:pt x="1071" y="3243"/>
                </a:lnTo>
                <a:lnTo>
                  <a:pt x="1073" y="3244"/>
                </a:lnTo>
                <a:lnTo>
                  <a:pt x="1073" y="3246"/>
                </a:lnTo>
                <a:lnTo>
                  <a:pt x="1075" y="3246"/>
                </a:lnTo>
                <a:lnTo>
                  <a:pt x="1075" y="3249"/>
                </a:lnTo>
                <a:lnTo>
                  <a:pt x="1075" y="3251"/>
                </a:lnTo>
                <a:lnTo>
                  <a:pt x="1073" y="3253"/>
                </a:lnTo>
                <a:lnTo>
                  <a:pt x="1073" y="3255"/>
                </a:lnTo>
                <a:lnTo>
                  <a:pt x="1071" y="3256"/>
                </a:lnTo>
                <a:lnTo>
                  <a:pt x="1070" y="3258"/>
                </a:lnTo>
                <a:lnTo>
                  <a:pt x="1068" y="3260"/>
                </a:lnTo>
                <a:lnTo>
                  <a:pt x="1068" y="3261"/>
                </a:lnTo>
                <a:lnTo>
                  <a:pt x="1066" y="3261"/>
                </a:lnTo>
                <a:lnTo>
                  <a:pt x="1064" y="3265"/>
                </a:lnTo>
                <a:lnTo>
                  <a:pt x="1064" y="3266"/>
                </a:lnTo>
                <a:lnTo>
                  <a:pt x="1064" y="3268"/>
                </a:lnTo>
                <a:lnTo>
                  <a:pt x="1064" y="3272"/>
                </a:lnTo>
                <a:lnTo>
                  <a:pt x="1066" y="3272"/>
                </a:lnTo>
                <a:lnTo>
                  <a:pt x="1066" y="3275"/>
                </a:lnTo>
                <a:lnTo>
                  <a:pt x="1068" y="3277"/>
                </a:lnTo>
                <a:lnTo>
                  <a:pt x="1070" y="3278"/>
                </a:lnTo>
                <a:lnTo>
                  <a:pt x="1070" y="3282"/>
                </a:lnTo>
                <a:lnTo>
                  <a:pt x="1068" y="3282"/>
                </a:lnTo>
                <a:lnTo>
                  <a:pt x="1068" y="3285"/>
                </a:lnTo>
                <a:lnTo>
                  <a:pt x="1068" y="3289"/>
                </a:lnTo>
                <a:lnTo>
                  <a:pt x="1070" y="3290"/>
                </a:lnTo>
                <a:lnTo>
                  <a:pt x="1068" y="3292"/>
                </a:lnTo>
                <a:lnTo>
                  <a:pt x="1068" y="3294"/>
                </a:lnTo>
                <a:lnTo>
                  <a:pt x="1068" y="3295"/>
                </a:lnTo>
                <a:lnTo>
                  <a:pt x="1066" y="3297"/>
                </a:lnTo>
                <a:lnTo>
                  <a:pt x="1066" y="3301"/>
                </a:lnTo>
                <a:lnTo>
                  <a:pt x="1066" y="3302"/>
                </a:lnTo>
                <a:lnTo>
                  <a:pt x="1066" y="3306"/>
                </a:lnTo>
                <a:lnTo>
                  <a:pt x="1066" y="3309"/>
                </a:lnTo>
                <a:lnTo>
                  <a:pt x="1064" y="3309"/>
                </a:lnTo>
                <a:lnTo>
                  <a:pt x="1066" y="3311"/>
                </a:lnTo>
                <a:lnTo>
                  <a:pt x="1066" y="3312"/>
                </a:lnTo>
                <a:lnTo>
                  <a:pt x="1066" y="3316"/>
                </a:lnTo>
                <a:lnTo>
                  <a:pt x="1064" y="3318"/>
                </a:lnTo>
                <a:lnTo>
                  <a:pt x="1064" y="3319"/>
                </a:lnTo>
                <a:lnTo>
                  <a:pt x="1064" y="3321"/>
                </a:lnTo>
                <a:lnTo>
                  <a:pt x="1064" y="3324"/>
                </a:lnTo>
                <a:lnTo>
                  <a:pt x="1063" y="3328"/>
                </a:lnTo>
                <a:lnTo>
                  <a:pt x="1063" y="3331"/>
                </a:lnTo>
                <a:lnTo>
                  <a:pt x="1061" y="3329"/>
                </a:lnTo>
                <a:lnTo>
                  <a:pt x="1063" y="3333"/>
                </a:lnTo>
                <a:lnTo>
                  <a:pt x="1063" y="3331"/>
                </a:lnTo>
                <a:lnTo>
                  <a:pt x="1063" y="3333"/>
                </a:lnTo>
                <a:lnTo>
                  <a:pt x="1064" y="3335"/>
                </a:lnTo>
                <a:lnTo>
                  <a:pt x="1063" y="3335"/>
                </a:lnTo>
                <a:lnTo>
                  <a:pt x="1061" y="3338"/>
                </a:lnTo>
                <a:lnTo>
                  <a:pt x="1061" y="3341"/>
                </a:lnTo>
                <a:lnTo>
                  <a:pt x="1061" y="3343"/>
                </a:lnTo>
                <a:lnTo>
                  <a:pt x="1059" y="3346"/>
                </a:lnTo>
                <a:lnTo>
                  <a:pt x="1058" y="3348"/>
                </a:lnTo>
                <a:lnTo>
                  <a:pt x="1058" y="3350"/>
                </a:lnTo>
                <a:lnTo>
                  <a:pt x="1058" y="3348"/>
                </a:lnTo>
                <a:lnTo>
                  <a:pt x="1058" y="3346"/>
                </a:lnTo>
                <a:lnTo>
                  <a:pt x="1056" y="3346"/>
                </a:lnTo>
                <a:lnTo>
                  <a:pt x="1053" y="3346"/>
                </a:lnTo>
                <a:lnTo>
                  <a:pt x="1051" y="3346"/>
                </a:lnTo>
                <a:lnTo>
                  <a:pt x="1049" y="3343"/>
                </a:lnTo>
                <a:lnTo>
                  <a:pt x="1047" y="3341"/>
                </a:lnTo>
                <a:lnTo>
                  <a:pt x="1046" y="3341"/>
                </a:lnTo>
                <a:lnTo>
                  <a:pt x="1042" y="3340"/>
                </a:lnTo>
                <a:lnTo>
                  <a:pt x="1041" y="3340"/>
                </a:lnTo>
                <a:lnTo>
                  <a:pt x="1039" y="3341"/>
                </a:lnTo>
                <a:lnTo>
                  <a:pt x="1039" y="3343"/>
                </a:lnTo>
                <a:lnTo>
                  <a:pt x="1037" y="3343"/>
                </a:lnTo>
                <a:lnTo>
                  <a:pt x="1036" y="3341"/>
                </a:lnTo>
                <a:lnTo>
                  <a:pt x="1034" y="3341"/>
                </a:lnTo>
                <a:lnTo>
                  <a:pt x="1034" y="3338"/>
                </a:lnTo>
                <a:lnTo>
                  <a:pt x="1032" y="3338"/>
                </a:lnTo>
                <a:lnTo>
                  <a:pt x="1032" y="3336"/>
                </a:lnTo>
                <a:lnTo>
                  <a:pt x="1030" y="3336"/>
                </a:lnTo>
                <a:lnTo>
                  <a:pt x="1032" y="3340"/>
                </a:lnTo>
                <a:lnTo>
                  <a:pt x="1034" y="3340"/>
                </a:lnTo>
                <a:lnTo>
                  <a:pt x="1034" y="3341"/>
                </a:lnTo>
                <a:lnTo>
                  <a:pt x="1032" y="3340"/>
                </a:lnTo>
                <a:lnTo>
                  <a:pt x="1034" y="3341"/>
                </a:lnTo>
                <a:lnTo>
                  <a:pt x="1032" y="3341"/>
                </a:lnTo>
                <a:lnTo>
                  <a:pt x="1030" y="3345"/>
                </a:lnTo>
                <a:lnTo>
                  <a:pt x="1029" y="3346"/>
                </a:lnTo>
                <a:lnTo>
                  <a:pt x="1030" y="3350"/>
                </a:lnTo>
                <a:lnTo>
                  <a:pt x="1032" y="3352"/>
                </a:lnTo>
                <a:lnTo>
                  <a:pt x="1030" y="3355"/>
                </a:lnTo>
                <a:lnTo>
                  <a:pt x="1030" y="3357"/>
                </a:lnTo>
                <a:lnTo>
                  <a:pt x="1029" y="3357"/>
                </a:lnTo>
                <a:lnTo>
                  <a:pt x="1029" y="3358"/>
                </a:lnTo>
                <a:lnTo>
                  <a:pt x="1027" y="3358"/>
                </a:lnTo>
                <a:lnTo>
                  <a:pt x="1024" y="3362"/>
                </a:lnTo>
                <a:lnTo>
                  <a:pt x="1020" y="3365"/>
                </a:lnTo>
                <a:lnTo>
                  <a:pt x="1019" y="3362"/>
                </a:lnTo>
                <a:lnTo>
                  <a:pt x="1017" y="3363"/>
                </a:lnTo>
                <a:lnTo>
                  <a:pt x="1017" y="3362"/>
                </a:lnTo>
                <a:lnTo>
                  <a:pt x="1015" y="3362"/>
                </a:lnTo>
                <a:lnTo>
                  <a:pt x="1013" y="3360"/>
                </a:lnTo>
                <a:lnTo>
                  <a:pt x="1013" y="3362"/>
                </a:lnTo>
                <a:lnTo>
                  <a:pt x="1010" y="3362"/>
                </a:lnTo>
                <a:lnTo>
                  <a:pt x="1010" y="3363"/>
                </a:lnTo>
                <a:lnTo>
                  <a:pt x="1008" y="3363"/>
                </a:lnTo>
                <a:lnTo>
                  <a:pt x="1010" y="3365"/>
                </a:lnTo>
                <a:lnTo>
                  <a:pt x="1008" y="3365"/>
                </a:lnTo>
                <a:lnTo>
                  <a:pt x="1008" y="3363"/>
                </a:lnTo>
                <a:lnTo>
                  <a:pt x="1007" y="3363"/>
                </a:lnTo>
                <a:lnTo>
                  <a:pt x="1008" y="3362"/>
                </a:lnTo>
                <a:lnTo>
                  <a:pt x="1008" y="3360"/>
                </a:lnTo>
                <a:lnTo>
                  <a:pt x="1007" y="3358"/>
                </a:lnTo>
                <a:lnTo>
                  <a:pt x="1005" y="3357"/>
                </a:lnTo>
                <a:lnTo>
                  <a:pt x="1005" y="3355"/>
                </a:lnTo>
                <a:lnTo>
                  <a:pt x="1005" y="3353"/>
                </a:lnTo>
                <a:lnTo>
                  <a:pt x="1002" y="3352"/>
                </a:lnTo>
                <a:lnTo>
                  <a:pt x="1000" y="3352"/>
                </a:lnTo>
                <a:lnTo>
                  <a:pt x="1000" y="3348"/>
                </a:lnTo>
                <a:lnTo>
                  <a:pt x="1000" y="3346"/>
                </a:lnTo>
                <a:lnTo>
                  <a:pt x="998" y="3346"/>
                </a:lnTo>
                <a:lnTo>
                  <a:pt x="998" y="3345"/>
                </a:lnTo>
                <a:lnTo>
                  <a:pt x="996" y="3343"/>
                </a:lnTo>
                <a:lnTo>
                  <a:pt x="996" y="3345"/>
                </a:lnTo>
                <a:lnTo>
                  <a:pt x="996" y="3341"/>
                </a:lnTo>
                <a:lnTo>
                  <a:pt x="995" y="3340"/>
                </a:lnTo>
                <a:lnTo>
                  <a:pt x="995" y="3338"/>
                </a:lnTo>
                <a:lnTo>
                  <a:pt x="996" y="3338"/>
                </a:lnTo>
                <a:lnTo>
                  <a:pt x="996" y="3336"/>
                </a:lnTo>
                <a:lnTo>
                  <a:pt x="998" y="3335"/>
                </a:lnTo>
                <a:lnTo>
                  <a:pt x="996" y="3331"/>
                </a:lnTo>
                <a:lnTo>
                  <a:pt x="995" y="3328"/>
                </a:lnTo>
                <a:lnTo>
                  <a:pt x="996" y="3324"/>
                </a:lnTo>
                <a:lnTo>
                  <a:pt x="995" y="3323"/>
                </a:lnTo>
                <a:lnTo>
                  <a:pt x="995" y="3321"/>
                </a:lnTo>
                <a:lnTo>
                  <a:pt x="996" y="3321"/>
                </a:lnTo>
                <a:lnTo>
                  <a:pt x="998" y="3318"/>
                </a:lnTo>
                <a:lnTo>
                  <a:pt x="1000" y="3314"/>
                </a:lnTo>
                <a:lnTo>
                  <a:pt x="1000" y="3312"/>
                </a:lnTo>
                <a:lnTo>
                  <a:pt x="1000" y="3309"/>
                </a:lnTo>
                <a:lnTo>
                  <a:pt x="1000" y="3307"/>
                </a:lnTo>
                <a:lnTo>
                  <a:pt x="998" y="3306"/>
                </a:lnTo>
                <a:lnTo>
                  <a:pt x="1000" y="3304"/>
                </a:lnTo>
                <a:lnTo>
                  <a:pt x="1000" y="3301"/>
                </a:lnTo>
                <a:lnTo>
                  <a:pt x="1000" y="3302"/>
                </a:lnTo>
                <a:lnTo>
                  <a:pt x="1002" y="3304"/>
                </a:lnTo>
                <a:lnTo>
                  <a:pt x="1003" y="3306"/>
                </a:lnTo>
                <a:lnTo>
                  <a:pt x="1005" y="3306"/>
                </a:lnTo>
                <a:lnTo>
                  <a:pt x="1005" y="3304"/>
                </a:lnTo>
                <a:lnTo>
                  <a:pt x="1003" y="3306"/>
                </a:lnTo>
                <a:lnTo>
                  <a:pt x="1002" y="3304"/>
                </a:lnTo>
                <a:lnTo>
                  <a:pt x="1003" y="3302"/>
                </a:lnTo>
                <a:lnTo>
                  <a:pt x="1005" y="3301"/>
                </a:lnTo>
                <a:lnTo>
                  <a:pt x="1003" y="3302"/>
                </a:lnTo>
                <a:lnTo>
                  <a:pt x="1003" y="3301"/>
                </a:lnTo>
                <a:lnTo>
                  <a:pt x="1005" y="3299"/>
                </a:lnTo>
                <a:lnTo>
                  <a:pt x="1005" y="3295"/>
                </a:lnTo>
                <a:lnTo>
                  <a:pt x="1005" y="3294"/>
                </a:lnTo>
                <a:lnTo>
                  <a:pt x="1007" y="3294"/>
                </a:lnTo>
                <a:lnTo>
                  <a:pt x="1005" y="3294"/>
                </a:lnTo>
                <a:lnTo>
                  <a:pt x="1005" y="3292"/>
                </a:lnTo>
                <a:lnTo>
                  <a:pt x="1007" y="3294"/>
                </a:lnTo>
                <a:lnTo>
                  <a:pt x="1005" y="3292"/>
                </a:lnTo>
                <a:lnTo>
                  <a:pt x="1003" y="3290"/>
                </a:lnTo>
                <a:lnTo>
                  <a:pt x="1002" y="3290"/>
                </a:lnTo>
                <a:lnTo>
                  <a:pt x="1003" y="3289"/>
                </a:lnTo>
                <a:lnTo>
                  <a:pt x="1002" y="3287"/>
                </a:lnTo>
                <a:lnTo>
                  <a:pt x="1003" y="3285"/>
                </a:lnTo>
                <a:lnTo>
                  <a:pt x="1003" y="3284"/>
                </a:lnTo>
                <a:lnTo>
                  <a:pt x="1003" y="3285"/>
                </a:lnTo>
                <a:lnTo>
                  <a:pt x="1002" y="3285"/>
                </a:lnTo>
                <a:lnTo>
                  <a:pt x="1000" y="3289"/>
                </a:lnTo>
                <a:lnTo>
                  <a:pt x="1002" y="3289"/>
                </a:lnTo>
                <a:lnTo>
                  <a:pt x="1003" y="3289"/>
                </a:lnTo>
                <a:lnTo>
                  <a:pt x="1002" y="3290"/>
                </a:lnTo>
                <a:lnTo>
                  <a:pt x="1000" y="3290"/>
                </a:lnTo>
                <a:lnTo>
                  <a:pt x="1002" y="3290"/>
                </a:lnTo>
                <a:lnTo>
                  <a:pt x="1000" y="3290"/>
                </a:lnTo>
                <a:lnTo>
                  <a:pt x="1000" y="3292"/>
                </a:lnTo>
                <a:lnTo>
                  <a:pt x="1002" y="3290"/>
                </a:lnTo>
                <a:lnTo>
                  <a:pt x="1000" y="3292"/>
                </a:lnTo>
                <a:lnTo>
                  <a:pt x="998" y="3294"/>
                </a:lnTo>
                <a:lnTo>
                  <a:pt x="998" y="3292"/>
                </a:lnTo>
                <a:lnTo>
                  <a:pt x="996" y="3290"/>
                </a:lnTo>
                <a:lnTo>
                  <a:pt x="996" y="3287"/>
                </a:lnTo>
                <a:lnTo>
                  <a:pt x="996" y="3285"/>
                </a:lnTo>
                <a:lnTo>
                  <a:pt x="998" y="3282"/>
                </a:lnTo>
                <a:lnTo>
                  <a:pt x="996" y="3282"/>
                </a:lnTo>
                <a:lnTo>
                  <a:pt x="998" y="3280"/>
                </a:lnTo>
                <a:lnTo>
                  <a:pt x="1000" y="3280"/>
                </a:lnTo>
                <a:lnTo>
                  <a:pt x="1002" y="3278"/>
                </a:lnTo>
                <a:lnTo>
                  <a:pt x="1002" y="3277"/>
                </a:lnTo>
                <a:lnTo>
                  <a:pt x="1002" y="3275"/>
                </a:lnTo>
                <a:lnTo>
                  <a:pt x="1000" y="3273"/>
                </a:lnTo>
                <a:lnTo>
                  <a:pt x="1000" y="3272"/>
                </a:lnTo>
                <a:lnTo>
                  <a:pt x="1002" y="3270"/>
                </a:lnTo>
                <a:lnTo>
                  <a:pt x="1002" y="3266"/>
                </a:lnTo>
                <a:lnTo>
                  <a:pt x="1002" y="3265"/>
                </a:lnTo>
                <a:lnTo>
                  <a:pt x="1002" y="3263"/>
                </a:lnTo>
                <a:lnTo>
                  <a:pt x="1003" y="3263"/>
                </a:lnTo>
                <a:lnTo>
                  <a:pt x="1002" y="3263"/>
                </a:lnTo>
                <a:lnTo>
                  <a:pt x="1002" y="3261"/>
                </a:lnTo>
                <a:lnTo>
                  <a:pt x="1000" y="3260"/>
                </a:lnTo>
                <a:lnTo>
                  <a:pt x="996" y="3260"/>
                </a:lnTo>
                <a:lnTo>
                  <a:pt x="996" y="3258"/>
                </a:lnTo>
                <a:lnTo>
                  <a:pt x="998" y="3255"/>
                </a:lnTo>
                <a:lnTo>
                  <a:pt x="998" y="3253"/>
                </a:lnTo>
                <a:lnTo>
                  <a:pt x="996" y="3251"/>
                </a:lnTo>
                <a:lnTo>
                  <a:pt x="996" y="3248"/>
                </a:lnTo>
                <a:lnTo>
                  <a:pt x="995" y="3248"/>
                </a:lnTo>
                <a:lnTo>
                  <a:pt x="993" y="3244"/>
                </a:lnTo>
                <a:lnTo>
                  <a:pt x="993" y="3243"/>
                </a:lnTo>
                <a:lnTo>
                  <a:pt x="991" y="3241"/>
                </a:lnTo>
                <a:lnTo>
                  <a:pt x="993" y="3241"/>
                </a:lnTo>
                <a:lnTo>
                  <a:pt x="990" y="3241"/>
                </a:lnTo>
                <a:lnTo>
                  <a:pt x="990" y="3243"/>
                </a:lnTo>
                <a:lnTo>
                  <a:pt x="988" y="3243"/>
                </a:lnTo>
                <a:lnTo>
                  <a:pt x="988" y="3241"/>
                </a:lnTo>
                <a:lnTo>
                  <a:pt x="986" y="3239"/>
                </a:lnTo>
                <a:lnTo>
                  <a:pt x="986" y="3241"/>
                </a:lnTo>
                <a:lnTo>
                  <a:pt x="985" y="3243"/>
                </a:lnTo>
                <a:lnTo>
                  <a:pt x="985" y="3241"/>
                </a:lnTo>
                <a:lnTo>
                  <a:pt x="985" y="3239"/>
                </a:lnTo>
                <a:lnTo>
                  <a:pt x="986" y="3238"/>
                </a:lnTo>
                <a:lnTo>
                  <a:pt x="988" y="3234"/>
                </a:lnTo>
                <a:lnTo>
                  <a:pt x="986" y="3234"/>
                </a:lnTo>
                <a:lnTo>
                  <a:pt x="986" y="3232"/>
                </a:lnTo>
                <a:lnTo>
                  <a:pt x="985" y="3231"/>
                </a:lnTo>
                <a:lnTo>
                  <a:pt x="985" y="3229"/>
                </a:lnTo>
                <a:lnTo>
                  <a:pt x="986" y="3229"/>
                </a:lnTo>
                <a:lnTo>
                  <a:pt x="986" y="3226"/>
                </a:lnTo>
                <a:lnTo>
                  <a:pt x="988" y="3224"/>
                </a:lnTo>
                <a:lnTo>
                  <a:pt x="988" y="3222"/>
                </a:lnTo>
                <a:lnTo>
                  <a:pt x="990" y="3221"/>
                </a:lnTo>
                <a:lnTo>
                  <a:pt x="990" y="3219"/>
                </a:lnTo>
                <a:lnTo>
                  <a:pt x="988" y="3219"/>
                </a:lnTo>
                <a:lnTo>
                  <a:pt x="986" y="3217"/>
                </a:lnTo>
                <a:lnTo>
                  <a:pt x="988" y="3214"/>
                </a:lnTo>
                <a:lnTo>
                  <a:pt x="990" y="3215"/>
                </a:lnTo>
                <a:lnTo>
                  <a:pt x="990" y="3219"/>
                </a:lnTo>
                <a:lnTo>
                  <a:pt x="990" y="3221"/>
                </a:lnTo>
                <a:lnTo>
                  <a:pt x="991" y="3221"/>
                </a:lnTo>
                <a:lnTo>
                  <a:pt x="993" y="3224"/>
                </a:lnTo>
                <a:lnTo>
                  <a:pt x="995" y="3224"/>
                </a:lnTo>
                <a:lnTo>
                  <a:pt x="996" y="3222"/>
                </a:lnTo>
                <a:lnTo>
                  <a:pt x="998" y="3222"/>
                </a:lnTo>
                <a:lnTo>
                  <a:pt x="996" y="3222"/>
                </a:lnTo>
                <a:lnTo>
                  <a:pt x="996" y="3224"/>
                </a:lnTo>
                <a:lnTo>
                  <a:pt x="998" y="3222"/>
                </a:lnTo>
                <a:lnTo>
                  <a:pt x="998" y="3224"/>
                </a:lnTo>
                <a:lnTo>
                  <a:pt x="1000" y="3224"/>
                </a:lnTo>
                <a:lnTo>
                  <a:pt x="1002" y="3226"/>
                </a:lnTo>
                <a:lnTo>
                  <a:pt x="1003" y="3226"/>
                </a:lnTo>
                <a:lnTo>
                  <a:pt x="1005" y="3226"/>
                </a:lnTo>
                <a:lnTo>
                  <a:pt x="1007" y="3224"/>
                </a:lnTo>
                <a:lnTo>
                  <a:pt x="1008" y="3224"/>
                </a:lnTo>
                <a:lnTo>
                  <a:pt x="1010" y="3222"/>
                </a:lnTo>
                <a:lnTo>
                  <a:pt x="1012" y="3221"/>
                </a:lnTo>
                <a:lnTo>
                  <a:pt x="1013" y="3219"/>
                </a:lnTo>
                <a:lnTo>
                  <a:pt x="1015" y="3219"/>
                </a:lnTo>
                <a:lnTo>
                  <a:pt x="1019" y="3219"/>
                </a:lnTo>
                <a:lnTo>
                  <a:pt x="1020" y="3217"/>
                </a:lnTo>
                <a:lnTo>
                  <a:pt x="1022" y="3215"/>
                </a:lnTo>
                <a:lnTo>
                  <a:pt x="1024" y="3214"/>
                </a:lnTo>
                <a:lnTo>
                  <a:pt x="1024" y="3210"/>
                </a:lnTo>
                <a:lnTo>
                  <a:pt x="1027" y="3210"/>
                </a:lnTo>
                <a:lnTo>
                  <a:pt x="1027" y="3209"/>
                </a:lnTo>
                <a:lnTo>
                  <a:pt x="1030" y="3207"/>
                </a:lnTo>
                <a:lnTo>
                  <a:pt x="1032" y="3204"/>
                </a:lnTo>
                <a:lnTo>
                  <a:pt x="1034" y="3204"/>
                </a:lnTo>
                <a:lnTo>
                  <a:pt x="1036" y="3204"/>
                </a:lnTo>
                <a:lnTo>
                  <a:pt x="1037" y="3202"/>
                </a:lnTo>
                <a:lnTo>
                  <a:pt x="1041" y="3200"/>
                </a:lnTo>
                <a:lnTo>
                  <a:pt x="1039" y="3198"/>
                </a:lnTo>
                <a:lnTo>
                  <a:pt x="1041" y="3197"/>
                </a:lnTo>
                <a:lnTo>
                  <a:pt x="1039" y="3197"/>
                </a:lnTo>
                <a:lnTo>
                  <a:pt x="1039" y="3195"/>
                </a:lnTo>
                <a:lnTo>
                  <a:pt x="1041" y="3197"/>
                </a:lnTo>
                <a:lnTo>
                  <a:pt x="1042" y="3195"/>
                </a:lnTo>
                <a:lnTo>
                  <a:pt x="1041" y="3197"/>
                </a:lnTo>
                <a:lnTo>
                  <a:pt x="1044" y="3195"/>
                </a:lnTo>
                <a:close/>
                <a:moveTo>
                  <a:pt x="1107" y="3081"/>
                </a:moveTo>
                <a:lnTo>
                  <a:pt x="1107" y="3084"/>
                </a:lnTo>
                <a:lnTo>
                  <a:pt x="1107" y="3086"/>
                </a:lnTo>
                <a:lnTo>
                  <a:pt x="1105" y="3088"/>
                </a:lnTo>
                <a:lnTo>
                  <a:pt x="1107" y="3090"/>
                </a:lnTo>
                <a:lnTo>
                  <a:pt x="1107" y="3091"/>
                </a:lnTo>
                <a:lnTo>
                  <a:pt x="1104" y="3091"/>
                </a:lnTo>
                <a:lnTo>
                  <a:pt x="1104" y="3088"/>
                </a:lnTo>
                <a:lnTo>
                  <a:pt x="1102" y="3088"/>
                </a:lnTo>
                <a:lnTo>
                  <a:pt x="1102" y="3090"/>
                </a:lnTo>
                <a:lnTo>
                  <a:pt x="1100" y="3088"/>
                </a:lnTo>
                <a:lnTo>
                  <a:pt x="1100" y="3090"/>
                </a:lnTo>
                <a:lnTo>
                  <a:pt x="1097" y="3090"/>
                </a:lnTo>
                <a:lnTo>
                  <a:pt x="1095" y="3090"/>
                </a:lnTo>
                <a:lnTo>
                  <a:pt x="1093" y="3091"/>
                </a:lnTo>
                <a:lnTo>
                  <a:pt x="1092" y="3090"/>
                </a:lnTo>
                <a:lnTo>
                  <a:pt x="1090" y="3088"/>
                </a:lnTo>
                <a:lnTo>
                  <a:pt x="1090" y="3086"/>
                </a:lnTo>
                <a:lnTo>
                  <a:pt x="1092" y="3084"/>
                </a:lnTo>
                <a:lnTo>
                  <a:pt x="1095" y="3084"/>
                </a:lnTo>
                <a:lnTo>
                  <a:pt x="1097" y="3086"/>
                </a:lnTo>
                <a:lnTo>
                  <a:pt x="1098" y="3084"/>
                </a:lnTo>
                <a:lnTo>
                  <a:pt x="1098" y="3083"/>
                </a:lnTo>
                <a:lnTo>
                  <a:pt x="1100" y="3084"/>
                </a:lnTo>
                <a:lnTo>
                  <a:pt x="1102" y="3084"/>
                </a:lnTo>
                <a:lnTo>
                  <a:pt x="1104" y="3084"/>
                </a:lnTo>
                <a:lnTo>
                  <a:pt x="1104" y="3083"/>
                </a:lnTo>
                <a:lnTo>
                  <a:pt x="1105" y="3081"/>
                </a:lnTo>
                <a:lnTo>
                  <a:pt x="1105" y="3079"/>
                </a:lnTo>
                <a:lnTo>
                  <a:pt x="1107" y="3081"/>
                </a:lnTo>
                <a:close/>
                <a:moveTo>
                  <a:pt x="995" y="3346"/>
                </a:moveTo>
                <a:lnTo>
                  <a:pt x="995" y="3348"/>
                </a:lnTo>
                <a:lnTo>
                  <a:pt x="996" y="3348"/>
                </a:lnTo>
                <a:lnTo>
                  <a:pt x="998" y="3350"/>
                </a:lnTo>
                <a:lnTo>
                  <a:pt x="1000" y="3352"/>
                </a:lnTo>
                <a:lnTo>
                  <a:pt x="998" y="3353"/>
                </a:lnTo>
                <a:lnTo>
                  <a:pt x="998" y="3357"/>
                </a:lnTo>
                <a:lnTo>
                  <a:pt x="996" y="3358"/>
                </a:lnTo>
                <a:lnTo>
                  <a:pt x="995" y="3355"/>
                </a:lnTo>
                <a:lnTo>
                  <a:pt x="993" y="3353"/>
                </a:lnTo>
                <a:lnTo>
                  <a:pt x="993" y="3350"/>
                </a:lnTo>
                <a:lnTo>
                  <a:pt x="995" y="3346"/>
                </a:lnTo>
                <a:close/>
                <a:moveTo>
                  <a:pt x="1199" y="3510"/>
                </a:moveTo>
                <a:lnTo>
                  <a:pt x="1200" y="3511"/>
                </a:lnTo>
                <a:lnTo>
                  <a:pt x="1204" y="3513"/>
                </a:lnTo>
                <a:lnTo>
                  <a:pt x="1204" y="3517"/>
                </a:lnTo>
                <a:lnTo>
                  <a:pt x="1202" y="3518"/>
                </a:lnTo>
                <a:lnTo>
                  <a:pt x="1200" y="3518"/>
                </a:lnTo>
                <a:lnTo>
                  <a:pt x="1199" y="3515"/>
                </a:lnTo>
                <a:lnTo>
                  <a:pt x="1197" y="3513"/>
                </a:lnTo>
                <a:lnTo>
                  <a:pt x="1197" y="3511"/>
                </a:lnTo>
                <a:lnTo>
                  <a:pt x="1199" y="3510"/>
                </a:lnTo>
                <a:close/>
                <a:moveTo>
                  <a:pt x="995" y="3204"/>
                </a:moveTo>
                <a:lnTo>
                  <a:pt x="996" y="3205"/>
                </a:lnTo>
                <a:lnTo>
                  <a:pt x="995" y="3209"/>
                </a:lnTo>
                <a:lnTo>
                  <a:pt x="993" y="3207"/>
                </a:lnTo>
                <a:lnTo>
                  <a:pt x="991" y="3209"/>
                </a:lnTo>
                <a:lnTo>
                  <a:pt x="990" y="3210"/>
                </a:lnTo>
                <a:lnTo>
                  <a:pt x="991" y="3212"/>
                </a:lnTo>
                <a:lnTo>
                  <a:pt x="991" y="3214"/>
                </a:lnTo>
                <a:lnTo>
                  <a:pt x="990" y="3212"/>
                </a:lnTo>
                <a:lnTo>
                  <a:pt x="990" y="3214"/>
                </a:lnTo>
                <a:lnTo>
                  <a:pt x="990" y="3212"/>
                </a:lnTo>
                <a:lnTo>
                  <a:pt x="988" y="3212"/>
                </a:lnTo>
                <a:lnTo>
                  <a:pt x="990" y="3210"/>
                </a:lnTo>
                <a:lnTo>
                  <a:pt x="990" y="3209"/>
                </a:lnTo>
                <a:lnTo>
                  <a:pt x="991" y="3209"/>
                </a:lnTo>
                <a:lnTo>
                  <a:pt x="991" y="3207"/>
                </a:lnTo>
                <a:lnTo>
                  <a:pt x="993" y="3207"/>
                </a:lnTo>
                <a:lnTo>
                  <a:pt x="993" y="3205"/>
                </a:lnTo>
                <a:lnTo>
                  <a:pt x="995" y="3204"/>
                </a:lnTo>
                <a:close/>
                <a:moveTo>
                  <a:pt x="991" y="3341"/>
                </a:moveTo>
                <a:lnTo>
                  <a:pt x="991" y="3345"/>
                </a:lnTo>
                <a:lnTo>
                  <a:pt x="991" y="3348"/>
                </a:lnTo>
                <a:lnTo>
                  <a:pt x="988" y="3348"/>
                </a:lnTo>
                <a:lnTo>
                  <a:pt x="988" y="3346"/>
                </a:lnTo>
                <a:lnTo>
                  <a:pt x="986" y="3345"/>
                </a:lnTo>
                <a:lnTo>
                  <a:pt x="986" y="3343"/>
                </a:lnTo>
                <a:lnTo>
                  <a:pt x="988" y="3341"/>
                </a:lnTo>
                <a:lnTo>
                  <a:pt x="991" y="3341"/>
                </a:lnTo>
                <a:close/>
                <a:moveTo>
                  <a:pt x="1294" y="3224"/>
                </a:moveTo>
                <a:lnTo>
                  <a:pt x="1294" y="3226"/>
                </a:lnTo>
                <a:lnTo>
                  <a:pt x="1297" y="3226"/>
                </a:lnTo>
                <a:lnTo>
                  <a:pt x="1299" y="3226"/>
                </a:lnTo>
                <a:lnTo>
                  <a:pt x="1299" y="3229"/>
                </a:lnTo>
                <a:lnTo>
                  <a:pt x="1296" y="3229"/>
                </a:lnTo>
                <a:lnTo>
                  <a:pt x="1292" y="3229"/>
                </a:lnTo>
                <a:lnTo>
                  <a:pt x="1292" y="3226"/>
                </a:lnTo>
                <a:lnTo>
                  <a:pt x="1294" y="3224"/>
                </a:lnTo>
                <a:close/>
                <a:moveTo>
                  <a:pt x="1364" y="3380"/>
                </a:moveTo>
                <a:lnTo>
                  <a:pt x="1364" y="3384"/>
                </a:lnTo>
                <a:lnTo>
                  <a:pt x="1365" y="3384"/>
                </a:lnTo>
                <a:lnTo>
                  <a:pt x="1364" y="3384"/>
                </a:lnTo>
                <a:lnTo>
                  <a:pt x="1364" y="3387"/>
                </a:lnTo>
                <a:lnTo>
                  <a:pt x="1360" y="3386"/>
                </a:lnTo>
                <a:lnTo>
                  <a:pt x="1360" y="3384"/>
                </a:lnTo>
                <a:lnTo>
                  <a:pt x="1360" y="3382"/>
                </a:lnTo>
                <a:lnTo>
                  <a:pt x="1364" y="3380"/>
                </a:lnTo>
                <a:close/>
                <a:moveTo>
                  <a:pt x="1355" y="3377"/>
                </a:moveTo>
                <a:lnTo>
                  <a:pt x="1359" y="3377"/>
                </a:lnTo>
                <a:lnTo>
                  <a:pt x="1359" y="3380"/>
                </a:lnTo>
                <a:lnTo>
                  <a:pt x="1357" y="3380"/>
                </a:lnTo>
                <a:lnTo>
                  <a:pt x="1355" y="3379"/>
                </a:lnTo>
                <a:lnTo>
                  <a:pt x="1353" y="3379"/>
                </a:lnTo>
                <a:lnTo>
                  <a:pt x="1355" y="3377"/>
                </a:lnTo>
                <a:close/>
                <a:moveTo>
                  <a:pt x="1131" y="3113"/>
                </a:moveTo>
                <a:lnTo>
                  <a:pt x="1132" y="3115"/>
                </a:lnTo>
                <a:lnTo>
                  <a:pt x="1134" y="3117"/>
                </a:lnTo>
                <a:lnTo>
                  <a:pt x="1132" y="3119"/>
                </a:lnTo>
                <a:lnTo>
                  <a:pt x="1131" y="3117"/>
                </a:lnTo>
                <a:lnTo>
                  <a:pt x="1131" y="3113"/>
                </a:lnTo>
                <a:close/>
                <a:moveTo>
                  <a:pt x="1054" y="3193"/>
                </a:moveTo>
                <a:lnTo>
                  <a:pt x="1054" y="3195"/>
                </a:lnTo>
                <a:lnTo>
                  <a:pt x="1054" y="3197"/>
                </a:lnTo>
                <a:lnTo>
                  <a:pt x="1056" y="3197"/>
                </a:lnTo>
                <a:lnTo>
                  <a:pt x="1054" y="3198"/>
                </a:lnTo>
                <a:lnTo>
                  <a:pt x="1051" y="3198"/>
                </a:lnTo>
                <a:lnTo>
                  <a:pt x="1051" y="3197"/>
                </a:lnTo>
                <a:lnTo>
                  <a:pt x="1053" y="3195"/>
                </a:lnTo>
                <a:lnTo>
                  <a:pt x="1054" y="3193"/>
                </a:lnTo>
                <a:close/>
                <a:moveTo>
                  <a:pt x="1364" y="3389"/>
                </a:moveTo>
                <a:lnTo>
                  <a:pt x="1365" y="3389"/>
                </a:lnTo>
                <a:lnTo>
                  <a:pt x="1367" y="3392"/>
                </a:lnTo>
                <a:lnTo>
                  <a:pt x="1364" y="3391"/>
                </a:lnTo>
                <a:lnTo>
                  <a:pt x="1362" y="3389"/>
                </a:lnTo>
                <a:lnTo>
                  <a:pt x="1364" y="3387"/>
                </a:lnTo>
                <a:lnTo>
                  <a:pt x="1364" y="3389"/>
                </a:lnTo>
                <a:close/>
                <a:moveTo>
                  <a:pt x="1076" y="3066"/>
                </a:moveTo>
                <a:lnTo>
                  <a:pt x="1076" y="3067"/>
                </a:lnTo>
                <a:lnTo>
                  <a:pt x="1076" y="3069"/>
                </a:lnTo>
                <a:lnTo>
                  <a:pt x="1075" y="3071"/>
                </a:lnTo>
                <a:lnTo>
                  <a:pt x="1075" y="3069"/>
                </a:lnTo>
                <a:lnTo>
                  <a:pt x="1075" y="3067"/>
                </a:lnTo>
                <a:lnTo>
                  <a:pt x="1076" y="3066"/>
                </a:lnTo>
                <a:close/>
                <a:moveTo>
                  <a:pt x="1216" y="3430"/>
                </a:moveTo>
                <a:lnTo>
                  <a:pt x="1217" y="3432"/>
                </a:lnTo>
                <a:lnTo>
                  <a:pt x="1217" y="3430"/>
                </a:lnTo>
                <a:lnTo>
                  <a:pt x="1219" y="3432"/>
                </a:lnTo>
                <a:lnTo>
                  <a:pt x="1219" y="3433"/>
                </a:lnTo>
                <a:lnTo>
                  <a:pt x="1217" y="3432"/>
                </a:lnTo>
                <a:lnTo>
                  <a:pt x="1214" y="3432"/>
                </a:lnTo>
                <a:lnTo>
                  <a:pt x="1214" y="3430"/>
                </a:lnTo>
                <a:lnTo>
                  <a:pt x="1216" y="3430"/>
                </a:lnTo>
                <a:close/>
                <a:moveTo>
                  <a:pt x="1234" y="3605"/>
                </a:moveTo>
                <a:lnTo>
                  <a:pt x="1238" y="3605"/>
                </a:lnTo>
                <a:lnTo>
                  <a:pt x="1240" y="3605"/>
                </a:lnTo>
                <a:lnTo>
                  <a:pt x="1241" y="3607"/>
                </a:lnTo>
                <a:lnTo>
                  <a:pt x="1240" y="3607"/>
                </a:lnTo>
                <a:lnTo>
                  <a:pt x="1238" y="3607"/>
                </a:lnTo>
                <a:lnTo>
                  <a:pt x="1236" y="3605"/>
                </a:lnTo>
                <a:lnTo>
                  <a:pt x="1234" y="3605"/>
                </a:lnTo>
                <a:close/>
                <a:moveTo>
                  <a:pt x="1056" y="3195"/>
                </a:moveTo>
                <a:lnTo>
                  <a:pt x="1058" y="3197"/>
                </a:lnTo>
                <a:lnTo>
                  <a:pt x="1056" y="3200"/>
                </a:lnTo>
                <a:lnTo>
                  <a:pt x="1058" y="3200"/>
                </a:lnTo>
                <a:lnTo>
                  <a:pt x="1056" y="3202"/>
                </a:lnTo>
                <a:lnTo>
                  <a:pt x="1056" y="3200"/>
                </a:lnTo>
                <a:lnTo>
                  <a:pt x="1054" y="3200"/>
                </a:lnTo>
                <a:lnTo>
                  <a:pt x="1056" y="3198"/>
                </a:lnTo>
                <a:lnTo>
                  <a:pt x="1056" y="3197"/>
                </a:lnTo>
                <a:lnTo>
                  <a:pt x="1056" y="3195"/>
                </a:lnTo>
                <a:close/>
                <a:moveTo>
                  <a:pt x="1377" y="3358"/>
                </a:moveTo>
                <a:lnTo>
                  <a:pt x="1377" y="3360"/>
                </a:lnTo>
                <a:lnTo>
                  <a:pt x="1376" y="3362"/>
                </a:lnTo>
                <a:lnTo>
                  <a:pt x="1374" y="3360"/>
                </a:lnTo>
                <a:lnTo>
                  <a:pt x="1377" y="3358"/>
                </a:lnTo>
                <a:close/>
                <a:moveTo>
                  <a:pt x="1200" y="3426"/>
                </a:moveTo>
                <a:lnTo>
                  <a:pt x="1202" y="3426"/>
                </a:lnTo>
                <a:lnTo>
                  <a:pt x="1202" y="3428"/>
                </a:lnTo>
                <a:lnTo>
                  <a:pt x="1204" y="3430"/>
                </a:lnTo>
                <a:lnTo>
                  <a:pt x="1200" y="3430"/>
                </a:lnTo>
                <a:lnTo>
                  <a:pt x="1200" y="3428"/>
                </a:lnTo>
                <a:lnTo>
                  <a:pt x="1200" y="3426"/>
                </a:lnTo>
                <a:close/>
                <a:moveTo>
                  <a:pt x="1088" y="3098"/>
                </a:moveTo>
                <a:lnTo>
                  <a:pt x="1090" y="3100"/>
                </a:lnTo>
                <a:lnTo>
                  <a:pt x="1090" y="3101"/>
                </a:lnTo>
                <a:lnTo>
                  <a:pt x="1087" y="3101"/>
                </a:lnTo>
                <a:lnTo>
                  <a:pt x="1088" y="3100"/>
                </a:lnTo>
                <a:lnTo>
                  <a:pt x="1088" y="3098"/>
                </a:lnTo>
                <a:close/>
                <a:moveTo>
                  <a:pt x="1100" y="3117"/>
                </a:moveTo>
                <a:lnTo>
                  <a:pt x="1102" y="3117"/>
                </a:lnTo>
                <a:lnTo>
                  <a:pt x="1102" y="3120"/>
                </a:lnTo>
                <a:lnTo>
                  <a:pt x="1100" y="3120"/>
                </a:lnTo>
                <a:lnTo>
                  <a:pt x="1100" y="3117"/>
                </a:lnTo>
                <a:close/>
                <a:moveTo>
                  <a:pt x="1313" y="3238"/>
                </a:moveTo>
                <a:lnTo>
                  <a:pt x="1316" y="3238"/>
                </a:lnTo>
                <a:lnTo>
                  <a:pt x="1314" y="3239"/>
                </a:lnTo>
                <a:lnTo>
                  <a:pt x="1313" y="3239"/>
                </a:lnTo>
                <a:lnTo>
                  <a:pt x="1313" y="3238"/>
                </a:lnTo>
                <a:close/>
                <a:moveTo>
                  <a:pt x="1209" y="2892"/>
                </a:moveTo>
                <a:lnTo>
                  <a:pt x="1209" y="2894"/>
                </a:lnTo>
                <a:lnTo>
                  <a:pt x="1207" y="2894"/>
                </a:lnTo>
                <a:lnTo>
                  <a:pt x="1209" y="2894"/>
                </a:lnTo>
                <a:lnTo>
                  <a:pt x="1206" y="2894"/>
                </a:lnTo>
                <a:lnTo>
                  <a:pt x="1207" y="2892"/>
                </a:lnTo>
                <a:lnTo>
                  <a:pt x="1209" y="2892"/>
                </a:lnTo>
                <a:close/>
                <a:moveTo>
                  <a:pt x="1340" y="3377"/>
                </a:moveTo>
                <a:lnTo>
                  <a:pt x="1343" y="3377"/>
                </a:lnTo>
                <a:lnTo>
                  <a:pt x="1343" y="3380"/>
                </a:lnTo>
                <a:lnTo>
                  <a:pt x="1340" y="3380"/>
                </a:lnTo>
                <a:lnTo>
                  <a:pt x="1340" y="3377"/>
                </a:lnTo>
                <a:close/>
                <a:moveTo>
                  <a:pt x="1202" y="2897"/>
                </a:moveTo>
                <a:lnTo>
                  <a:pt x="1204" y="2899"/>
                </a:lnTo>
                <a:lnTo>
                  <a:pt x="1202" y="2897"/>
                </a:lnTo>
                <a:lnTo>
                  <a:pt x="1202" y="2899"/>
                </a:lnTo>
                <a:lnTo>
                  <a:pt x="1200" y="2902"/>
                </a:lnTo>
                <a:lnTo>
                  <a:pt x="1200" y="2904"/>
                </a:lnTo>
                <a:lnTo>
                  <a:pt x="1199" y="2904"/>
                </a:lnTo>
                <a:lnTo>
                  <a:pt x="1200" y="2902"/>
                </a:lnTo>
                <a:lnTo>
                  <a:pt x="1200" y="2901"/>
                </a:lnTo>
                <a:lnTo>
                  <a:pt x="1202" y="2899"/>
                </a:lnTo>
                <a:lnTo>
                  <a:pt x="1202" y="2897"/>
                </a:lnTo>
                <a:close/>
                <a:moveTo>
                  <a:pt x="1262" y="3372"/>
                </a:moveTo>
                <a:lnTo>
                  <a:pt x="1263" y="3372"/>
                </a:lnTo>
                <a:lnTo>
                  <a:pt x="1263" y="3374"/>
                </a:lnTo>
                <a:lnTo>
                  <a:pt x="1262" y="3374"/>
                </a:lnTo>
                <a:lnTo>
                  <a:pt x="1262" y="3372"/>
                </a:lnTo>
                <a:close/>
                <a:moveTo>
                  <a:pt x="1245" y="3214"/>
                </a:moveTo>
                <a:lnTo>
                  <a:pt x="1246" y="3214"/>
                </a:lnTo>
                <a:lnTo>
                  <a:pt x="1245" y="3215"/>
                </a:lnTo>
                <a:lnTo>
                  <a:pt x="1245" y="3217"/>
                </a:lnTo>
                <a:lnTo>
                  <a:pt x="1243" y="3219"/>
                </a:lnTo>
                <a:lnTo>
                  <a:pt x="1243" y="3215"/>
                </a:lnTo>
                <a:lnTo>
                  <a:pt x="1245" y="3214"/>
                </a:lnTo>
                <a:close/>
                <a:moveTo>
                  <a:pt x="1070" y="3219"/>
                </a:moveTo>
                <a:lnTo>
                  <a:pt x="1071" y="3219"/>
                </a:lnTo>
                <a:lnTo>
                  <a:pt x="1068" y="3221"/>
                </a:lnTo>
                <a:lnTo>
                  <a:pt x="1070" y="3219"/>
                </a:lnTo>
                <a:lnTo>
                  <a:pt x="1071" y="3219"/>
                </a:lnTo>
                <a:lnTo>
                  <a:pt x="1070" y="3219"/>
                </a:lnTo>
                <a:close/>
                <a:moveTo>
                  <a:pt x="1194" y="2906"/>
                </a:moveTo>
                <a:lnTo>
                  <a:pt x="1195" y="2904"/>
                </a:lnTo>
                <a:lnTo>
                  <a:pt x="1195" y="2908"/>
                </a:lnTo>
                <a:lnTo>
                  <a:pt x="1194" y="2908"/>
                </a:lnTo>
                <a:lnTo>
                  <a:pt x="1194" y="2906"/>
                </a:lnTo>
                <a:close/>
                <a:moveTo>
                  <a:pt x="1216" y="3425"/>
                </a:moveTo>
                <a:lnTo>
                  <a:pt x="1217" y="3425"/>
                </a:lnTo>
                <a:lnTo>
                  <a:pt x="1217" y="3426"/>
                </a:lnTo>
                <a:lnTo>
                  <a:pt x="1216" y="3426"/>
                </a:lnTo>
                <a:lnTo>
                  <a:pt x="1216" y="3425"/>
                </a:lnTo>
                <a:close/>
                <a:moveTo>
                  <a:pt x="1200" y="2921"/>
                </a:moveTo>
                <a:lnTo>
                  <a:pt x="1202" y="2921"/>
                </a:lnTo>
                <a:lnTo>
                  <a:pt x="1202" y="2923"/>
                </a:lnTo>
                <a:lnTo>
                  <a:pt x="1200" y="2923"/>
                </a:lnTo>
                <a:lnTo>
                  <a:pt x="1200" y="2921"/>
                </a:lnTo>
                <a:close/>
                <a:moveTo>
                  <a:pt x="1224" y="3433"/>
                </a:moveTo>
                <a:lnTo>
                  <a:pt x="1224" y="3435"/>
                </a:lnTo>
                <a:lnTo>
                  <a:pt x="1224" y="3437"/>
                </a:lnTo>
                <a:lnTo>
                  <a:pt x="1223" y="3435"/>
                </a:lnTo>
                <a:lnTo>
                  <a:pt x="1223" y="3433"/>
                </a:lnTo>
                <a:lnTo>
                  <a:pt x="1224" y="3433"/>
                </a:lnTo>
                <a:close/>
                <a:moveTo>
                  <a:pt x="1253" y="3578"/>
                </a:moveTo>
                <a:lnTo>
                  <a:pt x="1255" y="3578"/>
                </a:lnTo>
                <a:lnTo>
                  <a:pt x="1255" y="3579"/>
                </a:lnTo>
                <a:lnTo>
                  <a:pt x="1253" y="3579"/>
                </a:lnTo>
                <a:lnTo>
                  <a:pt x="1253" y="3578"/>
                </a:lnTo>
                <a:close/>
                <a:moveTo>
                  <a:pt x="1328" y="3380"/>
                </a:moveTo>
                <a:lnTo>
                  <a:pt x="1330" y="3380"/>
                </a:lnTo>
                <a:lnTo>
                  <a:pt x="1330" y="3382"/>
                </a:lnTo>
                <a:lnTo>
                  <a:pt x="1328" y="3382"/>
                </a:lnTo>
                <a:lnTo>
                  <a:pt x="1328" y="3380"/>
                </a:lnTo>
                <a:close/>
                <a:moveTo>
                  <a:pt x="1049" y="3195"/>
                </a:moveTo>
                <a:lnTo>
                  <a:pt x="1051" y="3195"/>
                </a:lnTo>
                <a:lnTo>
                  <a:pt x="1051" y="3197"/>
                </a:lnTo>
                <a:lnTo>
                  <a:pt x="1049" y="3197"/>
                </a:lnTo>
                <a:lnTo>
                  <a:pt x="1049" y="3195"/>
                </a:lnTo>
                <a:close/>
                <a:moveTo>
                  <a:pt x="1301" y="3224"/>
                </a:moveTo>
                <a:lnTo>
                  <a:pt x="1302" y="3224"/>
                </a:lnTo>
                <a:lnTo>
                  <a:pt x="1302" y="3226"/>
                </a:lnTo>
                <a:lnTo>
                  <a:pt x="1301" y="3226"/>
                </a:lnTo>
                <a:lnTo>
                  <a:pt x="1301" y="3224"/>
                </a:lnTo>
                <a:close/>
                <a:moveTo>
                  <a:pt x="1202" y="2894"/>
                </a:moveTo>
                <a:lnTo>
                  <a:pt x="1204" y="2894"/>
                </a:lnTo>
                <a:lnTo>
                  <a:pt x="1204" y="2896"/>
                </a:lnTo>
                <a:lnTo>
                  <a:pt x="1202" y="2896"/>
                </a:lnTo>
                <a:lnTo>
                  <a:pt x="1202" y="2894"/>
                </a:lnTo>
                <a:close/>
                <a:moveTo>
                  <a:pt x="1070" y="3222"/>
                </a:moveTo>
                <a:lnTo>
                  <a:pt x="1071" y="3222"/>
                </a:lnTo>
                <a:lnTo>
                  <a:pt x="1071" y="3224"/>
                </a:lnTo>
                <a:lnTo>
                  <a:pt x="1070" y="3224"/>
                </a:lnTo>
                <a:lnTo>
                  <a:pt x="1070" y="3222"/>
                </a:lnTo>
                <a:close/>
                <a:moveTo>
                  <a:pt x="1369" y="3372"/>
                </a:moveTo>
                <a:lnTo>
                  <a:pt x="1369" y="3374"/>
                </a:lnTo>
                <a:lnTo>
                  <a:pt x="1369" y="3372"/>
                </a:lnTo>
                <a:close/>
                <a:moveTo>
                  <a:pt x="1200" y="2904"/>
                </a:moveTo>
                <a:lnTo>
                  <a:pt x="1199" y="2906"/>
                </a:lnTo>
                <a:lnTo>
                  <a:pt x="1199" y="2908"/>
                </a:lnTo>
                <a:lnTo>
                  <a:pt x="1199" y="2911"/>
                </a:lnTo>
                <a:lnTo>
                  <a:pt x="1199" y="2908"/>
                </a:lnTo>
                <a:lnTo>
                  <a:pt x="1199" y="2906"/>
                </a:lnTo>
                <a:lnTo>
                  <a:pt x="1199" y="2904"/>
                </a:lnTo>
                <a:lnTo>
                  <a:pt x="1200" y="2904"/>
                </a:lnTo>
                <a:close/>
                <a:moveTo>
                  <a:pt x="1053" y="3198"/>
                </a:moveTo>
                <a:lnTo>
                  <a:pt x="1054" y="3198"/>
                </a:lnTo>
                <a:lnTo>
                  <a:pt x="1054" y="3200"/>
                </a:lnTo>
                <a:lnTo>
                  <a:pt x="1053" y="3200"/>
                </a:lnTo>
                <a:lnTo>
                  <a:pt x="1053" y="3198"/>
                </a:lnTo>
                <a:close/>
                <a:moveTo>
                  <a:pt x="1143" y="3124"/>
                </a:moveTo>
                <a:lnTo>
                  <a:pt x="1143" y="3125"/>
                </a:lnTo>
                <a:lnTo>
                  <a:pt x="1143" y="3124"/>
                </a:lnTo>
                <a:close/>
                <a:moveTo>
                  <a:pt x="1372" y="3122"/>
                </a:moveTo>
                <a:lnTo>
                  <a:pt x="1374" y="3122"/>
                </a:lnTo>
                <a:lnTo>
                  <a:pt x="1374" y="3124"/>
                </a:lnTo>
                <a:lnTo>
                  <a:pt x="1372" y="3124"/>
                </a:lnTo>
                <a:lnTo>
                  <a:pt x="1372" y="3122"/>
                </a:lnTo>
                <a:close/>
                <a:moveTo>
                  <a:pt x="1209" y="2930"/>
                </a:moveTo>
                <a:lnTo>
                  <a:pt x="1212" y="2930"/>
                </a:lnTo>
                <a:lnTo>
                  <a:pt x="1212" y="2931"/>
                </a:lnTo>
                <a:lnTo>
                  <a:pt x="1209" y="2931"/>
                </a:lnTo>
                <a:lnTo>
                  <a:pt x="1209" y="2930"/>
                </a:lnTo>
                <a:close/>
                <a:moveTo>
                  <a:pt x="1080" y="3040"/>
                </a:moveTo>
                <a:lnTo>
                  <a:pt x="1080" y="3042"/>
                </a:lnTo>
                <a:lnTo>
                  <a:pt x="1080" y="3040"/>
                </a:lnTo>
                <a:close/>
                <a:moveTo>
                  <a:pt x="1245" y="2875"/>
                </a:moveTo>
                <a:lnTo>
                  <a:pt x="1243" y="2875"/>
                </a:lnTo>
                <a:lnTo>
                  <a:pt x="1241" y="2875"/>
                </a:lnTo>
                <a:lnTo>
                  <a:pt x="1245" y="2875"/>
                </a:lnTo>
                <a:close/>
                <a:moveTo>
                  <a:pt x="1199" y="2897"/>
                </a:moveTo>
                <a:lnTo>
                  <a:pt x="1200" y="2897"/>
                </a:lnTo>
                <a:lnTo>
                  <a:pt x="1199" y="2897"/>
                </a:lnTo>
                <a:close/>
                <a:moveTo>
                  <a:pt x="1051" y="3192"/>
                </a:moveTo>
                <a:lnTo>
                  <a:pt x="1051" y="3193"/>
                </a:lnTo>
                <a:lnTo>
                  <a:pt x="1051" y="3192"/>
                </a:lnTo>
                <a:close/>
                <a:moveTo>
                  <a:pt x="1204" y="2892"/>
                </a:moveTo>
                <a:lnTo>
                  <a:pt x="1206" y="2892"/>
                </a:lnTo>
                <a:lnTo>
                  <a:pt x="1206" y="2894"/>
                </a:lnTo>
                <a:lnTo>
                  <a:pt x="1204" y="2894"/>
                </a:lnTo>
                <a:lnTo>
                  <a:pt x="1204" y="2892"/>
                </a:lnTo>
                <a:close/>
                <a:moveTo>
                  <a:pt x="1076" y="2996"/>
                </a:moveTo>
                <a:lnTo>
                  <a:pt x="1078" y="2996"/>
                </a:lnTo>
                <a:lnTo>
                  <a:pt x="1078" y="2998"/>
                </a:lnTo>
                <a:lnTo>
                  <a:pt x="1076" y="2998"/>
                </a:lnTo>
                <a:lnTo>
                  <a:pt x="1076" y="2996"/>
                </a:lnTo>
                <a:close/>
                <a:moveTo>
                  <a:pt x="1049" y="3192"/>
                </a:moveTo>
                <a:lnTo>
                  <a:pt x="1051" y="3192"/>
                </a:lnTo>
                <a:lnTo>
                  <a:pt x="1049" y="3192"/>
                </a:lnTo>
                <a:close/>
                <a:moveTo>
                  <a:pt x="1206" y="2894"/>
                </a:moveTo>
                <a:lnTo>
                  <a:pt x="1207" y="2894"/>
                </a:lnTo>
                <a:lnTo>
                  <a:pt x="1207" y="2896"/>
                </a:lnTo>
                <a:lnTo>
                  <a:pt x="1206" y="2896"/>
                </a:lnTo>
                <a:lnTo>
                  <a:pt x="1206" y="2894"/>
                </a:lnTo>
                <a:close/>
                <a:moveTo>
                  <a:pt x="1211" y="2928"/>
                </a:moveTo>
                <a:lnTo>
                  <a:pt x="1211" y="2930"/>
                </a:lnTo>
                <a:lnTo>
                  <a:pt x="1209" y="2930"/>
                </a:lnTo>
                <a:lnTo>
                  <a:pt x="1211" y="2930"/>
                </a:lnTo>
                <a:lnTo>
                  <a:pt x="1211" y="2928"/>
                </a:lnTo>
                <a:close/>
                <a:moveTo>
                  <a:pt x="1268" y="3222"/>
                </a:moveTo>
                <a:lnTo>
                  <a:pt x="1270" y="3222"/>
                </a:lnTo>
                <a:lnTo>
                  <a:pt x="1270" y="3224"/>
                </a:lnTo>
                <a:lnTo>
                  <a:pt x="1268" y="3224"/>
                </a:lnTo>
                <a:lnTo>
                  <a:pt x="1268" y="3222"/>
                </a:lnTo>
                <a:close/>
                <a:moveTo>
                  <a:pt x="1238" y="3214"/>
                </a:moveTo>
                <a:lnTo>
                  <a:pt x="1240" y="3215"/>
                </a:lnTo>
                <a:lnTo>
                  <a:pt x="1238" y="3215"/>
                </a:lnTo>
                <a:lnTo>
                  <a:pt x="1238" y="3214"/>
                </a:lnTo>
                <a:close/>
                <a:moveTo>
                  <a:pt x="991" y="3284"/>
                </a:moveTo>
                <a:lnTo>
                  <a:pt x="993" y="3284"/>
                </a:lnTo>
                <a:lnTo>
                  <a:pt x="993" y="3285"/>
                </a:lnTo>
                <a:lnTo>
                  <a:pt x="991" y="3285"/>
                </a:lnTo>
                <a:lnTo>
                  <a:pt x="991" y="3284"/>
                </a:lnTo>
                <a:close/>
                <a:moveTo>
                  <a:pt x="1202" y="2923"/>
                </a:moveTo>
                <a:lnTo>
                  <a:pt x="1204" y="2923"/>
                </a:lnTo>
                <a:lnTo>
                  <a:pt x="1204" y="2925"/>
                </a:lnTo>
                <a:lnTo>
                  <a:pt x="1202" y="2925"/>
                </a:lnTo>
                <a:lnTo>
                  <a:pt x="1202" y="2923"/>
                </a:lnTo>
                <a:close/>
                <a:moveTo>
                  <a:pt x="1245" y="2875"/>
                </a:moveTo>
                <a:lnTo>
                  <a:pt x="1246" y="2875"/>
                </a:lnTo>
                <a:lnTo>
                  <a:pt x="1246" y="2877"/>
                </a:lnTo>
                <a:lnTo>
                  <a:pt x="1245" y="2877"/>
                </a:lnTo>
                <a:lnTo>
                  <a:pt x="1245" y="2875"/>
                </a:lnTo>
                <a:close/>
                <a:moveTo>
                  <a:pt x="1207" y="2926"/>
                </a:moveTo>
                <a:lnTo>
                  <a:pt x="1209" y="2926"/>
                </a:lnTo>
                <a:lnTo>
                  <a:pt x="1209" y="2928"/>
                </a:lnTo>
                <a:lnTo>
                  <a:pt x="1207" y="2928"/>
                </a:lnTo>
                <a:lnTo>
                  <a:pt x="1207" y="2926"/>
                </a:lnTo>
                <a:close/>
                <a:moveTo>
                  <a:pt x="1248" y="2877"/>
                </a:moveTo>
                <a:lnTo>
                  <a:pt x="1248" y="2879"/>
                </a:lnTo>
                <a:lnTo>
                  <a:pt x="1248" y="2877"/>
                </a:lnTo>
                <a:close/>
                <a:moveTo>
                  <a:pt x="1245" y="2875"/>
                </a:moveTo>
                <a:lnTo>
                  <a:pt x="1246" y="2875"/>
                </a:lnTo>
                <a:lnTo>
                  <a:pt x="1245" y="2877"/>
                </a:lnTo>
                <a:lnTo>
                  <a:pt x="1245" y="2875"/>
                </a:lnTo>
                <a:close/>
                <a:moveTo>
                  <a:pt x="1586" y="3215"/>
                </a:moveTo>
                <a:lnTo>
                  <a:pt x="1588" y="3219"/>
                </a:lnTo>
                <a:lnTo>
                  <a:pt x="1586" y="3219"/>
                </a:lnTo>
                <a:lnTo>
                  <a:pt x="1586" y="3215"/>
                </a:lnTo>
                <a:close/>
                <a:moveTo>
                  <a:pt x="1311" y="2906"/>
                </a:moveTo>
                <a:lnTo>
                  <a:pt x="1313" y="2906"/>
                </a:lnTo>
                <a:lnTo>
                  <a:pt x="1311" y="2906"/>
                </a:lnTo>
                <a:lnTo>
                  <a:pt x="1313" y="2909"/>
                </a:lnTo>
                <a:lnTo>
                  <a:pt x="1314" y="2909"/>
                </a:lnTo>
                <a:lnTo>
                  <a:pt x="1314" y="2911"/>
                </a:lnTo>
                <a:lnTo>
                  <a:pt x="1313" y="2911"/>
                </a:lnTo>
                <a:lnTo>
                  <a:pt x="1314" y="2911"/>
                </a:lnTo>
                <a:lnTo>
                  <a:pt x="1316" y="2911"/>
                </a:lnTo>
                <a:lnTo>
                  <a:pt x="1318" y="2913"/>
                </a:lnTo>
                <a:lnTo>
                  <a:pt x="1316" y="2914"/>
                </a:lnTo>
                <a:lnTo>
                  <a:pt x="1318" y="2916"/>
                </a:lnTo>
                <a:lnTo>
                  <a:pt x="1318" y="2918"/>
                </a:lnTo>
                <a:lnTo>
                  <a:pt x="1319" y="2918"/>
                </a:lnTo>
                <a:lnTo>
                  <a:pt x="1321" y="2919"/>
                </a:lnTo>
                <a:lnTo>
                  <a:pt x="1323" y="2921"/>
                </a:lnTo>
                <a:lnTo>
                  <a:pt x="1325" y="2923"/>
                </a:lnTo>
                <a:lnTo>
                  <a:pt x="1325" y="2925"/>
                </a:lnTo>
                <a:lnTo>
                  <a:pt x="1321" y="2925"/>
                </a:lnTo>
                <a:lnTo>
                  <a:pt x="1321" y="2926"/>
                </a:lnTo>
                <a:lnTo>
                  <a:pt x="1319" y="2926"/>
                </a:lnTo>
                <a:lnTo>
                  <a:pt x="1318" y="2925"/>
                </a:lnTo>
                <a:lnTo>
                  <a:pt x="1316" y="2925"/>
                </a:lnTo>
                <a:lnTo>
                  <a:pt x="1314" y="2925"/>
                </a:lnTo>
                <a:lnTo>
                  <a:pt x="1314" y="2923"/>
                </a:lnTo>
                <a:lnTo>
                  <a:pt x="1314" y="2921"/>
                </a:lnTo>
                <a:lnTo>
                  <a:pt x="1314" y="2919"/>
                </a:lnTo>
                <a:lnTo>
                  <a:pt x="1314" y="2921"/>
                </a:lnTo>
                <a:lnTo>
                  <a:pt x="1313" y="2921"/>
                </a:lnTo>
                <a:lnTo>
                  <a:pt x="1311" y="2921"/>
                </a:lnTo>
                <a:lnTo>
                  <a:pt x="1309" y="2921"/>
                </a:lnTo>
                <a:lnTo>
                  <a:pt x="1308" y="2921"/>
                </a:lnTo>
                <a:lnTo>
                  <a:pt x="1308" y="2919"/>
                </a:lnTo>
                <a:lnTo>
                  <a:pt x="1306" y="2918"/>
                </a:lnTo>
                <a:lnTo>
                  <a:pt x="1306" y="2916"/>
                </a:lnTo>
                <a:lnTo>
                  <a:pt x="1308" y="2916"/>
                </a:lnTo>
                <a:lnTo>
                  <a:pt x="1308" y="2914"/>
                </a:lnTo>
                <a:lnTo>
                  <a:pt x="1309" y="2914"/>
                </a:lnTo>
                <a:lnTo>
                  <a:pt x="1309" y="2913"/>
                </a:lnTo>
                <a:lnTo>
                  <a:pt x="1311" y="2911"/>
                </a:lnTo>
                <a:lnTo>
                  <a:pt x="1309" y="2909"/>
                </a:lnTo>
                <a:lnTo>
                  <a:pt x="1311" y="2908"/>
                </a:lnTo>
                <a:lnTo>
                  <a:pt x="1309" y="2908"/>
                </a:lnTo>
                <a:lnTo>
                  <a:pt x="1311" y="2908"/>
                </a:lnTo>
                <a:lnTo>
                  <a:pt x="1309" y="2906"/>
                </a:lnTo>
                <a:lnTo>
                  <a:pt x="1311" y="2906"/>
                </a:lnTo>
                <a:close/>
                <a:moveTo>
                  <a:pt x="1578" y="3120"/>
                </a:moveTo>
                <a:lnTo>
                  <a:pt x="1580" y="3119"/>
                </a:lnTo>
                <a:lnTo>
                  <a:pt x="1580" y="3120"/>
                </a:lnTo>
                <a:lnTo>
                  <a:pt x="1578" y="3120"/>
                </a:lnTo>
                <a:close/>
                <a:moveTo>
                  <a:pt x="1299" y="2911"/>
                </a:moveTo>
                <a:lnTo>
                  <a:pt x="1302" y="2913"/>
                </a:lnTo>
                <a:lnTo>
                  <a:pt x="1301" y="2916"/>
                </a:lnTo>
                <a:lnTo>
                  <a:pt x="1302" y="2918"/>
                </a:lnTo>
                <a:lnTo>
                  <a:pt x="1302" y="2919"/>
                </a:lnTo>
                <a:lnTo>
                  <a:pt x="1304" y="2921"/>
                </a:lnTo>
                <a:lnTo>
                  <a:pt x="1306" y="2925"/>
                </a:lnTo>
                <a:lnTo>
                  <a:pt x="1308" y="2925"/>
                </a:lnTo>
                <a:lnTo>
                  <a:pt x="1308" y="2926"/>
                </a:lnTo>
                <a:lnTo>
                  <a:pt x="1308" y="2930"/>
                </a:lnTo>
                <a:lnTo>
                  <a:pt x="1306" y="2931"/>
                </a:lnTo>
                <a:lnTo>
                  <a:pt x="1308" y="2935"/>
                </a:lnTo>
                <a:lnTo>
                  <a:pt x="1308" y="2938"/>
                </a:lnTo>
                <a:lnTo>
                  <a:pt x="1309" y="2940"/>
                </a:lnTo>
                <a:lnTo>
                  <a:pt x="1308" y="2942"/>
                </a:lnTo>
                <a:lnTo>
                  <a:pt x="1309" y="2945"/>
                </a:lnTo>
                <a:lnTo>
                  <a:pt x="1311" y="2947"/>
                </a:lnTo>
                <a:lnTo>
                  <a:pt x="1311" y="2948"/>
                </a:lnTo>
                <a:lnTo>
                  <a:pt x="1313" y="2948"/>
                </a:lnTo>
                <a:lnTo>
                  <a:pt x="1311" y="2948"/>
                </a:lnTo>
                <a:lnTo>
                  <a:pt x="1311" y="2950"/>
                </a:lnTo>
                <a:lnTo>
                  <a:pt x="1311" y="2948"/>
                </a:lnTo>
                <a:lnTo>
                  <a:pt x="1311" y="2950"/>
                </a:lnTo>
                <a:lnTo>
                  <a:pt x="1309" y="2950"/>
                </a:lnTo>
                <a:lnTo>
                  <a:pt x="1308" y="2947"/>
                </a:lnTo>
                <a:lnTo>
                  <a:pt x="1306" y="2947"/>
                </a:lnTo>
                <a:lnTo>
                  <a:pt x="1306" y="2945"/>
                </a:lnTo>
                <a:lnTo>
                  <a:pt x="1304" y="2945"/>
                </a:lnTo>
                <a:lnTo>
                  <a:pt x="1304" y="2942"/>
                </a:lnTo>
                <a:lnTo>
                  <a:pt x="1304" y="2940"/>
                </a:lnTo>
                <a:lnTo>
                  <a:pt x="1302" y="2938"/>
                </a:lnTo>
                <a:lnTo>
                  <a:pt x="1302" y="2936"/>
                </a:lnTo>
                <a:lnTo>
                  <a:pt x="1301" y="2936"/>
                </a:lnTo>
                <a:lnTo>
                  <a:pt x="1301" y="2933"/>
                </a:lnTo>
                <a:lnTo>
                  <a:pt x="1301" y="2931"/>
                </a:lnTo>
                <a:lnTo>
                  <a:pt x="1299" y="2930"/>
                </a:lnTo>
                <a:lnTo>
                  <a:pt x="1299" y="2928"/>
                </a:lnTo>
                <a:lnTo>
                  <a:pt x="1299" y="2926"/>
                </a:lnTo>
                <a:lnTo>
                  <a:pt x="1301" y="2930"/>
                </a:lnTo>
                <a:lnTo>
                  <a:pt x="1304" y="2930"/>
                </a:lnTo>
                <a:lnTo>
                  <a:pt x="1304" y="2926"/>
                </a:lnTo>
                <a:lnTo>
                  <a:pt x="1302" y="2923"/>
                </a:lnTo>
                <a:lnTo>
                  <a:pt x="1301" y="2923"/>
                </a:lnTo>
                <a:lnTo>
                  <a:pt x="1302" y="2921"/>
                </a:lnTo>
                <a:lnTo>
                  <a:pt x="1301" y="2919"/>
                </a:lnTo>
                <a:lnTo>
                  <a:pt x="1299" y="2918"/>
                </a:lnTo>
                <a:lnTo>
                  <a:pt x="1297" y="2916"/>
                </a:lnTo>
                <a:lnTo>
                  <a:pt x="1297" y="2914"/>
                </a:lnTo>
                <a:lnTo>
                  <a:pt x="1297" y="2913"/>
                </a:lnTo>
                <a:lnTo>
                  <a:pt x="1299" y="2911"/>
                </a:lnTo>
                <a:close/>
                <a:moveTo>
                  <a:pt x="1415" y="3028"/>
                </a:moveTo>
                <a:lnTo>
                  <a:pt x="1416" y="3028"/>
                </a:lnTo>
                <a:lnTo>
                  <a:pt x="1420" y="3028"/>
                </a:lnTo>
                <a:lnTo>
                  <a:pt x="1421" y="3028"/>
                </a:lnTo>
                <a:lnTo>
                  <a:pt x="1423" y="3028"/>
                </a:lnTo>
                <a:lnTo>
                  <a:pt x="1425" y="3028"/>
                </a:lnTo>
                <a:lnTo>
                  <a:pt x="1428" y="3028"/>
                </a:lnTo>
                <a:lnTo>
                  <a:pt x="1430" y="3030"/>
                </a:lnTo>
                <a:lnTo>
                  <a:pt x="1432" y="3028"/>
                </a:lnTo>
                <a:lnTo>
                  <a:pt x="1433" y="3030"/>
                </a:lnTo>
                <a:lnTo>
                  <a:pt x="1435" y="3030"/>
                </a:lnTo>
                <a:lnTo>
                  <a:pt x="1433" y="3030"/>
                </a:lnTo>
                <a:lnTo>
                  <a:pt x="1435" y="3032"/>
                </a:lnTo>
                <a:lnTo>
                  <a:pt x="1437" y="3030"/>
                </a:lnTo>
                <a:lnTo>
                  <a:pt x="1437" y="3032"/>
                </a:lnTo>
                <a:lnTo>
                  <a:pt x="1438" y="3032"/>
                </a:lnTo>
                <a:lnTo>
                  <a:pt x="1438" y="3033"/>
                </a:lnTo>
                <a:lnTo>
                  <a:pt x="1437" y="3033"/>
                </a:lnTo>
                <a:lnTo>
                  <a:pt x="1437" y="3035"/>
                </a:lnTo>
                <a:lnTo>
                  <a:pt x="1433" y="3037"/>
                </a:lnTo>
                <a:lnTo>
                  <a:pt x="1432" y="3035"/>
                </a:lnTo>
                <a:lnTo>
                  <a:pt x="1432" y="3037"/>
                </a:lnTo>
                <a:lnTo>
                  <a:pt x="1430" y="3037"/>
                </a:lnTo>
                <a:lnTo>
                  <a:pt x="1428" y="3037"/>
                </a:lnTo>
                <a:lnTo>
                  <a:pt x="1427" y="3037"/>
                </a:lnTo>
                <a:lnTo>
                  <a:pt x="1425" y="3037"/>
                </a:lnTo>
                <a:lnTo>
                  <a:pt x="1423" y="3037"/>
                </a:lnTo>
                <a:lnTo>
                  <a:pt x="1420" y="3037"/>
                </a:lnTo>
                <a:lnTo>
                  <a:pt x="1416" y="3033"/>
                </a:lnTo>
                <a:lnTo>
                  <a:pt x="1416" y="3035"/>
                </a:lnTo>
                <a:lnTo>
                  <a:pt x="1416" y="3033"/>
                </a:lnTo>
                <a:lnTo>
                  <a:pt x="1415" y="3033"/>
                </a:lnTo>
                <a:lnTo>
                  <a:pt x="1416" y="3033"/>
                </a:lnTo>
                <a:lnTo>
                  <a:pt x="1415" y="3032"/>
                </a:lnTo>
                <a:lnTo>
                  <a:pt x="1416" y="3032"/>
                </a:lnTo>
                <a:lnTo>
                  <a:pt x="1415" y="3028"/>
                </a:lnTo>
                <a:close/>
                <a:moveTo>
                  <a:pt x="1423" y="3039"/>
                </a:moveTo>
                <a:lnTo>
                  <a:pt x="1423" y="3040"/>
                </a:lnTo>
                <a:lnTo>
                  <a:pt x="1425" y="3040"/>
                </a:lnTo>
                <a:lnTo>
                  <a:pt x="1428" y="3040"/>
                </a:lnTo>
                <a:lnTo>
                  <a:pt x="1430" y="3042"/>
                </a:lnTo>
                <a:lnTo>
                  <a:pt x="1428" y="3042"/>
                </a:lnTo>
                <a:lnTo>
                  <a:pt x="1432" y="3044"/>
                </a:lnTo>
                <a:lnTo>
                  <a:pt x="1433" y="3044"/>
                </a:lnTo>
                <a:lnTo>
                  <a:pt x="1437" y="3044"/>
                </a:lnTo>
                <a:lnTo>
                  <a:pt x="1438" y="3042"/>
                </a:lnTo>
                <a:lnTo>
                  <a:pt x="1440" y="3044"/>
                </a:lnTo>
                <a:lnTo>
                  <a:pt x="1444" y="3044"/>
                </a:lnTo>
                <a:lnTo>
                  <a:pt x="1447" y="3044"/>
                </a:lnTo>
                <a:lnTo>
                  <a:pt x="1449" y="3044"/>
                </a:lnTo>
                <a:lnTo>
                  <a:pt x="1450" y="3044"/>
                </a:lnTo>
                <a:lnTo>
                  <a:pt x="1454" y="3044"/>
                </a:lnTo>
                <a:lnTo>
                  <a:pt x="1455" y="3044"/>
                </a:lnTo>
                <a:lnTo>
                  <a:pt x="1454" y="3044"/>
                </a:lnTo>
                <a:lnTo>
                  <a:pt x="1452" y="3045"/>
                </a:lnTo>
                <a:lnTo>
                  <a:pt x="1449" y="3045"/>
                </a:lnTo>
                <a:lnTo>
                  <a:pt x="1445" y="3045"/>
                </a:lnTo>
                <a:lnTo>
                  <a:pt x="1442" y="3045"/>
                </a:lnTo>
                <a:lnTo>
                  <a:pt x="1438" y="3045"/>
                </a:lnTo>
                <a:lnTo>
                  <a:pt x="1437" y="3045"/>
                </a:lnTo>
                <a:lnTo>
                  <a:pt x="1435" y="3045"/>
                </a:lnTo>
                <a:lnTo>
                  <a:pt x="1432" y="3045"/>
                </a:lnTo>
                <a:lnTo>
                  <a:pt x="1430" y="3047"/>
                </a:lnTo>
                <a:lnTo>
                  <a:pt x="1428" y="3047"/>
                </a:lnTo>
                <a:lnTo>
                  <a:pt x="1425" y="3045"/>
                </a:lnTo>
                <a:lnTo>
                  <a:pt x="1423" y="3045"/>
                </a:lnTo>
                <a:lnTo>
                  <a:pt x="1421" y="3045"/>
                </a:lnTo>
                <a:lnTo>
                  <a:pt x="1418" y="3044"/>
                </a:lnTo>
                <a:lnTo>
                  <a:pt x="1416" y="3045"/>
                </a:lnTo>
                <a:lnTo>
                  <a:pt x="1416" y="3044"/>
                </a:lnTo>
                <a:lnTo>
                  <a:pt x="1413" y="3044"/>
                </a:lnTo>
                <a:lnTo>
                  <a:pt x="1413" y="3042"/>
                </a:lnTo>
                <a:lnTo>
                  <a:pt x="1415" y="3044"/>
                </a:lnTo>
                <a:lnTo>
                  <a:pt x="1415" y="3042"/>
                </a:lnTo>
                <a:lnTo>
                  <a:pt x="1416" y="3042"/>
                </a:lnTo>
                <a:lnTo>
                  <a:pt x="1420" y="3042"/>
                </a:lnTo>
                <a:lnTo>
                  <a:pt x="1421" y="3042"/>
                </a:lnTo>
                <a:lnTo>
                  <a:pt x="1423" y="3044"/>
                </a:lnTo>
                <a:lnTo>
                  <a:pt x="1425" y="3042"/>
                </a:lnTo>
                <a:lnTo>
                  <a:pt x="1423" y="3042"/>
                </a:lnTo>
                <a:lnTo>
                  <a:pt x="1423" y="3040"/>
                </a:lnTo>
                <a:lnTo>
                  <a:pt x="1421" y="3040"/>
                </a:lnTo>
                <a:lnTo>
                  <a:pt x="1420" y="3040"/>
                </a:lnTo>
                <a:lnTo>
                  <a:pt x="1423" y="3039"/>
                </a:lnTo>
                <a:close/>
                <a:moveTo>
                  <a:pt x="1323" y="2943"/>
                </a:moveTo>
                <a:lnTo>
                  <a:pt x="1323" y="2945"/>
                </a:lnTo>
                <a:lnTo>
                  <a:pt x="1326" y="2947"/>
                </a:lnTo>
                <a:lnTo>
                  <a:pt x="1326" y="2948"/>
                </a:lnTo>
                <a:lnTo>
                  <a:pt x="1328" y="2948"/>
                </a:lnTo>
                <a:lnTo>
                  <a:pt x="1328" y="2950"/>
                </a:lnTo>
                <a:lnTo>
                  <a:pt x="1330" y="2952"/>
                </a:lnTo>
                <a:lnTo>
                  <a:pt x="1330" y="2948"/>
                </a:lnTo>
                <a:lnTo>
                  <a:pt x="1331" y="2948"/>
                </a:lnTo>
                <a:lnTo>
                  <a:pt x="1331" y="2950"/>
                </a:lnTo>
                <a:lnTo>
                  <a:pt x="1333" y="2950"/>
                </a:lnTo>
                <a:lnTo>
                  <a:pt x="1335" y="2952"/>
                </a:lnTo>
                <a:lnTo>
                  <a:pt x="1335" y="2954"/>
                </a:lnTo>
                <a:lnTo>
                  <a:pt x="1338" y="2955"/>
                </a:lnTo>
                <a:lnTo>
                  <a:pt x="1340" y="2957"/>
                </a:lnTo>
                <a:lnTo>
                  <a:pt x="1338" y="2957"/>
                </a:lnTo>
                <a:lnTo>
                  <a:pt x="1336" y="2957"/>
                </a:lnTo>
                <a:lnTo>
                  <a:pt x="1336" y="2955"/>
                </a:lnTo>
                <a:lnTo>
                  <a:pt x="1335" y="2955"/>
                </a:lnTo>
                <a:lnTo>
                  <a:pt x="1333" y="2954"/>
                </a:lnTo>
                <a:lnTo>
                  <a:pt x="1331" y="2954"/>
                </a:lnTo>
                <a:lnTo>
                  <a:pt x="1333" y="2954"/>
                </a:lnTo>
                <a:lnTo>
                  <a:pt x="1333" y="2955"/>
                </a:lnTo>
                <a:lnTo>
                  <a:pt x="1335" y="2955"/>
                </a:lnTo>
                <a:lnTo>
                  <a:pt x="1336" y="2957"/>
                </a:lnTo>
                <a:lnTo>
                  <a:pt x="1338" y="2959"/>
                </a:lnTo>
                <a:lnTo>
                  <a:pt x="1338" y="2960"/>
                </a:lnTo>
                <a:lnTo>
                  <a:pt x="1340" y="2962"/>
                </a:lnTo>
                <a:lnTo>
                  <a:pt x="1338" y="2960"/>
                </a:lnTo>
                <a:lnTo>
                  <a:pt x="1338" y="2957"/>
                </a:lnTo>
                <a:lnTo>
                  <a:pt x="1342" y="2960"/>
                </a:lnTo>
                <a:lnTo>
                  <a:pt x="1343" y="2962"/>
                </a:lnTo>
                <a:lnTo>
                  <a:pt x="1345" y="2962"/>
                </a:lnTo>
                <a:lnTo>
                  <a:pt x="1347" y="2964"/>
                </a:lnTo>
                <a:lnTo>
                  <a:pt x="1350" y="2965"/>
                </a:lnTo>
                <a:lnTo>
                  <a:pt x="1350" y="2967"/>
                </a:lnTo>
                <a:lnTo>
                  <a:pt x="1348" y="2967"/>
                </a:lnTo>
                <a:lnTo>
                  <a:pt x="1347" y="2965"/>
                </a:lnTo>
                <a:lnTo>
                  <a:pt x="1345" y="2965"/>
                </a:lnTo>
                <a:lnTo>
                  <a:pt x="1347" y="2965"/>
                </a:lnTo>
                <a:lnTo>
                  <a:pt x="1348" y="2969"/>
                </a:lnTo>
                <a:lnTo>
                  <a:pt x="1347" y="2969"/>
                </a:lnTo>
                <a:lnTo>
                  <a:pt x="1348" y="2969"/>
                </a:lnTo>
                <a:lnTo>
                  <a:pt x="1347" y="2969"/>
                </a:lnTo>
                <a:lnTo>
                  <a:pt x="1343" y="2967"/>
                </a:lnTo>
                <a:lnTo>
                  <a:pt x="1343" y="2969"/>
                </a:lnTo>
                <a:lnTo>
                  <a:pt x="1347" y="2971"/>
                </a:lnTo>
                <a:lnTo>
                  <a:pt x="1345" y="2971"/>
                </a:lnTo>
                <a:lnTo>
                  <a:pt x="1343" y="2969"/>
                </a:lnTo>
                <a:lnTo>
                  <a:pt x="1342" y="2965"/>
                </a:lnTo>
                <a:lnTo>
                  <a:pt x="1343" y="2964"/>
                </a:lnTo>
                <a:lnTo>
                  <a:pt x="1340" y="2964"/>
                </a:lnTo>
                <a:lnTo>
                  <a:pt x="1338" y="2964"/>
                </a:lnTo>
                <a:lnTo>
                  <a:pt x="1338" y="2962"/>
                </a:lnTo>
                <a:lnTo>
                  <a:pt x="1335" y="2960"/>
                </a:lnTo>
                <a:lnTo>
                  <a:pt x="1333" y="2959"/>
                </a:lnTo>
                <a:lnTo>
                  <a:pt x="1331" y="2957"/>
                </a:lnTo>
                <a:lnTo>
                  <a:pt x="1331" y="2955"/>
                </a:lnTo>
                <a:lnTo>
                  <a:pt x="1330" y="2954"/>
                </a:lnTo>
                <a:lnTo>
                  <a:pt x="1328" y="2952"/>
                </a:lnTo>
                <a:lnTo>
                  <a:pt x="1328" y="2950"/>
                </a:lnTo>
                <a:lnTo>
                  <a:pt x="1326" y="2950"/>
                </a:lnTo>
                <a:lnTo>
                  <a:pt x="1325" y="2948"/>
                </a:lnTo>
                <a:lnTo>
                  <a:pt x="1325" y="2947"/>
                </a:lnTo>
                <a:lnTo>
                  <a:pt x="1323" y="2945"/>
                </a:lnTo>
                <a:lnTo>
                  <a:pt x="1321" y="2943"/>
                </a:lnTo>
                <a:lnTo>
                  <a:pt x="1323" y="2943"/>
                </a:lnTo>
                <a:close/>
                <a:moveTo>
                  <a:pt x="1432" y="3056"/>
                </a:moveTo>
                <a:lnTo>
                  <a:pt x="1433" y="3056"/>
                </a:lnTo>
                <a:lnTo>
                  <a:pt x="1435" y="3057"/>
                </a:lnTo>
                <a:lnTo>
                  <a:pt x="1437" y="3057"/>
                </a:lnTo>
                <a:lnTo>
                  <a:pt x="1440" y="3057"/>
                </a:lnTo>
                <a:lnTo>
                  <a:pt x="1442" y="3056"/>
                </a:lnTo>
                <a:lnTo>
                  <a:pt x="1444" y="3056"/>
                </a:lnTo>
                <a:lnTo>
                  <a:pt x="1447" y="3056"/>
                </a:lnTo>
                <a:lnTo>
                  <a:pt x="1449" y="3056"/>
                </a:lnTo>
                <a:lnTo>
                  <a:pt x="1449" y="3054"/>
                </a:lnTo>
                <a:lnTo>
                  <a:pt x="1449" y="3056"/>
                </a:lnTo>
                <a:lnTo>
                  <a:pt x="1452" y="3056"/>
                </a:lnTo>
                <a:lnTo>
                  <a:pt x="1454" y="3056"/>
                </a:lnTo>
                <a:lnTo>
                  <a:pt x="1455" y="3057"/>
                </a:lnTo>
                <a:lnTo>
                  <a:pt x="1457" y="3059"/>
                </a:lnTo>
                <a:lnTo>
                  <a:pt x="1454" y="3059"/>
                </a:lnTo>
                <a:lnTo>
                  <a:pt x="1452" y="3059"/>
                </a:lnTo>
                <a:lnTo>
                  <a:pt x="1450" y="3059"/>
                </a:lnTo>
                <a:lnTo>
                  <a:pt x="1447" y="3059"/>
                </a:lnTo>
                <a:lnTo>
                  <a:pt x="1445" y="3059"/>
                </a:lnTo>
                <a:lnTo>
                  <a:pt x="1444" y="3061"/>
                </a:lnTo>
                <a:lnTo>
                  <a:pt x="1444" y="3059"/>
                </a:lnTo>
                <a:lnTo>
                  <a:pt x="1442" y="3061"/>
                </a:lnTo>
                <a:lnTo>
                  <a:pt x="1440" y="3062"/>
                </a:lnTo>
                <a:lnTo>
                  <a:pt x="1440" y="3061"/>
                </a:lnTo>
                <a:lnTo>
                  <a:pt x="1438" y="3061"/>
                </a:lnTo>
                <a:lnTo>
                  <a:pt x="1437" y="3061"/>
                </a:lnTo>
                <a:lnTo>
                  <a:pt x="1435" y="3061"/>
                </a:lnTo>
                <a:lnTo>
                  <a:pt x="1433" y="3061"/>
                </a:lnTo>
                <a:lnTo>
                  <a:pt x="1430" y="3061"/>
                </a:lnTo>
                <a:lnTo>
                  <a:pt x="1428" y="3059"/>
                </a:lnTo>
                <a:lnTo>
                  <a:pt x="1430" y="3059"/>
                </a:lnTo>
                <a:lnTo>
                  <a:pt x="1432" y="3057"/>
                </a:lnTo>
                <a:lnTo>
                  <a:pt x="1430" y="3057"/>
                </a:lnTo>
                <a:lnTo>
                  <a:pt x="1428" y="3056"/>
                </a:lnTo>
                <a:lnTo>
                  <a:pt x="1428" y="3057"/>
                </a:lnTo>
                <a:lnTo>
                  <a:pt x="1428" y="3056"/>
                </a:lnTo>
                <a:lnTo>
                  <a:pt x="1432" y="3056"/>
                </a:lnTo>
                <a:close/>
                <a:moveTo>
                  <a:pt x="1331" y="2979"/>
                </a:moveTo>
                <a:lnTo>
                  <a:pt x="1331" y="2981"/>
                </a:lnTo>
                <a:lnTo>
                  <a:pt x="1333" y="2982"/>
                </a:lnTo>
                <a:lnTo>
                  <a:pt x="1335" y="2984"/>
                </a:lnTo>
                <a:lnTo>
                  <a:pt x="1338" y="2986"/>
                </a:lnTo>
                <a:lnTo>
                  <a:pt x="1340" y="2988"/>
                </a:lnTo>
                <a:lnTo>
                  <a:pt x="1340" y="2989"/>
                </a:lnTo>
                <a:lnTo>
                  <a:pt x="1342" y="2991"/>
                </a:lnTo>
                <a:lnTo>
                  <a:pt x="1343" y="2993"/>
                </a:lnTo>
                <a:lnTo>
                  <a:pt x="1345" y="2993"/>
                </a:lnTo>
                <a:lnTo>
                  <a:pt x="1347" y="2996"/>
                </a:lnTo>
                <a:lnTo>
                  <a:pt x="1347" y="2994"/>
                </a:lnTo>
                <a:lnTo>
                  <a:pt x="1348" y="2996"/>
                </a:lnTo>
                <a:lnTo>
                  <a:pt x="1350" y="2998"/>
                </a:lnTo>
                <a:lnTo>
                  <a:pt x="1350" y="2999"/>
                </a:lnTo>
                <a:lnTo>
                  <a:pt x="1348" y="2998"/>
                </a:lnTo>
                <a:lnTo>
                  <a:pt x="1347" y="2998"/>
                </a:lnTo>
                <a:lnTo>
                  <a:pt x="1347" y="2996"/>
                </a:lnTo>
                <a:lnTo>
                  <a:pt x="1345" y="2996"/>
                </a:lnTo>
                <a:lnTo>
                  <a:pt x="1347" y="2998"/>
                </a:lnTo>
                <a:lnTo>
                  <a:pt x="1350" y="2999"/>
                </a:lnTo>
                <a:lnTo>
                  <a:pt x="1347" y="2999"/>
                </a:lnTo>
                <a:lnTo>
                  <a:pt x="1345" y="2998"/>
                </a:lnTo>
                <a:lnTo>
                  <a:pt x="1343" y="2996"/>
                </a:lnTo>
                <a:lnTo>
                  <a:pt x="1343" y="2994"/>
                </a:lnTo>
                <a:lnTo>
                  <a:pt x="1342" y="2993"/>
                </a:lnTo>
                <a:lnTo>
                  <a:pt x="1340" y="2991"/>
                </a:lnTo>
                <a:lnTo>
                  <a:pt x="1338" y="2989"/>
                </a:lnTo>
                <a:lnTo>
                  <a:pt x="1338" y="2988"/>
                </a:lnTo>
                <a:lnTo>
                  <a:pt x="1336" y="2986"/>
                </a:lnTo>
                <a:lnTo>
                  <a:pt x="1335" y="2986"/>
                </a:lnTo>
                <a:lnTo>
                  <a:pt x="1333" y="2984"/>
                </a:lnTo>
                <a:lnTo>
                  <a:pt x="1333" y="2982"/>
                </a:lnTo>
                <a:lnTo>
                  <a:pt x="1331" y="2982"/>
                </a:lnTo>
                <a:lnTo>
                  <a:pt x="1330" y="2982"/>
                </a:lnTo>
                <a:lnTo>
                  <a:pt x="1330" y="2981"/>
                </a:lnTo>
                <a:lnTo>
                  <a:pt x="1330" y="2982"/>
                </a:lnTo>
                <a:lnTo>
                  <a:pt x="1331" y="2982"/>
                </a:lnTo>
                <a:lnTo>
                  <a:pt x="1331" y="2979"/>
                </a:lnTo>
                <a:close/>
                <a:moveTo>
                  <a:pt x="1467" y="3066"/>
                </a:moveTo>
                <a:lnTo>
                  <a:pt x="1469" y="3066"/>
                </a:lnTo>
                <a:lnTo>
                  <a:pt x="1467" y="3066"/>
                </a:lnTo>
                <a:lnTo>
                  <a:pt x="1469" y="3066"/>
                </a:lnTo>
                <a:lnTo>
                  <a:pt x="1471" y="3066"/>
                </a:lnTo>
                <a:lnTo>
                  <a:pt x="1471" y="3067"/>
                </a:lnTo>
                <a:lnTo>
                  <a:pt x="1472" y="3066"/>
                </a:lnTo>
                <a:lnTo>
                  <a:pt x="1472" y="3067"/>
                </a:lnTo>
                <a:lnTo>
                  <a:pt x="1474" y="3067"/>
                </a:lnTo>
                <a:lnTo>
                  <a:pt x="1478" y="3067"/>
                </a:lnTo>
                <a:lnTo>
                  <a:pt x="1479" y="3067"/>
                </a:lnTo>
                <a:lnTo>
                  <a:pt x="1479" y="3069"/>
                </a:lnTo>
                <a:lnTo>
                  <a:pt x="1483" y="3069"/>
                </a:lnTo>
                <a:lnTo>
                  <a:pt x="1484" y="3069"/>
                </a:lnTo>
                <a:lnTo>
                  <a:pt x="1486" y="3069"/>
                </a:lnTo>
                <a:lnTo>
                  <a:pt x="1488" y="3069"/>
                </a:lnTo>
                <a:lnTo>
                  <a:pt x="1488" y="3071"/>
                </a:lnTo>
                <a:lnTo>
                  <a:pt x="1484" y="3071"/>
                </a:lnTo>
                <a:lnTo>
                  <a:pt x="1483" y="3069"/>
                </a:lnTo>
                <a:lnTo>
                  <a:pt x="1479" y="3071"/>
                </a:lnTo>
                <a:lnTo>
                  <a:pt x="1478" y="3069"/>
                </a:lnTo>
                <a:lnTo>
                  <a:pt x="1474" y="3069"/>
                </a:lnTo>
                <a:lnTo>
                  <a:pt x="1472" y="3069"/>
                </a:lnTo>
                <a:lnTo>
                  <a:pt x="1471" y="3069"/>
                </a:lnTo>
                <a:lnTo>
                  <a:pt x="1469" y="3067"/>
                </a:lnTo>
                <a:lnTo>
                  <a:pt x="1467" y="3067"/>
                </a:lnTo>
                <a:lnTo>
                  <a:pt x="1467" y="3069"/>
                </a:lnTo>
                <a:lnTo>
                  <a:pt x="1466" y="3067"/>
                </a:lnTo>
                <a:lnTo>
                  <a:pt x="1464" y="3067"/>
                </a:lnTo>
                <a:lnTo>
                  <a:pt x="1466" y="3066"/>
                </a:lnTo>
                <a:lnTo>
                  <a:pt x="1466" y="3067"/>
                </a:lnTo>
                <a:lnTo>
                  <a:pt x="1467" y="3066"/>
                </a:lnTo>
                <a:close/>
                <a:moveTo>
                  <a:pt x="1404" y="3052"/>
                </a:moveTo>
                <a:lnTo>
                  <a:pt x="1404" y="3054"/>
                </a:lnTo>
                <a:lnTo>
                  <a:pt x="1406" y="3052"/>
                </a:lnTo>
                <a:lnTo>
                  <a:pt x="1408" y="3052"/>
                </a:lnTo>
                <a:lnTo>
                  <a:pt x="1408" y="3054"/>
                </a:lnTo>
                <a:lnTo>
                  <a:pt x="1406" y="3056"/>
                </a:lnTo>
                <a:lnTo>
                  <a:pt x="1404" y="3056"/>
                </a:lnTo>
                <a:lnTo>
                  <a:pt x="1403" y="3056"/>
                </a:lnTo>
                <a:lnTo>
                  <a:pt x="1401" y="3057"/>
                </a:lnTo>
                <a:lnTo>
                  <a:pt x="1398" y="3057"/>
                </a:lnTo>
                <a:lnTo>
                  <a:pt x="1399" y="3056"/>
                </a:lnTo>
                <a:lnTo>
                  <a:pt x="1398" y="3054"/>
                </a:lnTo>
                <a:lnTo>
                  <a:pt x="1399" y="3052"/>
                </a:lnTo>
                <a:lnTo>
                  <a:pt x="1401" y="3052"/>
                </a:lnTo>
                <a:lnTo>
                  <a:pt x="1404" y="3052"/>
                </a:lnTo>
                <a:close/>
                <a:moveTo>
                  <a:pt x="1321" y="2933"/>
                </a:moveTo>
                <a:lnTo>
                  <a:pt x="1323" y="2933"/>
                </a:lnTo>
                <a:lnTo>
                  <a:pt x="1321" y="2935"/>
                </a:lnTo>
                <a:lnTo>
                  <a:pt x="1323" y="2936"/>
                </a:lnTo>
                <a:lnTo>
                  <a:pt x="1325" y="2936"/>
                </a:lnTo>
                <a:lnTo>
                  <a:pt x="1325" y="2938"/>
                </a:lnTo>
                <a:lnTo>
                  <a:pt x="1326" y="2938"/>
                </a:lnTo>
                <a:lnTo>
                  <a:pt x="1328" y="2942"/>
                </a:lnTo>
                <a:lnTo>
                  <a:pt x="1326" y="2943"/>
                </a:lnTo>
                <a:lnTo>
                  <a:pt x="1325" y="2940"/>
                </a:lnTo>
                <a:lnTo>
                  <a:pt x="1323" y="2940"/>
                </a:lnTo>
                <a:lnTo>
                  <a:pt x="1321" y="2938"/>
                </a:lnTo>
                <a:lnTo>
                  <a:pt x="1323" y="2940"/>
                </a:lnTo>
                <a:lnTo>
                  <a:pt x="1319" y="2940"/>
                </a:lnTo>
                <a:lnTo>
                  <a:pt x="1318" y="2938"/>
                </a:lnTo>
                <a:lnTo>
                  <a:pt x="1318" y="2936"/>
                </a:lnTo>
                <a:lnTo>
                  <a:pt x="1319" y="2936"/>
                </a:lnTo>
                <a:lnTo>
                  <a:pt x="1319" y="2935"/>
                </a:lnTo>
                <a:lnTo>
                  <a:pt x="1321" y="2936"/>
                </a:lnTo>
                <a:lnTo>
                  <a:pt x="1319" y="2935"/>
                </a:lnTo>
                <a:lnTo>
                  <a:pt x="1318" y="2933"/>
                </a:lnTo>
                <a:lnTo>
                  <a:pt x="1321" y="2933"/>
                </a:lnTo>
                <a:close/>
                <a:moveTo>
                  <a:pt x="1302" y="2943"/>
                </a:moveTo>
                <a:lnTo>
                  <a:pt x="1304" y="2943"/>
                </a:lnTo>
                <a:lnTo>
                  <a:pt x="1306" y="2945"/>
                </a:lnTo>
                <a:lnTo>
                  <a:pt x="1306" y="2947"/>
                </a:lnTo>
                <a:lnTo>
                  <a:pt x="1306" y="2950"/>
                </a:lnTo>
                <a:lnTo>
                  <a:pt x="1306" y="2952"/>
                </a:lnTo>
                <a:lnTo>
                  <a:pt x="1308" y="2954"/>
                </a:lnTo>
                <a:lnTo>
                  <a:pt x="1309" y="2957"/>
                </a:lnTo>
                <a:lnTo>
                  <a:pt x="1313" y="2957"/>
                </a:lnTo>
                <a:lnTo>
                  <a:pt x="1313" y="2959"/>
                </a:lnTo>
                <a:lnTo>
                  <a:pt x="1313" y="2960"/>
                </a:lnTo>
                <a:lnTo>
                  <a:pt x="1311" y="2957"/>
                </a:lnTo>
                <a:lnTo>
                  <a:pt x="1308" y="2957"/>
                </a:lnTo>
                <a:lnTo>
                  <a:pt x="1309" y="2955"/>
                </a:lnTo>
                <a:lnTo>
                  <a:pt x="1308" y="2955"/>
                </a:lnTo>
                <a:lnTo>
                  <a:pt x="1309" y="2955"/>
                </a:lnTo>
                <a:lnTo>
                  <a:pt x="1308" y="2954"/>
                </a:lnTo>
                <a:lnTo>
                  <a:pt x="1306" y="2954"/>
                </a:lnTo>
                <a:lnTo>
                  <a:pt x="1306" y="2955"/>
                </a:lnTo>
                <a:lnTo>
                  <a:pt x="1304" y="2954"/>
                </a:lnTo>
                <a:lnTo>
                  <a:pt x="1306" y="2952"/>
                </a:lnTo>
                <a:lnTo>
                  <a:pt x="1304" y="2950"/>
                </a:lnTo>
                <a:lnTo>
                  <a:pt x="1302" y="2948"/>
                </a:lnTo>
                <a:lnTo>
                  <a:pt x="1302" y="2945"/>
                </a:lnTo>
                <a:lnTo>
                  <a:pt x="1302" y="2943"/>
                </a:lnTo>
                <a:close/>
                <a:moveTo>
                  <a:pt x="1352" y="2989"/>
                </a:moveTo>
                <a:lnTo>
                  <a:pt x="1355" y="2991"/>
                </a:lnTo>
                <a:lnTo>
                  <a:pt x="1357" y="2993"/>
                </a:lnTo>
                <a:lnTo>
                  <a:pt x="1359" y="2993"/>
                </a:lnTo>
                <a:lnTo>
                  <a:pt x="1359" y="2994"/>
                </a:lnTo>
                <a:lnTo>
                  <a:pt x="1360" y="2996"/>
                </a:lnTo>
                <a:lnTo>
                  <a:pt x="1362" y="2998"/>
                </a:lnTo>
                <a:lnTo>
                  <a:pt x="1360" y="2998"/>
                </a:lnTo>
                <a:lnTo>
                  <a:pt x="1359" y="2996"/>
                </a:lnTo>
                <a:lnTo>
                  <a:pt x="1357" y="2996"/>
                </a:lnTo>
                <a:lnTo>
                  <a:pt x="1357" y="2994"/>
                </a:lnTo>
                <a:lnTo>
                  <a:pt x="1357" y="2996"/>
                </a:lnTo>
                <a:lnTo>
                  <a:pt x="1355" y="2994"/>
                </a:lnTo>
                <a:lnTo>
                  <a:pt x="1353" y="2993"/>
                </a:lnTo>
                <a:lnTo>
                  <a:pt x="1352" y="2991"/>
                </a:lnTo>
                <a:lnTo>
                  <a:pt x="1352" y="2989"/>
                </a:lnTo>
                <a:close/>
                <a:moveTo>
                  <a:pt x="1403" y="3028"/>
                </a:moveTo>
                <a:lnTo>
                  <a:pt x="1406" y="3028"/>
                </a:lnTo>
                <a:lnTo>
                  <a:pt x="1408" y="3028"/>
                </a:lnTo>
                <a:lnTo>
                  <a:pt x="1410" y="3028"/>
                </a:lnTo>
                <a:lnTo>
                  <a:pt x="1410" y="3030"/>
                </a:lnTo>
                <a:lnTo>
                  <a:pt x="1410" y="3028"/>
                </a:lnTo>
                <a:lnTo>
                  <a:pt x="1411" y="3030"/>
                </a:lnTo>
                <a:lnTo>
                  <a:pt x="1411" y="3032"/>
                </a:lnTo>
                <a:lnTo>
                  <a:pt x="1413" y="3033"/>
                </a:lnTo>
                <a:lnTo>
                  <a:pt x="1411" y="3032"/>
                </a:lnTo>
                <a:lnTo>
                  <a:pt x="1410" y="3032"/>
                </a:lnTo>
                <a:lnTo>
                  <a:pt x="1408" y="3030"/>
                </a:lnTo>
                <a:lnTo>
                  <a:pt x="1408" y="3032"/>
                </a:lnTo>
                <a:lnTo>
                  <a:pt x="1404" y="3030"/>
                </a:lnTo>
                <a:lnTo>
                  <a:pt x="1403" y="3030"/>
                </a:lnTo>
                <a:lnTo>
                  <a:pt x="1403" y="3028"/>
                </a:lnTo>
                <a:close/>
                <a:moveTo>
                  <a:pt x="1342" y="2981"/>
                </a:moveTo>
                <a:lnTo>
                  <a:pt x="1345" y="2982"/>
                </a:lnTo>
                <a:lnTo>
                  <a:pt x="1345" y="2984"/>
                </a:lnTo>
                <a:lnTo>
                  <a:pt x="1347" y="2984"/>
                </a:lnTo>
                <a:lnTo>
                  <a:pt x="1348" y="2986"/>
                </a:lnTo>
                <a:lnTo>
                  <a:pt x="1350" y="2988"/>
                </a:lnTo>
                <a:lnTo>
                  <a:pt x="1352" y="2989"/>
                </a:lnTo>
                <a:lnTo>
                  <a:pt x="1350" y="2988"/>
                </a:lnTo>
                <a:lnTo>
                  <a:pt x="1348" y="2988"/>
                </a:lnTo>
                <a:lnTo>
                  <a:pt x="1348" y="2989"/>
                </a:lnTo>
                <a:lnTo>
                  <a:pt x="1347" y="2988"/>
                </a:lnTo>
                <a:lnTo>
                  <a:pt x="1345" y="2984"/>
                </a:lnTo>
                <a:lnTo>
                  <a:pt x="1343" y="2984"/>
                </a:lnTo>
                <a:lnTo>
                  <a:pt x="1342" y="2982"/>
                </a:lnTo>
                <a:lnTo>
                  <a:pt x="1342" y="2981"/>
                </a:lnTo>
                <a:close/>
                <a:moveTo>
                  <a:pt x="1442" y="3069"/>
                </a:moveTo>
                <a:lnTo>
                  <a:pt x="1442" y="3071"/>
                </a:lnTo>
                <a:lnTo>
                  <a:pt x="1444" y="3069"/>
                </a:lnTo>
                <a:lnTo>
                  <a:pt x="1445" y="3071"/>
                </a:lnTo>
                <a:lnTo>
                  <a:pt x="1444" y="3073"/>
                </a:lnTo>
                <a:lnTo>
                  <a:pt x="1442" y="3074"/>
                </a:lnTo>
                <a:lnTo>
                  <a:pt x="1442" y="3073"/>
                </a:lnTo>
                <a:lnTo>
                  <a:pt x="1440" y="3074"/>
                </a:lnTo>
                <a:lnTo>
                  <a:pt x="1438" y="3073"/>
                </a:lnTo>
                <a:lnTo>
                  <a:pt x="1440" y="3069"/>
                </a:lnTo>
                <a:lnTo>
                  <a:pt x="1442" y="3069"/>
                </a:lnTo>
                <a:close/>
                <a:moveTo>
                  <a:pt x="1352" y="2999"/>
                </a:moveTo>
                <a:lnTo>
                  <a:pt x="1353" y="2999"/>
                </a:lnTo>
                <a:lnTo>
                  <a:pt x="1352" y="3001"/>
                </a:lnTo>
                <a:lnTo>
                  <a:pt x="1353" y="3001"/>
                </a:lnTo>
                <a:lnTo>
                  <a:pt x="1355" y="3003"/>
                </a:lnTo>
                <a:lnTo>
                  <a:pt x="1357" y="3003"/>
                </a:lnTo>
                <a:lnTo>
                  <a:pt x="1357" y="3005"/>
                </a:lnTo>
                <a:lnTo>
                  <a:pt x="1359" y="3006"/>
                </a:lnTo>
                <a:lnTo>
                  <a:pt x="1360" y="3006"/>
                </a:lnTo>
                <a:lnTo>
                  <a:pt x="1362" y="3008"/>
                </a:lnTo>
                <a:lnTo>
                  <a:pt x="1364" y="3008"/>
                </a:lnTo>
                <a:lnTo>
                  <a:pt x="1362" y="3008"/>
                </a:lnTo>
                <a:lnTo>
                  <a:pt x="1359" y="3006"/>
                </a:lnTo>
                <a:lnTo>
                  <a:pt x="1357" y="3005"/>
                </a:lnTo>
                <a:lnTo>
                  <a:pt x="1355" y="3005"/>
                </a:lnTo>
                <a:lnTo>
                  <a:pt x="1353" y="3003"/>
                </a:lnTo>
                <a:lnTo>
                  <a:pt x="1352" y="3001"/>
                </a:lnTo>
                <a:lnTo>
                  <a:pt x="1350" y="2999"/>
                </a:lnTo>
                <a:lnTo>
                  <a:pt x="1352" y="2999"/>
                </a:lnTo>
                <a:close/>
                <a:moveTo>
                  <a:pt x="1406" y="3020"/>
                </a:moveTo>
                <a:lnTo>
                  <a:pt x="1408" y="3020"/>
                </a:lnTo>
                <a:lnTo>
                  <a:pt x="1410" y="3022"/>
                </a:lnTo>
                <a:lnTo>
                  <a:pt x="1413" y="3022"/>
                </a:lnTo>
                <a:lnTo>
                  <a:pt x="1411" y="3022"/>
                </a:lnTo>
                <a:lnTo>
                  <a:pt x="1410" y="3023"/>
                </a:lnTo>
                <a:lnTo>
                  <a:pt x="1408" y="3023"/>
                </a:lnTo>
                <a:lnTo>
                  <a:pt x="1406" y="3022"/>
                </a:lnTo>
                <a:lnTo>
                  <a:pt x="1404" y="3023"/>
                </a:lnTo>
                <a:lnTo>
                  <a:pt x="1403" y="3022"/>
                </a:lnTo>
                <a:lnTo>
                  <a:pt x="1404" y="3022"/>
                </a:lnTo>
                <a:lnTo>
                  <a:pt x="1406" y="3020"/>
                </a:lnTo>
                <a:close/>
                <a:moveTo>
                  <a:pt x="1326" y="2962"/>
                </a:moveTo>
                <a:lnTo>
                  <a:pt x="1326" y="2964"/>
                </a:lnTo>
                <a:lnTo>
                  <a:pt x="1326" y="2965"/>
                </a:lnTo>
                <a:lnTo>
                  <a:pt x="1328" y="2967"/>
                </a:lnTo>
                <a:lnTo>
                  <a:pt x="1328" y="2969"/>
                </a:lnTo>
                <a:lnTo>
                  <a:pt x="1326" y="2969"/>
                </a:lnTo>
                <a:lnTo>
                  <a:pt x="1325" y="2967"/>
                </a:lnTo>
                <a:lnTo>
                  <a:pt x="1325" y="2965"/>
                </a:lnTo>
                <a:lnTo>
                  <a:pt x="1325" y="2964"/>
                </a:lnTo>
                <a:lnTo>
                  <a:pt x="1326" y="2962"/>
                </a:lnTo>
                <a:close/>
                <a:moveTo>
                  <a:pt x="1338" y="2969"/>
                </a:moveTo>
                <a:lnTo>
                  <a:pt x="1340" y="2969"/>
                </a:lnTo>
                <a:lnTo>
                  <a:pt x="1342" y="2969"/>
                </a:lnTo>
                <a:lnTo>
                  <a:pt x="1343" y="2971"/>
                </a:lnTo>
                <a:lnTo>
                  <a:pt x="1342" y="2971"/>
                </a:lnTo>
                <a:lnTo>
                  <a:pt x="1340" y="2971"/>
                </a:lnTo>
                <a:lnTo>
                  <a:pt x="1338" y="2969"/>
                </a:lnTo>
                <a:close/>
                <a:moveTo>
                  <a:pt x="1328" y="2974"/>
                </a:moveTo>
                <a:lnTo>
                  <a:pt x="1330" y="2976"/>
                </a:lnTo>
                <a:lnTo>
                  <a:pt x="1331" y="2976"/>
                </a:lnTo>
                <a:lnTo>
                  <a:pt x="1331" y="2977"/>
                </a:lnTo>
                <a:lnTo>
                  <a:pt x="1331" y="2976"/>
                </a:lnTo>
                <a:lnTo>
                  <a:pt x="1333" y="2977"/>
                </a:lnTo>
                <a:lnTo>
                  <a:pt x="1331" y="2977"/>
                </a:lnTo>
                <a:lnTo>
                  <a:pt x="1330" y="2977"/>
                </a:lnTo>
                <a:lnTo>
                  <a:pt x="1328" y="2976"/>
                </a:lnTo>
                <a:lnTo>
                  <a:pt x="1330" y="2977"/>
                </a:lnTo>
                <a:lnTo>
                  <a:pt x="1328" y="2976"/>
                </a:lnTo>
                <a:lnTo>
                  <a:pt x="1326" y="2974"/>
                </a:lnTo>
                <a:lnTo>
                  <a:pt x="1328" y="2974"/>
                </a:lnTo>
                <a:close/>
                <a:moveTo>
                  <a:pt x="1370" y="3001"/>
                </a:moveTo>
                <a:lnTo>
                  <a:pt x="1372" y="3003"/>
                </a:lnTo>
                <a:lnTo>
                  <a:pt x="1372" y="3005"/>
                </a:lnTo>
                <a:lnTo>
                  <a:pt x="1374" y="3006"/>
                </a:lnTo>
                <a:lnTo>
                  <a:pt x="1370" y="3005"/>
                </a:lnTo>
                <a:lnTo>
                  <a:pt x="1370" y="3003"/>
                </a:lnTo>
                <a:lnTo>
                  <a:pt x="1369" y="3003"/>
                </a:lnTo>
                <a:lnTo>
                  <a:pt x="1369" y="3001"/>
                </a:lnTo>
                <a:lnTo>
                  <a:pt x="1370" y="3001"/>
                </a:lnTo>
                <a:close/>
                <a:moveTo>
                  <a:pt x="1299" y="2945"/>
                </a:moveTo>
                <a:lnTo>
                  <a:pt x="1299" y="2947"/>
                </a:lnTo>
                <a:lnTo>
                  <a:pt x="1297" y="2947"/>
                </a:lnTo>
                <a:lnTo>
                  <a:pt x="1299" y="2948"/>
                </a:lnTo>
                <a:lnTo>
                  <a:pt x="1297" y="2948"/>
                </a:lnTo>
                <a:lnTo>
                  <a:pt x="1299" y="2950"/>
                </a:lnTo>
                <a:lnTo>
                  <a:pt x="1299" y="2952"/>
                </a:lnTo>
                <a:lnTo>
                  <a:pt x="1297" y="2950"/>
                </a:lnTo>
                <a:lnTo>
                  <a:pt x="1297" y="2948"/>
                </a:lnTo>
                <a:lnTo>
                  <a:pt x="1297" y="2947"/>
                </a:lnTo>
                <a:lnTo>
                  <a:pt x="1299" y="2945"/>
                </a:lnTo>
                <a:close/>
                <a:moveTo>
                  <a:pt x="1342" y="2986"/>
                </a:moveTo>
                <a:lnTo>
                  <a:pt x="1343" y="2986"/>
                </a:lnTo>
                <a:lnTo>
                  <a:pt x="1345" y="2989"/>
                </a:lnTo>
                <a:lnTo>
                  <a:pt x="1347" y="2989"/>
                </a:lnTo>
                <a:lnTo>
                  <a:pt x="1347" y="2991"/>
                </a:lnTo>
                <a:lnTo>
                  <a:pt x="1345" y="2989"/>
                </a:lnTo>
                <a:lnTo>
                  <a:pt x="1343" y="2988"/>
                </a:lnTo>
                <a:lnTo>
                  <a:pt x="1342" y="2988"/>
                </a:lnTo>
                <a:lnTo>
                  <a:pt x="1342" y="2986"/>
                </a:lnTo>
                <a:close/>
                <a:moveTo>
                  <a:pt x="1491" y="3066"/>
                </a:moveTo>
                <a:lnTo>
                  <a:pt x="1493" y="3066"/>
                </a:lnTo>
                <a:lnTo>
                  <a:pt x="1493" y="3067"/>
                </a:lnTo>
                <a:lnTo>
                  <a:pt x="1495" y="3067"/>
                </a:lnTo>
                <a:lnTo>
                  <a:pt x="1496" y="3067"/>
                </a:lnTo>
                <a:lnTo>
                  <a:pt x="1496" y="3069"/>
                </a:lnTo>
                <a:lnTo>
                  <a:pt x="1495" y="3069"/>
                </a:lnTo>
                <a:lnTo>
                  <a:pt x="1493" y="3067"/>
                </a:lnTo>
                <a:lnTo>
                  <a:pt x="1491" y="3066"/>
                </a:lnTo>
                <a:close/>
                <a:moveTo>
                  <a:pt x="1370" y="3011"/>
                </a:moveTo>
                <a:lnTo>
                  <a:pt x="1374" y="3013"/>
                </a:lnTo>
                <a:lnTo>
                  <a:pt x="1376" y="3015"/>
                </a:lnTo>
                <a:lnTo>
                  <a:pt x="1377" y="3015"/>
                </a:lnTo>
                <a:lnTo>
                  <a:pt x="1376" y="3015"/>
                </a:lnTo>
                <a:lnTo>
                  <a:pt x="1374" y="3015"/>
                </a:lnTo>
                <a:lnTo>
                  <a:pt x="1372" y="3013"/>
                </a:lnTo>
                <a:lnTo>
                  <a:pt x="1370" y="3013"/>
                </a:lnTo>
                <a:lnTo>
                  <a:pt x="1370" y="3011"/>
                </a:lnTo>
                <a:close/>
                <a:moveTo>
                  <a:pt x="1335" y="2977"/>
                </a:moveTo>
                <a:lnTo>
                  <a:pt x="1336" y="2979"/>
                </a:lnTo>
                <a:lnTo>
                  <a:pt x="1336" y="2981"/>
                </a:lnTo>
                <a:lnTo>
                  <a:pt x="1340" y="2981"/>
                </a:lnTo>
                <a:lnTo>
                  <a:pt x="1340" y="2982"/>
                </a:lnTo>
                <a:lnTo>
                  <a:pt x="1338" y="2981"/>
                </a:lnTo>
                <a:lnTo>
                  <a:pt x="1336" y="2981"/>
                </a:lnTo>
                <a:lnTo>
                  <a:pt x="1335" y="2979"/>
                </a:lnTo>
                <a:lnTo>
                  <a:pt x="1335" y="2977"/>
                </a:lnTo>
                <a:close/>
                <a:moveTo>
                  <a:pt x="1353" y="2998"/>
                </a:moveTo>
                <a:lnTo>
                  <a:pt x="1353" y="2999"/>
                </a:lnTo>
                <a:lnTo>
                  <a:pt x="1355" y="2999"/>
                </a:lnTo>
                <a:lnTo>
                  <a:pt x="1355" y="2998"/>
                </a:lnTo>
                <a:lnTo>
                  <a:pt x="1355" y="2999"/>
                </a:lnTo>
                <a:lnTo>
                  <a:pt x="1357" y="2999"/>
                </a:lnTo>
                <a:lnTo>
                  <a:pt x="1357" y="3001"/>
                </a:lnTo>
                <a:lnTo>
                  <a:pt x="1359" y="3003"/>
                </a:lnTo>
                <a:lnTo>
                  <a:pt x="1357" y="3003"/>
                </a:lnTo>
                <a:lnTo>
                  <a:pt x="1355" y="3001"/>
                </a:lnTo>
                <a:lnTo>
                  <a:pt x="1353" y="2999"/>
                </a:lnTo>
                <a:lnTo>
                  <a:pt x="1352" y="2999"/>
                </a:lnTo>
                <a:lnTo>
                  <a:pt x="1353" y="2998"/>
                </a:lnTo>
                <a:close/>
                <a:moveTo>
                  <a:pt x="1321" y="2964"/>
                </a:moveTo>
                <a:lnTo>
                  <a:pt x="1321" y="2965"/>
                </a:lnTo>
                <a:lnTo>
                  <a:pt x="1323" y="2967"/>
                </a:lnTo>
                <a:lnTo>
                  <a:pt x="1321" y="2967"/>
                </a:lnTo>
                <a:lnTo>
                  <a:pt x="1321" y="2965"/>
                </a:lnTo>
                <a:lnTo>
                  <a:pt x="1319" y="2965"/>
                </a:lnTo>
                <a:lnTo>
                  <a:pt x="1321" y="2964"/>
                </a:lnTo>
                <a:close/>
                <a:moveTo>
                  <a:pt x="1323" y="2926"/>
                </a:moveTo>
                <a:lnTo>
                  <a:pt x="1325" y="2928"/>
                </a:lnTo>
                <a:lnTo>
                  <a:pt x="1326" y="2930"/>
                </a:lnTo>
                <a:lnTo>
                  <a:pt x="1323" y="2928"/>
                </a:lnTo>
                <a:lnTo>
                  <a:pt x="1323" y="2926"/>
                </a:lnTo>
                <a:close/>
                <a:moveTo>
                  <a:pt x="1399" y="3025"/>
                </a:moveTo>
                <a:lnTo>
                  <a:pt x="1401" y="3025"/>
                </a:lnTo>
                <a:lnTo>
                  <a:pt x="1401" y="3027"/>
                </a:lnTo>
                <a:lnTo>
                  <a:pt x="1398" y="3027"/>
                </a:lnTo>
                <a:lnTo>
                  <a:pt x="1399" y="3025"/>
                </a:lnTo>
                <a:close/>
                <a:moveTo>
                  <a:pt x="1326" y="2972"/>
                </a:moveTo>
                <a:lnTo>
                  <a:pt x="1326" y="2974"/>
                </a:lnTo>
                <a:lnTo>
                  <a:pt x="1325" y="2974"/>
                </a:lnTo>
                <a:lnTo>
                  <a:pt x="1326" y="2974"/>
                </a:lnTo>
                <a:lnTo>
                  <a:pt x="1325" y="2974"/>
                </a:lnTo>
                <a:lnTo>
                  <a:pt x="1325" y="2972"/>
                </a:lnTo>
                <a:lnTo>
                  <a:pt x="1326" y="2972"/>
                </a:lnTo>
                <a:close/>
                <a:moveTo>
                  <a:pt x="1316" y="2969"/>
                </a:moveTo>
                <a:lnTo>
                  <a:pt x="1319" y="2969"/>
                </a:lnTo>
                <a:lnTo>
                  <a:pt x="1321" y="2971"/>
                </a:lnTo>
                <a:lnTo>
                  <a:pt x="1319" y="2971"/>
                </a:lnTo>
                <a:lnTo>
                  <a:pt x="1316" y="2969"/>
                </a:lnTo>
                <a:close/>
                <a:moveTo>
                  <a:pt x="1311" y="2925"/>
                </a:moveTo>
                <a:lnTo>
                  <a:pt x="1311" y="2926"/>
                </a:lnTo>
                <a:lnTo>
                  <a:pt x="1309" y="2925"/>
                </a:lnTo>
                <a:lnTo>
                  <a:pt x="1308" y="2925"/>
                </a:lnTo>
                <a:lnTo>
                  <a:pt x="1311" y="2925"/>
                </a:lnTo>
                <a:close/>
                <a:moveTo>
                  <a:pt x="1331" y="2960"/>
                </a:moveTo>
                <a:lnTo>
                  <a:pt x="1333" y="2960"/>
                </a:lnTo>
                <a:lnTo>
                  <a:pt x="1333" y="2962"/>
                </a:lnTo>
                <a:lnTo>
                  <a:pt x="1335" y="2964"/>
                </a:lnTo>
                <a:lnTo>
                  <a:pt x="1333" y="2962"/>
                </a:lnTo>
                <a:lnTo>
                  <a:pt x="1331" y="2960"/>
                </a:lnTo>
                <a:lnTo>
                  <a:pt x="1330" y="2960"/>
                </a:lnTo>
                <a:lnTo>
                  <a:pt x="1331" y="2960"/>
                </a:lnTo>
                <a:close/>
                <a:moveTo>
                  <a:pt x="1430" y="3049"/>
                </a:moveTo>
                <a:lnTo>
                  <a:pt x="1433" y="3049"/>
                </a:lnTo>
                <a:lnTo>
                  <a:pt x="1432" y="3049"/>
                </a:lnTo>
                <a:lnTo>
                  <a:pt x="1428" y="3049"/>
                </a:lnTo>
                <a:lnTo>
                  <a:pt x="1430" y="3049"/>
                </a:lnTo>
                <a:close/>
                <a:moveTo>
                  <a:pt x="1382" y="3010"/>
                </a:moveTo>
                <a:lnTo>
                  <a:pt x="1384" y="3011"/>
                </a:lnTo>
                <a:lnTo>
                  <a:pt x="1382" y="3010"/>
                </a:lnTo>
                <a:close/>
                <a:moveTo>
                  <a:pt x="1374" y="3008"/>
                </a:moveTo>
                <a:lnTo>
                  <a:pt x="1376" y="3008"/>
                </a:lnTo>
                <a:lnTo>
                  <a:pt x="1377" y="3011"/>
                </a:lnTo>
                <a:lnTo>
                  <a:pt x="1377" y="3010"/>
                </a:lnTo>
                <a:lnTo>
                  <a:pt x="1377" y="3011"/>
                </a:lnTo>
                <a:lnTo>
                  <a:pt x="1376" y="3011"/>
                </a:lnTo>
                <a:lnTo>
                  <a:pt x="1374" y="3008"/>
                </a:lnTo>
                <a:close/>
                <a:moveTo>
                  <a:pt x="1321" y="2930"/>
                </a:moveTo>
                <a:lnTo>
                  <a:pt x="1323" y="2930"/>
                </a:lnTo>
                <a:lnTo>
                  <a:pt x="1323" y="2931"/>
                </a:lnTo>
                <a:lnTo>
                  <a:pt x="1321" y="2931"/>
                </a:lnTo>
                <a:lnTo>
                  <a:pt x="1321" y="2930"/>
                </a:lnTo>
                <a:close/>
                <a:moveTo>
                  <a:pt x="1272" y="2930"/>
                </a:moveTo>
                <a:lnTo>
                  <a:pt x="1274" y="2931"/>
                </a:lnTo>
                <a:lnTo>
                  <a:pt x="1272" y="2931"/>
                </a:lnTo>
                <a:lnTo>
                  <a:pt x="1272" y="2933"/>
                </a:lnTo>
                <a:lnTo>
                  <a:pt x="1272" y="2931"/>
                </a:lnTo>
                <a:lnTo>
                  <a:pt x="1270" y="2930"/>
                </a:lnTo>
                <a:lnTo>
                  <a:pt x="1272" y="2930"/>
                </a:lnTo>
                <a:close/>
                <a:moveTo>
                  <a:pt x="1394" y="3059"/>
                </a:moveTo>
                <a:lnTo>
                  <a:pt x="1396" y="3059"/>
                </a:lnTo>
                <a:lnTo>
                  <a:pt x="1396" y="3061"/>
                </a:lnTo>
                <a:lnTo>
                  <a:pt x="1394" y="3061"/>
                </a:lnTo>
                <a:lnTo>
                  <a:pt x="1394" y="3059"/>
                </a:lnTo>
                <a:close/>
                <a:moveTo>
                  <a:pt x="1313" y="2960"/>
                </a:moveTo>
                <a:lnTo>
                  <a:pt x="1314" y="2960"/>
                </a:lnTo>
                <a:lnTo>
                  <a:pt x="1314" y="2962"/>
                </a:lnTo>
                <a:lnTo>
                  <a:pt x="1313" y="2962"/>
                </a:lnTo>
                <a:lnTo>
                  <a:pt x="1313" y="2960"/>
                </a:lnTo>
                <a:close/>
                <a:moveTo>
                  <a:pt x="1413" y="3044"/>
                </a:moveTo>
                <a:lnTo>
                  <a:pt x="1413" y="3045"/>
                </a:lnTo>
                <a:lnTo>
                  <a:pt x="1415" y="3044"/>
                </a:lnTo>
                <a:lnTo>
                  <a:pt x="1415" y="3045"/>
                </a:lnTo>
                <a:lnTo>
                  <a:pt x="1413" y="3045"/>
                </a:lnTo>
                <a:lnTo>
                  <a:pt x="1411" y="3045"/>
                </a:lnTo>
                <a:lnTo>
                  <a:pt x="1411" y="3044"/>
                </a:lnTo>
                <a:lnTo>
                  <a:pt x="1413" y="3044"/>
                </a:lnTo>
                <a:close/>
                <a:moveTo>
                  <a:pt x="1325" y="2931"/>
                </a:moveTo>
                <a:lnTo>
                  <a:pt x="1326" y="2931"/>
                </a:lnTo>
                <a:lnTo>
                  <a:pt x="1326" y="2933"/>
                </a:lnTo>
                <a:lnTo>
                  <a:pt x="1325" y="2935"/>
                </a:lnTo>
                <a:lnTo>
                  <a:pt x="1325" y="2931"/>
                </a:lnTo>
                <a:close/>
                <a:moveTo>
                  <a:pt x="1323" y="2940"/>
                </a:moveTo>
                <a:lnTo>
                  <a:pt x="1325" y="2940"/>
                </a:lnTo>
                <a:lnTo>
                  <a:pt x="1326" y="2942"/>
                </a:lnTo>
                <a:lnTo>
                  <a:pt x="1328" y="2943"/>
                </a:lnTo>
                <a:lnTo>
                  <a:pt x="1326" y="2943"/>
                </a:lnTo>
                <a:lnTo>
                  <a:pt x="1325" y="2942"/>
                </a:lnTo>
                <a:lnTo>
                  <a:pt x="1323" y="2940"/>
                </a:lnTo>
                <a:close/>
                <a:moveTo>
                  <a:pt x="1498" y="3071"/>
                </a:moveTo>
                <a:lnTo>
                  <a:pt x="1500" y="3071"/>
                </a:lnTo>
                <a:lnTo>
                  <a:pt x="1498" y="3071"/>
                </a:lnTo>
                <a:lnTo>
                  <a:pt x="1496" y="3071"/>
                </a:lnTo>
                <a:lnTo>
                  <a:pt x="1498" y="3069"/>
                </a:lnTo>
                <a:lnTo>
                  <a:pt x="1498" y="3071"/>
                </a:lnTo>
                <a:close/>
                <a:moveTo>
                  <a:pt x="1333" y="2979"/>
                </a:moveTo>
                <a:lnTo>
                  <a:pt x="1335" y="2981"/>
                </a:lnTo>
                <a:lnTo>
                  <a:pt x="1333" y="2981"/>
                </a:lnTo>
                <a:lnTo>
                  <a:pt x="1331" y="2979"/>
                </a:lnTo>
                <a:lnTo>
                  <a:pt x="1333" y="2979"/>
                </a:lnTo>
                <a:close/>
                <a:moveTo>
                  <a:pt x="1381" y="3057"/>
                </a:moveTo>
                <a:lnTo>
                  <a:pt x="1382" y="3057"/>
                </a:lnTo>
                <a:lnTo>
                  <a:pt x="1381" y="3057"/>
                </a:lnTo>
                <a:close/>
                <a:moveTo>
                  <a:pt x="1421" y="3073"/>
                </a:moveTo>
                <a:lnTo>
                  <a:pt x="1425" y="3071"/>
                </a:lnTo>
                <a:lnTo>
                  <a:pt x="1425" y="3073"/>
                </a:lnTo>
                <a:lnTo>
                  <a:pt x="1421" y="3074"/>
                </a:lnTo>
                <a:lnTo>
                  <a:pt x="1421" y="3073"/>
                </a:lnTo>
                <a:close/>
                <a:moveTo>
                  <a:pt x="1301" y="2957"/>
                </a:moveTo>
                <a:lnTo>
                  <a:pt x="1302" y="2957"/>
                </a:lnTo>
                <a:lnTo>
                  <a:pt x="1302" y="2959"/>
                </a:lnTo>
                <a:lnTo>
                  <a:pt x="1301" y="2959"/>
                </a:lnTo>
                <a:lnTo>
                  <a:pt x="1301" y="2957"/>
                </a:lnTo>
                <a:close/>
                <a:moveTo>
                  <a:pt x="1321" y="2972"/>
                </a:moveTo>
                <a:lnTo>
                  <a:pt x="1323" y="2972"/>
                </a:lnTo>
                <a:lnTo>
                  <a:pt x="1323" y="2974"/>
                </a:lnTo>
                <a:lnTo>
                  <a:pt x="1321" y="2974"/>
                </a:lnTo>
                <a:lnTo>
                  <a:pt x="1321" y="2972"/>
                </a:lnTo>
                <a:close/>
                <a:moveTo>
                  <a:pt x="1340" y="2979"/>
                </a:moveTo>
                <a:lnTo>
                  <a:pt x="1340" y="2981"/>
                </a:lnTo>
                <a:lnTo>
                  <a:pt x="1340" y="2979"/>
                </a:lnTo>
                <a:close/>
                <a:moveTo>
                  <a:pt x="1342" y="2988"/>
                </a:moveTo>
                <a:lnTo>
                  <a:pt x="1343" y="2988"/>
                </a:lnTo>
                <a:lnTo>
                  <a:pt x="1343" y="2991"/>
                </a:lnTo>
                <a:lnTo>
                  <a:pt x="1342" y="2991"/>
                </a:lnTo>
                <a:lnTo>
                  <a:pt x="1342" y="2988"/>
                </a:lnTo>
                <a:close/>
                <a:moveTo>
                  <a:pt x="1396" y="3027"/>
                </a:moveTo>
                <a:lnTo>
                  <a:pt x="1398" y="3025"/>
                </a:lnTo>
                <a:lnTo>
                  <a:pt x="1398" y="3027"/>
                </a:lnTo>
                <a:lnTo>
                  <a:pt x="1396" y="3027"/>
                </a:lnTo>
                <a:close/>
                <a:moveTo>
                  <a:pt x="1372" y="3010"/>
                </a:moveTo>
                <a:lnTo>
                  <a:pt x="1374" y="3011"/>
                </a:lnTo>
                <a:lnTo>
                  <a:pt x="1374" y="3010"/>
                </a:lnTo>
                <a:lnTo>
                  <a:pt x="1376" y="3011"/>
                </a:lnTo>
                <a:lnTo>
                  <a:pt x="1374" y="3011"/>
                </a:lnTo>
                <a:lnTo>
                  <a:pt x="1372" y="3010"/>
                </a:lnTo>
                <a:close/>
                <a:moveTo>
                  <a:pt x="1377" y="3010"/>
                </a:moveTo>
                <a:lnTo>
                  <a:pt x="1379" y="3010"/>
                </a:lnTo>
                <a:lnTo>
                  <a:pt x="1379" y="3011"/>
                </a:lnTo>
                <a:lnTo>
                  <a:pt x="1377" y="3011"/>
                </a:lnTo>
                <a:lnTo>
                  <a:pt x="1377" y="3010"/>
                </a:lnTo>
                <a:close/>
                <a:moveTo>
                  <a:pt x="1489" y="3067"/>
                </a:moveTo>
                <a:lnTo>
                  <a:pt x="1491" y="3067"/>
                </a:lnTo>
                <a:lnTo>
                  <a:pt x="1489" y="3067"/>
                </a:lnTo>
                <a:close/>
                <a:moveTo>
                  <a:pt x="1438" y="3071"/>
                </a:moveTo>
                <a:lnTo>
                  <a:pt x="1438" y="3073"/>
                </a:lnTo>
                <a:lnTo>
                  <a:pt x="1438" y="3071"/>
                </a:lnTo>
                <a:close/>
                <a:moveTo>
                  <a:pt x="1355" y="3006"/>
                </a:moveTo>
                <a:lnTo>
                  <a:pt x="1359" y="3006"/>
                </a:lnTo>
                <a:lnTo>
                  <a:pt x="1357" y="3008"/>
                </a:lnTo>
                <a:lnTo>
                  <a:pt x="1355" y="3006"/>
                </a:lnTo>
                <a:close/>
                <a:moveTo>
                  <a:pt x="1301" y="2938"/>
                </a:moveTo>
                <a:lnTo>
                  <a:pt x="1301" y="2940"/>
                </a:lnTo>
                <a:lnTo>
                  <a:pt x="1301" y="2938"/>
                </a:lnTo>
                <a:close/>
                <a:moveTo>
                  <a:pt x="1381" y="3006"/>
                </a:moveTo>
                <a:lnTo>
                  <a:pt x="1381" y="3008"/>
                </a:lnTo>
                <a:lnTo>
                  <a:pt x="1381" y="3006"/>
                </a:lnTo>
                <a:close/>
                <a:moveTo>
                  <a:pt x="1500" y="3071"/>
                </a:moveTo>
                <a:lnTo>
                  <a:pt x="1501" y="3071"/>
                </a:lnTo>
                <a:lnTo>
                  <a:pt x="1501" y="3073"/>
                </a:lnTo>
                <a:lnTo>
                  <a:pt x="1500" y="3073"/>
                </a:lnTo>
                <a:lnTo>
                  <a:pt x="1500" y="3071"/>
                </a:lnTo>
                <a:close/>
                <a:moveTo>
                  <a:pt x="1348" y="2994"/>
                </a:moveTo>
                <a:lnTo>
                  <a:pt x="1350" y="2994"/>
                </a:lnTo>
                <a:lnTo>
                  <a:pt x="1350" y="2996"/>
                </a:lnTo>
                <a:lnTo>
                  <a:pt x="1348" y="2996"/>
                </a:lnTo>
                <a:lnTo>
                  <a:pt x="1348" y="2994"/>
                </a:lnTo>
                <a:close/>
                <a:moveTo>
                  <a:pt x="1333" y="2979"/>
                </a:moveTo>
                <a:lnTo>
                  <a:pt x="1335" y="2979"/>
                </a:lnTo>
                <a:lnTo>
                  <a:pt x="1333" y="2981"/>
                </a:lnTo>
                <a:lnTo>
                  <a:pt x="1333" y="2979"/>
                </a:lnTo>
                <a:close/>
                <a:moveTo>
                  <a:pt x="1365" y="3011"/>
                </a:moveTo>
                <a:lnTo>
                  <a:pt x="1367" y="3011"/>
                </a:lnTo>
                <a:lnTo>
                  <a:pt x="1365" y="3011"/>
                </a:lnTo>
                <a:lnTo>
                  <a:pt x="1364" y="3010"/>
                </a:lnTo>
                <a:lnTo>
                  <a:pt x="1365" y="3011"/>
                </a:lnTo>
                <a:close/>
                <a:moveTo>
                  <a:pt x="1353" y="2994"/>
                </a:moveTo>
                <a:lnTo>
                  <a:pt x="1355" y="2994"/>
                </a:lnTo>
                <a:lnTo>
                  <a:pt x="1355" y="2996"/>
                </a:lnTo>
                <a:lnTo>
                  <a:pt x="1353" y="2996"/>
                </a:lnTo>
                <a:lnTo>
                  <a:pt x="1353" y="2994"/>
                </a:lnTo>
                <a:close/>
                <a:moveTo>
                  <a:pt x="1301" y="2952"/>
                </a:moveTo>
                <a:lnTo>
                  <a:pt x="1302" y="2952"/>
                </a:lnTo>
                <a:lnTo>
                  <a:pt x="1302" y="2954"/>
                </a:lnTo>
                <a:lnTo>
                  <a:pt x="1301" y="2954"/>
                </a:lnTo>
                <a:lnTo>
                  <a:pt x="1301" y="2952"/>
                </a:lnTo>
                <a:close/>
                <a:moveTo>
                  <a:pt x="1330" y="2965"/>
                </a:moveTo>
                <a:lnTo>
                  <a:pt x="1330" y="2964"/>
                </a:lnTo>
                <a:lnTo>
                  <a:pt x="1330" y="2965"/>
                </a:lnTo>
                <a:close/>
                <a:moveTo>
                  <a:pt x="903" y="2833"/>
                </a:moveTo>
                <a:lnTo>
                  <a:pt x="905" y="2829"/>
                </a:lnTo>
                <a:lnTo>
                  <a:pt x="908" y="2829"/>
                </a:lnTo>
                <a:lnTo>
                  <a:pt x="910" y="2831"/>
                </a:lnTo>
                <a:lnTo>
                  <a:pt x="911" y="2829"/>
                </a:lnTo>
                <a:lnTo>
                  <a:pt x="913" y="2829"/>
                </a:lnTo>
                <a:lnTo>
                  <a:pt x="917" y="2826"/>
                </a:lnTo>
                <a:lnTo>
                  <a:pt x="917" y="2828"/>
                </a:lnTo>
                <a:lnTo>
                  <a:pt x="920" y="2828"/>
                </a:lnTo>
                <a:lnTo>
                  <a:pt x="922" y="2828"/>
                </a:lnTo>
                <a:lnTo>
                  <a:pt x="923" y="2828"/>
                </a:lnTo>
                <a:lnTo>
                  <a:pt x="927" y="2828"/>
                </a:lnTo>
                <a:lnTo>
                  <a:pt x="928" y="2828"/>
                </a:lnTo>
                <a:lnTo>
                  <a:pt x="930" y="2828"/>
                </a:lnTo>
                <a:lnTo>
                  <a:pt x="932" y="2829"/>
                </a:lnTo>
                <a:lnTo>
                  <a:pt x="934" y="2828"/>
                </a:lnTo>
                <a:lnTo>
                  <a:pt x="935" y="2828"/>
                </a:lnTo>
                <a:lnTo>
                  <a:pt x="935" y="2826"/>
                </a:lnTo>
                <a:lnTo>
                  <a:pt x="934" y="2824"/>
                </a:lnTo>
                <a:lnTo>
                  <a:pt x="932" y="2824"/>
                </a:lnTo>
                <a:lnTo>
                  <a:pt x="932" y="2823"/>
                </a:lnTo>
                <a:lnTo>
                  <a:pt x="928" y="2823"/>
                </a:lnTo>
                <a:lnTo>
                  <a:pt x="927" y="2821"/>
                </a:lnTo>
                <a:lnTo>
                  <a:pt x="923" y="2821"/>
                </a:lnTo>
                <a:lnTo>
                  <a:pt x="922" y="2821"/>
                </a:lnTo>
                <a:lnTo>
                  <a:pt x="922" y="2819"/>
                </a:lnTo>
                <a:lnTo>
                  <a:pt x="920" y="2819"/>
                </a:lnTo>
                <a:lnTo>
                  <a:pt x="918" y="2819"/>
                </a:lnTo>
                <a:lnTo>
                  <a:pt x="917" y="2819"/>
                </a:lnTo>
                <a:lnTo>
                  <a:pt x="913" y="2821"/>
                </a:lnTo>
                <a:lnTo>
                  <a:pt x="911" y="2823"/>
                </a:lnTo>
                <a:lnTo>
                  <a:pt x="908" y="2823"/>
                </a:lnTo>
                <a:lnTo>
                  <a:pt x="906" y="2824"/>
                </a:lnTo>
                <a:lnTo>
                  <a:pt x="905" y="2824"/>
                </a:lnTo>
                <a:lnTo>
                  <a:pt x="905" y="2826"/>
                </a:lnTo>
                <a:lnTo>
                  <a:pt x="903" y="2828"/>
                </a:lnTo>
                <a:lnTo>
                  <a:pt x="901" y="2829"/>
                </a:lnTo>
                <a:lnTo>
                  <a:pt x="900" y="2833"/>
                </a:lnTo>
                <a:lnTo>
                  <a:pt x="898" y="2836"/>
                </a:lnTo>
                <a:lnTo>
                  <a:pt x="898" y="2840"/>
                </a:lnTo>
                <a:lnTo>
                  <a:pt x="900" y="2838"/>
                </a:lnTo>
                <a:lnTo>
                  <a:pt x="900" y="2836"/>
                </a:lnTo>
                <a:lnTo>
                  <a:pt x="901" y="2836"/>
                </a:lnTo>
                <a:lnTo>
                  <a:pt x="901" y="2834"/>
                </a:lnTo>
                <a:lnTo>
                  <a:pt x="903" y="2833"/>
                </a:lnTo>
                <a:close/>
                <a:moveTo>
                  <a:pt x="459" y="2703"/>
                </a:moveTo>
                <a:lnTo>
                  <a:pt x="461" y="2705"/>
                </a:lnTo>
                <a:lnTo>
                  <a:pt x="461" y="2707"/>
                </a:lnTo>
                <a:lnTo>
                  <a:pt x="463" y="2707"/>
                </a:lnTo>
                <a:lnTo>
                  <a:pt x="463" y="2709"/>
                </a:lnTo>
                <a:lnTo>
                  <a:pt x="464" y="2710"/>
                </a:lnTo>
                <a:lnTo>
                  <a:pt x="466" y="2710"/>
                </a:lnTo>
                <a:lnTo>
                  <a:pt x="466" y="2712"/>
                </a:lnTo>
                <a:lnTo>
                  <a:pt x="464" y="2714"/>
                </a:lnTo>
                <a:lnTo>
                  <a:pt x="463" y="2712"/>
                </a:lnTo>
                <a:lnTo>
                  <a:pt x="461" y="2710"/>
                </a:lnTo>
                <a:lnTo>
                  <a:pt x="459" y="2710"/>
                </a:lnTo>
                <a:lnTo>
                  <a:pt x="458" y="2709"/>
                </a:lnTo>
                <a:lnTo>
                  <a:pt x="459" y="2709"/>
                </a:lnTo>
                <a:lnTo>
                  <a:pt x="458" y="2707"/>
                </a:lnTo>
                <a:lnTo>
                  <a:pt x="458" y="2705"/>
                </a:lnTo>
                <a:lnTo>
                  <a:pt x="459" y="2705"/>
                </a:lnTo>
                <a:lnTo>
                  <a:pt x="459" y="2703"/>
                </a:lnTo>
                <a:close/>
                <a:moveTo>
                  <a:pt x="527" y="2797"/>
                </a:moveTo>
                <a:lnTo>
                  <a:pt x="529" y="2799"/>
                </a:lnTo>
                <a:lnTo>
                  <a:pt x="527" y="2799"/>
                </a:lnTo>
                <a:lnTo>
                  <a:pt x="529" y="2800"/>
                </a:lnTo>
                <a:lnTo>
                  <a:pt x="531" y="2799"/>
                </a:lnTo>
                <a:lnTo>
                  <a:pt x="529" y="2799"/>
                </a:lnTo>
                <a:lnTo>
                  <a:pt x="532" y="2799"/>
                </a:lnTo>
                <a:lnTo>
                  <a:pt x="531" y="2800"/>
                </a:lnTo>
                <a:lnTo>
                  <a:pt x="532" y="2800"/>
                </a:lnTo>
                <a:lnTo>
                  <a:pt x="534" y="2802"/>
                </a:lnTo>
                <a:lnTo>
                  <a:pt x="536" y="2802"/>
                </a:lnTo>
                <a:lnTo>
                  <a:pt x="537" y="2804"/>
                </a:lnTo>
                <a:lnTo>
                  <a:pt x="537" y="2806"/>
                </a:lnTo>
                <a:lnTo>
                  <a:pt x="539" y="2806"/>
                </a:lnTo>
                <a:lnTo>
                  <a:pt x="537" y="2806"/>
                </a:lnTo>
                <a:lnTo>
                  <a:pt x="536" y="2806"/>
                </a:lnTo>
                <a:lnTo>
                  <a:pt x="534" y="2806"/>
                </a:lnTo>
                <a:lnTo>
                  <a:pt x="532" y="2804"/>
                </a:lnTo>
                <a:lnTo>
                  <a:pt x="531" y="2802"/>
                </a:lnTo>
                <a:lnTo>
                  <a:pt x="529" y="2800"/>
                </a:lnTo>
                <a:lnTo>
                  <a:pt x="527" y="2800"/>
                </a:lnTo>
                <a:lnTo>
                  <a:pt x="526" y="2800"/>
                </a:lnTo>
                <a:lnTo>
                  <a:pt x="526" y="2799"/>
                </a:lnTo>
                <a:lnTo>
                  <a:pt x="526" y="2797"/>
                </a:lnTo>
                <a:lnTo>
                  <a:pt x="527" y="2797"/>
                </a:lnTo>
                <a:close/>
                <a:moveTo>
                  <a:pt x="500" y="2737"/>
                </a:moveTo>
                <a:lnTo>
                  <a:pt x="503" y="2739"/>
                </a:lnTo>
                <a:lnTo>
                  <a:pt x="502" y="2741"/>
                </a:lnTo>
                <a:lnTo>
                  <a:pt x="502" y="2739"/>
                </a:lnTo>
                <a:lnTo>
                  <a:pt x="502" y="2741"/>
                </a:lnTo>
                <a:lnTo>
                  <a:pt x="503" y="2743"/>
                </a:lnTo>
                <a:lnTo>
                  <a:pt x="505" y="2743"/>
                </a:lnTo>
                <a:lnTo>
                  <a:pt x="505" y="2744"/>
                </a:lnTo>
                <a:lnTo>
                  <a:pt x="505" y="2748"/>
                </a:lnTo>
                <a:lnTo>
                  <a:pt x="503" y="2746"/>
                </a:lnTo>
                <a:lnTo>
                  <a:pt x="503" y="2744"/>
                </a:lnTo>
                <a:lnTo>
                  <a:pt x="502" y="2743"/>
                </a:lnTo>
                <a:lnTo>
                  <a:pt x="500" y="2743"/>
                </a:lnTo>
                <a:lnTo>
                  <a:pt x="498" y="2739"/>
                </a:lnTo>
                <a:lnTo>
                  <a:pt x="498" y="2737"/>
                </a:lnTo>
                <a:lnTo>
                  <a:pt x="500" y="2737"/>
                </a:lnTo>
                <a:close/>
                <a:moveTo>
                  <a:pt x="492" y="2756"/>
                </a:moveTo>
                <a:lnTo>
                  <a:pt x="495" y="2758"/>
                </a:lnTo>
                <a:lnTo>
                  <a:pt x="497" y="2761"/>
                </a:lnTo>
                <a:lnTo>
                  <a:pt x="495" y="2760"/>
                </a:lnTo>
                <a:lnTo>
                  <a:pt x="493" y="2760"/>
                </a:lnTo>
                <a:lnTo>
                  <a:pt x="492" y="2760"/>
                </a:lnTo>
                <a:lnTo>
                  <a:pt x="490" y="2756"/>
                </a:lnTo>
                <a:lnTo>
                  <a:pt x="492" y="2756"/>
                </a:lnTo>
                <a:close/>
                <a:moveTo>
                  <a:pt x="390" y="2612"/>
                </a:moveTo>
                <a:lnTo>
                  <a:pt x="391" y="2613"/>
                </a:lnTo>
                <a:lnTo>
                  <a:pt x="390" y="2615"/>
                </a:lnTo>
                <a:lnTo>
                  <a:pt x="388" y="2615"/>
                </a:lnTo>
                <a:lnTo>
                  <a:pt x="388" y="2613"/>
                </a:lnTo>
                <a:lnTo>
                  <a:pt x="386" y="2613"/>
                </a:lnTo>
                <a:lnTo>
                  <a:pt x="388" y="2612"/>
                </a:lnTo>
                <a:lnTo>
                  <a:pt x="390" y="2613"/>
                </a:lnTo>
                <a:lnTo>
                  <a:pt x="390" y="2612"/>
                </a:lnTo>
                <a:close/>
                <a:moveTo>
                  <a:pt x="451" y="2683"/>
                </a:moveTo>
                <a:lnTo>
                  <a:pt x="452" y="2685"/>
                </a:lnTo>
                <a:lnTo>
                  <a:pt x="454" y="2685"/>
                </a:lnTo>
                <a:lnTo>
                  <a:pt x="454" y="2686"/>
                </a:lnTo>
                <a:lnTo>
                  <a:pt x="451" y="2685"/>
                </a:lnTo>
                <a:lnTo>
                  <a:pt x="451" y="2683"/>
                </a:lnTo>
                <a:close/>
                <a:moveTo>
                  <a:pt x="891" y="3064"/>
                </a:moveTo>
                <a:lnTo>
                  <a:pt x="891" y="3066"/>
                </a:lnTo>
                <a:lnTo>
                  <a:pt x="888" y="3067"/>
                </a:lnTo>
                <a:lnTo>
                  <a:pt x="886" y="3066"/>
                </a:lnTo>
                <a:lnTo>
                  <a:pt x="889" y="3066"/>
                </a:lnTo>
                <a:lnTo>
                  <a:pt x="891" y="3064"/>
                </a:lnTo>
                <a:close/>
                <a:moveTo>
                  <a:pt x="905" y="3062"/>
                </a:moveTo>
                <a:lnTo>
                  <a:pt x="901" y="3066"/>
                </a:lnTo>
                <a:lnTo>
                  <a:pt x="900" y="3066"/>
                </a:lnTo>
                <a:lnTo>
                  <a:pt x="901" y="3064"/>
                </a:lnTo>
                <a:lnTo>
                  <a:pt x="905" y="3062"/>
                </a:lnTo>
                <a:close/>
                <a:moveTo>
                  <a:pt x="560" y="2891"/>
                </a:moveTo>
                <a:lnTo>
                  <a:pt x="558" y="2889"/>
                </a:lnTo>
                <a:lnTo>
                  <a:pt x="556" y="2887"/>
                </a:lnTo>
                <a:lnTo>
                  <a:pt x="556" y="2885"/>
                </a:lnTo>
                <a:lnTo>
                  <a:pt x="556" y="2884"/>
                </a:lnTo>
                <a:lnTo>
                  <a:pt x="556" y="2885"/>
                </a:lnTo>
                <a:lnTo>
                  <a:pt x="558" y="2887"/>
                </a:lnTo>
                <a:lnTo>
                  <a:pt x="558" y="2889"/>
                </a:lnTo>
                <a:lnTo>
                  <a:pt x="560" y="2891"/>
                </a:lnTo>
                <a:close/>
                <a:moveTo>
                  <a:pt x="748" y="2487"/>
                </a:moveTo>
                <a:lnTo>
                  <a:pt x="745" y="2487"/>
                </a:lnTo>
                <a:lnTo>
                  <a:pt x="741" y="2489"/>
                </a:lnTo>
                <a:lnTo>
                  <a:pt x="741" y="2487"/>
                </a:lnTo>
                <a:lnTo>
                  <a:pt x="743" y="2487"/>
                </a:lnTo>
                <a:lnTo>
                  <a:pt x="745" y="2487"/>
                </a:lnTo>
                <a:lnTo>
                  <a:pt x="747" y="2487"/>
                </a:lnTo>
                <a:lnTo>
                  <a:pt x="748" y="2487"/>
                </a:lnTo>
                <a:close/>
                <a:moveTo>
                  <a:pt x="896" y="3066"/>
                </a:moveTo>
                <a:lnTo>
                  <a:pt x="900" y="3066"/>
                </a:lnTo>
                <a:lnTo>
                  <a:pt x="900" y="3067"/>
                </a:lnTo>
                <a:lnTo>
                  <a:pt x="896" y="3066"/>
                </a:lnTo>
                <a:close/>
                <a:moveTo>
                  <a:pt x="639" y="2584"/>
                </a:moveTo>
                <a:lnTo>
                  <a:pt x="638" y="2584"/>
                </a:lnTo>
                <a:lnTo>
                  <a:pt x="636" y="2584"/>
                </a:lnTo>
                <a:lnTo>
                  <a:pt x="638" y="2584"/>
                </a:lnTo>
                <a:lnTo>
                  <a:pt x="639" y="2584"/>
                </a:lnTo>
                <a:close/>
                <a:moveTo>
                  <a:pt x="480" y="2692"/>
                </a:moveTo>
                <a:lnTo>
                  <a:pt x="481" y="2693"/>
                </a:lnTo>
                <a:lnTo>
                  <a:pt x="481" y="2695"/>
                </a:lnTo>
                <a:lnTo>
                  <a:pt x="480" y="2695"/>
                </a:lnTo>
                <a:lnTo>
                  <a:pt x="480" y="2692"/>
                </a:lnTo>
                <a:close/>
                <a:moveTo>
                  <a:pt x="554" y="2875"/>
                </a:moveTo>
                <a:lnTo>
                  <a:pt x="556" y="2875"/>
                </a:lnTo>
                <a:lnTo>
                  <a:pt x="554" y="2879"/>
                </a:lnTo>
                <a:lnTo>
                  <a:pt x="554" y="2875"/>
                </a:lnTo>
                <a:close/>
                <a:moveTo>
                  <a:pt x="442" y="2603"/>
                </a:moveTo>
                <a:lnTo>
                  <a:pt x="442" y="2605"/>
                </a:lnTo>
                <a:lnTo>
                  <a:pt x="441" y="2603"/>
                </a:lnTo>
                <a:lnTo>
                  <a:pt x="442" y="2603"/>
                </a:lnTo>
                <a:close/>
                <a:moveTo>
                  <a:pt x="471" y="2705"/>
                </a:moveTo>
                <a:lnTo>
                  <a:pt x="473" y="2707"/>
                </a:lnTo>
                <a:lnTo>
                  <a:pt x="471" y="2705"/>
                </a:lnTo>
                <a:close/>
                <a:moveTo>
                  <a:pt x="556" y="2882"/>
                </a:moveTo>
                <a:lnTo>
                  <a:pt x="556" y="2879"/>
                </a:lnTo>
                <a:lnTo>
                  <a:pt x="556" y="2877"/>
                </a:lnTo>
                <a:lnTo>
                  <a:pt x="556" y="2880"/>
                </a:lnTo>
                <a:lnTo>
                  <a:pt x="556" y="2882"/>
                </a:lnTo>
                <a:close/>
                <a:moveTo>
                  <a:pt x="481" y="2693"/>
                </a:moveTo>
                <a:lnTo>
                  <a:pt x="483" y="2693"/>
                </a:lnTo>
                <a:lnTo>
                  <a:pt x="483" y="2695"/>
                </a:lnTo>
                <a:lnTo>
                  <a:pt x="481" y="2695"/>
                </a:lnTo>
                <a:lnTo>
                  <a:pt x="481" y="2693"/>
                </a:lnTo>
                <a:close/>
                <a:moveTo>
                  <a:pt x="488" y="2605"/>
                </a:moveTo>
                <a:lnTo>
                  <a:pt x="490" y="2605"/>
                </a:lnTo>
                <a:lnTo>
                  <a:pt x="490" y="2606"/>
                </a:lnTo>
                <a:lnTo>
                  <a:pt x="488" y="2606"/>
                </a:lnTo>
                <a:lnTo>
                  <a:pt x="488" y="2605"/>
                </a:lnTo>
                <a:close/>
                <a:moveTo>
                  <a:pt x="475" y="2710"/>
                </a:moveTo>
                <a:lnTo>
                  <a:pt x="476" y="2710"/>
                </a:lnTo>
                <a:lnTo>
                  <a:pt x="475" y="2710"/>
                </a:lnTo>
                <a:close/>
                <a:moveTo>
                  <a:pt x="842" y="3042"/>
                </a:moveTo>
                <a:lnTo>
                  <a:pt x="843" y="3044"/>
                </a:lnTo>
                <a:lnTo>
                  <a:pt x="843" y="3045"/>
                </a:lnTo>
                <a:lnTo>
                  <a:pt x="842" y="3045"/>
                </a:lnTo>
                <a:lnTo>
                  <a:pt x="842" y="3042"/>
                </a:lnTo>
                <a:close/>
                <a:moveTo>
                  <a:pt x="541" y="2816"/>
                </a:moveTo>
                <a:lnTo>
                  <a:pt x="543" y="2816"/>
                </a:lnTo>
                <a:lnTo>
                  <a:pt x="541" y="2816"/>
                </a:lnTo>
                <a:close/>
                <a:moveTo>
                  <a:pt x="393" y="2644"/>
                </a:moveTo>
                <a:lnTo>
                  <a:pt x="395" y="2644"/>
                </a:lnTo>
                <a:lnTo>
                  <a:pt x="395" y="2646"/>
                </a:lnTo>
                <a:lnTo>
                  <a:pt x="393" y="2646"/>
                </a:lnTo>
                <a:lnTo>
                  <a:pt x="393" y="2644"/>
                </a:lnTo>
                <a:close/>
                <a:moveTo>
                  <a:pt x="554" y="2877"/>
                </a:moveTo>
                <a:lnTo>
                  <a:pt x="556" y="2877"/>
                </a:lnTo>
                <a:lnTo>
                  <a:pt x="554" y="2880"/>
                </a:lnTo>
                <a:lnTo>
                  <a:pt x="554" y="2877"/>
                </a:lnTo>
                <a:close/>
                <a:moveTo>
                  <a:pt x="845" y="3040"/>
                </a:moveTo>
                <a:lnTo>
                  <a:pt x="847" y="3040"/>
                </a:lnTo>
                <a:lnTo>
                  <a:pt x="845" y="3042"/>
                </a:lnTo>
                <a:lnTo>
                  <a:pt x="845" y="3040"/>
                </a:lnTo>
                <a:close/>
                <a:moveTo>
                  <a:pt x="2156" y="2647"/>
                </a:moveTo>
                <a:lnTo>
                  <a:pt x="2158" y="2649"/>
                </a:lnTo>
                <a:lnTo>
                  <a:pt x="2156" y="2651"/>
                </a:lnTo>
                <a:lnTo>
                  <a:pt x="2154" y="2651"/>
                </a:lnTo>
                <a:lnTo>
                  <a:pt x="2156" y="2649"/>
                </a:lnTo>
                <a:lnTo>
                  <a:pt x="2154" y="2651"/>
                </a:lnTo>
                <a:lnTo>
                  <a:pt x="2152" y="2651"/>
                </a:lnTo>
                <a:lnTo>
                  <a:pt x="2154" y="2649"/>
                </a:lnTo>
                <a:lnTo>
                  <a:pt x="2156" y="2647"/>
                </a:lnTo>
                <a:close/>
                <a:moveTo>
                  <a:pt x="2117" y="2685"/>
                </a:moveTo>
                <a:lnTo>
                  <a:pt x="2120" y="2685"/>
                </a:lnTo>
                <a:lnTo>
                  <a:pt x="2122" y="2685"/>
                </a:lnTo>
                <a:lnTo>
                  <a:pt x="2120" y="2686"/>
                </a:lnTo>
                <a:lnTo>
                  <a:pt x="2124" y="2686"/>
                </a:lnTo>
                <a:lnTo>
                  <a:pt x="2127" y="2685"/>
                </a:lnTo>
                <a:lnTo>
                  <a:pt x="2129" y="2685"/>
                </a:lnTo>
                <a:lnTo>
                  <a:pt x="2130" y="2685"/>
                </a:lnTo>
                <a:lnTo>
                  <a:pt x="2132" y="2685"/>
                </a:lnTo>
                <a:lnTo>
                  <a:pt x="2135" y="2685"/>
                </a:lnTo>
                <a:lnTo>
                  <a:pt x="2137" y="2685"/>
                </a:lnTo>
                <a:lnTo>
                  <a:pt x="2139" y="2685"/>
                </a:lnTo>
                <a:lnTo>
                  <a:pt x="2141" y="2685"/>
                </a:lnTo>
                <a:lnTo>
                  <a:pt x="2139" y="2685"/>
                </a:lnTo>
                <a:lnTo>
                  <a:pt x="2135" y="2685"/>
                </a:lnTo>
                <a:lnTo>
                  <a:pt x="2134" y="2685"/>
                </a:lnTo>
                <a:lnTo>
                  <a:pt x="2132" y="2685"/>
                </a:lnTo>
                <a:lnTo>
                  <a:pt x="2129" y="2685"/>
                </a:lnTo>
                <a:lnTo>
                  <a:pt x="2127" y="2686"/>
                </a:lnTo>
                <a:lnTo>
                  <a:pt x="2125" y="2686"/>
                </a:lnTo>
                <a:lnTo>
                  <a:pt x="2124" y="2686"/>
                </a:lnTo>
                <a:lnTo>
                  <a:pt x="2122" y="2686"/>
                </a:lnTo>
                <a:lnTo>
                  <a:pt x="2120" y="2686"/>
                </a:lnTo>
                <a:lnTo>
                  <a:pt x="2118" y="2685"/>
                </a:lnTo>
                <a:lnTo>
                  <a:pt x="2117" y="2685"/>
                </a:lnTo>
                <a:lnTo>
                  <a:pt x="2113" y="2683"/>
                </a:lnTo>
                <a:lnTo>
                  <a:pt x="2113" y="2680"/>
                </a:lnTo>
                <a:lnTo>
                  <a:pt x="2113" y="2678"/>
                </a:lnTo>
                <a:lnTo>
                  <a:pt x="2113" y="2680"/>
                </a:lnTo>
                <a:lnTo>
                  <a:pt x="2115" y="2683"/>
                </a:lnTo>
                <a:lnTo>
                  <a:pt x="2115" y="2685"/>
                </a:lnTo>
                <a:lnTo>
                  <a:pt x="2117" y="2685"/>
                </a:lnTo>
                <a:close/>
                <a:moveTo>
                  <a:pt x="1032" y="2743"/>
                </a:moveTo>
                <a:lnTo>
                  <a:pt x="1030" y="2743"/>
                </a:lnTo>
                <a:lnTo>
                  <a:pt x="1032" y="2743"/>
                </a:lnTo>
                <a:lnTo>
                  <a:pt x="1036" y="2743"/>
                </a:lnTo>
                <a:lnTo>
                  <a:pt x="1039" y="2741"/>
                </a:lnTo>
                <a:lnTo>
                  <a:pt x="1041" y="2741"/>
                </a:lnTo>
                <a:lnTo>
                  <a:pt x="1042" y="2743"/>
                </a:lnTo>
                <a:lnTo>
                  <a:pt x="1044" y="2743"/>
                </a:lnTo>
                <a:lnTo>
                  <a:pt x="1044" y="2741"/>
                </a:lnTo>
                <a:lnTo>
                  <a:pt x="1042" y="2741"/>
                </a:lnTo>
                <a:lnTo>
                  <a:pt x="1042" y="2739"/>
                </a:lnTo>
                <a:lnTo>
                  <a:pt x="1039" y="2737"/>
                </a:lnTo>
                <a:lnTo>
                  <a:pt x="1037" y="2736"/>
                </a:lnTo>
                <a:lnTo>
                  <a:pt x="1039" y="2737"/>
                </a:lnTo>
                <a:lnTo>
                  <a:pt x="1036" y="2737"/>
                </a:lnTo>
                <a:lnTo>
                  <a:pt x="1034" y="2737"/>
                </a:lnTo>
                <a:lnTo>
                  <a:pt x="1036" y="2737"/>
                </a:lnTo>
                <a:lnTo>
                  <a:pt x="1037" y="2739"/>
                </a:lnTo>
                <a:lnTo>
                  <a:pt x="1037" y="2741"/>
                </a:lnTo>
                <a:lnTo>
                  <a:pt x="1036" y="2743"/>
                </a:lnTo>
                <a:lnTo>
                  <a:pt x="1034" y="2743"/>
                </a:lnTo>
                <a:lnTo>
                  <a:pt x="1032" y="2743"/>
                </a:lnTo>
                <a:close/>
                <a:moveTo>
                  <a:pt x="1046" y="2743"/>
                </a:moveTo>
                <a:lnTo>
                  <a:pt x="1047" y="2744"/>
                </a:lnTo>
                <a:lnTo>
                  <a:pt x="1049" y="2744"/>
                </a:lnTo>
                <a:lnTo>
                  <a:pt x="1051" y="2746"/>
                </a:lnTo>
                <a:lnTo>
                  <a:pt x="1053" y="2748"/>
                </a:lnTo>
                <a:lnTo>
                  <a:pt x="1056" y="2749"/>
                </a:lnTo>
                <a:lnTo>
                  <a:pt x="1056" y="2751"/>
                </a:lnTo>
                <a:lnTo>
                  <a:pt x="1058" y="2753"/>
                </a:lnTo>
                <a:lnTo>
                  <a:pt x="1059" y="2754"/>
                </a:lnTo>
                <a:lnTo>
                  <a:pt x="1063" y="2754"/>
                </a:lnTo>
                <a:lnTo>
                  <a:pt x="1064" y="2754"/>
                </a:lnTo>
                <a:lnTo>
                  <a:pt x="1066" y="2754"/>
                </a:lnTo>
                <a:lnTo>
                  <a:pt x="1068" y="2753"/>
                </a:lnTo>
                <a:lnTo>
                  <a:pt x="1068" y="2754"/>
                </a:lnTo>
                <a:lnTo>
                  <a:pt x="1068" y="2753"/>
                </a:lnTo>
                <a:lnTo>
                  <a:pt x="1070" y="2754"/>
                </a:lnTo>
                <a:lnTo>
                  <a:pt x="1071" y="2753"/>
                </a:lnTo>
                <a:lnTo>
                  <a:pt x="1073" y="2753"/>
                </a:lnTo>
                <a:lnTo>
                  <a:pt x="1071" y="2751"/>
                </a:lnTo>
                <a:lnTo>
                  <a:pt x="1070" y="2751"/>
                </a:lnTo>
                <a:lnTo>
                  <a:pt x="1070" y="2749"/>
                </a:lnTo>
                <a:lnTo>
                  <a:pt x="1068" y="2749"/>
                </a:lnTo>
                <a:lnTo>
                  <a:pt x="1066" y="2749"/>
                </a:lnTo>
                <a:lnTo>
                  <a:pt x="1066" y="2748"/>
                </a:lnTo>
                <a:lnTo>
                  <a:pt x="1063" y="2748"/>
                </a:lnTo>
                <a:lnTo>
                  <a:pt x="1063" y="2746"/>
                </a:lnTo>
                <a:lnTo>
                  <a:pt x="1061" y="2744"/>
                </a:lnTo>
                <a:lnTo>
                  <a:pt x="1061" y="2743"/>
                </a:lnTo>
                <a:lnTo>
                  <a:pt x="1059" y="2743"/>
                </a:lnTo>
                <a:lnTo>
                  <a:pt x="1056" y="2743"/>
                </a:lnTo>
                <a:lnTo>
                  <a:pt x="1054" y="2743"/>
                </a:lnTo>
                <a:lnTo>
                  <a:pt x="1053" y="2741"/>
                </a:lnTo>
                <a:lnTo>
                  <a:pt x="1051" y="2741"/>
                </a:lnTo>
                <a:lnTo>
                  <a:pt x="1049" y="2739"/>
                </a:lnTo>
                <a:lnTo>
                  <a:pt x="1047" y="2736"/>
                </a:lnTo>
                <a:lnTo>
                  <a:pt x="1046" y="2734"/>
                </a:lnTo>
                <a:lnTo>
                  <a:pt x="1044" y="2734"/>
                </a:lnTo>
                <a:lnTo>
                  <a:pt x="1042" y="2732"/>
                </a:lnTo>
                <a:lnTo>
                  <a:pt x="1041" y="2731"/>
                </a:lnTo>
                <a:lnTo>
                  <a:pt x="1039" y="2731"/>
                </a:lnTo>
                <a:lnTo>
                  <a:pt x="1039" y="2732"/>
                </a:lnTo>
                <a:lnTo>
                  <a:pt x="1041" y="2732"/>
                </a:lnTo>
                <a:lnTo>
                  <a:pt x="1041" y="2734"/>
                </a:lnTo>
                <a:lnTo>
                  <a:pt x="1044" y="2736"/>
                </a:lnTo>
                <a:lnTo>
                  <a:pt x="1046" y="2737"/>
                </a:lnTo>
                <a:lnTo>
                  <a:pt x="1046" y="2739"/>
                </a:lnTo>
                <a:lnTo>
                  <a:pt x="1047" y="2741"/>
                </a:lnTo>
                <a:lnTo>
                  <a:pt x="1047" y="2743"/>
                </a:lnTo>
                <a:lnTo>
                  <a:pt x="1046" y="2743"/>
                </a:lnTo>
                <a:close/>
                <a:moveTo>
                  <a:pt x="866" y="2363"/>
                </a:moveTo>
                <a:lnTo>
                  <a:pt x="866" y="2365"/>
                </a:lnTo>
                <a:lnTo>
                  <a:pt x="866" y="2363"/>
                </a:lnTo>
                <a:lnTo>
                  <a:pt x="866" y="2365"/>
                </a:lnTo>
                <a:lnTo>
                  <a:pt x="866" y="2367"/>
                </a:lnTo>
                <a:lnTo>
                  <a:pt x="867" y="2368"/>
                </a:lnTo>
                <a:lnTo>
                  <a:pt x="869" y="2368"/>
                </a:lnTo>
                <a:lnTo>
                  <a:pt x="872" y="2368"/>
                </a:lnTo>
                <a:lnTo>
                  <a:pt x="872" y="2367"/>
                </a:lnTo>
                <a:lnTo>
                  <a:pt x="876" y="2365"/>
                </a:lnTo>
                <a:lnTo>
                  <a:pt x="876" y="2367"/>
                </a:lnTo>
                <a:lnTo>
                  <a:pt x="877" y="2370"/>
                </a:lnTo>
                <a:lnTo>
                  <a:pt x="877" y="2372"/>
                </a:lnTo>
                <a:lnTo>
                  <a:pt x="879" y="2372"/>
                </a:lnTo>
                <a:lnTo>
                  <a:pt x="879" y="2373"/>
                </a:lnTo>
                <a:lnTo>
                  <a:pt x="877" y="2377"/>
                </a:lnTo>
                <a:lnTo>
                  <a:pt x="879" y="2377"/>
                </a:lnTo>
                <a:lnTo>
                  <a:pt x="877" y="2379"/>
                </a:lnTo>
                <a:lnTo>
                  <a:pt x="879" y="2380"/>
                </a:lnTo>
                <a:lnTo>
                  <a:pt x="881" y="2380"/>
                </a:lnTo>
                <a:lnTo>
                  <a:pt x="881" y="2379"/>
                </a:lnTo>
                <a:lnTo>
                  <a:pt x="884" y="2380"/>
                </a:lnTo>
                <a:lnTo>
                  <a:pt x="886" y="2380"/>
                </a:lnTo>
                <a:lnTo>
                  <a:pt x="886" y="2384"/>
                </a:lnTo>
                <a:lnTo>
                  <a:pt x="884" y="2384"/>
                </a:lnTo>
                <a:lnTo>
                  <a:pt x="886" y="2384"/>
                </a:lnTo>
                <a:lnTo>
                  <a:pt x="888" y="2385"/>
                </a:lnTo>
                <a:lnTo>
                  <a:pt x="889" y="2387"/>
                </a:lnTo>
                <a:lnTo>
                  <a:pt x="891" y="2389"/>
                </a:lnTo>
                <a:lnTo>
                  <a:pt x="891" y="2390"/>
                </a:lnTo>
                <a:lnTo>
                  <a:pt x="893" y="2390"/>
                </a:lnTo>
                <a:lnTo>
                  <a:pt x="893" y="2392"/>
                </a:lnTo>
                <a:lnTo>
                  <a:pt x="893" y="2394"/>
                </a:lnTo>
                <a:lnTo>
                  <a:pt x="891" y="2394"/>
                </a:lnTo>
                <a:lnTo>
                  <a:pt x="891" y="2396"/>
                </a:lnTo>
                <a:lnTo>
                  <a:pt x="891" y="2394"/>
                </a:lnTo>
                <a:lnTo>
                  <a:pt x="893" y="2392"/>
                </a:lnTo>
                <a:lnTo>
                  <a:pt x="891" y="2390"/>
                </a:lnTo>
                <a:lnTo>
                  <a:pt x="891" y="2389"/>
                </a:lnTo>
                <a:lnTo>
                  <a:pt x="889" y="2387"/>
                </a:lnTo>
                <a:lnTo>
                  <a:pt x="888" y="2385"/>
                </a:lnTo>
                <a:lnTo>
                  <a:pt x="886" y="2384"/>
                </a:lnTo>
                <a:lnTo>
                  <a:pt x="884" y="2384"/>
                </a:lnTo>
                <a:lnTo>
                  <a:pt x="883" y="2387"/>
                </a:lnTo>
                <a:lnTo>
                  <a:pt x="881" y="2387"/>
                </a:lnTo>
                <a:lnTo>
                  <a:pt x="879" y="2389"/>
                </a:lnTo>
                <a:lnTo>
                  <a:pt x="877" y="2389"/>
                </a:lnTo>
                <a:lnTo>
                  <a:pt x="877" y="2387"/>
                </a:lnTo>
                <a:lnTo>
                  <a:pt x="874" y="2387"/>
                </a:lnTo>
                <a:lnTo>
                  <a:pt x="874" y="2390"/>
                </a:lnTo>
                <a:lnTo>
                  <a:pt x="874" y="2392"/>
                </a:lnTo>
                <a:lnTo>
                  <a:pt x="876" y="2396"/>
                </a:lnTo>
                <a:lnTo>
                  <a:pt x="876" y="2397"/>
                </a:lnTo>
                <a:lnTo>
                  <a:pt x="874" y="2397"/>
                </a:lnTo>
                <a:lnTo>
                  <a:pt x="876" y="2399"/>
                </a:lnTo>
                <a:lnTo>
                  <a:pt x="874" y="2399"/>
                </a:lnTo>
                <a:lnTo>
                  <a:pt x="874" y="2401"/>
                </a:lnTo>
                <a:lnTo>
                  <a:pt x="876" y="2401"/>
                </a:lnTo>
                <a:lnTo>
                  <a:pt x="876" y="2399"/>
                </a:lnTo>
                <a:lnTo>
                  <a:pt x="876" y="2397"/>
                </a:lnTo>
                <a:lnTo>
                  <a:pt x="876" y="2399"/>
                </a:lnTo>
                <a:lnTo>
                  <a:pt x="877" y="2399"/>
                </a:lnTo>
                <a:lnTo>
                  <a:pt x="876" y="2401"/>
                </a:lnTo>
                <a:lnTo>
                  <a:pt x="874" y="2402"/>
                </a:lnTo>
                <a:lnTo>
                  <a:pt x="872" y="2404"/>
                </a:lnTo>
                <a:lnTo>
                  <a:pt x="872" y="2406"/>
                </a:lnTo>
                <a:lnTo>
                  <a:pt x="869" y="2404"/>
                </a:lnTo>
                <a:lnTo>
                  <a:pt x="867" y="2404"/>
                </a:lnTo>
                <a:lnTo>
                  <a:pt x="866" y="2402"/>
                </a:lnTo>
                <a:lnTo>
                  <a:pt x="866" y="2401"/>
                </a:lnTo>
                <a:lnTo>
                  <a:pt x="866" y="2402"/>
                </a:lnTo>
                <a:lnTo>
                  <a:pt x="862" y="2401"/>
                </a:lnTo>
                <a:lnTo>
                  <a:pt x="860" y="2401"/>
                </a:lnTo>
                <a:lnTo>
                  <a:pt x="857" y="2397"/>
                </a:lnTo>
                <a:lnTo>
                  <a:pt x="859" y="2397"/>
                </a:lnTo>
                <a:lnTo>
                  <a:pt x="857" y="2397"/>
                </a:lnTo>
                <a:lnTo>
                  <a:pt x="855" y="2397"/>
                </a:lnTo>
                <a:lnTo>
                  <a:pt x="854" y="2397"/>
                </a:lnTo>
                <a:lnTo>
                  <a:pt x="852" y="2397"/>
                </a:lnTo>
                <a:lnTo>
                  <a:pt x="854" y="2397"/>
                </a:lnTo>
                <a:lnTo>
                  <a:pt x="855" y="2396"/>
                </a:lnTo>
                <a:lnTo>
                  <a:pt x="855" y="2394"/>
                </a:lnTo>
                <a:lnTo>
                  <a:pt x="855" y="2390"/>
                </a:lnTo>
                <a:lnTo>
                  <a:pt x="857" y="2389"/>
                </a:lnTo>
                <a:lnTo>
                  <a:pt x="857" y="2385"/>
                </a:lnTo>
                <a:lnTo>
                  <a:pt x="857" y="2384"/>
                </a:lnTo>
                <a:lnTo>
                  <a:pt x="857" y="2382"/>
                </a:lnTo>
                <a:lnTo>
                  <a:pt x="859" y="2380"/>
                </a:lnTo>
                <a:lnTo>
                  <a:pt x="859" y="2377"/>
                </a:lnTo>
                <a:lnTo>
                  <a:pt x="860" y="2373"/>
                </a:lnTo>
                <a:lnTo>
                  <a:pt x="860" y="2370"/>
                </a:lnTo>
                <a:lnTo>
                  <a:pt x="862" y="2370"/>
                </a:lnTo>
                <a:lnTo>
                  <a:pt x="862" y="2368"/>
                </a:lnTo>
                <a:lnTo>
                  <a:pt x="862" y="2367"/>
                </a:lnTo>
                <a:lnTo>
                  <a:pt x="862" y="2365"/>
                </a:lnTo>
                <a:lnTo>
                  <a:pt x="864" y="2363"/>
                </a:lnTo>
                <a:lnTo>
                  <a:pt x="866" y="2363"/>
                </a:lnTo>
                <a:close/>
                <a:moveTo>
                  <a:pt x="869" y="2348"/>
                </a:moveTo>
                <a:lnTo>
                  <a:pt x="871" y="2350"/>
                </a:lnTo>
                <a:lnTo>
                  <a:pt x="871" y="2351"/>
                </a:lnTo>
                <a:lnTo>
                  <a:pt x="871" y="2353"/>
                </a:lnTo>
                <a:lnTo>
                  <a:pt x="871" y="2355"/>
                </a:lnTo>
                <a:lnTo>
                  <a:pt x="871" y="2356"/>
                </a:lnTo>
                <a:lnTo>
                  <a:pt x="869" y="2356"/>
                </a:lnTo>
                <a:lnTo>
                  <a:pt x="869" y="2358"/>
                </a:lnTo>
                <a:lnTo>
                  <a:pt x="867" y="2360"/>
                </a:lnTo>
                <a:lnTo>
                  <a:pt x="866" y="2362"/>
                </a:lnTo>
                <a:lnTo>
                  <a:pt x="864" y="2360"/>
                </a:lnTo>
                <a:lnTo>
                  <a:pt x="866" y="2362"/>
                </a:lnTo>
                <a:lnTo>
                  <a:pt x="862" y="2362"/>
                </a:lnTo>
                <a:lnTo>
                  <a:pt x="862" y="2360"/>
                </a:lnTo>
                <a:lnTo>
                  <a:pt x="862" y="2358"/>
                </a:lnTo>
                <a:lnTo>
                  <a:pt x="864" y="2355"/>
                </a:lnTo>
                <a:lnTo>
                  <a:pt x="866" y="2353"/>
                </a:lnTo>
                <a:lnTo>
                  <a:pt x="867" y="2351"/>
                </a:lnTo>
                <a:lnTo>
                  <a:pt x="869" y="2351"/>
                </a:lnTo>
                <a:lnTo>
                  <a:pt x="867" y="2350"/>
                </a:lnTo>
                <a:lnTo>
                  <a:pt x="867" y="2351"/>
                </a:lnTo>
                <a:lnTo>
                  <a:pt x="867" y="2350"/>
                </a:lnTo>
                <a:lnTo>
                  <a:pt x="869" y="2348"/>
                </a:lnTo>
                <a:close/>
                <a:moveTo>
                  <a:pt x="900" y="2333"/>
                </a:moveTo>
                <a:lnTo>
                  <a:pt x="898" y="2333"/>
                </a:lnTo>
                <a:lnTo>
                  <a:pt x="898" y="2334"/>
                </a:lnTo>
                <a:lnTo>
                  <a:pt x="896" y="2333"/>
                </a:lnTo>
                <a:lnTo>
                  <a:pt x="896" y="2334"/>
                </a:lnTo>
                <a:lnTo>
                  <a:pt x="896" y="2333"/>
                </a:lnTo>
                <a:lnTo>
                  <a:pt x="896" y="2334"/>
                </a:lnTo>
                <a:lnTo>
                  <a:pt x="894" y="2333"/>
                </a:lnTo>
                <a:lnTo>
                  <a:pt x="896" y="2334"/>
                </a:lnTo>
                <a:lnTo>
                  <a:pt x="893" y="2334"/>
                </a:lnTo>
                <a:lnTo>
                  <a:pt x="889" y="2336"/>
                </a:lnTo>
                <a:lnTo>
                  <a:pt x="888" y="2336"/>
                </a:lnTo>
                <a:lnTo>
                  <a:pt x="886" y="2338"/>
                </a:lnTo>
                <a:lnTo>
                  <a:pt x="886" y="2336"/>
                </a:lnTo>
                <a:lnTo>
                  <a:pt x="884" y="2338"/>
                </a:lnTo>
                <a:lnTo>
                  <a:pt x="883" y="2338"/>
                </a:lnTo>
                <a:lnTo>
                  <a:pt x="884" y="2334"/>
                </a:lnTo>
                <a:lnTo>
                  <a:pt x="888" y="2334"/>
                </a:lnTo>
                <a:lnTo>
                  <a:pt x="891" y="2334"/>
                </a:lnTo>
                <a:lnTo>
                  <a:pt x="893" y="2333"/>
                </a:lnTo>
                <a:lnTo>
                  <a:pt x="894" y="2333"/>
                </a:lnTo>
                <a:lnTo>
                  <a:pt x="896" y="2333"/>
                </a:lnTo>
                <a:lnTo>
                  <a:pt x="898" y="2333"/>
                </a:lnTo>
                <a:lnTo>
                  <a:pt x="900" y="2333"/>
                </a:lnTo>
                <a:close/>
                <a:moveTo>
                  <a:pt x="905" y="2331"/>
                </a:moveTo>
                <a:lnTo>
                  <a:pt x="906" y="2331"/>
                </a:lnTo>
                <a:lnTo>
                  <a:pt x="908" y="2331"/>
                </a:lnTo>
                <a:lnTo>
                  <a:pt x="910" y="2331"/>
                </a:lnTo>
                <a:lnTo>
                  <a:pt x="911" y="2331"/>
                </a:lnTo>
                <a:lnTo>
                  <a:pt x="913" y="2331"/>
                </a:lnTo>
                <a:lnTo>
                  <a:pt x="915" y="2331"/>
                </a:lnTo>
                <a:lnTo>
                  <a:pt x="917" y="2333"/>
                </a:lnTo>
                <a:lnTo>
                  <a:pt x="913" y="2333"/>
                </a:lnTo>
                <a:lnTo>
                  <a:pt x="910" y="2333"/>
                </a:lnTo>
                <a:lnTo>
                  <a:pt x="908" y="2334"/>
                </a:lnTo>
                <a:lnTo>
                  <a:pt x="906" y="2333"/>
                </a:lnTo>
                <a:lnTo>
                  <a:pt x="906" y="2334"/>
                </a:lnTo>
                <a:lnTo>
                  <a:pt x="905" y="2334"/>
                </a:lnTo>
                <a:lnTo>
                  <a:pt x="903" y="2333"/>
                </a:lnTo>
                <a:lnTo>
                  <a:pt x="905" y="2331"/>
                </a:lnTo>
                <a:close/>
                <a:moveTo>
                  <a:pt x="935" y="2329"/>
                </a:moveTo>
                <a:lnTo>
                  <a:pt x="932" y="2329"/>
                </a:lnTo>
                <a:lnTo>
                  <a:pt x="930" y="2331"/>
                </a:lnTo>
                <a:lnTo>
                  <a:pt x="928" y="2331"/>
                </a:lnTo>
                <a:lnTo>
                  <a:pt x="927" y="2331"/>
                </a:lnTo>
                <a:lnTo>
                  <a:pt x="928" y="2331"/>
                </a:lnTo>
                <a:lnTo>
                  <a:pt x="927" y="2333"/>
                </a:lnTo>
                <a:lnTo>
                  <a:pt x="925" y="2331"/>
                </a:lnTo>
                <a:lnTo>
                  <a:pt x="925" y="2333"/>
                </a:lnTo>
                <a:lnTo>
                  <a:pt x="923" y="2331"/>
                </a:lnTo>
                <a:lnTo>
                  <a:pt x="925" y="2329"/>
                </a:lnTo>
                <a:lnTo>
                  <a:pt x="928" y="2329"/>
                </a:lnTo>
                <a:lnTo>
                  <a:pt x="930" y="2329"/>
                </a:lnTo>
                <a:lnTo>
                  <a:pt x="932" y="2329"/>
                </a:lnTo>
                <a:lnTo>
                  <a:pt x="935" y="2329"/>
                </a:lnTo>
                <a:close/>
                <a:moveTo>
                  <a:pt x="879" y="2341"/>
                </a:moveTo>
                <a:lnTo>
                  <a:pt x="881" y="2341"/>
                </a:lnTo>
                <a:lnTo>
                  <a:pt x="879" y="2341"/>
                </a:lnTo>
                <a:lnTo>
                  <a:pt x="877" y="2343"/>
                </a:lnTo>
                <a:lnTo>
                  <a:pt x="874" y="2343"/>
                </a:lnTo>
                <a:lnTo>
                  <a:pt x="876" y="2345"/>
                </a:lnTo>
                <a:lnTo>
                  <a:pt x="874" y="2345"/>
                </a:lnTo>
                <a:lnTo>
                  <a:pt x="872" y="2346"/>
                </a:lnTo>
                <a:lnTo>
                  <a:pt x="869" y="2346"/>
                </a:lnTo>
                <a:lnTo>
                  <a:pt x="871" y="2345"/>
                </a:lnTo>
                <a:lnTo>
                  <a:pt x="872" y="2345"/>
                </a:lnTo>
                <a:lnTo>
                  <a:pt x="874" y="2343"/>
                </a:lnTo>
                <a:lnTo>
                  <a:pt x="876" y="2341"/>
                </a:lnTo>
                <a:lnTo>
                  <a:pt x="879" y="2341"/>
                </a:lnTo>
                <a:close/>
                <a:moveTo>
                  <a:pt x="837" y="2447"/>
                </a:moveTo>
                <a:lnTo>
                  <a:pt x="838" y="2447"/>
                </a:lnTo>
                <a:lnTo>
                  <a:pt x="840" y="2448"/>
                </a:lnTo>
                <a:lnTo>
                  <a:pt x="838" y="2448"/>
                </a:lnTo>
                <a:lnTo>
                  <a:pt x="837" y="2447"/>
                </a:lnTo>
                <a:close/>
                <a:moveTo>
                  <a:pt x="939" y="2326"/>
                </a:moveTo>
                <a:lnTo>
                  <a:pt x="940" y="2328"/>
                </a:lnTo>
                <a:lnTo>
                  <a:pt x="939" y="2328"/>
                </a:lnTo>
                <a:lnTo>
                  <a:pt x="940" y="2328"/>
                </a:lnTo>
                <a:lnTo>
                  <a:pt x="939" y="2328"/>
                </a:lnTo>
                <a:lnTo>
                  <a:pt x="939" y="2329"/>
                </a:lnTo>
                <a:lnTo>
                  <a:pt x="937" y="2328"/>
                </a:lnTo>
                <a:lnTo>
                  <a:pt x="939" y="2326"/>
                </a:lnTo>
                <a:close/>
                <a:moveTo>
                  <a:pt x="860" y="2362"/>
                </a:moveTo>
                <a:lnTo>
                  <a:pt x="862" y="2362"/>
                </a:lnTo>
                <a:lnTo>
                  <a:pt x="862" y="2363"/>
                </a:lnTo>
                <a:lnTo>
                  <a:pt x="860" y="2363"/>
                </a:lnTo>
                <a:lnTo>
                  <a:pt x="860" y="2362"/>
                </a:lnTo>
                <a:close/>
                <a:moveTo>
                  <a:pt x="823" y="2443"/>
                </a:moveTo>
                <a:lnTo>
                  <a:pt x="825" y="2443"/>
                </a:lnTo>
                <a:lnTo>
                  <a:pt x="821" y="2443"/>
                </a:lnTo>
                <a:lnTo>
                  <a:pt x="823" y="2443"/>
                </a:lnTo>
                <a:close/>
                <a:moveTo>
                  <a:pt x="825" y="2445"/>
                </a:moveTo>
                <a:lnTo>
                  <a:pt x="826" y="2445"/>
                </a:lnTo>
                <a:lnTo>
                  <a:pt x="826" y="2447"/>
                </a:lnTo>
                <a:lnTo>
                  <a:pt x="825" y="2447"/>
                </a:lnTo>
                <a:lnTo>
                  <a:pt x="825" y="2445"/>
                </a:lnTo>
                <a:close/>
                <a:moveTo>
                  <a:pt x="828" y="2472"/>
                </a:moveTo>
                <a:lnTo>
                  <a:pt x="830" y="2472"/>
                </a:lnTo>
                <a:lnTo>
                  <a:pt x="830" y="2474"/>
                </a:lnTo>
                <a:lnTo>
                  <a:pt x="828" y="2474"/>
                </a:lnTo>
                <a:lnTo>
                  <a:pt x="828" y="2472"/>
                </a:lnTo>
                <a:close/>
                <a:moveTo>
                  <a:pt x="881" y="2341"/>
                </a:moveTo>
                <a:lnTo>
                  <a:pt x="883" y="2341"/>
                </a:lnTo>
                <a:lnTo>
                  <a:pt x="883" y="2343"/>
                </a:lnTo>
                <a:lnTo>
                  <a:pt x="881" y="2343"/>
                </a:lnTo>
                <a:lnTo>
                  <a:pt x="881" y="2341"/>
                </a:lnTo>
                <a:close/>
                <a:moveTo>
                  <a:pt x="942" y="2328"/>
                </a:moveTo>
                <a:lnTo>
                  <a:pt x="944" y="2328"/>
                </a:lnTo>
                <a:lnTo>
                  <a:pt x="944" y="2329"/>
                </a:lnTo>
                <a:lnTo>
                  <a:pt x="942" y="2329"/>
                </a:lnTo>
                <a:lnTo>
                  <a:pt x="942" y="2328"/>
                </a:lnTo>
                <a:close/>
                <a:moveTo>
                  <a:pt x="889" y="2358"/>
                </a:moveTo>
                <a:lnTo>
                  <a:pt x="888" y="2358"/>
                </a:lnTo>
                <a:lnTo>
                  <a:pt x="884" y="2360"/>
                </a:lnTo>
                <a:lnTo>
                  <a:pt x="884" y="2362"/>
                </a:lnTo>
                <a:lnTo>
                  <a:pt x="883" y="2362"/>
                </a:lnTo>
                <a:lnTo>
                  <a:pt x="884" y="2362"/>
                </a:lnTo>
                <a:lnTo>
                  <a:pt x="883" y="2362"/>
                </a:lnTo>
                <a:lnTo>
                  <a:pt x="879" y="2363"/>
                </a:lnTo>
                <a:lnTo>
                  <a:pt x="877" y="2365"/>
                </a:lnTo>
                <a:lnTo>
                  <a:pt x="877" y="2367"/>
                </a:lnTo>
                <a:lnTo>
                  <a:pt x="876" y="2367"/>
                </a:lnTo>
                <a:lnTo>
                  <a:pt x="877" y="2367"/>
                </a:lnTo>
                <a:lnTo>
                  <a:pt x="881" y="2362"/>
                </a:lnTo>
                <a:lnTo>
                  <a:pt x="883" y="2362"/>
                </a:lnTo>
                <a:lnTo>
                  <a:pt x="888" y="2358"/>
                </a:lnTo>
                <a:lnTo>
                  <a:pt x="889" y="2358"/>
                </a:lnTo>
                <a:close/>
                <a:moveTo>
                  <a:pt x="871" y="2406"/>
                </a:moveTo>
                <a:lnTo>
                  <a:pt x="872" y="2406"/>
                </a:lnTo>
                <a:lnTo>
                  <a:pt x="872" y="2407"/>
                </a:lnTo>
                <a:lnTo>
                  <a:pt x="871" y="2407"/>
                </a:lnTo>
                <a:lnTo>
                  <a:pt x="871" y="2406"/>
                </a:lnTo>
                <a:close/>
                <a:moveTo>
                  <a:pt x="830" y="2472"/>
                </a:moveTo>
                <a:lnTo>
                  <a:pt x="832" y="2472"/>
                </a:lnTo>
                <a:lnTo>
                  <a:pt x="830" y="2474"/>
                </a:lnTo>
                <a:lnTo>
                  <a:pt x="830" y="2472"/>
                </a:lnTo>
                <a:close/>
                <a:moveTo>
                  <a:pt x="849" y="2450"/>
                </a:moveTo>
                <a:lnTo>
                  <a:pt x="850" y="2452"/>
                </a:lnTo>
                <a:lnTo>
                  <a:pt x="849" y="2452"/>
                </a:lnTo>
                <a:lnTo>
                  <a:pt x="849" y="2450"/>
                </a:lnTo>
                <a:close/>
                <a:moveTo>
                  <a:pt x="920" y="2331"/>
                </a:moveTo>
                <a:lnTo>
                  <a:pt x="922" y="2331"/>
                </a:lnTo>
                <a:lnTo>
                  <a:pt x="922" y="2333"/>
                </a:lnTo>
                <a:lnTo>
                  <a:pt x="920" y="2333"/>
                </a:lnTo>
                <a:lnTo>
                  <a:pt x="920" y="2331"/>
                </a:lnTo>
                <a:close/>
                <a:moveTo>
                  <a:pt x="857" y="2448"/>
                </a:moveTo>
                <a:lnTo>
                  <a:pt x="859" y="2448"/>
                </a:lnTo>
                <a:lnTo>
                  <a:pt x="859" y="2450"/>
                </a:lnTo>
                <a:lnTo>
                  <a:pt x="857" y="2450"/>
                </a:lnTo>
                <a:lnTo>
                  <a:pt x="857" y="2448"/>
                </a:lnTo>
                <a:close/>
                <a:moveTo>
                  <a:pt x="840" y="2448"/>
                </a:moveTo>
                <a:lnTo>
                  <a:pt x="842" y="2448"/>
                </a:lnTo>
                <a:lnTo>
                  <a:pt x="842" y="2450"/>
                </a:lnTo>
                <a:lnTo>
                  <a:pt x="840" y="2450"/>
                </a:lnTo>
                <a:lnTo>
                  <a:pt x="840" y="2448"/>
                </a:lnTo>
                <a:close/>
                <a:moveTo>
                  <a:pt x="889" y="2397"/>
                </a:moveTo>
                <a:lnTo>
                  <a:pt x="891" y="2397"/>
                </a:lnTo>
                <a:lnTo>
                  <a:pt x="889" y="2397"/>
                </a:lnTo>
                <a:close/>
                <a:moveTo>
                  <a:pt x="2047" y="2773"/>
                </a:moveTo>
                <a:lnTo>
                  <a:pt x="2049" y="2773"/>
                </a:lnTo>
                <a:lnTo>
                  <a:pt x="2050" y="2773"/>
                </a:lnTo>
                <a:lnTo>
                  <a:pt x="2050" y="2775"/>
                </a:lnTo>
                <a:lnTo>
                  <a:pt x="2049" y="2775"/>
                </a:lnTo>
                <a:lnTo>
                  <a:pt x="2047" y="2775"/>
                </a:lnTo>
                <a:lnTo>
                  <a:pt x="2045" y="2773"/>
                </a:lnTo>
                <a:lnTo>
                  <a:pt x="2047" y="2773"/>
                </a:lnTo>
                <a:close/>
                <a:moveTo>
                  <a:pt x="1223" y="2248"/>
                </a:moveTo>
                <a:lnTo>
                  <a:pt x="1223" y="2249"/>
                </a:lnTo>
                <a:lnTo>
                  <a:pt x="1221" y="2251"/>
                </a:lnTo>
                <a:lnTo>
                  <a:pt x="1223" y="2254"/>
                </a:lnTo>
                <a:lnTo>
                  <a:pt x="1224" y="2256"/>
                </a:lnTo>
                <a:lnTo>
                  <a:pt x="1226" y="2256"/>
                </a:lnTo>
                <a:lnTo>
                  <a:pt x="1228" y="2256"/>
                </a:lnTo>
                <a:lnTo>
                  <a:pt x="1228" y="2254"/>
                </a:lnTo>
                <a:lnTo>
                  <a:pt x="1229" y="2254"/>
                </a:lnTo>
                <a:lnTo>
                  <a:pt x="1231" y="2254"/>
                </a:lnTo>
                <a:lnTo>
                  <a:pt x="1234" y="2256"/>
                </a:lnTo>
                <a:lnTo>
                  <a:pt x="1233" y="2259"/>
                </a:lnTo>
                <a:lnTo>
                  <a:pt x="1231" y="2261"/>
                </a:lnTo>
                <a:lnTo>
                  <a:pt x="1229" y="2261"/>
                </a:lnTo>
                <a:lnTo>
                  <a:pt x="1229" y="2265"/>
                </a:lnTo>
                <a:lnTo>
                  <a:pt x="1231" y="2266"/>
                </a:lnTo>
                <a:lnTo>
                  <a:pt x="1234" y="2268"/>
                </a:lnTo>
                <a:lnTo>
                  <a:pt x="1236" y="2268"/>
                </a:lnTo>
                <a:lnTo>
                  <a:pt x="1236" y="2270"/>
                </a:lnTo>
                <a:lnTo>
                  <a:pt x="1238" y="2271"/>
                </a:lnTo>
                <a:lnTo>
                  <a:pt x="1236" y="2273"/>
                </a:lnTo>
                <a:lnTo>
                  <a:pt x="1236" y="2276"/>
                </a:lnTo>
                <a:lnTo>
                  <a:pt x="1234" y="2275"/>
                </a:lnTo>
                <a:lnTo>
                  <a:pt x="1236" y="2275"/>
                </a:lnTo>
                <a:lnTo>
                  <a:pt x="1234" y="2275"/>
                </a:lnTo>
                <a:lnTo>
                  <a:pt x="1233" y="2275"/>
                </a:lnTo>
                <a:lnTo>
                  <a:pt x="1236" y="2273"/>
                </a:lnTo>
                <a:lnTo>
                  <a:pt x="1234" y="2271"/>
                </a:lnTo>
                <a:lnTo>
                  <a:pt x="1231" y="2273"/>
                </a:lnTo>
                <a:lnTo>
                  <a:pt x="1234" y="2271"/>
                </a:lnTo>
                <a:lnTo>
                  <a:pt x="1231" y="2271"/>
                </a:lnTo>
                <a:lnTo>
                  <a:pt x="1229" y="2271"/>
                </a:lnTo>
                <a:lnTo>
                  <a:pt x="1228" y="2271"/>
                </a:lnTo>
                <a:lnTo>
                  <a:pt x="1226" y="2273"/>
                </a:lnTo>
                <a:lnTo>
                  <a:pt x="1226" y="2271"/>
                </a:lnTo>
                <a:lnTo>
                  <a:pt x="1226" y="2273"/>
                </a:lnTo>
                <a:lnTo>
                  <a:pt x="1224" y="2275"/>
                </a:lnTo>
                <a:lnTo>
                  <a:pt x="1223" y="2276"/>
                </a:lnTo>
                <a:lnTo>
                  <a:pt x="1221" y="2276"/>
                </a:lnTo>
                <a:lnTo>
                  <a:pt x="1223" y="2278"/>
                </a:lnTo>
                <a:lnTo>
                  <a:pt x="1224" y="2278"/>
                </a:lnTo>
                <a:lnTo>
                  <a:pt x="1224" y="2280"/>
                </a:lnTo>
                <a:lnTo>
                  <a:pt x="1223" y="2280"/>
                </a:lnTo>
                <a:lnTo>
                  <a:pt x="1221" y="2280"/>
                </a:lnTo>
                <a:lnTo>
                  <a:pt x="1219" y="2278"/>
                </a:lnTo>
                <a:lnTo>
                  <a:pt x="1221" y="2278"/>
                </a:lnTo>
                <a:lnTo>
                  <a:pt x="1221" y="2276"/>
                </a:lnTo>
                <a:lnTo>
                  <a:pt x="1219" y="2278"/>
                </a:lnTo>
                <a:lnTo>
                  <a:pt x="1221" y="2278"/>
                </a:lnTo>
                <a:lnTo>
                  <a:pt x="1217" y="2278"/>
                </a:lnTo>
                <a:lnTo>
                  <a:pt x="1216" y="2276"/>
                </a:lnTo>
                <a:lnTo>
                  <a:pt x="1214" y="2275"/>
                </a:lnTo>
                <a:lnTo>
                  <a:pt x="1212" y="2276"/>
                </a:lnTo>
                <a:lnTo>
                  <a:pt x="1214" y="2275"/>
                </a:lnTo>
                <a:lnTo>
                  <a:pt x="1212" y="2275"/>
                </a:lnTo>
                <a:lnTo>
                  <a:pt x="1212" y="2273"/>
                </a:lnTo>
                <a:lnTo>
                  <a:pt x="1212" y="2270"/>
                </a:lnTo>
                <a:lnTo>
                  <a:pt x="1214" y="2270"/>
                </a:lnTo>
                <a:lnTo>
                  <a:pt x="1216" y="2270"/>
                </a:lnTo>
                <a:lnTo>
                  <a:pt x="1217" y="2270"/>
                </a:lnTo>
                <a:lnTo>
                  <a:pt x="1216" y="2270"/>
                </a:lnTo>
                <a:lnTo>
                  <a:pt x="1216" y="2268"/>
                </a:lnTo>
                <a:lnTo>
                  <a:pt x="1216" y="2266"/>
                </a:lnTo>
                <a:lnTo>
                  <a:pt x="1212" y="2266"/>
                </a:lnTo>
                <a:lnTo>
                  <a:pt x="1214" y="2265"/>
                </a:lnTo>
                <a:lnTo>
                  <a:pt x="1216" y="2265"/>
                </a:lnTo>
                <a:lnTo>
                  <a:pt x="1217" y="2263"/>
                </a:lnTo>
                <a:lnTo>
                  <a:pt x="1216" y="2263"/>
                </a:lnTo>
                <a:lnTo>
                  <a:pt x="1217" y="2263"/>
                </a:lnTo>
                <a:lnTo>
                  <a:pt x="1216" y="2263"/>
                </a:lnTo>
                <a:lnTo>
                  <a:pt x="1216" y="2261"/>
                </a:lnTo>
                <a:lnTo>
                  <a:pt x="1214" y="2261"/>
                </a:lnTo>
                <a:lnTo>
                  <a:pt x="1212" y="2258"/>
                </a:lnTo>
                <a:lnTo>
                  <a:pt x="1214" y="2258"/>
                </a:lnTo>
                <a:lnTo>
                  <a:pt x="1216" y="2258"/>
                </a:lnTo>
                <a:lnTo>
                  <a:pt x="1217" y="2258"/>
                </a:lnTo>
                <a:lnTo>
                  <a:pt x="1219" y="2259"/>
                </a:lnTo>
                <a:lnTo>
                  <a:pt x="1219" y="2258"/>
                </a:lnTo>
                <a:lnTo>
                  <a:pt x="1221" y="2256"/>
                </a:lnTo>
                <a:lnTo>
                  <a:pt x="1219" y="2258"/>
                </a:lnTo>
                <a:lnTo>
                  <a:pt x="1221" y="2258"/>
                </a:lnTo>
                <a:lnTo>
                  <a:pt x="1221" y="2259"/>
                </a:lnTo>
                <a:lnTo>
                  <a:pt x="1223" y="2259"/>
                </a:lnTo>
                <a:lnTo>
                  <a:pt x="1221" y="2258"/>
                </a:lnTo>
                <a:lnTo>
                  <a:pt x="1221" y="2256"/>
                </a:lnTo>
                <a:lnTo>
                  <a:pt x="1221" y="2258"/>
                </a:lnTo>
                <a:lnTo>
                  <a:pt x="1223" y="2259"/>
                </a:lnTo>
                <a:lnTo>
                  <a:pt x="1223" y="2261"/>
                </a:lnTo>
                <a:lnTo>
                  <a:pt x="1224" y="2263"/>
                </a:lnTo>
                <a:lnTo>
                  <a:pt x="1226" y="2261"/>
                </a:lnTo>
                <a:lnTo>
                  <a:pt x="1226" y="2265"/>
                </a:lnTo>
                <a:lnTo>
                  <a:pt x="1228" y="2265"/>
                </a:lnTo>
                <a:lnTo>
                  <a:pt x="1226" y="2265"/>
                </a:lnTo>
                <a:lnTo>
                  <a:pt x="1226" y="2266"/>
                </a:lnTo>
                <a:lnTo>
                  <a:pt x="1229" y="2266"/>
                </a:lnTo>
                <a:lnTo>
                  <a:pt x="1228" y="2265"/>
                </a:lnTo>
                <a:lnTo>
                  <a:pt x="1229" y="2265"/>
                </a:lnTo>
                <a:lnTo>
                  <a:pt x="1228" y="2265"/>
                </a:lnTo>
                <a:lnTo>
                  <a:pt x="1229" y="2263"/>
                </a:lnTo>
                <a:lnTo>
                  <a:pt x="1226" y="2261"/>
                </a:lnTo>
                <a:lnTo>
                  <a:pt x="1228" y="2259"/>
                </a:lnTo>
                <a:lnTo>
                  <a:pt x="1226" y="2256"/>
                </a:lnTo>
                <a:lnTo>
                  <a:pt x="1228" y="2256"/>
                </a:lnTo>
                <a:lnTo>
                  <a:pt x="1226" y="2256"/>
                </a:lnTo>
                <a:lnTo>
                  <a:pt x="1226" y="2258"/>
                </a:lnTo>
                <a:lnTo>
                  <a:pt x="1224" y="2258"/>
                </a:lnTo>
                <a:lnTo>
                  <a:pt x="1224" y="2256"/>
                </a:lnTo>
                <a:lnTo>
                  <a:pt x="1223" y="2254"/>
                </a:lnTo>
                <a:lnTo>
                  <a:pt x="1221" y="2253"/>
                </a:lnTo>
                <a:lnTo>
                  <a:pt x="1219" y="2254"/>
                </a:lnTo>
                <a:lnTo>
                  <a:pt x="1217" y="2256"/>
                </a:lnTo>
                <a:lnTo>
                  <a:pt x="1216" y="2258"/>
                </a:lnTo>
                <a:lnTo>
                  <a:pt x="1216" y="2254"/>
                </a:lnTo>
                <a:lnTo>
                  <a:pt x="1217" y="2253"/>
                </a:lnTo>
                <a:lnTo>
                  <a:pt x="1217" y="2251"/>
                </a:lnTo>
                <a:lnTo>
                  <a:pt x="1216" y="2253"/>
                </a:lnTo>
                <a:lnTo>
                  <a:pt x="1216" y="2254"/>
                </a:lnTo>
                <a:lnTo>
                  <a:pt x="1214" y="2258"/>
                </a:lnTo>
                <a:lnTo>
                  <a:pt x="1212" y="2258"/>
                </a:lnTo>
                <a:lnTo>
                  <a:pt x="1212" y="2256"/>
                </a:lnTo>
                <a:lnTo>
                  <a:pt x="1214" y="2254"/>
                </a:lnTo>
                <a:lnTo>
                  <a:pt x="1214" y="2251"/>
                </a:lnTo>
                <a:lnTo>
                  <a:pt x="1216" y="2249"/>
                </a:lnTo>
                <a:lnTo>
                  <a:pt x="1217" y="2249"/>
                </a:lnTo>
                <a:lnTo>
                  <a:pt x="1219" y="2249"/>
                </a:lnTo>
                <a:lnTo>
                  <a:pt x="1221" y="2248"/>
                </a:lnTo>
                <a:lnTo>
                  <a:pt x="1223" y="2248"/>
                </a:lnTo>
                <a:close/>
                <a:moveTo>
                  <a:pt x="1258" y="2299"/>
                </a:moveTo>
                <a:lnTo>
                  <a:pt x="1260" y="2299"/>
                </a:lnTo>
                <a:lnTo>
                  <a:pt x="1260" y="2300"/>
                </a:lnTo>
                <a:lnTo>
                  <a:pt x="1260" y="2304"/>
                </a:lnTo>
                <a:lnTo>
                  <a:pt x="1260" y="2302"/>
                </a:lnTo>
                <a:lnTo>
                  <a:pt x="1262" y="2304"/>
                </a:lnTo>
                <a:lnTo>
                  <a:pt x="1263" y="2307"/>
                </a:lnTo>
                <a:lnTo>
                  <a:pt x="1262" y="2305"/>
                </a:lnTo>
                <a:lnTo>
                  <a:pt x="1258" y="2304"/>
                </a:lnTo>
                <a:lnTo>
                  <a:pt x="1257" y="2304"/>
                </a:lnTo>
                <a:lnTo>
                  <a:pt x="1255" y="2304"/>
                </a:lnTo>
                <a:lnTo>
                  <a:pt x="1253" y="2304"/>
                </a:lnTo>
                <a:lnTo>
                  <a:pt x="1251" y="2304"/>
                </a:lnTo>
                <a:lnTo>
                  <a:pt x="1250" y="2305"/>
                </a:lnTo>
                <a:lnTo>
                  <a:pt x="1246" y="2305"/>
                </a:lnTo>
                <a:lnTo>
                  <a:pt x="1248" y="2304"/>
                </a:lnTo>
                <a:lnTo>
                  <a:pt x="1246" y="2304"/>
                </a:lnTo>
                <a:lnTo>
                  <a:pt x="1246" y="2305"/>
                </a:lnTo>
                <a:lnTo>
                  <a:pt x="1245" y="2305"/>
                </a:lnTo>
                <a:lnTo>
                  <a:pt x="1243" y="2305"/>
                </a:lnTo>
                <a:lnTo>
                  <a:pt x="1243" y="2304"/>
                </a:lnTo>
                <a:lnTo>
                  <a:pt x="1245" y="2304"/>
                </a:lnTo>
                <a:lnTo>
                  <a:pt x="1246" y="2300"/>
                </a:lnTo>
                <a:lnTo>
                  <a:pt x="1246" y="2299"/>
                </a:lnTo>
                <a:lnTo>
                  <a:pt x="1245" y="2297"/>
                </a:lnTo>
                <a:lnTo>
                  <a:pt x="1245" y="2295"/>
                </a:lnTo>
                <a:lnTo>
                  <a:pt x="1248" y="2295"/>
                </a:lnTo>
                <a:lnTo>
                  <a:pt x="1248" y="2297"/>
                </a:lnTo>
                <a:lnTo>
                  <a:pt x="1246" y="2297"/>
                </a:lnTo>
                <a:lnTo>
                  <a:pt x="1248" y="2299"/>
                </a:lnTo>
                <a:lnTo>
                  <a:pt x="1248" y="2297"/>
                </a:lnTo>
                <a:lnTo>
                  <a:pt x="1250" y="2297"/>
                </a:lnTo>
                <a:lnTo>
                  <a:pt x="1250" y="2299"/>
                </a:lnTo>
                <a:lnTo>
                  <a:pt x="1251" y="2299"/>
                </a:lnTo>
                <a:lnTo>
                  <a:pt x="1250" y="2299"/>
                </a:lnTo>
                <a:lnTo>
                  <a:pt x="1251" y="2295"/>
                </a:lnTo>
                <a:lnTo>
                  <a:pt x="1251" y="2293"/>
                </a:lnTo>
                <a:lnTo>
                  <a:pt x="1250" y="2293"/>
                </a:lnTo>
                <a:lnTo>
                  <a:pt x="1248" y="2292"/>
                </a:lnTo>
                <a:lnTo>
                  <a:pt x="1248" y="2290"/>
                </a:lnTo>
                <a:lnTo>
                  <a:pt x="1245" y="2290"/>
                </a:lnTo>
                <a:lnTo>
                  <a:pt x="1245" y="2292"/>
                </a:lnTo>
                <a:lnTo>
                  <a:pt x="1246" y="2293"/>
                </a:lnTo>
                <a:lnTo>
                  <a:pt x="1246" y="2292"/>
                </a:lnTo>
                <a:lnTo>
                  <a:pt x="1245" y="2293"/>
                </a:lnTo>
                <a:lnTo>
                  <a:pt x="1243" y="2295"/>
                </a:lnTo>
                <a:lnTo>
                  <a:pt x="1243" y="2292"/>
                </a:lnTo>
                <a:lnTo>
                  <a:pt x="1241" y="2293"/>
                </a:lnTo>
                <a:lnTo>
                  <a:pt x="1240" y="2293"/>
                </a:lnTo>
                <a:lnTo>
                  <a:pt x="1240" y="2292"/>
                </a:lnTo>
                <a:lnTo>
                  <a:pt x="1241" y="2290"/>
                </a:lnTo>
                <a:lnTo>
                  <a:pt x="1241" y="2287"/>
                </a:lnTo>
                <a:lnTo>
                  <a:pt x="1240" y="2287"/>
                </a:lnTo>
                <a:lnTo>
                  <a:pt x="1238" y="2283"/>
                </a:lnTo>
                <a:lnTo>
                  <a:pt x="1241" y="2283"/>
                </a:lnTo>
                <a:lnTo>
                  <a:pt x="1241" y="2287"/>
                </a:lnTo>
                <a:lnTo>
                  <a:pt x="1243" y="2288"/>
                </a:lnTo>
                <a:lnTo>
                  <a:pt x="1246" y="2288"/>
                </a:lnTo>
                <a:lnTo>
                  <a:pt x="1248" y="2290"/>
                </a:lnTo>
                <a:lnTo>
                  <a:pt x="1250" y="2290"/>
                </a:lnTo>
                <a:lnTo>
                  <a:pt x="1250" y="2292"/>
                </a:lnTo>
                <a:lnTo>
                  <a:pt x="1251" y="2293"/>
                </a:lnTo>
                <a:lnTo>
                  <a:pt x="1253" y="2295"/>
                </a:lnTo>
                <a:lnTo>
                  <a:pt x="1255" y="2295"/>
                </a:lnTo>
                <a:lnTo>
                  <a:pt x="1257" y="2297"/>
                </a:lnTo>
                <a:lnTo>
                  <a:pt x="1258" y="2299"/>
                </a:lnTo>
                <a:close/>
                <a:moveTo>
                  <a:pt x="1129" y="2261"/>
                </a:moveTo>
                <a:lnTo>
                  <a:pt x="1131" y="2261"/>
                </a:lnTo>
                <a:lnTo>
                  <a:pt x="1132" y="2263"/>
                </a:lnTo>
                <a:lnTo>
                  <a:pt x="1134" y="2263"/>
                </a:lnTo>
                <a:lnTo>
                  <a:pt x="1136" y="2266"/>
                </a:lnTo>
                <a:lnTo>
                  <a:pt x="1138" y="2268"/>
                </a:lnTo>
                <a:lnTo>
                  <a:pt x="1138" y="2270"/>
                </a:lnTo>
                <a:lnTo>
                  <a:pt x="1136" y="2270"/>
                </a:lnTo>
                <a:lnTo>
                  <a:pt x="1134" y="2270"/>
                </a:lnTo>
                <a:lnTo>
                  <a:pt x="1132" y="2270"/>
                </a:lnTo>
                <a:lnTo>
                  <a:pt x="1131" y="2271"/>
                </a:lnTo>
                <a:lnTo>
                  <a:pt x="1129" y="2270"/>
                </a:lnTo>
                <a:lnTo>
                  <a:pt x="1129" y="2268"/>
                </a:lnTo>
                <a:lnTo>
                  <a:pt x="1126" y="2268"/>
                </a:lnTo>
                <a:lnTo>
                  <a:pt x="1127" y="2268"/>
                </a:lnTo>
                <a:lnTo>
                  <a:pt x="1126" y="2268"/>
                </a:lnTo>
                <a:lnTo>
                  <a:pt x="1126" y="2265"/>
                </a:lnTo>
                <a:lnTo>
                  <a:pt x="1126" y="2263"/>
                </a:lnTo>
                <a:lnTo>
                  <a:pt x="1127" y="2261"/>
                </a:lnTo>
                <a:lnTo>
                  <a:pt x="1129" y="2261"/>
                </a:lnTo>
                <a:close/>
                <a:moveTo>
                  <a:pt x="1025" y="2246"/>
                </a:moveTo>
                <a:lnTo>
                  <a:pt x="1027" y="2246"/>
                </a:lnTo>
                <a:lnTo>
                  <a:pt x="1029" y="2248"/>
                </a:lnTo>
                <a:lnTo>
                  <a:pt x="1027" y="2251"/>
                </a:lnTo>
                <a:lnTo>
                  <a:pt x="1024" y="2251"/>
                </a:lnTo>
                <a:lnTo>
                  <a:pt x="1022" y="2249"/>
                </a:lnTo>
                <a:lnTo>
                  <a:pt x="1020" y="2249"/>
                </a:lnTo>
                <a:lnTo>
                  <a:pt x="1020" y="2248"/>
                </a:lnTo>
                <a:lnTo>
                  <a:pt x="1022" y="2246"/>
                </a:lnTo>
                <a:lnTo>
                  <a:pt x="1024" y="2246"/>
                </a:lnTo>
                <a:lnTo>
                  <a:pt x="1025" y="2246"/>
                </a:lnTo>
                <a:close/>
                <a:moveTo>
                  <a:pt x="1032" y="2259"/>
                </a:moveTo>
                <a:lnTo>
                  <a:pt x="1032" y="2263"/>
                </a:lnTo>
                <a:lnTo>
                  <a:pt x="1030" y="2265"/>
                </a:lnTo>
                <a:lnTo>
                  <a:pt x="1029" y="2265"/>
                </a:lnTo>
                <a:lnTo>
                  <a:pt x="1027" y="2261"/>
                </a:lnTo>
                <a:lnTo>
                  <a:pt x="1029" y="2261"/>
                </a:lnTo>
                <a:lnTo>
                  <a:pt x="1032" y="2259"/>
                </a:lnTo>
                <a:close/>
                <a:moveTo>
                  <a:pt x="1146" y="2299"/>
                </a:moveTo>
                <a:lnTo>
                  <a:pt x="1146" y="2300"/>
                </a:lnTo>
                <a:lnTo>
                  <a:pt x="1144" y="2302"/>
                </a:lnTo>
                <a:lnTo>
                  <a:pt x="1144" y="2299"/>
                </a:lnTo>
                <a:lnTo>
                  <a:pt x="1143" y="2300"/>
                </a:lnTo>
                <a:lnTo>
                  <a:pt x="1141" y="2300"/>
                </a:lnTo>
                <a:lnTo>
                  <a:pt x="1141" y="2299"/>
                </a:lnTo>
                <a:lnTo>
                  <a:pt x="1143" y="2299"/>
                </a:lnTo>
                <a:lnTo>
                  <a:pt x="1144" y="2297"/>
                </a:lnTo>
                <a:lnTo>
                  <a:pt x="1146" y="2299"/>
                </a:lnTo>
                <a:close/>
                <a:moveTo>
                  <a:pt x="952" y="2324"/>
                </a:moveTo>
                <a:lnTo>
                  <a:pt x="951" y="2324"/>
                </a:lnTo>
                <a:lnTo>
                  <a:pt x="949" y="2326"/>
                </a:lnTo>
                <a:lnTo>
                  <a:pt x="951" y="2326"/>
                </a:lnTo>
                <a:lnTo>
                  <a:pt x="951" y="2328"/>
                </a:lnTo>
                <a:lnTo>
                  <a:pt x="949" y="2326"/>
                </a:lnTo>
                <a:lnTo>
                  <a:pt x="949" y="2328"/>
                </a:lnTo>
                <a:lnTo>
                  <a:pt x="947" y="2326"/>
                </a:lnTo>
                <a:lnTo>
                  <a:pt x="945" y="2324"/>
                </a:lnTo>
                <a:lnTo>
                  <a:pt x="947" y="2324"/>
                </a:lnTo>
                <a:lnTo>
                  <a:pt x="951" y="2322"/>
                </a:lnTo>
                <a:lnTo>
                  <a:pt x="952" y="2324"/>
                </a:lnTo>
                <a:close/>
                <a:moveTo>
                  <a:pt x="1019" y="2254"/>
                </a:moveTo>
                <a:lnTo>
                  <a:pt x="1020" y="2256"/>
                </a:lnTo>
                <a:lnTo>
                  <a:pt x="1019" y="2256"/>
                </a:lnTo>
                <a:lnTo>
                  <a:pt x="1017" y="2254"/>
                </a:lnTo>
                <a:lnTo>
                  <a:pt x="1017" y="2253"/>
                </a:lnTo>
                <a:lnTo>
                  <a:pt x="1015" y="2251"/>
                </a:lnTo>
                <a:lnTo>
                  <a:pt x="1017" y="2249"/>
                </a:lnTo>
                <a:lnTo>
                  <a:pt x="1019" y="2248"/>
                </a:lnTo>
                <a:lnTo>
                  <a:pt x="1017" y="2249"/>
                </a:lnTo>
                <a:lnTo>
                  <a:pt x="1019" y="2253"/>
                </a:lnTo>
                <a:lnTo>
                  <a:pt x="1019" y="2254"/>
                </a:lnTo>
                <a:close/>
                <a:moveTo>
                  <a:pt x="974" y="2316"/>
                </a:moveTo>
                <a:lnTo>
                  <a:pt x="974" y="2317"/>
                </a:lnTo>
                <a:lnTo>
                  <a:pt x="971" y="2317"/>
                </a:lnTo>
                <a:lnTo>
                  <a:pt x="969" y="2317"/>
                </a:lnTo>
                <a:lnTo>
                  <a:pt x="968" y="2317"/>
                </a:lnTo>
                <a:lnTo>
                  <a:pt x="966" y="2317"/>
                </a:lnTo>
                <a:lnTo>
                  <a:pt x="969" y="2316"/>
                </a:lnTo>
                <a:lnTo>
                  <a:pt x="971" y="2316"/>
                </a:lnTo>
                <a:lnTo>
                  <a:pt x="974" y="2316"/>
                </a:lnTo>
                <a:close/>
                <a:moveTo>
                  <a:pt x="985" y="2314"/>
                </a:moveTo>
                <a:lnTo>
                  <a:pt x="986" y="2316"/>
                </a:lnTo>
                <a:lnTo>
                  <a:pt x="985" y="2316"/>
                </a:lnTo>
                <a:lnTo>
                  <a:pt x="981" y="2316"/>
                </a:lnTo>
                <a:lnTo>
                  <a:pt x="981" y="2317"/>
                </a:lnTo>
                <a:lnTo>
                  <a:pt x="979" y="2317"/>
                </a:lnTo>
                <a:lnTo>
                  <a:pt x="981" y="2314"/>
                </a:lnTo>
                <a:lnTo>
                  <a:pt x="985" y="2314"/>
                </a:lnTo>
                <a:close/>
                <a:moveTo>
                  <a:pt x="1214" y="2261"/>
                </a:moveTo>
                <a:lnTo>
                  <a:pt x="1216" y="2263"/>
                </a:lnTo>
                <a:lnTo>
                  <a:pt x="1214" y="2263"/>
                </a:lnTo>
                <a:lnTo>
                  <a:pt x="1212" y="2265"/>
                </a:lnTo>
                <a:lnTo>
                  <a:pt x="1212" y="2263"/>
                </a:lnTo>
                <a:lnTo>
                  <a:pt x="1214" y="2261"/>
                </a:lnTo>
                <a:close/>
                <a:moveTo>
                  <a:pt x="991" y="2312"/>
                </a:moveTo>
                <a:lnTo>
                  <a:pt x="993" y="2312"/>
                </a:lnTo>
                <a:lnTo>
                  <a:pt x="995" y="2314"/>
                </a:lnTo>
                <a:lnTo>
                  <a:pt x="991" y="2314"/>
                </a:lnTo>
                <a:lnTo>
                  <a:pt x="990" y="2314"/>
                </a:lnTo>
                <a:lnTo>
                  <a:pt x="990" y="2316"/>
                </a:lnTo>
                <a:lnTo>
                  <a:pt x="988" y="2314"/>
                </a:lnTo>
                <a:lnTo>
                  <a:pt x="991" y="2312"/>
                </a:lnTo>
                <a:close/>
                <a:moveTo>
                  <a:pt x="1212" y="2254"/>
                </a:moveTo>
                <a:lnTo>
                  <a:pt x="1212" y="2256"/>
                </a:lnTo>
                <a:lnTo>
                  <a:pt x="1212" y="2254"/>
                </a:lnTo>
                <a:lnTo>
                  <a:pt x="1211" y="2256"/>
                </a:lnTo>
                <a:lnTo>
                  <a:pt x="1211" y="2259"/>
                </a:lnTo>
                <a:lnTo>
                  <a:pt x="1209" y="2259"/>
                </a:lnTo>
                <a:lnTo>
                  <a:pt x="1209" y="2261"/>
                </a:lnTo>
                <a:lnTo>
                  <a:pt x="1209" y="2265"/>
                </a:lnTo>
                <a:lnTo>
                  <a:pt x="1209" y="2263"/>
                </a:lnTo>
                <a:lnTo>
                  <a:pt x="1209" y="2261"/>
                </a:lnTo>
                <a:lnTo>
                  <a:pt x="1209" y="2259"/>
                </a:lnTo>
                <a:lnTo>
                  <a:pt x="1211" y="2258"/>
                </a:lnTo>
                <a:lnTo>
                  <a:pt x="1211" y="2254"/>
                </a:lnTo>
                <a:lnTo>
                  <a:pt x="1212" y="2254"/>
                </a:lnTo>
                <a:close/>
                <a:moveTo>
                  <a:pt x="1024" y="2266"/>
                </a:moveTo>
                <a:lnTo>
                  <a:pt x="1024" y="2268"/>
                </a:lnTo>
                <a:lnTo>
                  <a:pt x="1024" y="2270"/>
                </a:lnTo>
                <a:lnTo>
                  <a:pt x="1022" y="2268"/>
                </a:lnTo>
                <a:lnTo>
                  <a:pt x="1022" y="2266"/>
                </a:lnTo>
                <a:lnTo>
                  <a:pt x="1024" y="2266"/>
                </a:lnTo>
                <a:close/>
                <a:moveTo>
                  <a:pt x="964" y="2319"/>
                </a:moveTo>
                <a:lnTo>
                  <a:pt x="962" y="2319"/>
                </a:lnTo>
                <a:lnTo>
                  <a:pt x="961" y="2319"/>
                </a:lnTo>
                <a:lnTo>
                  <a:pt x="959" y="2319"/>
                </a:lnTo>
                <a:lnTo>
                  <a:pt x="956" y="2319"/>
                </a:lnTo>
                <a:lnTo>
                  <a:pt x="957" y="2319"/>
                </a:lnTo>
                <a:lnTo>
                  <a:pt x="959" y="2319"/>
                </a:lnTo>
                <a:lnTo>
                  <a:pt x="962" y="2319"/>
                </a:lnTo>
                <a:lnTo>
                  <a:pt x="964" y="2319"/>
                </a:lnTo>
                <a:close/>
                <a:moveTo>
                  <a:pt x="1024" y="2263"/>
                </a:moveTo>
                <a:lnTo>
                  <a:pt x="1022" y="2263"/>
                </a:lnTo>
                <a:lnTo>
                  <a:pt x="1022" y="2261"/>
                </a:lnTo>
                <a:lnTo>
                  <a:pt x="1022" y="2259"/>
                </a:lnTo>
                <a:lnTo>
                  <a:pt x="1024" y="2261"/>
                </a:lnTo>
                <a:lnTo>
                  <a:pt x="1024" y="2263"/>
                </a:lnTo>
                <a:close/>
                <a:moveTo>
                  <a:pt x="1000" y="2312"/>
                </a:moveTo>
                <a:lnTo>
                  <a:pt x="1002" y="2314"/>
                </a:lnTo>
                <a:lnTo>
                  <a:pt x="1000" y="2312"/>
                </a:lnTo>
                <a:lnTo>
                  <a:pt x="996" y="2312"/>
                </a:lnTo>
                <a:lnTo>
                  <a:pt x="996" y="2314"/>
                </a:lnTo>
                <a:lnTo>
                  <a:pt x="996" y="2312"/>
                </a:lnTo>
                <a:lnTo>
                  <a:pt x="1000" y="2312"/>
                </a:lnTo>
                <a:close/>
                <a:moveTo>
                  <a:pt x="1008" y="2317"/>
                </a:moveTo>
                <a:lnTo>
                  <a:pt x="1010" y="2317"/>
                </a:lnTo>
                <a:lnTo>
                  <a:pt x="1008" y="2319"/>
                </a:lnTo>
                <a:lnTo>
                  <a:pt x="1007" y="2317"/>
                </a:lnTo>
                <a:lnTo>
                  <a:pt x="1008" y="2317"/>
                </a:lnTo>
                <a:close/>
                <a:moveTo>
                  <a:pt x="978" y="2316"/>
                </a:moveTo>
                <a:lnTo>
                  <a:pt x="979" y="2317"/>
                </a:lnTo>
                <a:lnTo>
                  <a:pt x="976" y="2316"/>
                </a:lnTo>
                <a:lnTo>
                  <a:pt x="978" y="2316"/>
                </a:lnTo>
                <a:close/>
                <a:moveTo>
                  <a:pt x="956" y="2321"/>
                </a:moveTo>
                <a:lnTo>
                  <a:pt x="957" y="2321"/>
                </a:lnTo>
                <a:lnTo>
                  <a:pt x="956" y="2322"/>
                </a:lnTo>
                <a:lnTo>
                  <a:pt x="956" y="2321"/>
                </a:lnTo>
                <a:close/>
                <a:moveTo>
                  <a:pt x="1042" y="2741"/>
                </a:moveTo>
                <a:lnTo>
                  <a:pt x="1039" y="2739"/>
                </a:lnTo>
                <a:lnTo>
                  <a:pt x="1042" y="2741"/>
                </a:lnTo>
                <a:close/>
                <a:moveTo>
                  <a:pt x="1063" y="2319"/>
                </a:moveTo>
                <a:lnTo>
                  <a:pt x="1064" y="2321"/>
                </a:lnTo>
                <a:lnTo>
                  <a:pt x="1064" y="2322"/>
                </a:lnTo>
                <a:lnTo>
                  <a:pt x="1064" y="2321"/>
                </a:lnTo>
                <a:lnTo>
                  <a:pt x="1063" y="2319"/>
                </a:lnTo>
                <a:close/>
                <a:moveTo>
                  <a:pt x="1194" y="2266"/>
                </a:moveTo>
                <a:lnTo>
                  <a:pt x="1195" y="2268"/>
                </a:lnTo>
                <a:lnTo>
                  <a:pt x="1194" y="2268"/>
                </a:lnTo>
                <a:lnTo>
                  <a:pt x="1194" y="2266"/>
                </a:lnTo>
                <a:close/>
                <a:moveTo>
                  <a:pt x="1209" y="2265"/>
                </a:moveTo>
                <a:lnTo>
                  <a:pt x="1207" y="2266"/>
                </a:lnTo>
                <a:lnTo>
                  <a:pt x="1206" y="2266"/>
                </a:lnTo>
                <a:lnTo>
                  <a:pt x="1207" y="2265"/>
                </a:lnTo>
                <a:lnTo>
                  <a:pt x="1209" y="2265"/>
                </a:lnTo>
                <a:close/>
                <a:moveTo>
                  <a:pt x="1030" y="2293"/>
                </a:moveTo>
                <a:lnTo>
                  <a:pt x="1032" y="2293"/>
                </a:lnTo>
                <a:lnTo>
                  <a:pt x="1030" y="2295"/>
                </a:lnTo>
                <a:lnTo>
                  <a:pt x="1030" y="2293"/>
                </a:lnTo>
                <a:close/>
                <a:moveTo>
                  <a:pt x="1020" y="2300"/>
                </a:moveTo>
                <a:lnTo>
                  <a:pt x="1022" y="2300"/>
                </a:lnTo>
                <a:lnTo>
                  <a:pt x="1022" y="2302"/>
                </a:lnTo>
                <a:lnTo>
                  <a:pt x="1020" y="2302"/>
                </a:lnTo>
                <a:lnTo>
                  <a:pt x="1020" y="2300"/>
                </a:lnTo>
                <a:close/>
                <a:moveTo>
                  <a:pt x="1022" y="2258"/>
                </a:moveTo>
                <a:lnTo>
                  <a:pt x="1022" y="2259"/>
                </a:lnTo>
                <a:lnTo>
                  <a:pt x="1022" y="2258"/>
                </a:lnTo>
                <a:close/>
                <a:moveTo>
                  <a:pt x="1022" y="2304"/>
                </a:moveTo>
                <a:lnTo>
                  <a:pt x="1024" y="2304"/>
                </a:lnTo>
                <a:lnTo>
                  <a:pt x="1022" y="2304"/>
                </a:lnTo>
                <a:close/>
                <a:moveTo>
                  <a:pt x="1073" y="2329"/>
                </a:moveTo>
                <a:lnTo>
                  <a:pt x="1071" y="2331"/>
                </a:lnTo>
                <a:lnTo>
                  <a:pt x="1071" y="2329"/>
                </a:lnTo>
                <a:lnTo>
                  <a:pt x="1073" y="2329"/>
                </a:lnTo>
                <a:close/>
                <a:moveTo>
                  <a:pt x="1075" y="2329"/>
                </a:moveTo>
                <a:lnTo>
                  <a:pt x="1076" y="2331"/>
                </a:lnTo>
                <a:lnTo>
                  <a:pt x="1073" y="2331"/>
                </a:lnTo>
                <a:lnTo>
                  <a:pt x="1075" y="2329"/>
                </a:lnTo>
                <a:close/>
                <a:moveTo>
                  <a:pt x="1061" y="2319"/>
                </a:moveTo>
                <a:lnTo>
                  <a:pt x="1063" y="2319"/>
                </a:lnTo>
                <a:lnTo>
                  <a:pt x="1063" y="2321"/>
                </a:lnTo>
                <a:lnTo>
                  <a:pt x="1061" y="2321"/>
                </a:lnTo>
                <a:lnTo>
                  <a:pt x="1061" y="2319"/>
                </a:lnTo>
                <a:close/>
                <a:moveTo>
                  <a:pt x="1066" y="2328"/>
                </a:moveTo>
                <a:lnTo>
                  <a:pt x="1068" y="2328"/>
                </a:lnTo>
                <a:lnTo>
                  <a:pt x="1066" y="2328"/>
                </a:lnTo>
                <a:close/>
                <a:moveTo>
                  <a:pt x="1228" y="2273"/>
                </a:moveTo>
                <a:lnTo>
                  <a:pt x="1229" y="2271"/>
                </a:lnTo>
                <a:lnTo>
                  <a:pt x="1229" y="2273"/>
                </a:lnTo>
                <a:lnTo>
                  <a:pt x="1228" y="2273"/>
                </a:lnTo>
                <a:close/>
                <a:moveTo>
                  <a:pt x="1146" y="2293"/>
                </a:moveTo>
                <a:lnTo>
                  <a:pt x="1148" y="2293"/>
                </a:lnTo>
                <a:lnTo>
                  <a:pt x="1148" y="2295"/>
                </a:lnTo>
                <a:lnTo>
                  <a:pt x="1146" y="2295"/>
                </a:lnTo>
                <a:lnTo>
                  <a:pt x="1146" y="2293"/>
                </a:lnTo>
                <a:close/>
                <a:moveTo>
                  <a:pt x="1175" y="2149"/>
                </a:moveTo>
                <a:lnTo>
                  <a:pt x="1177" y="2149"/>
                </a:lnTo>
                <a:lnTo>
                  <a:pt x="1178" y="2151"/>
                </a:lnTo>
                <a:lnTo>
                  <a:pt x="1180" y="2151"/>
                </a:lnTo>
                <a:lnTo>
                  <a:pt x="1183" y="2151"/>
                </a:lnTo>
                <a:lnTo>
                  <a:pt x="1183" y="2152"/>
                </a:lnTo>
                <a:lnTo>
                  <a:pt x="1185" y="2152"/>
                </a:lnTo>
                <a:lnTo>
                  <a:pt x="1187" y="2154"/>
                </a:lnTo>
                <a:lnTo>
                  <a:pt x="1187" y="2156"/>
                </a:lnTo>
                <a:lnTo>
                  <a:pt x="1185" y="2159"/>
                </a:lnTo>
                <a:lnTo>
                  <a:pt x="1183" y="2161"/>
                </a:lnTo>
                <a:lnTo>
                  <a:pt x="1183" y="2163"/>
                </a:lnTo>
                <a:lnTo>
                  <a:pt x="1185" y="2166"/>
                </a:lnTo>
                <a:lnTo>
                  <a:pt x="1185" y="2168"/>
                </a:lnTo>
                <a:lnTo>
                  <a:pt x="1185" y="2171"/>
                </a:lnTo>
                <a:lnTo>
                  <a:pt x="1187" y="2173"/>
                </a:lnTo>
                <a:lnTo>
                  <a:pt x="1187" y="2174"/>
                </a:lnTo>
                <a:lnTo>
                  <a:pt x="1187" y="2176"/>
                </a:lnTo>
                <a:lnTo>
                  <a:pt x="1187" y="2178"/>
                </a:lnTo>
                <a:lnTo>
                  <a:pt x="1189" y="2176"/>
                </a:lnTo>
                <a:lnTo>
                  <a:pt x="1187" y="2178"/>
                </a:lnTo>
                <a:lnTo>
                  <a:pt x="1187" y="2180"/>
                </a:lnTo>
                <a:lnTo>
                  <a:pt x="1185" y="2181"/>
                </a:lnTo>
                <a:lnTo>
                  <a:pt x="1185" y="2183"/>
                </a:lnTo>
                <a:lnTo>
                  <a:pt x="1183" y="2183"/>
                </a:lnTo>
                <a:lnTo>
                  <a:pt x="1183" y="2185"/>
                </a:lnTo>
                <a:lnTo>
                  <a:pt x="1182" y="2185"/>
                </a:lnTo>
                <a:lnTo>
                  <a:pt x="1180" y="2185"/>
                </a:lnTo>
                <a:lnTo>
                  <a:pt x="1178" y="2186"/>
                </a:lnTo>
                <a:lnTo>
                  <a:pt x="1177" y="2186"/>
                </a:lnTo>
                <a:lnTo>
                  <a:pt x="1173" y="2188"/>
                </a:lnTo>
                <a:lnTo>
                  <a:pt x="1173" y="2190"/>
                </a:lnTo>
                <a:lnTo>
                  <a:pt x="1173" y="2191"/>
                </a:lnTo>
                <a:lnTo>
                  <a:pt x="1172" y="2191"/>
                </a:lnTo>
                <a:lnTo>
                  <a:pt x="1172" y="2195"/>
                </a:lnTo>
                <a:lnTo>
                  <a:pt x="1172" y="2197"/>
                </a:lnTo>
                <a:lnTo>
                  <a:pt x="1173" y="2198"/>
                </a:lnTo>
                <a:lnTo>
                  <a:pt x="1175" y="2198"/>
                </a:lnTo>
                <a:lnTo>
                  <a:pt x="1177" y="2200"/>
                </a:lnTo>
                <a:lnTo>
                  <a:pt x="1178" y="2200"/>
                </a:lnTo>
                <a:lnTo>
                  <a:pt x="1180" y="2202"/>
                </a:lnTo>
                <a:lnTo>
                  <a:pt x="1182" y="2203"/>
                </a:lnTo>
                <a:lnTo>
                  <a:pt x="1182" y="2205"/>
                </a:lnTo>
                <a:lnTo>
                  <a:pt x="1182" y="2207"/>
                </a:lnTo>
                <a:lnTo>
                  <a:pt x="1180" y="2208"/>
                </a:lnTo>
                <a:lnTo>
                  <a:pt x="1178" y="2210"/>
                </a:lnTo>
                <a:lnTo>
                  <a:pt x="1178" y="2212"/>
                </a:lnTo>
                <a:lnTo>
                  <a:pt x="1177" y="2212"/>
                </a:lnTo>
                <a:lnTo>
                  <a:pt x="1175" y="2210"/>
                </a:lnTo>
                <a:lnTo>
                  <a:pt x="1172" y="2212"/>
                </a:lnTo>
                <a:lnTo>
                  <a:pt x="1172" y="2214"/>
                </a:lnTo>
                <a:lnTo>
                  <a:pt x="1168" y="2215"/>
                </a:lnTo>
                <a:lnTo>
                  <a:pt x="1170" y="2219"/>
                </a:lnTo>
                <a:lnTo>
                  <a:pt x="1168" y="2219"/>
                </a:lnTo>
                <a:lnTo>
                  <a:pt x="1168" y="2215"/>
                </a:lnTo>
                <a:lnTo>
                  <a:pt x="1165" y="2217"/>
                </a:lnTo>
                <a:lnTo>
                  <a:pt x="1166" y="2219"/>
                </a:lnTo>
                <a:lnTo>
                  <a:pt x="1168" y="2219"/>
                </a:lnTo>
                <a:lnTo>
                  <a:pt x="1170" y="2219"/>
                </a:lnTo>
                <a:lnTo>
                  <a:pt x="1172" y="2220"/>
                </a:lnTo>
                <a:lnTo>
                  <a:pt x="1172" y="2222"/>
                </a:lnTo>
                <a:lnTo>
                  <a:pt x="1168" y="2222"/>
                </a:lnTo>
                <a:lnTo>
                  <a:pt x="1170" y="2222"/>
                </a:lnTo>
                <a:lnTo>
                  <a:pt x="1170" y="2224"/>
                </a:lnTo>
                <a:lnTo>
                  <a:pt x="1170" y="2225"/>
                </a:lnTo>
                <a:lnTo>
                  <a:pt x="1172" y="2227"/>
                </a:lnTo>
                <a:lnTo>
                  <a:pt x="1172" y="2229"/>
                </a:lnTo>
                <a:lnTo>
                  <a:pt x="1170" y="2229"/>
                </a:lnTo>
                <a:lnTo>
                  <a:pt x="1168" y="2231"/>
                </a:lnTo>
                <a:lnTo>
                  <a:pt x="1166" y="2231"/>
                </a:lnTo>
                <a:lnTo>
                  <a:pt x="1165" y="2229"/>
                </a:lnTo>
                <a:lnTo>
                  <a:pt x="1163" y="2229"/>
                </a:lnTo>
                <a:lnTo>
                  <a:pt x="1161" y="2227"/>
                </a:lnTo>
                <a:lnTo>
                  <a:pt x="1161" y="2229"/>
                </a:lnTo>
                <a:lnTo>
                  <a:pt x="1158" y="2227"/>
                </a:lnTo>
                <a:lnTo>
                  <a:pt x="1158" y="2225"/>
                </a:lnTo>
                <a:lnTo>
                  <a:pt x="1156" y="2225"/>
                </a:lnTo>
                <a:lnTo>
                  <a:pt x="1155" y="2224"/>
                </a:lnTo>
                <a:lnTo>
                  <a:pt x="1151" y="2224"/>
                </a:lnTo>
                <a:lnTo>
                  <a:pt x="1149" y="2222"/>
                </a:lnTo>
                <a:lnTo>
                  <a:pt x="1151" y="2224"/>
                </a:lnTo>
                <a:lnTo>
                  <a:pt x="1153" y="2224"/>
                </a:lnTo>
                <a:lnTo>
                  <a:pt x="1155" y="2224"/>
                </a:lnTo>
                <a:lnTo>
                  <a:pt x="1158" y="2225"/>
                </a:lnTo>
                <a:lnTo>
                  <a:pt x="1156" y="2224"/>
                </a:lnTo>
                <a:lnTo>
                  <a:pt x="1156" y="2222"/>
                </a:lnTo>
                <a:lnTo>
                  <a:pt x="1155" y="2222"/>
                </a:lnTo>
                <a:lnTo>
                  <a:pt x="1153" y="2220"/>
                </a:lnTo>
                <a:lnTo>
                  <a:pt x="1153" y="2219"/>
                </a:lnTo>
                <a:lnTo>
                  <a:pt x="1155" y="2220"/>
                </a:lnTo>
                <a:lnTo>
                  <a:pt x="1156" y="2219"/>
                </a:lnTo>
                <a:lnTo>
                  <a:pt x="1158" y="2219"/>
                </a:lnTo>
                <a:lnTo>
                  <a:pt x="1156" y="2217"/>
                </a:lnTo>
                <a:lnTo>
                  <a:pt x="1156" y="2219"/>
                </a:lnTo>
                <a:lnTo>
                  <a:pt x="1153" y="2217"/>
                </a:lnTo>
                <a:lnTo>
                  <a:pt x="1155" y="2215"/>
                </a:lnTo>
                <a:lnTo>
                  <a:pt x="1153" y="2214"/>
                </a:lnTo>
                <a:lnTo>
                  <a:pt x="1151" y="2214"/>
                </a:lnTo>
                <a:lnTo>
                  <a:pt x="1149" y="2215"/>
                </a:lnTo>
                <a:lnTo>
                  <a:pt x="1148" y="2215"/>
                </a:lnTo>
                <a:lnTo>
                  <a:pt x="1146" y="2215"/>
                </a:lnTo>
                <a:lnTo>
                  <a:pt x="1144" y="2215"/>
                </a:lnTo>
                <a:lnTo>
                  <a:pt x="1144" y="2214"/>
                </a:lnTo>
                <a:lnTo>
                  <a:pt x="1143" y="2214"/>
                </a:lnTo>
                <a:lnTo>
                  <a:pt x="1141" y="2214"/>
                </a:lnTo>
                <a:lnTo>
                  <a:pt x="1143" y="2214"/>
                </a:lnTo>
                <a:lnTo>
                  <a:pt x="1143" y="2215"/>
                </a:lnTo>
                <a:lnTo>
                  <a:pt x="1139" y="2215"/>
                </a:lnTo>
                <a:lnTo>
                  <a:pt x="1141" y="2215"/>
                </a:lnTo>
                <a:lnTo>
                  <a:pt x="1141" y="2214"/>
                </a:lnTo>
                <a:lnTo>
                  <a:pt x="1139" y="2215"/>
                </a:lnTo>
                <a:lnTo>
                  <a:pt x="1138" y="2214"/>
                </a:lnTo>
                <a:lnTo>
                  <a:pt x="1138" y="2215"/>
                </a:lnTo>
                <a:lnTo>
                  <a:pt x="1139" y="2215"/>
                </a:lnTo>
                <a:lnTo>
                  <a:pt x="1136" y="2215"/>
                </a:lnTo>
                <a:lnTo>
                  <a:pt x="1134" y="2215"/>
                </a:lnTo>
                <a:lnTo>
                  <a:pt x="1134" y="2214"/>
                </a:lnTo>
                <a:lnTo>
                  <a:pt x="1134" y="2212"/>
                </a:lnTo>
                <a:lnTo>
                  <a:pt x="1136" y="2212"/>
                </a:lnTo>
                <a:lnTo>
                  <a:pt x="1136" y="2210"/>
                </a:lnTo>
                <a:lnTo>
                  <a:pt x="1136" y="2208"/>
                </a:lnTo>
                <a:lnTo>
                  <a:pt x="1136" y="2212"/>
                </a:lnTo>
                <a:lnTo>
                  <a:pt x="1134" y="2212"/>
                </a:lnTo>
                <a:lnTo>
                  <a:pt x="1134" y="2208"/>
                </a:lnTo>
                <a:lnTo>
                  <a:pt x="1131" y="2207"/>
                </a:lnTo>
                <a:lnTo>
                  <a:pt x="1129" y="2205"/>
                </a:lnTo>
                <a:lnTo>
                  <a:pt x="1132" y="2207"/>
                </a:lnTo>
                <a:lnTo>
                  <a:pt x="1132" y="2205"/>
                </a:lnTo>
                <a:lnTo>
                  <a:pt x="1131" y="2203"/>
                </a:lnTo>
                <a:lnTo>
                  <a:pt x="1131" y="2205"/>
                </a:lnTo>
                <a:lnTo>
                  <a:pt x="1127" y="2205"/>
                </a:lnTo>
                <a:lnTo>
                  <a:pt x="1129" y="2203"/>
                </a:lnTo>
                <a:lnTo>
                  <a:pt x="1131" y="2203"/>
                </a:lnTo>
                <a:lnTo>
                  <a:pt x="1132" y="2202"/>
                </a:lnTo>
                <a:lnTo>
                  <a:pt x="1132" y="2200"/>
                </a:lnTo>
                <a:lnTo>
                  <a:pt x="1132" y="2197"/>
                </a:lnTo>
                <a:lnTo>
                  <a:pt x="1131" y="2195"/>
                </a:lnTo>
                <a:lnTo>
                  <a:pt x="1131" y="2193"/>
                </a:lnTo>
                <a:lnTo>
                  <a:pt x="1129" y="2191"/>
                </a:lnTo>
                <a:lnTo>
                  <a:pt x="1129" y="2193"/>
                </a:lnTo>
                <a:lnTo>
                  <a:pt x="1127" y="2193"/>
                </a:lnTo>
                <a:lnTo>
                  <a:pt x="1127" y="2191"/>
                </a:lnTo>
                <a:lnTo>
                  <a:pt x="1131" y="2191"/>
                </a:lnTo>
                <a:lnTo>
                  <a:pt x="1129" y="2191"/>
                </a:lnTo>
                <a:lnTo>
                  <a:pt x="1131" y="2190"/>
                </a:lnTo>
                <a:lnTo>
                  <a:pt x="1131" y="2188"/>
                </a:lnTo>
                <a:lnTo>
                  <a:pt x="1129" y="2185"/>
                </a:lnTo>
                <a:lnTo>
                  <a:pt x="1126" y="2183"/>
                </a:lnTo>
                <a:lnTo>
                  <a:pt x="1124" y="2183"/>
                </a:lnTo>
                <a:lnTo>
                  <a:pt x="1122" y="2183"/>
                </a:lnTo>
                <a:lnTo>
                  <a:pt x="1122" y="2181"/>
                </a:lnTo>
                <a:lnTo>
                  <a:pt x="1124" y="2181"/>
                </a:lnTo>
                <a:lnTo>
                  <a:pt x="1126" y="2183"/>
                </a:lnTo>
                <a:lnTo>
                  <a:pt x="1127" y="2183"/>
                </a:lnTo>
                <a:lnTo>
                  <a:pt x="1127" y="2181"/>
                </a:lnTo>
                <a:lnTo>
                  <a:pt x="1126" y="2180"/>
                </a:lnTo>
                <a:lnTo>
                  <a:pt x="1124" y="2178"/>
                </a:lnTo>
                <a:lnTo>
                  <a:pt x="1121" y="2178"/>
                </a:lnTo>
                <a:lnTo>
                  <a:pt x="1119" y="2176"/>
                </a:lnTo>
                <a:lnTo>
                  <a:pt x="1122" y="2176"/>
                </a:lnTo>
                <a:lnTo>
                  <a:pt x="1124" y="2176"/>
                </a:lnTo>
                <a:lnTo>
                  <a:pt x="1126" y="2178"/>
                </a:lnTo>
                <a:lnTo>
                  <a:pt x="1127" y="2178"/>
                </a:lnTo>
                <a:lnTo>
                  <a:pt x="1129" y="2176"/>
                </a:lnTo>
                <a:lnTo>
                  <a:pt x="1131" y="2176"/>
                </a:lnTo>
                <a:lnTo>
                  <a:pt x="1131" y="2178"/>
                </a:lnTo>
                <a:lnTo>
                  <a:pt x="1132" y="2178"/>
                </a:lnTo>
                <a:lnTo>
                  <a:pt x="1132" y="2176"/>
                </a:lnTo>
                <a:lnTo>
                  <a:pt x="1134" y="2178"/>
                </a:lnTo>
                <a:lnTo>
                  <a:pt x="1136" y="2176"/>
                </a:lnTo>
                <a:lnTo>
                  <a:pt x="1138" y="2176"/>
                </a:lnTo>
                <a:lnTo>
                  <a:pt x="1139" y="2174"/>
                </a:lnTo>
                <a:lnTo>
                  <a:pt x="1139" y="2173"/>
                </a:lnTo>
                <a:lnTo>
                  <a:pt x="1139" y="2171"/>
                </a:lnTo>
                <a:lnTo>
                  <a:pt x="1138" y="2169"/>
                </a:lnTo>
                <a:lnTo>
                  <a:pt x="1139" y="2171"/>
                </a:lnTo>
                <a:lnTo>
                  <a:pt x="1141" y="2169"/>
                </a:lnTo>
                <a:lnTo>
                  <a:pt x="1144" y="2169"/>
                </a:lnTo>
                <a:lnTo>
                  <a:pt x="1144" y="2166"/>
                </a:lnTo>
                <a:lnTo>
                  <a:pt x="1144" y="2163"/>
                </a:lnTo>
                <a:lnTo>
                  <a:pt x="1143" y="2163"/>
                </a:lnTo>
                <a:lnTo>
                  <a:pt x="1141" y="2163"/>
                </a:lnTo>
                <a:lnTo>
                  <a:pt x="1139" y="2163"/>
                </a:lnTo>
                <a:lnTo>
                  <a:pt x="1138" y="2161"/>
                </a:lnTo>
                <a:lnTo>
                  <a:pt x="1136" y="2161"/>
                </a:lnTo>
                <a:lnTo>
                  <a:pt x="1134" y="2157"/>
                </a:lnTo>
                <a:lnTo>
                  <a:pt x="1136" y="2159"/>
                </a:lnTo>
                <a:lnTo>
                  <a:pt x="1138" y="2161"/>
                </a:lnTo>
                <a:lnTo>
                  <a:pt x="1139" y="2161"/>
                </a:lnTo>
                <a:lnTo>
                  <a:pt x="1141" y="2161"/>
                </a:lnTo>
                <a:lnTo>
                  <a:pt x="1143" y="2161"/>
                </a:lnTo>
                <a:lnTo>
                  <a:pt x="1144" y="2163"/>
                </a:lnTo>
                <a:lnTo>
                  <a:pt x="1148" y="2161"/>
                </a:lnTo>
                <a:lnTo>
                  <a:pt x="1149" y="2163"/>
                </a:lnTo>
                <a:lnTo>
                  <a:pt x="1151" y="2163"/>
                </a:lnTo>
                <a:lnTo>
                  <a:pt x="1153" y="2161"/>
                </a:lnTo>
                <a:lnTo>
                  <a:pt x="1155" y="2159"/>
                </a:lnTo>
                <a:lnTo>
                  <a:pt x="1155" y="2163"/>
                </a:lnTo>
                <a:lnTo>
                  <a:pt x="1153" y="2163"/>
                </a:lnTo>
                <a:lnTo>
                  <a:pt x="1153" y="2164"/>
                </a:lnTo>
                <a:lnTo>
                  <a:pt x="1153" y="2166"/>
                </a:lnTo>
                <a:lnTo>
                  <a:pt x="1151" y="2164"/>
                </a:lnTo>
                <a:lnTo>
                  <a:pt x="1149" y="2164"/>
                </a:lnTo>
                <a:lnTo>
                  <a:pt x="1151" y="2164"/>
                </a:lnTo>
                <a:lnTo>
                  <a:pt x="1149" y="2166"/>
                </a:lnTo>
                <a:lnTo>
                  <a:pt x="1151" y="2168"/>
                </a:lnTo>
                <a:lnTo>
                  <a:pt x="1151" y="2169"/>
                </a:lnTo>
                <a:lnTo>
                  <a:pt x="1153" y="2169"/>
                </a:lnTo>
                <a:lnTo>
                  <a:pt x="1153" y="2171"/>
                </a:lnTo>
                <a:lnTo>
                  <a:pt x="1153" y="2173"/>
                </a:lnTo>
                <a:lnTo>
                  <a:pt x="1149" y="2171"/>
                </a:lnTo>
                <a:lnTo>
                  <a:pt x="1149" y="2173"/>
                </a:lnTo>
                <a:lnTo>
                  <a:pt x="1148" y="2174"/>
                </a:lnTo>
                <a:lnTo>
                  <a:pt x="1149" y="2174"/>
                </a:lnTo>
                <a:lnTo>
                  <a:pt x="1151" y="2173"/>
                </a:lnTo>
                <a:lnTo>
                  <a:pt x="1153" y="2173"/>
                </a:lnTo>
                <a:lnTo>
                  <a:pt x="1155" y="2174"/>
                </a:lnTo>
                <a:lnTo>
                  <a:pt x="1153" y="2174"/>
                </a:lnTo>
                <a:lnTo>
                  <a:pt x="1155" y="2176"/>
                </a:lnTo>
                <a:lnTo>
                  <a:pt x="1151" y="2176"/>
                </a:lnTo>
                <a:lnTo>
                  <a:pt x="1149" y="2176"/>
                </a:lnTo>
                <a:lnTo>
                  <a:pt x="1149" y="2178"/>
                </a:lnTo>
                <a:lnTo>
                  <a:pt x="1151" y="2178"/>
                </a:lnTo>
                <a:lnTo>
                  <a:pt x="1153" y="2178"/>
                </a:lnTo>
                <a:lnTo>
                  <a:pt x="1155" y="2178"/>
                </a:lnTo>
                <a:lnTo>
                  <a:pt x="1155" y="2180"/>
                </a:lnTo>
                <a:lnTo>
                  <a:pt x="1156" y="2180"/>
                </a:lnTo>
                <a:lnTo>
                  <a:pt x="1156" y="2181"/>
                </a:lnTo>
                <a:lnTo>
                  <a:pt x="1155" y="2181"/>
                </a:lnTo>
                <a:lnTo>
                  <a:pt x="1155" y="2183"/>
                </a:lnTo>
                <a:lnTo>
                  <a:pt x="1156" y="2181"/>
                </a:lnTo>
                <a:lnTo>
                  <a:pt x="1156" y="2180"/>
                </a:lnTo>
                <a:lnTo>
                  <a:pt x="1158" y="2178"/>
                </a:lnTo>
                <a:lnTo>
                  <a:pt x="1158" y="2176"/>
                </a:lnTo>
                <a:lnTo>
                  <a:pt x="1158" y="2174"/>
                </a:lnTo>
                <a:lnTo>
                  <a:pt x="1158" y="2173"/>
                </a:lnTo>
                <a:lnTo>
                  <a:pt x="1158" y="2171"/>
                </a:lnTo>
                <a:lnTo>
                  <a:pt x="1161" y="2171"/>
                </a:lnTo>
                <a:lnTo>
                  <a:pt x="1161" y="2169"/>
                </a:lnTo>
                <a:lnTo>
                  <a:pt x="1160" y="2166"/>
                </a:lnTo>
                <a:lnTo>
                  <a:pt x="1160" y="2164"/>
                </a:lnTo>
                <a:lnTo>
                  <a:pt x="1160" y="2163"/>
                </a:lnTo>
                <a:lnTo>
                  <a:pt x="1161" y="2163"/>
                </a:lnTo>
                <a:lnTo>
                  <a:pt x="1163" y="2164"/>
                </a:lnTo>
                <a:lnTo>
                  <a:pt x="1165" y="2164"/>
                </a:lnTo>
                <a:lnTo>
                  <a:pt x="1163" y="2166"/>
                </a:lnTo>
                <a:lnTo>
                  <a:pt x="1163" y="2168"/>
                </a:lnTo>
                <a:lnTo>
                  <a:pt x="1165" y="2169"/>
                </a:lnTo>
                <a:lnTo>
                  <a:pt x="1165" y="2171"/>
                </a:lnTo>
                <a:lnTo>
                  <a:pt x="1165" y="2173"/>
                </a:lnTo>
                <a:lnTo>
                  <a:pt x="1166" y="2173"/>
                </a:lnTo>
                <a:lnTo>
                  <a:pt x="1165" y="2173"/>
                </a:lnTo>
                <a:lnTo>
                  <a:pt x="1166" y="2174"/>
                </a:lnTo>
                <a:lnTo>
                  <a:pt x="1165" y="2174"/>
                </a:lnTo>
                <a:lnTo>
                  <a:pt x="1166" y="2176"/>
                </a:lnTo>
                <a:lnTo>
                  <a:pt x="1165" y="2176"/>
                </a:lnTo>
                <a:lnTo>
                  <a:pt x="1165" y="2178"/>
                </a:lnTo>
                <a:lnTo>
                  <a:pt x="1163" y="2176"/>
                </a:lnTo>
                <a:lnTo>
                  <a:pt x="1163" y="2178"/>
                </a:lnTo>
                <a:lnTo>
                  <a:pt x="1161" y="2181"/>
                </a:lnTo>
                <a:lnTo>
                  <a:pt x="1161" y="2183"/>
                </a:lnTo>
                <a:lnTo>
                  <a:pt x="1161" y="2181"/>
                </a:lnTo>
                <a:lnTo>
                  <a:pt x="1163" y="2181"/>
                </a:lnTo>
                <a:lnTo>
                  <a:pt x="1163" y="2178"/>
                </a:lnTo>
                <a:lnTo>
                  <a:pt x="1166" y="2180"/>
                </a:lnTo>
                <a:lnTo>
                  <a:pt x="1163" y="2180"/>
                </a:lnTo>
                <a:lnTo>
                  <a:pt x="1163" y="2181"/>
                </a:lnTo>
                <a:lnTo>
                  <a:pt x="1166" y="2181"/>
                </a:lnTo>
                <a:lnTo>
                  <a:pt x="1166" y="2183"/>
                </a:lnTo>
                <a:lnTo>
                  <a:pt x="1166" y="2181"/>
                </a:lnTo>
                <a:lnTo>
                  <a:pt x="1166" y="2180"/>
                </a:lnTo>
                <a:lnTo>
                  <a:pt x="1168" y="2180"/>
                </a:lnTo>
                <a:lnTo>
                  <a:pt x="1168" y="2178"/>
                </a:lnTo>
                <a:lnTo>
                  <a:pt x="1168" y="2176"/>
                </a:lnTo>
                <a:lnTo>
                  <a:pt x="1166" y="2176"/>
                </a:lnTo>
                <a:lnTo>
                  <a:pt x="1168" y="2176"/>
                </a:lnTo>
                <a:lnTo>
                  <a:pt x="1168" y="2174"/>
                </a:lnTo>
                <a:lnTo>
                  <a:pt x="1166" y="2173"/>
                </a:lnTo>
                <a:lnTo>
                  <a:pt x="1166" y="2169"/>
                </a:lnTo>
                <a:lnTo>
                  <a:pt x="1165" y="2169"/>
                </a:lnTo>
                <a:lnTo>
                  <a:pt x="1166" y="2168"/>
                </a:lnTo>
                <a:lnTo>
                  <a:pt x="1166" y="2166"/>
                </a:lnTo>
                <a:lnTo>
                  <a:pt x="1165" y="2164"/>
                </a:lnTo>
                <a:lnTo>
                  <a:pt x="1165" y="2163"/>
                </a:lnTo>
                <a:lnTo>
                  <a:pt x="1163" y="2161"/>
                </a:lnTo>
                <a:lnTo>
                  <a:pt x="1161" y="2161"/>
                </a:lnTo>
                <a:lnTo>
                  <a:pt x="1160" y="2161"/>
                </a:lnTo>
                <a:lnTo>
                  <a:pt x="1158" y="2163"/>
                </a:lnTo>
                <a:lnTo>
                  <a:pt x="1156" y="2161"/>
                </a:lnTo>
                <a:lnTo>
                  <a:pt x="1158" y="2159"/>
                </a:lnTo>
                <a:lnTo>
                  <a:pt x="1161" y="2157"/>
                </a:lnTo>
                <a:lnTo>
                  <a:pt x="1163" y="2156"/>
                </a:lnTo>
                <a:lnTo>
                  <a:pt x="1165" y="2154"/>
                </a:lnTo>
                <a:lnTo>
                  <a:pt x="1166" y="2152"/>
                </a:lnTo>
                <a:lnTo>
                  <a:pt x="1168" y="2151"/>
                </a:lnTo>
                <a:lnTo>
                  <a:pt x="1170" y="2151"/>
                </a:lnTo>
                <a:lnTo>
                  <a:pt x="1172" y="2151"/>
                </a:lnTo>
                <a:lnTo>
                  <a:pt x="1173" y="2149"/>
                </a:lnTo>
                <a:lnTo>
                  <a:pt x="1175" y="2149"/>
                </a:lnTo>
                <a:close/>
                <a:moveTo>
                  <a:pt x="1107" y="2037"/>
                </a:moveTo>
                <a:lnTo>
                  <a:pt x="1109" y="2037"/>
                </a:lnTo>
                <a:lnTo>
                  <a:pt x="1107" y="2038"/>
                </a:lnTo>
                <a:lnTo>
                  <a:pt x="1105" y="2038"/>
                </a:lnTo>
                <a:lnTo>
                  <a:pt x="1104" y="2042"/>
                </a:lnTo>
                <a:lnTo>
                  <a:pt x="1104" y="2043"/>
                </a:lnTo>
                <a:lnTo>
                  <a:pt x="1102" y="2045"/>
                </a:lnTo>
                <a:lnTo>
                  <a:pt x="1100" y="2049"/>
                </a:lnTo>
                <a:lnTo>
                  <a:pt x="1102" y="2052"/>
                </a:lnTo>
                <a:lnTo>
                  <a:pt x="1104" y="2054"/>
                </a:lnTo>
                <a:lnTo>
                  <a:pt x="1104" y="2055"/>
                </a:lnTo>
                <a:lnTo>
                  <a:pt x="1105" y="2057"/>
                </a:lnTo>
                <a:lnTo>
                  <a:pt x="1105" y="2059"/>
                </a:lnTo>
                <a:lnTo>
                  <a:pt x="1104" y="2062"/>
                </a:lnTo>
                <a:lnTo>
                  <a:pt x="1105" y="2066"/>
                </a:lnTo>
                <a:lnTo>
                  <a:pt x="1105" y="2067"/>
                </a:lnTo>
                <a:lnTo>
                  <a:pt x="1105" y="2069"/>
                </a:lnTo>
                <a:lnTo>
                  <a:pt x="1105" y="2071"/>
                </a:lnTo>
                <a:lnTo>
                  <a:pt x="1105" y="2074"/>
                </a:lnTo>
                <a:lnTo>
                  <a:pt x="1105" y="2072"/>
                </a:lnTo>
                <a:lnTo>
                  <a:pt x="1104" y="2074"/>
                </a:lnTo>
                <a:lnTo>
                  <a:pt x="1104" y="2076"/>
                </a:lnTo>
                <a:lnTo>
                  <a:pt x="1102" y="2077"/>
                </a:lnTo>
                <a:lnTo>
                  <a:pt x="1100" y="2081"/>
                </a:lnTo>
                <a:lnTo>
                  <a:pt x="1100" y="2083"/>
                </a:lnTo>
                <a:lnTo>
                  <a:pt x="1098" y="2084"/>
                </a:lnTo>
                <a:lnTo>
                  <a:pt x="1098" y="2086"/>
                </a:lnTo>
                <a:lnTo>
                  <a:pt x="1098" y="2088"/>
                </a:lnTo>
                <a:lnTo>
                  <a:pt x="1097" y="2089"/>
                </a:lnTo>
                <a:lnTo>
                  <a:pt x="1093" y="2089"/>
                </a:lnTo>
                <a:lnTo>
                  <a:pt x="1092" y="2089"/>
                </a:lnTo>
                <a:lnTo>
                  <a:pt x="1092" y="2088"/>
                </a:lnTo>
                <a:lnTo>
                  <a:pt x="1090" y="2088"/>
                </a:lnTo>
                <a:lnTo>
                  <a:pt x="1088" y="2086"/>
                </a:lnTo>
                <a:lnTo>
                  <a:pt x="1087" y="2084"/>
                </a:lnTo>
                <a:lnTo>
                  <a:pt x="1085" y="2083"/>
                </a:lnTo>
                <a:lnTo>
                  <a:pt x="1083" y="2083"/>
                </a:lnTo>
                <a:lnTo>
                  <a:pt x="1081" y="2086"/>
                </a:lnTo>
                <a:lnTo>
                  <a:pt x="1081" y="2084"/>
                </a:lnTo>
                <a:lnTo>
                  <a:pt x="1080" y="2084"/>
                </a:lnTo>
                <a:lnTo>
                  <a:pt x="1078" y="2083"/>
                </a:lnTo>
                <a:lnTo>
                  <a:pt x="1076" y="2081"/>
                </a:lnTo>
                <a:lnTo>
                  <a:pt x="1076" y="2083"/>
                </a:lnTo>
                <a:lnTo>
                  <a:pt x="1075" y="2084"/>
                </a:lnTo>
                <a:lnTo>
                  <a:pt x="1073" y="2084"/>
                </a:lnTo>
                <a:lnTo>
                  <a:pt x="1071" y="2084"/>
                </a:lnTo>
                <a:lnTo>
                  <a:pt x="1073" y="2083"/>
                </a:lnTo>
                <a:lnTo>
                  <a:pt x="1071" y="2083"/>
                </a:lnTo>
                <a:lnTo>
                  <a:pt x="1070" y="2084"/>
                </a:lnTo>
                <a:lnTo>
                  <a:pt x="1071" y="2084"/>
                </a:lnTo>
                <a:lnTo>
                  <a:pt x="1070" y="2086"/>
                </a:lnTo>
                <a:lnTo>
                  <a:pt x="1068" y="2086"/>
                </a:lnTo>
                <a:lnTo>
                  <a:pt x="1066" y="2086"/>
                </a:lnTo>
                <a:lnTo>
                  <a:pt x="1064" y="2086"/>
                </a:lnTo>
                <a:lnTo>
                  <a:pt x="1063" y="2086"/>
                </a:lnTo>
                <a:lnTo>
                  <a:pt x="1061" y="2088"/>
                </a:lnTo>
                <a:lnTo>
                  <a:pt x="1059" y="2088"/>
                </a:lnTo>
                <a:lnTo>
                  <a:pt x="1058" y="2088"/>
                </a:lnTo>
                <a:lnTo>
                  <a:pt x="1056" y="2089"/>
                </a:lnTo>
                <a:lnTo>
                  <a:pt x="1053" y="2088"/>
                </a:lnTo>
                <a:lnTo>
                  <a:pt x="1053" y="2086"/>
                </a:lnTo>
                <a:lnTo>
                  <a:pt x="1053" y="2088"/>
                </a:lnTo>
                <a:lnTo>
                  <a:pt x="1053" y="2086"/>
                </a:lnTo>
                <a:lnTo>
                  <a:pt x="1049" y="2088"/>
                </a:lnTo>
                <a:lnTo>
                  <a:pt x="1047" y="2088"/>
                </a:lnTo>
                <a:lnTo>
                  <a:pt x="1046" y="2088"/>
                </a:lnTo>
                <a:lnTo>
                  <a:pt x="1044" y="2088"/>
                </a:lnTo>
                <a:lnTo>
                  <a:pt x="1044" y="2089"/>
                </a:lnTo>
                <a:lnTo>
                  <a:pt x="1042" y="2089"/>
                </a:lnTo>
                <a:lnTo>
                  <a:pt x="1042" y="2091"/>
                </a:lnTo>
                <a:lnTo>
                  <a:pt x="1042" y="2089"/>
                </a:lnTo>
                <a:lnTo>
                  <a:pt x="1041" y="2089"/>
                </a:lnTo>
                <a:lnTo>
                  <a:pt x="1041" y="2091"/>
                </a:lnTo>
                <a:lnTo>
                  <a:pt x="1039" y="2091"/>
                </a:lnTo>
                <a:lnTo>
                  <a:pt x="1037" y="2093"/>
                </a:lnTo>
                <a:lnTo>
                  <a:pt x="1036" y="2091"/>
                </a:lnTo>
                <a:lnTo>
                  <a:pt x="1034" y="2093"/>
                </a:lnTo>
                <a:lnTo>
                  <a:pt x="1034" y="2094"/>
                </a:lnTo>
                <a:lnTo>
                  <a:pt x="1032" y="2096"/>
                </a:lnTo>
                <a:lnTo>
                  <a:pt x="1032" y="2098"/>
                </a:lnTo>
                <a:lnTo>
                  <a:pt x="1032" y="2100"/>
                </a:lnTo>
                <a:lnTo>
                  <a:pt x="1030" y="2101"/>
                </a:lnTo>
                <a:lnTo>
                  <a:pt x="1029" y="2101"/>
                </a:lnTo>
                <a:lnTo>
                  <a:pt x="1025" y="2103"/>
                </a:lnTo>
                <a:lnTo>
                  <a:pt x="1027" y="2106"/>
                </a:lnTo>
                <a:lnTo>
                  <a:pt x="1025" y="2108"/>
                </a:lnTo>
                <a:lnTo>
                  <a:pt x="1027" y="2108"/>
                </a:lnTo>
                <a:lnTo>
                  <a:pt x="1027" y="2111"/>
                </a:lnTo>
                <a:lnTo>
                  <a:pt x="1025" y="2110"/>
                </a:lnTo>
                <a:lnTo>
                  <a:pt x="1024" y="2110"/>
                </a:lnTo>
                <a:lnTo>
                  <a:pt x="1024" y="2111"/>
                </a:lnTo>
                <a:lnTo>
                  <a:pt x="1027" y="2110"/>
                </a:lnTo>
                <a:lnTo>
                  <a:pt x="1027" y="2111"/>
                </a:lnTo>
                <a:lnTo>
                  <a:pt x="1030" y="2110"/>
                </a:lnTo>
                <a:lnTo>
                  <a:pt x="1030" y="2113"/>
                </a:lnTo>
                <a:lnTo>
                  <a:pt x="1030" y="2115"/>
                </a:lnTo>
                <a:lnTo>
                  <a:pt x="1030" y="2117"/>
                </a:lnTo>
                <a:lnTo>
                  <a:pt x="1029" y="2117"/>
                </a:lnTo>
                <a:lnTo>
                  <a:pt x="1029" y="2118"/>
                </a:lnTo>
                <a:lnTo>
                  <a:pt x="1027" y="2117"/>
                </a:lnTo>
                <a:lnTo>
                  <a:pt x="1027" y="2115"/>
                </a:lnTo>
                <a:lnTo>
                  <a:pt x="1025" y="2113"/>
                </a:lnTo>
                <a:lnTo>
                  <a:pt x="1024" y="2111"/>
                </a:lnTo>
                <a:lnTo>
                  <a:pt x="1022" y="2111"/>
                </a:lnTo>
                <a:lnTo>
                  <a:pt x="1022" y="2110"/>
                </a:lnTo>
                <a:lnTo>
                  <a:pt x="1020" y="2108"/>
                </a:lnTo>
                <a:lnTo>
                  <a:pt x="1019" y="2105"/>
                </a:lnTo>
                <a:lnTo>
                  <a:pt x="1017" y="2105"/>
                </a:lnTo>
                <a:lnTo>
                  <a:pt x="1017" y="2108"/>
                </a:lnTo>
                <a:lnTo>
                  <a:pt x="1017" y="2110"/>
                </a:lnTo>
                <a:lnTo>
                  <a:pt x="1015" y="2108"/>
                </a:lnTo>
                <a:lnTo>
                  <a:pt x="1017" y="2106"/>
                </a:lnTo>
                <a:lnTo>
                  <a:pt x="1017" y="2105"/>
                </a:lnTo>
                <a:lnTo>
                  <a:pt x="1017" y="2103"/>
                </a:lnTo>
                <a:lnTo>
                  <a:pt x="1019" y="2100"/>
                </a:lnTo>
                <a:lnTo>
                  <a:pt x="1019" y="2098"/>
                </a:lnTo>
                <a:lnTo>
                  <a:pt x="1019" y="2096"/>
                </a:lnTo>
                <a:lnTo>
                  <a:pt x="1020" y="2094"/>
                </a:lnTo>
                <a:lnTo>
                  <a:pt x="1022" y="2093"/>
                </a:lnTo>
                <a:lnTo>
                  <a:pt x="1022" y="2091"/>
                </a:lnTo>
                <a:lnTo>
                  <a:pt x="1024" y="2091"/>
                </a:lnTo>
                <a:lnTo>
                  <a:pt x="1025" y="2088"/>
                </a:lnTo>
                <a:lnTo>
                  <a:pt x="1027" y="2086"/>
                </a:lnTo>
                <a:lnTo>
                  <a:pt x="1029" y="2084"/>
                </a:lnTo>
                <a:lnTo>
                  <a:pt x="1029" y="2083"/>
                </a:lnTo>
                <a:lnTo>
                  <a:pt x="1030" y="2081"/>
                </a:lnTo>
                <a:lnTo>
                  <a:pt x="1030" y="2079"/>
                </a:lnTo>
                <a:lnTo>
                  <a:pt x="1030" y="2081"/>
                </a:lnTo>
                <a:lnTo>
                  <a:pt x="1032" y="2079"/>
                </a:lnTo>
                <a:lnTo>
                  <a:pt x="1034" y="2081"/>
                </a:lnTo>
                <a:lnTo>
                  <a:pt x="1037" y="2081"/>
                </a:lnTo>
                <a:lnTo>
                  <a:pt x="1037" y="2083"/>
                </a:lnTo>
                <a:lnTo>
                  <a:pt x="1039" y="2081"/>
                </a:lnTo>
                <a:lnTo>
                  <a:pt x="1042" y="2081"/>
                </a:lnTo>
                <a:lnTo>
                  <a:pt x="1042" y="2079"/>
                </a:lnTo>
                <a:lnTo>
                  <a:pt x="1046" y="2077"/>
                </a:lnTo>
                <a:lnTo>
                  <a:pt x="1047" y="2077"/>
                </a:lnTo>
                <a:lnTo>
                  <a:pt x="1049" y="2077"/>
                </a:lnTo>
                <a:lnTo>
                  <a:pt x="1051" y="2079"/>
                </a:lnTo>
                <a:lnTo>
                  <a:pt x="1054" y="2079"/>
                </a:lnTo>
                <a:lnTo>
                  <a:pt x="1056" y="2079"/>
                </a:lnTo>
                <a:lnTo>
                  <a:pt x="1058" y="2079"/>
                </a:lnTo>
                <a:lnTo>
                  <a:pt x="1059" y="2077"/>
                </a:lnTo>
                <a:lnTo>
                  <a:pt x="1061" y="2077"/>
                </a:lnTo>
                <a:lnTo>
                  <a:pt x="1063" y="2077"/>
                </a:lnTo>
                <a:lnTo>
                  <a:pt x="1064" y="2076"/>
                </a:lnTo>
                <a:lnTo>
                  <a:pt x="1066" y="2074"/>
                </a:lnTo>
                <a:lnTo>
                  <a:pt x="1068" y="2072"/>
                </a:lnTo>
                <a:lnTo>
                  <a:pt x="1070" y="2071"/>
                </a:lnTo>
                <a:lnTo>
                  <a:pt x="1071" y="2067"/>
                </a:lnTo>
                <a:lnTo>
                  <a:pt x="1073" y="2064"/>
                </a:lnTo>
                <a:lnTo>
                  <a:pt x="1073" y="2062"/>
                </a:lnTo>
                <a:lnTo>
                  <a:pt x="1075" y="2062"/>
                </a:lnTo>
                <a:lnTo>
                  <a:pt x="1075" y="2060"/>
                </a:lnTo>
                <a:lnTo>
                  <a:pt x="1076" y="2057"/>
                </a:lnTo>
                <a:lnTo>
                  <a:pt x="1076" y="2055"/>
                </a:lnTo>
                <a:lnTo>
                  <a:pt x="1078" y="2054"/>
                </a:lnTo>
                <a:lnTo>
                  <a:pt x="1080" y="2052"/>
                </a:lnTo>
                <a:lnTo>
                  <a:pt x="1081" y="2050"/>
                </a:lnTo>
                <a:lnTo>
                  <a:pt x="1081" y="2049"/>
                </a:lnTo>
                <a:lnTo>
                  <a:pt x="1083" y="2047"/>
                </a:lnTo>
                <a:lnTo>
                  <a:pt x="1085" y="2047"/>
                </a:lnTo>
                <a:lnTo>
                  <a:pt x="1083" y="2047"/>
                </a:lnTo>
                <a:lnTo>
                  <a:pt x="1085" y="2047"/>
                </a:lnTo>
                <a:lnTo>
                  <a:pt x="1087" y="2047"/>
                </a:lnTo>
                <a:lnTo>
                  <a:pt x="1090" y="2049"/>
                </a:lnTo>
                <a:lnTo>
                  <a:pt x="1092" y="2047"/>
                </a:lnTo>
                <a:lnTo>
                  <a:pt x="1093" y="2047"/>
                </a:lnTo>
                <a:lnTo>
                  <a:pt x="1095" y="2045"/>
                </a:lnTo>
                <a:lnTo>
                  <a:pt x="1097" y="2045"/>
                </a:lnTo>
                <a:lnTo>
                  <a:pt x="1097" y="2043"/>
                </a:lnTo>
                <a:lnTo>
                  <a:pt x="1098" y="2043"/>
                </a:lnTo>
                <a:lnTo>
                  <a:pt x="1100" y="2042"/>
                </a:lnTo>
                <a:lnTo>
                  <a:pt x="1102" y="2040"/>
                </a:lnTo>
                <a:lnTo>
                  <a:pt x="1104" y="2038"/>
                </a:lnTo>
                <a:lnTo>
                  <a:pt x="1107" y="2037"/>
                </a:lnTo>
                <a:close/>
                <a:moveTo>
                  <a:pt x="1097" y="2186"/>
                </a:moveTo>
                <a:lnTo>
                  <a:pt x="1098" y="2186"/>
                </a:lnTo>
                <a:lnTo>
                  <a:pt x="1102" y="2188"/>
                </a:lnTo>
                <a:lnTo>
                  <a:pt x="1104" y="2190"/>
                </a:lnTo>
                <a:lnTo>
                  <a:pt x="1105" y="2191"/>
                </a:lnTo>
                <a:lnTo>
                  <a:pt x="1107" y="2193"/>
                </a:lnTo>
                <a:lnTo>
                  <a:pt x="1105" y="2191"/>
                </a:lnTo>
                <a:lnTo>
                  <a:pt x="1104" y="2191"/>
                </a:lnTo>
                <a:lnTo>
                  <a:pt x="1105" y="2195"/>
                </a:lnTo>
                <a:lnTo>
                  <a:pt x="1102" y="2195"/>
                </a:lnTo>
                <a:lnTo>
                  <a:pt x="1102" y="2198"/>
                </a:lnTo>
                <a:lnTo>
                  <a:pt x="1100" y="2200"/>
                </a:lnTo>
                <a:lnTo>
                  <a:pt x="1102" y="2198"/>
                </a:lnTo>
                <a:lnTo>
                  <a:pt x="1102" y="2197"/>
                </a:lnTo>
                <a:lnTo>
                  <a:pt x="1102" y="2198"/>
                </a:lnTo>
                <a:lnTo>
                  <a:pt x="1104" y="2198"/>
                </a:lnTo>
                <a:lnTo>
                  <a:pt x="1105" y="2198"/>
                </a:lnTo>
                <a:lnTo>
                  <a:pt x="1104" y="2197"/>
                </a:lnTo>
                <a:lnTo>
                  <a:pt x="1105" y="2197"/>
                </a:lnTo>
                <a:lnTo>
                  <a:pt x="1107" y="2195"/>
                </a:lnTo>
                <a:lnTo>
                  <a:pt x="1107" y="2197"/>
                </a:lnTo>
                <a:lnTo>
                  <a:pt x="1109" y="2195"/>
                </a:lnTo>
                <a:lnTo>
                  <a:pt x="1109" y="2193"/>
                </a:lnTo>
                <a:lnTo>
                  <a:pt x="1107" y="2193"/>
                </a:lnTo>
                <a:lnTo>
                  <a:pt x="1109" y="2191"/>
                </a:lnTo>
                <a:lnTo>
                  <a:pt x="1110" y="2193"/>
                </a:lnTo>
                <a:lnTo>
                  <a:pt x="1109" y="2191"/>
                </a:lnTo>
                <a:lnTo>
                  <a:pt x="1109" y="2188"/>
                </a:lnTo>
                <a:lnTo>
                  <a:pt x="1109" y="2190"/>
                </a:lnTo>
                <a:lnTo>
                  <a:pt x="1110" y="2190"/>
                </a:lnTo>
                <a:lnTo>
                  <a:pt x="1110" y="2188"/>
                </a:lnTo>
                <a:lnTo>
                  <a:pt x="1109" y="2186"/>
                </a:lnTo>
                <a:lnTo>
                  <a:pt x="1110" y="2188"/>
                </a:lnTo>
                <a:lnTo>
                  <a:pt x="1112" y="2190"/>
                </a:lnTo>
                <a:lnTo>
                  <a:pt x="1112" y="2191"/>
                </a:lnTo>
                <a:lnTo>
                  <a:pt x="1112" y="2193"/>
                </a:lnTo>
                <a:lnTo>
                  <a:pt x="1114" y="2195"/>
                </a:lnTo>
                <a:lnTo>
                  <a:pt x="1114" y="2197"/>
                </a:lnTo>
                <a:lnTo>
                  <a:pt x="1112" y="2197"/>
                </a:lnTo>
                <a:lnTo>
                  <a:pt x="1110" y="2198"/>
                </a:lnTo>
                <a:lnTo>
                  <a:pt x="1109" y="2197"/>
                </a:lnTo>
                <a:lnTo>
                  <a:pt x="1107" y="2197"/>
                </a:lnTo>
                <a:lnTo>
                  <a:pt x="1107" y="2198"/>
                </a:lnTo>
                <a:lnTo>
                  <a:pt x="1107" y="2200"/>
                </a:lnTo>
                <a:lnTo>
                  <a:pt x="1109" y="2197"/>
                </a:lnTo>
                <a:lnTo>
                  <a:pt x="1110" y="2198"/>
                </a:lnTo>
                <a:lnTo>
                  <a:pt x="1112" y="2198"/>
                </a:lnTo>
                <a:lnTo>
                  <a:pt x="1114" y="2200"/>
                </a:lnTo>
                <a:lnTo>
                  <a:pt x="1115" y="2202"/>
                </a:lnTo>
                <a:lnTo>
                  <a:pt x="1115" y="2203"/>
                </a:lnTo>
                <a:lnTo>
                  <a:pt x="1117" y="2205"/>
                </a:lnTo>
                <a:lnTo>
                  <a:pt x="1117" y="2207"/>
                </a:lnTo>
                <a:lnTo>
                  <a:pt x="1119" y="2208"/>
                </a:lnTo>
                <a:lnTo>
                  <a:pt x="1117" y="2208"/>
                </a:lnTo>
                <a:lnTo>
                  <a:pt x="1115" y="2207"/>
                </a:lnTo>
                <a:lnTo>
                  <a:pt x="1115" y="2208"/>
                </a:lnTo>
                <a:lnTo>
                  <a:pt x="1114" y="2208"/>
                </a:lnTo>
                <a:lnTo>
                  <a:pt x="1115" y="2208"/>
                </a:lnTo>
                <a:lnTo>
                  <a:pt x="1115" y="2210"/>
                </a:lnTo>
                <a:lnTo>
                  <a:pt x="1117" y="2214"/>
                </a:lnTo>
                <a:lnTo>
                  <a:pt x="1117" y="2215"/>
                </a:lnTo>
                <a:lnTo>
                  <a:pt x="1117" y="2217"/>
                </a:lnTo>
                <a:lnTo>
                  <a:pt x="1115" y="2219"/>
                </a:lnTo>
                <a:lnTo>
                  <a:pt x="1115" y="2222"/>
                </a:lnTo>
                <a:lnTo>
                  <a:pt x="1114" y="2224"/>
                </a:lnTo>
                <a:lnTo>
                  <a:pt x="1114" y="2225"/>
                </a:lnTo>
                <a:lnTo>
                  <a:pt x="1112" y="2224"/>
                </a:lnTo>
                <a:lnTo>
                  <a:pt x="1109" y="2225"/>
                </a:lnTo>
                <a:lnTo>
                  <a:pt x="1105" y="2227"/>
                </a:lnTo>
                <a:lnTo>
                  <a:pt x="1104" y="2225"/>
                </a:lnTo>
                <a:lnTo>
                  <a:pt x="1102" y="2225"/>
                </a:lnTo>
                <a:lnTo>
                  <a:pt x="1100" y="2224"/>
                </a:lnTo>
                <a:lnTo>
                  <a:pt x="1098" y="2225"/>
                </a:lnTo>
                <a:lnTo>
                  <a:pt x="1097" y="2225"/>
                </a:lnTo>
                <a:lnTo>
                  <a:pt x="1097" y="2224"/>
                </a:lnTo>
                <a:lnTo>
                  <a:pt x="1093" y="2222"/>
                </a:lnTo>
                <a:lnTo>
                  <a:pt x="1093" y="2224"/>
                </a:lnTo>
                <a:lnTo>
                  <a:pt x="1093" y="2225"/>
                </a:lnTo>
                <a:lnTo>
                  <a:pt x="1092" y="2224"/>
                </a:lnTo>
                <a:lnTo>
                  <a:pt x="1090" y="2222"/>
                </a:lnTo>
                <a:lnTo>
                  <a:pt x="1088" y="2224"/>
                </a:lnTo>
                <a:lnTo>
                  <a:pt x="1088" y="2222"/>
                </a:lnTo>
                <a:lnTo>
                  <a:pt x="1090" y="2220"/>
                </a:lnTo>
                <a:lnTo>
                  <a:pt x="1092" y="2220"/>
                </a:lnTo>
                <a:lnTo>
                  <a:pt x="1090" y="2219"/>
                </a:lnTo>
                <a:lnTo>
                  <a:pt x="1090" y="2215"/>
                </a:lnTo>
                <a:lnTo>
                  <a:pt x="1087" y="2217"/>
                </a:lnTo>
                <a:lnTo>
                  <a:pt x="1085" y="2215"/>
                </a:lnTo>
                <a:lnTo>
                  <a:pt x="1085" y="2217"/>
                </a:lnTo>
                <a:lnTo>
                  <a:pt x="1087" y="2220"/>
                </a:lnTo>
                <a:lnTo>
                  <a:pt x="1085" y="2220"/>
                </a:lnTo>
                <a:lnTo>
                  <a:pt x="1083" y="2220"/>
                </a:lnTo>
                <a:lnTo>
                  <a:pt x="1085" y="2219"/>
                </a:lnTo>
                <a:lnTo>
                  <a:pt x="1083" y="2217"/>
                </a:lnTo>
                <a:lnTo>
                  <a:pt x="1083" y="2214"/>
                </a:lnTo>
                <a:lnTo>
                  <a:pt x="1081" y="2214"/>
                </a:lnTo>
                <a:lnTo>
                  <a:pt x="1080" y="2212"/>
                </a:lnTo>
                <a:lnTo>
                  <a:pt x="1081" y="2212"/>
                </a:lnTo>
                <a:lnTo>
                  <a:pt x="1080" y="2210"/>
                </a:lnTo>
                <a:lnTo>
                  <a:pt x="1080" y="2208"/>
                </a:lnTo>
                <a:lnTo>
                  <a:pt x="1080" y="2205"/>
                </a:lnTo>
                <a:lnTo>
                  <a:pt x="1081" y="2205"/>
                </a:lnTo>
                <a:lnTo>
                  <a:pt x="1080" y="2203"/>
                </a:lnTo>
                <a:lnTo>
                  <a:pt x="1078" y="2205"/>
                </a:lnTo>
                <a:lnTo>
                  <a:pt x="1076" y="2203"/>
                </a:lnTo>
                <a:lnTo>
                  <a:pt x="1078" y="2202"/>
                </a:lnTo>
                <a:lnTo>
                  <a:pt x="1076" y="2200"/>
                </a:lnTo>
                <a:lnTo>
                  <a:pt x="1078" y="2200"/>
                </a:lnTo>
                <a:lnTo>
                  <a:pt x="1076" y="2198"/>
                </a:lnTo>
                <a:lnTo>
                  <a:pt x="1075" y="2198"/>
                </a:lnTo>
                <a:lnTo>
                  <a:pt x="1073" y="2197"/>
                </a:lnTo>
                <a:lnTo>
                  <a:pt x="1075" y="2197"/>
                </a:lnTo>
                <a:lnTo>
                  <a:pt x="1076" y="2198"/>
                </a:lnTo>
                <a:lnTo>
                  <a:pt x="1078" y="2198"/>
                </a:lnTo>
                <a:lnTo>
                  <a:pt x="1076" y="2197"/>
                </a:lnTo>
                <a:lnTo>
                  <a:pt x="1075" y="2197"/>
                </a:lnTo>
                <a:lnTo>
                  <a:pt x="1075" y="2195"/>
                </a:lnTo>
                <a:lnTo>
                  <a:pt x="1071" y="2193"/>
                </a:lnTo>
                <a:lnTo>
                  <a:pt x="1073" y="2193"/>
                </a:lnTo>
                <a:lnTo>
                  <a:pt x="1075" y="2193"/>
                </a:lnTo>
                <a:lnTo>
                  <a:pt x="1076" y="2191"/>
                </a:lnTo>
                <a:lnTo>
                  <a:pt x="1075" y="2191"/>
                </a:lnTo>
                <a:lnTo>
                  <a:pt x="1076" y="2191"/>
                </a:lnTo>
                <a:lnTo>
                  <a:pt x="1078" y="2190"/>
                </a:lnTo>
                <a:lnTo>
                  <a:pt x="1080" y="2193"/>
                </a:lnTo>
                <a:lnTo>
                  <a:pt x="1081" y="2193"/>
                </a:lnTo>
                <a:lnTo>
                  <a:pt x="1083" y="2193"/>
                </a:lnTo>
                <a:lnTo>
                  <a:pt x="1085" y="2191"/>
                </a:lnTo>
                <a:lnTo>
                  <a:pt x="1087" y="2190"/>
                </a:lnTo>
                <a:lnTo>
                  <a:pt x="1088" y="2190"/>
                </a:lnTo>
                <a:lnTo>
                  <a:pt x="1090" y="2188"/>
                </a:lnTo>
                <a:lnTo>
                  <a:pt x="1093" y="2188"/>
                </a:lnTo>
                <a:lnTo>
                  <a:pt x="1092" y="2188"/>
                </a:lnTo>
                <a:lnTo>
                  <a:pt x="1093" y="2188"/>
                </a:lnTo>
                <a:lnTo>
                  <a:pt x="1093" y="2186"/>
                </a:lnTo>
                <a:lnTo>
                  <a:pt x="1097" y="2186"/>
                </a:lnTo>
                <a:lnTo>
                  <a:pt x="1095" y="2188"/>
                </a:lnTo>
                <a:lnTo>
                  <a:pt x="1097" y="2188"/>
                </a:lnTo>
                <a:lnTo>
                  <a:pt x="1097" y="2186"/>
                </a:lnTo>
                <a:close/>
                <a:moveTo>
                  <a:pt x="1132" y="2232"/>
                </a:moveTo>
                <a:lnTo>
                  <a:pt x="1136" y="2232"/>
                </a:lnTo>
                <a:lnTo>
                  <a:pt x="1138" y="2234"/>
                </a:lnTo>
                <a:lnTo>
                  <a:pt x="1139" y="2234"/>
                </a:lnTo>
                <a:lnTo>
                  <a:pt x="1141" y="2237"/>
                </a:lnTo>
                <a:lnTo>
                  <a:pt x="1143" y="2239"/>
                </a:lnTo>
                <a:lnTo>
                  <a:pt x="1144" y="2237"/>
                </a:lnTo>
                <a:lnTo>
                  <a:pt x="1144" y="2239"/>
                </a:lnTo>
                <a:lnTo>
                  <a:pt x="1144" y="2241"/>
                </a:lnTo>
                <a:lnTo>
                  <a:pt x="1148" y="2241"/>
                </a:lnTo>
                <a:lnTo>
                  <a:pt x="1149" y="2241"/>
                </a:lnTo>
                <a:lnTo>
                  <a:pt x="1151" y="2242"/>
                </a:lnTo>
                <a:lnTo>
                  <a:pt x="1149" y="2241"/>
                </a:lnTo>
                <a:lnTo>
                  <a:pt x="1148" y="2241"/>
                </a:lnTo>
                <a:lnTo>
                  <a:pt x="1148" y="2239"/>
                </a:lnTo>
                <a:lnTo>
                  <a:pt x="1149" y="2239"/>
                </a:lnTo>
                <a:lnTo>
                  <a:pt x="1151" y="2239"/>
                </a:lnTo>
                <a:lnTo>
                  <a:pt x="1151" y="2236"/>
                </a:lnTo>
                <a:lnTo>
                  <a:pt x="1153" y="2237"/>
                </a:lnTo>
                <a:lnTo>
                  <a:pt x="1155" y="2237"/>
                </a:lnTo>
                <a:lnTo>
                  <a:pt x="1155" y="2239"/>
                </a:lnTo>
                <a:lnTo>
                  <a:pt x="1156" y="2239"/>
                </a:lnTo>
                <a:lnTo>
                  <a:pt x="1156" y="2242"/>
                </a:lnTo>
                <a:lnTo>
                  <a:pt x="1158" y="2242"/>
                </a:lnTo>
                <a:lnTo>
                  <a:pt x="1160" y="2244"/>
                </a:lnTo>
                <a:lnTo>
                  <a:pt x="1160" y="2246"/>
                </a:lnTo>
                <a:lnTo>
                  <a:pt x="1160" y="2248"/>
                </a:lnTo>
                <a:lnTo>
                  <a:pt x="1158" y="2246"/>
                </a:lnTo>
                <a:lnTo>
                  <a:pt x="1158" y="2249"/>
                </a:lnTo>
                <a:lnTo>
                  <a:pt x="1160" y="2249"/>
                </a:lnTo>
                <a:lnTo>
                  <a:pt x="1160" y="2251"/>
                </a:lnTo>
                <a:lnTo>
                  <a:pt x="1158" y="2253"/>
                </a:lnTo>
                <a:lnTo>
                  <a:pt x="1160" y="2253"/>
                </a:lnTo>
                <a:lnTo>
                  <a:pt x="1158" y="2253"/>
                </a:lnTo>
                <a:lnTo>
                  <a:pt x="1156" y="2253"/>
                </a:lnTo>
                <a:lnTo>
                  <a:pt x="1155" y="2253"/>
                </a:lnTo>
                <a:lnTo>
                  <a:pt x="1155" y="2251"/>
                </a:lnTo>
                <a:lnTo>
                  <a:pt x="1155" y="2253"/>
                </a:lnTo>
                <a:lnTo>
                  <a:pt x="1151" y="2251"/>
                </a:lnTo>
                <a:lnTo>
                  <a:pt x="1151" y="2253"/>
                </a:lnTo>
                <a:lnTo>
                  <a:pt x="1149" y="2253"/>
                </a:lnTo>
                <a:lnTo>
                  <a:pt x="1148" y="2253"/>
                </a:lnTo>
                <a:lnTo>
                  <a:pt x="1148" y="2254"/>
                </a:lnTo>
                <a:lnTo>
                  <a:pt x="1146" y="2254"/>
                </a:lnTo>
                <a:lnTo>
                  <a:pt x="1144" y="2256"/>
                </a:lnTo>
                <a:lnTo>
                  <a:pt x="1146" y="2256"/>
                </a:lnTo>
                <a:lnTo>
                  <a:pt x="1144" y="2256"/>
                </a:lnTo>
                <a:lnTo>
                  <a:pt x="1143" y="2256"/>
                </a:lnTo>
                <a:lnTo>
                  <a:pt x="1141" y="2254"/>
                </a:lnTo>
                <a:lnTo>
                  <a:pt x="1139" y="2253"/>
                </a:lnTo>
                <a:lnTo>
                  <a:pt x="1138" y="2251"/>
                </a:lnTo>
                <a:lnTo>
                  <a:pt x="1136" y="2249"/>
                </a:lnTo>
                <a:lnTo>
                  <a:pt x="1134" y="2249"/>
                </a:lnTo>
                <a:lnTo>
                  <a:pt x="1132" y="2248"/>
                </a:lnTo>
                <a:lnTo>
                  <a:pt x="1129" y="2248"/>
                </a:lnTo>
                <a:lnTo>
                  <a:pt x="1127" y="2246"/>
                </a:lnTo>
                <a:lnTo>
                  <a:pt x="1126" y="2246"/>
                </a:lnTo>
                <a:lnTo>
                  <a:pt x="1126" y="2244"/>
                </a:lnTo>
                <a:lnTo>
                  <a:pt x="1124" y="2242"/>
                </a:lnTo>
                <a:lnTo>
                  <a:pt x="1124" y="2241"/>
                </a:lnTo>
                <a:lnTo>
                  <a:pt x="1124" y="2244"/>
                </a:lnTo>
                <a:lnTo>
                  <a:pt x="1126" y="2242"/>
                </a:lnTo>
                <a:lnTo>
                  <a:pt x="1124" y="2241"/>
                </a:lnTo>
                <a:lnTo>
                  <a:pt x="1127" y="2242"/>
                </a:lnTo>
                <a:lnTo>
                  <a:pt x="1127" y="2241"/>
                </a:lnTo>
                <a:lnTo>
                  <a:pt x="1129" y="2242"/>
                </a:lnTo>
                <a:lnTo>
                  <a:pt x="1129" y="2241"/>
                </a:lnTo>
                <a:lnTo>
                  <a:pt x="1131" y="2241"/>
                </a:lnTo>
                <a:lnTo>
                  <a:pt x="1129" y="2241"/>
                </a:lnTo>
                <a:lnTo>
                  <a:pt x="1127" y="2237"/>
                </a:lnTo>
                <a:lnTo>
                  <a:pt x="1126" y="2237"/>
                </a:lnTo>
                <a:lnTo>
                  <a:pt x="1126" y="2236"/>
                </a:lnTo>
                <a:lnTo>
                  <a:pt x="1127" y="2232"/>
                </a:lnTo>
                <a:lnTo>
                  <a:pt x="1129" y="2234"/>
                </a:lnTo>
                <a:lnTo>
                  <a:pt x="1129" y="2232"/>
                </a:lnTo>
                <a:lnTo>
                  <a:pt x="1131" y="2232"/>
                </a:lnTo>
                <a:lnTo>
                  <a:pt x="1132" y="2232"/>
                </a:lnTo>
                <a:close/>
                <a:moveTo>
                  <a:pt x="1275" y="2202"/>
                </a:moveTo>
                <a:lnTo>
                  <a:pt x="1275" y="2203"/>
                </a:lnTo>
                <a:lnTo>
                  <a:pt x="1277" y="2203"/>
                </a:lnTo>
                <a:lnTo>
                  <a:pt x="1277" y="2205"/>
                </a:lnTo>
                <a:lnTo>
                  <a:pt x="1279" y="2205"/>
                </a:lnTo>
                <a:lnTo>
                  <a:pt x="1279" y="2207"/>
                </a:lnTo>
                <a:lnTo>
                  <a:pt x="1282" y="2208"/>
                </a:lnTo>
                <a:lnTo>
                  <a:pt x="1282" y="2207"/>
                </a:lnTo>
                <a:lnTo>
                  <a:pt x="1284" y="2208"/>
                </a:lnTo>
                <a:lnTo>
                  <a:pt x="1285" y="2210"/>
                </a:lnTo>
                <a:lnTo>
                  <a:pt x="1287" y="2210"/>
                </a:lnTo>
                <a:lnTo>
                  <a:pt x="1287" y="2212"/>
                </a:lnTo>
                <a:lnTo>
                  <a:pt x="1289" y="2212"/>
                </a:lnTo>
                <a:lnTo>
                  <a:pt x="1291" y="2212"/>
                </a:lnTo>
                <a:lnTo>
                  <a:pt x="1291" y="2214"/>
                </a:lnTo>
                <a:lnTo>
                  <a:pt x="1291" y="2215"/>
                </a:lnTo>
                <a:lnTo>
                  <a:pt x="1291" y="2217"/>
                </a:lnTo>
                <a:lnTo>
                  <a:pt x="1291" y="2219"/>
                </a:lnTo>
                <a:lnTo>
                  <a:pt x="1289" y="2219"/>
                </a:lnTo>
                <a:lnTo>
                  <a:pt x="1291" y="2220"/>
                </a:lnTo>
                <a:lnTo>
                  <a:pt x="1289" y="2222"/>
                </a:lnTo>
                <a:lnTo>
                  <a:pt x="1287" y="2222"/>
                </a:lnTo>
                <a:lnTo>
                  <a:pt x="1285" y="2222"/>
                </a:lnTo>
                <a:lnTo>
                  <a:pt x="1284" y="2222"/>
                </a:lnTo>
                <a:lnTo>
                  <a:pt x="1282" y="2222"/>
                </a:lnTo>
                <a:lnTo>
                  <a:pt x="1279" y="2220"/>
                </a:lnTo>
                <a:lnTo>
                  <a:pt x="1277" y="2219"/>
                </a:lnTo>
                <a:lnTo>
                  <a:pt x="1275" y="2219"/>
                </a:lnTo>
                <a:lnTo>
                  <a:pt x="1274" y="2217"/>
                </a:lnTo>
                <a:lnTo>
                  <a:pt x="1272" y="2217"/>
                </a:lnTo>
                <a:lnTo>
                  <a:pt x="1272" y="2215"/>
                </a:lnTo>
                <a:lnTo>
                  <a:pt x="1272" y="2217"/>
                </a:lnTo>
                <a:lnTo>
                  <a:pt x="1274" y="2214"/>
                </a:lnTo>
                <a:lnTo>
                  <a:pt x="1272" y="2212"/>
                </a:lnTo>
                <a:lnTo>
                  <a:pt x="1272" y="2210"/>
                </a:lnTo>
                <a:lnTo>
                  <a:pt x="1272" y="2207"/>
                </a:lnTo>
                <a:lnTo>
                  <a:pt x="1274" y="2205"/>
                </a:lnTo>
                <a:lnTo>
                  <a:pt x="1274" y="2203"/>
                </a:lnTo>
                <a:lnTo>
                  <a:pt x="1274" y="2202"/>
                </a:lnTo>
                <a:lnTo>
                  <a:pt x="1275" y="2202"/>
                </a:lnTo>
                <a:close/>
                <a:moveTo>
                  <a:pt x="1158" y="2231"/>
                </a:moveTo>
                <a:lnTo>
                  <a:pt x="1160" y="2231"/>
                </a:lnTo>
                <a:lnTo>
                  <a:pt x="1161" y="2234"/>
                </a:lnTo>
                <a:lnTo>
                  <a:pt x="1161" y="2232"/>
                </a:lnTo>
                <a:lnTo>
                  <a:pt x="1163" y="2232"/>
                </a:lnTo>
                <a:lnTo>
                  <a:pt x="1165" y="2232"/>
                </a:lnTo>
                <a:lnTo>
                  <a:pt x="1165" y="2236"/>
                </a:lnTo>
                <a:lnTo>
                  <a:pt x="1168" y="2236"/>
                </a:lnTo>
                <a:lnTo>
                  <a:pt x="1170" y="2236"/>
                </a:lnTo>
                <a:lnTo>
                  <a:pt x="1170" y="2237"/>
                </a:lnTo>
                <a:lnTo>
                  <a:pt x="1172" y="2239"/>
                </a:lnTo>
                <a:lnTo>
                  <a:pt x="1170" y="2241"/>
                </a:lnTo>
                <a:lnTo>
                  <a:pt x="1170" y="2242"/>
                </a:lnTo>
                <a:lnTo>
                  <a:pt x="1168" y="2244"/>
                </a:lnTo>
                <a:lnTo>
                  <a:pt x="1166" y="2244"/>
                </a:lnTo>
                <a:lnTo>
                  <a:pt x="1166" y="2248"/>
                </a:lnTo>
                <a:lnTo>
                  <a:pt x="1165" y="2249"/>
                </a:lnTo>
                <a:lnTo>
                  <a:pt x="1165" y="2253"/>
                </a:lnTo>
                <a:lnTo>
                  <a:pt x="1165" y="2254"/>
                </a:lnTo>
                <a:lnTo>
                  <a:pt x="1165" y="2256"/>
                </a:lnTo>
                <a:lnTo>
                  <a:pt x="1165" y="2258"/>
                </a:lnTo>
                <a:lnTo>
                  <a:pt x="1165" y="2259"/>
                </a:lnTo>
                <a:lnTo>
                  <a:pt x="1163" y="2258"/>
                </a:lnTo>
                <a:lnTo>
                  <a:pt x="1163" y="2256"/>
                </a:lnTo>
                <a:lnTo>
                  <a:pt x="1161" y="2254"/>
                </a:lnTo>
                <a:lnTo>
                  <a:pt x="1160" y="2253"/>
                </a:lnTo>
                <a:lnTo>
                  <a:pt x="1161" y="2249"/>
                </a:lnTo>
                <a:lnTo>
                  <a:pt x="1161" y="2248"/>
                </a:lnTo>
                <a:lnTo>
                  <a:pt x="1160" y="2248"/>
                </a:lnTo>
                <a:lnTo>
                  <a:pt x="1161" y="2246"/>
                </a:lnTo>
                <a:lnTo>
                  <a:pt x="1160" y="2244"/>
                </a:lnTo>
                <a:lnTo>
                  <a:pt x="1158" y="2242"/>
                </a:lnTo>
                <a:lnTo>
                  <a:pt x="1156" y="2241"/>
                </a:lnTo>
                <a:lnTo>
                  <a:pt x="1158" y="2239"/>
                </a:lnTo>
                <a:lnTo>
                  <a:pt x="1155" y="2239"/>
                </a:lnTo>
                <a:lnTo>
                  <a:pt x="1155" y="2236"/>
                </a:lnTo>
                <a:lnTo>
                  <a:pt x="1155" y="2234"/>
                </a:lnTo>
                <a:lnTo>
                  <a:pt x="1153" y="2232"/>
                </a:lnTo>
                <a:lnTo>
                  <a:pt x="1155" y="2231"/>
                </a:lnTo>
                <a:lnTo>
                  <a:pt x="1158" y="2232"/>
                </a:lnTo>
                <a:lnTo>
                  <a:pt x="1158" y="2231"/>
                </a:lnTo>
                <a:close/>
                <a:moveTo>
                  <a:pt x="1044" y="2089"/>
                </a:moveTo>
                <a:lnTo>
                  <a:pt x="1042" y="2091"/>
                </a:lnTo>
                <a:lnTo>
                  <a:pt x="1044" y="2094"/>
                </a:lnTo>
                <a:lnTo>
                  <a:pt x="1042" y="2094"/>
                </a:lnTo>
                <a:lnTo>
                  <a:pt x="1042" y="2098"/>
                </a:lnTo>
                <a:lnTo>
                  <a:pt x="1041" y="2096"/>
                </a:lnTo>
                <a:lnTo>
                  <a:pt x="1041" y="2098"/>
                </a:lnTo>
                <a:lnTo>
                  <a:pt x="1041" y="2101"/>
                </a:lnTo>
                <a:lnTo>
                  <a:pt x="1042" y="2103"/>
                </a:lnTo>
                <a:lnTo>
                  <a:pt x="1042" y="2105"/>
                </a:lnTo>
                <a:lnTo>
                  <a:pt x="1041" y="2103"/>
                </a:lnTo>
                <a:lnTo>
                  <a:pt x="1041" y="2105"/>
                </a:lnTo>
                <a:lnTo>
                  <a:pt x="1039" y="2106"/>
                </a:lnTo>
                <a:lnTo>
                  <a:pt x="1037" y="2108"/>
                </a:lnTo>
                <a:lnTo>
                  <a:pt x="1037" y="2110"/>
                </a:lnTo>
                <a:lnTo>
                  <a:pt x="1036" y="2111"/>
                </a:lnTo>
                <a:lnTo>
                  <a:pt x="1032" y="2111"/>
                </a:lnTo>
                <a:lnTo>
                  <a:pt x="1032" y="2110"/>
                </a:lnTo>
                <a:lnTo>
                  <a:pt x="1032" y="2111"/>
                </a:lnTo>
                <a:lnTo>
                  <a:pt x="1032" y="2110"/>
                </a:lnTo>
                <a:lnTo>
                  <a:pt x="1032" y="2108"/>
                </a:lnTo>
                <a:lnTo>
                  <a:pt x="1030" y="2108"/>
                </a:lnTo>
                <a:lnTo>
                  <a:pt x="1030" y="2110"/>
                </a:lnTo>
                <a:lnTo>
                  <a:pt x="1029" y="2110"/>
                </a:lnTo>
                <a:lnTo>
                  <a:pt x="1029" y="2108"/>
                </a:lnTo>
                <a:lnTo>
                  <a:pt x="1030" y="2108"/>
                </a:lnTo>
                <a:lnTo>
                  <a:pt x="1029" y="2108"/>
                </a:lnTo>
                <a:lnTo>
                  <a:pt x="1029" y="2106"/>
                </a:lnTo>
                <a:lnTo>
                  <a:pt x="1027" y="2108"/>
                </a:lnTo>
                <a:lnTo>
                  <a:pt x="1027" y="2106"/>
                </a:lnTo>
                <a:lnTo>
                  <a:pt x="1029" y="2105"/>
                </a:lnTo>
                <a:lnTo>
                  <a:pt x="1029" y="2103"/>
                </a:lnTo>
                <a:lnTo>
                  <a:pt x="1030" y="2103"/>
                </a:lnTo>
                <a:lnTo>
                  <a:pt x="1032" y="2103"/>
                </a:lnTo>
                <a:lnTo>
                  <a:pt x="1034" y="2103"/>
                </a:lnTo>
                <a:lnTo>
                  <a:pt x="1032" y="2101"/>
                </a:lnTo>
                <a:lnTo>
                  <a:pt x="1032" y="2100"/>
                </a:lnTo>
                <a:lnTo>
                  <a:pt x="1032" y="2098"/>
                </a:lnTo>
                <a:lnTo>
                  <a:pt x="1032" y="2096"/>
                </a:lnTo>
                <a:lnTo>
                  <a:pt x="1034" y="2096"/>
                </a:lnTo>
                <a:lnTo>
                  <a:pt x="1036" y="2096"/>
                </a:lnTo>
                <a:lnTo>
                  <a:pt x="1037" y="2096"/>
                </a:lnTo>
                <a:lnTo>
                  <a:pt x="1039" y="2096"/>
                </a:lnTo>
                <a:lnTo>
                  <a:pt x="1041" y="2093"/>
                </a:lnTo>
                <a:lnTo>
                  <a:pt x="1041" y="2091"/>
                </a:lnTo>
                <a:lnTo>
                  <a:pt x="1042" y="2093"/>
                </a:lnTo>
                <a:lnTo>
                  <a:pt x="1044" y="2091"/>
                </a:lnTo>
                <a:lnTo>
                  <a:pt x="1044" y="2089"/>
                </a:lnTo>
                <a:close/>
                <a:moveTo>
                  <a:pt x="1075" y="2224"/>
                </a:moveTo>
                <a:lnTo>
                  <a:pt x="1078" y="2224"/>
                </a:lnTo>
                <a:lnTo>
                  <a:pt x="1078" y="2225"/>
                </a:lnTo>
                <a:lnTo>
                  <a:pt x="1080" y="2227"/>
                </a:lnTo>
                <a:lnTo>
                  <a:pt x="1083" y="2227"/>
                </a:lnTo>
                <a:lnTo>
                  <a:pt x="1085" y="2229"/>
                </a:lnTo>
                <a:lnTo>
                  <a:pt x="1085" y="2231"/>
                </a:lnTo>
                <a:lnTo>
                  <a:pt x="1087" y="2232"/>
                </a:lnTo>
                <a:lnTo>
                  <a:pt x="1087" y="2234"/>
                </a:lnTo>
                <a:lnTo>
                  <a:pt x="1087" y="2237"/>
                </a:lnTo>
                <a:lnTo>
                  <a:pt x="1085" y="2237"/>
                </a:lnTo>
                <a:lnTo>
                  <a:pt x="1085" y="2239"/>
                </a:lnTo>
                <a:lnTo>
                  <a:pt x="1083" y="2239"/>
                </a:lnTo>
                <a:lnTo>
                  <a:pt x="1080" y="2239"/>
                </a:lnTo>
                <a:lnTo>
                  <a:pt x="1080" y="2237"/>
                </a:lnTo>
                <a:lnTo>
                  <a:pt x="1081" y="2236"/>
                </a:lnTo>
                <a:lnTo>
                  <a:pt x="1081" y="2237"/>
                </a:lnTo>
                <a:lnTo>
                  <a:pt x="1083" y="2237"/>
                </a:lnTo>
                <a:lnTo>
                  <a:pt x="1085" y="2239"/>
                </a:lnTo>
                <a:lnTo>
                  <a:pt x="1083" y="2237"/>
                </a:lnTo>
                <a:lnTo>
                  <a:pt x="1081" y="2236"/>
                </a:lnTo>
                <a:lnTo>
                  <a:pt x="1080" y="2236"/>
                </a:lnTo>
                <a:lnTo>
                  <a:pt x="1078" y="2237"/>
                </a:lnTo>
                <a:lnTo>
                  <a:pt x="1076" y="2236"/>
                </a:lnTo>
                <a:lnTo>
                  <a:pt x="1075" y="2234"/>
                </a:lnTo>
                <a:lnTo>
                  <a:pt x="1075" y="2231"/>
                </a:lnTo>
                <a:lnTo>
                  <a:pt x="1076" y="2231"/>
                </a:lnTo>
                <a:lnTo>
                  <a:pt x="1078" y="2234"/>
                </a:lnTo>
                <a:lnTo>
                  <a:pt x="1080" y="2232"/>
                </a:lnTo>
                <a:lnTo>
                  <a:pt x="1078" y="2232"/>
                </a:lnTo>
                <a:lnTo>
                  <a:pt x="1080" y="2231"/>
                </a:lnTo>
                <a:lnTo>
                  <a:pt x="1078" y="2231"/>
                </a:lnTo>
                <a:lnTo>
                  <a:pt x="1076" y="2231"/>
                </a:lnTo>
                <a:lnTo>
                  <a:pt x="1076" y="2229"/>
                </a:lnTo>
                <a:lnTo>
                  <a:pt x="1073" y="2229"/>
                </a:lnTo>
                <a:lnTo>
                  <a:pt x="1071" y="2227"/>
                </a:lnTo>
                <a:lnTo>
                  <a:pt x="1073" y="2227"/>
                </a:lnTo>
                <a:lnTo>
                  <a:pt x="1073" y="2225"/>
                </a:lnTo>
                <a:lnTo>
                  <a:pt x="1071" y="2227"/>
                </a:lnTo>
                <a:lnTo>
                  <a:pt x="1070" y="2225"/>
                </a:lnTo>
                <a:lnTo>
                  <a:pt x="1071" y="2224"/>
                </a:lnTo>
                <a:lnTo>
                  <a:pt x="1073" y="2224"/>
                </a:lnTo>
                <a:lnTo>
                  <a:pt x="1075" y="2224"/>
                </a:lnTo>
                <a:close/>
                <a:moveTo>
                  <a:pt x="1122" y="2217"/>
                </a:moveTo>
                <a:lnTo>
                  <a:pt x="1122" y="2219"/>
                </a:lnTo>
                <a:lnTo>
                  <a:pt x="1122" y="2220"/>
                </a:lnTo>
                <a:lnTo>
                  <a:pt x="1122" y="2224"/>
                </a:lnTo>
                <a:lnTo>
                  <a:pt x="1122" y="2225"/>
                </a:lnTo>
                <a:lnTo>
                  <a:pt x="1121" y="2229"/>
                </a:lnTo>
                <a:lnTo>
                  <a:pt x="1119" y="2231"/>
                </a:lnTo>
                <a:lnTo>
                  <a:pt x="1119" y="2234"/>
                </a:lnTo>
                <a:lnTo>
                  <a:pt x="1117" y="2236"/>
                </a:lnTo>
                <a:lnTo>
                  <a:pt x="1117" y="2237"/>
                </a:lnTo>
                <a:lnTo>
                  <a:pt x="1115" y="2239"/>
                </a:lnTo>
                <a:lnTo>
                  <a:pt x="1115" y="2241"/>
                </a:lnTo>
                <a:lnTo>
                  <a:pt x="1115" y="2244"/>
                </a:lnTo>
                <a:lnTo>
                  <a:pt x="1115" y="2246"/>
                </a:lnTo>
                <a:lnTo>
                  <a:pt x="1114" y="2248"/>
                </a:lnTo>
                <a:lnTo>
                  <a:pt x="1112" y="2248"/>
                </a:lnTo>
                <a:lnTo>
                  <a:pt x="1112" y="2246"/>
                </a:lnTo>
                <a:lnTo>
                  <a:pt x="1112" y="2244"/>
                </a:lnTo>
                <a:lnTo>
                  <a:pt x="1110" y="2242"/>
                </a:lnTo>
                <a:lnTo>
                  <a:pt x="1109" y="2241"/>
                </a:lnTo>
                <a:lnTo>
                  <a:pt x="1110" y="2241"/>
                </a:lnTo>
                <a:lnTo>
                  <a:pt x="1112" y="2239"/>
                </a:lnTo>
                <a:lnTo>
                  <a:pt x="1112" y="2237"/>
                </a:lnTo>
                <a:lnTo>
                  <a:pt x="1114" y="2237"/>
                </a:lnTo>
                <a:lnTo>
                  <a:pt x="1114" y="2236"/>
                </a:lnTo>
                <a:lnTo>
                  <a:pt x="1112" y="2236"/>
                </a:lnTo>
                <a:lnTo>
                  <a:pt x="1114" y="2232"/>
                </a:lnTo>
                <a:lnTo>
                  <a:pt x="1115" y="2231"/>
                </a:lnTo>
                <a:lnTo>
                  <a:pt x="1117" y="2229"/>
                </a:lnTo>
                <a:lnTo>
                  <a:pt x="1117" y="2227"/>
                </a:lnTo>
                <a:lnTo>
                  <a:pt x="1119" y="2227"/>
                </a:lnTo>
                <a:lnTo>
                  <a:pt x="1119" y="2225"/>
                </a:lnTo>
                <a:lnTo>
                  <a:pt x="1121" y="2222"/>
                </a:lnTo>
                <a:lnTo>
                  <a:pt x="1121" y="2219"/>
                </a:lnTo>
                <a:lnTo>
                  <a:pt x="1122" y="2217"/>
                </a:lnTo>
                <a:close/>
                <a:moveTo>
                  <a:pt x="1175" y="2224"/>
                </a:moveTo>
                <a:lnTo>
                  <a:pt x="1177" y="2225"/>
                </a:lnTo>
                <a:lnTo>
                  <a:pt x="1180" y="2225"/>
                </a:lnTo>
                <a:lnTo>
                  <a:pt x="1182" y="2225"/>
                </a:lnTo>
                <a:lnTo>
                  <a:pt x="1183" y="2225"/>
                </a:lnTo>
                <a:lnTo>
                  <a:pt x="1185" y="2227"/>
                </a:lnTo>
                <a:lnTo>
                  <a:pt x="1187" y="2229"/>
                </a:lnTo>
                <a:lnTo>
                  <a:pt x="1187" y="2231"/>
                </a:lnTo>
                <a:lnTo>
                  <a:pt x="1185" y="2231"/>
                </a:lnTo>
                <a:lnTo>
                  <a:pt x="1183" y="2231"/>
                </a:lnTo>
                <a:lnTo>
                  <a:pt x="1182" y="2231"/>
                </a:lnTo>
                <a:lnTo>
                  <a:pt x="1180" y="2231"/>
                </a:lnTo>
                <a:lnTo>
                  <a:pt x="1178" y="2231"/>
                </a:lnTo>
                <a:lnTo>
                  <a:pt x="1177" y="2232"/>
                </a:lnTo>
                <a:lnTo>
                  <a:pt x="1175" y="2234"/>
                </a:lnTo>
                <a:lnTo>
                  <a:pt x="1175" y="2236"/>
                </a:lnTo>
                <a:lnTo>
                  <a:pt x="1173" y="2236"/>
                </a:lnTo>
                <a:lnTo>
                  <a:pt x="1172" y="2236"/>
                </a:lnTo>
                <a:lnTo>
                  <a:pt x="1170" y="2236"/>
                </a:lnTo>
                <a:lnTo>
                  <a:pt x="1172" y="2234"/>
                </a:lnTo>
                <a:lnTo>
                  <a:pt x="1170" y="2234"/>
                </a:lnTo>
                <a:lnTo>
                  <a:pt x="1172" y="2232"/>
                </a:lnTo>
                <a:lnTo>
                  <a:pt x="1170" y="2231"/>
                </a:lnTo>
                <a:lnTo>
                  <a:pt x="1172" y="2231"/>
                </a:lnTo>
                <a:lnTo>
                  <a:pt x="1172" y="2229"/>
                </a:lnTo>
                <a:lnTo>
                  <a:pt x="1173" y="2231"/>
                </a:lnTo>
                <a:lnTo>
                  <a:pt x="1177" y="2229"/>
                </a:lnTo>
                <a:lnTo>
                  <a:pt x="1177" y="2231"/>
                </a:lnTo>
                <a:lnTo>
                  <a:pt x="1177" y="2229"/>
                </a:lnTo>
                <a:lnTo>
                  <a:pt x="1178" y="2229"/>
                </a:lnTo>
                <a:lnTo>
                  <a:pt x="1177" y="2229"/>
                </a:lnTo>
                <a:lnTo>
                  <a:pt x="1175" y="2227"/>
                </a:lnTo>
                <a:lnTo>
                  <a:pt x="1177" y="2227"/>
                </a:lnTo>
                <a:lnTo>
                  <a:pt x="1177" y="2225"/>
                </a:lnTo>
                <a:lnTo>
                  <a:pt x="1173" y="2225"/>
                </a:lnTo>
                <a:lnTo>
                  <a:pt x="1175" y="2224"/>
                </a:lnTo>
                <a:close/>
                <a:moveTo>
                  <a:pt x="1127" y="2066"/>
                </a:moveTo>
                <a:lnTo>
                  <a:pt x="1131" y="2066"/>
                </a:lnTo>
                <a:lnTo>
                  <a:pt x="1131" y="2069"/>
                </a:lnTo>
                <a:lnTo>
                  <a:pt x="1129" y="2069"/>
                </a:lnTo>
                <a:lnTo>
                  <a:pt x="1131" y="2067"/>
                </a:lnTo>
                <a:lnTo>
                  <a:pt x="1129" y="2067"/>
                </a:lnTo>
                <a:lnTo>
                  <a:pt x="1127" y="2067"/>
                </a:lnTo>
                <a:lnTo>
                  <a:pt x="1126" y="2069"/>
                </a:lnTo>
                <a:lnTo>
                  <a:pt x="1126" y="2071"/>
                </a:lnTo>
                <a:lnTo>
                  <a:pt x="1126" y="2072"/>
                </a:lnTo>
                <a:lnTo>
                  <a:pt x="1122" y="2074"/>
                </a:lnTo>
                <a:lnTo>
                  <a:pt x="1121" y="2072"/>
                </a:lnTo>
                <a:lnTo>
                  <a:pt x="1117" y="2071"/>
                </a:lnTo>
                <a:lnTo>
                  <a:pt x="1119" y="2069"/>
                </a:lnTo>
                <a:lnTo>
                  <a:pt x="1119" y="2067"/>
                </a:lnTo>
                <a:lnTo>
                  <a:pt x="1122" y="2067"/>
                </a:lnTo>
                <a:lnTo>
                  <a:pt x="1124" y="2067"/>
                </a:lnTo>
                <a:lnTo>
                  <a:pt x="1127" y="2066"/>
                </a:lnTo>
                <a:close/>
                <a:moveTo>
                  <a:pt x="1109" y="2163"/>
                </a:moveTo>
                <a:lnTo>
                  <a:pt x="1110" y="2164"/>
                </a:lnTo>
                <a:lnTo>
                  <a:pt x="1109" y="2164"/>
                </a:lnTo>
                <a:lnTo>
                  <a:pt x="1109" y="2166"/>
                </a:lnTo>
                <a:lnTo>
                  <a:pt x="1110" y="2168"/>
                </a:lnTo>
                <a:lnTo>
                  <a:pt x="1112" y="2168"/>
                </a:lnTo>
                <a:lnTo>
                  <a:pt x="1112" y="2166"/>
                </a:lnTo>
                <a:lnTo>
                  <a:pt x="1110" y="2164"/>
                </a:lnTo>
                <a:lnTo>
                  <a:pt x="1112" y="2166"/>
                </a:lnTo>
                <a:lnTo>
                  <a:pt x="1112" y="2168"/>
                </a:lnTo>
                <a:lnTo>
                  <a:pt x="1110" y="2171"/>
                </a:lnTo>
                <a:lnTo>
                  <a:pt x="1110" y="2173"/>
                </a:lnTo>
                <a:lnTo>
                  <a:pt x="1109" y="2176"/>
                </a:lnTo>
                <a:lnTo>
                  <a:pt x="1107" y="2174"/>
                </a:lnTo>
                <a:lnTo>
                  <a:pt x="1105" y="2173"/>
                </a:lnTo>
                <a:lnTo>
                  <a:pt x="1105" y="2171"/>
                </a:lnTo>
                <a:lnTo>
                  <a:pt x="1105" y="2169"/>
                </a:lnTo>
                <a:lnTo>
                  <a:pt x="1107" y="2168"/>
                </a:lnTo>
                <a:lnTo>
                  <a:pt x="1109" y="2166"/>
                </a:lnTo>
                <a:lnTo>
                  <a:pt x="1107" y="2164"/>
                </a:lnTo>
                <a:lnTo>
                  <a:pt x="1105" y="2164"/>
                </a:lnTo>
                <a:lnTo>
                  <a:pt x="1105" y="2161"/>
                </a:lnTo>
                <a:lnTo>
                  <a:pt x="1107" y="2159"/>
                </a:lnTo>
                <a:lnTo>
                  <a:pt x="1107" y="2163"/>
                </a:lnTo>
                <a:lnTo>
                  <a:pt x="1109" y="2163"/>
                </a:lnTo>
                <a:close/>
                <a:moveTo>
                  <a:pt x="1189" y="2178"/>
                </a:moveTo>
                <a:lnTo>
                  <a:pt x="1189" y="2180"/>
                </a:lnTo>
                <a:lnTo>
                  <a:pt x="1189" y="2181"/>
                </a:lnTo>
                <a:lnTo>
                  <a:pt x="1190" y="2183"/>
                </a:lnTo>
                <a:lnTo>
                  <a:pt x="1190" y="2185"/>
                </a:lnTo>
                <a:lnTo>
                  <a:pt x="1190" y="2186"/>
                </a:lnTo>
                <a:lnTo>
                  <a:pt x="1189" y="2186"/>
                </a:lnTo>
                <a:lnTo>
                  <a:pt x="1187" y="2188"/>
                </a:lnTo>
                <a:lnTo>
                  <a:pt x="1187" y="2186"/>
                </a:lnTo>
                <a:lnTo>
                  <a:pt x="1185" y="2186"/>
                </a:lnTo>
                <a:lnTo>
                  <a:pt x="1183" y="2185"/>
                </a:lnTo>
                <a:lnTo>
                  <a:pt x="1185" y="2183"/>
                </a:lnTo>
                <a:lnTo>
                  <a:pt x="1187" y="2180"/>
                </a:lnTo>
                <a:lnTo>
                  <a:pt x="1187" y="2178"/>
                </a:lnTo>
                <a:lnTo>
                  <a:pt x="1189" y="2178"/>
                </a:lnTo>
                <a:close/>
                <a:moveTo>
                  <a:pt x="1093" y="2231"/>
                </a:moveTo>
                <a:lnTo>
                  <a:pt x="1095" y="2234"/>
                </a:lnTo>
                <a:lnTo>
                  <a:pt x="1097" y="2234"/>
                </a:lnTo>
                <a:lnTo>
                  <a:pt x="1098" y="2236"/>
                </a:lnTo>
                <a:lnTo>
                  <a:pt x="1100" y="2237"/>
                </a:lnTo>
                <a:lnTo>
                  <a:pt x="1100" y="2236"/>
                </a:lnTo>
                <a:lnTo>
                  <a:pt x="1102" y="2236"/>
                </a:lnTo>
                <a:lnTo>
                  <a:pt x="1100" y="2236"/>
                </a:lnTo>
                <a:lnTo>
                  <a:pt x="1102" y="2239"/>
                </a:lnTo>
                <a:lnTo>
                  <a:pt x="1104" y="2237"/>
                </a:lnTo>
                <a:lnTo>
                  <a:pt x="1104" y="2239"/>
                </a:lnTo>
                <a:lnTo>
                  <a:pt x="1104" y="2237"/>
                </a:lnTo>
                <a:lnTo>
                  <a:pt x="1104" y="2236"/>
                </a:lnTo>
                <a:lnTo>
                  <a:pt x="1104" y="2237"/>
                </a:lnTo>
                <a:lnTo>
                  <a:pt x="1105" y="2239"/>
                </a:lnTo>
                <a:lnTo>
                  <a:pt x="1107" y="2239"/>
                </a:lnTo>
                <a:lnTo>
                  <a:pt x="1105" y="2239"/>
                </a:lnTo>
                <a:lnTo>
                  <a:pt x="1107" y="2239"/>
                </a:lnTo>
                <a:lnTo>
                  <a:pt x="1105" y="2241"/>
                </a:lnTo>
                <a:lnTo>
                  <a:pt x="1104" y="2241"/>
                </a:lnTo>
                <a:lnTo>
                  <a:pt x="1102" y="2242"/>
                </a:lnTo>
                <a:lnTo>
                  <a:pt x="1098" y="2239"/>
                </a:lnTo>
                <a:lnTo>
                  <a:pt x="1097" y="2237"/>
                </a:lnTo>
                <a:lnTo>
                  <a:pt x="1095" y="2234"/>
                </a:lnTo>
                <a:lnTo>
                  <a:pt x="1093" y="2231"/>
                </a:lnTo>
                <a:close/>
                <a:moveTo>
                  <a:pt x="1110" y="2225"/>
                </a:moveTo>
                <a:lnTo>
                  <a:pt x="1110" y="2227"/>
                </a:lnTo>
                <a:lnTo>
                  <a:pt x="1110" y="2231"/>
                </a:lnTo>
                <a:lnTo>
                  <a:pt x="1112" y="2229"/>
                </a:lnTo>
                <a:lnTo>
                  <a:pt x="1112" y="2231"/>
                </a:lnTo>
                <a:lnTo>
                  <a:pt x="1110" y="2231"/>
                </a:lnTo>
                <a:lnTo>
                  <a:pt x="1110" y="2232"/>
                </a:lnTo>
                <a:lnTo>
                  <a:pt x="1109" y="2232"/>
                </a:lnTo>
                <a:lnTo>
                  <a:pt x="1107" y="2232"/>
                </a:lnTo>
                <a:lnTo>
                  <a:pt x="1105" y="2231"/>
                </a:lnTo>
                <a:lnTo>
                  <a:pt x="1105" y="2229"/>
                </a:lnTo>
                <a:lnTo>
                  <a:pt x="1107" y="2227"/>
                </a:lnTo>
                <a:lnTo>
                  <a:pt x="1110" y="2225"/>
                </a:lnTo>
                <a:close/>
                <a:moveTo>
                  <a:pt x="1020" y="2195"/>
                </a:moveTo>
                <a:lnTo>
                  <a:pt x="1022" y="2198"/>
                </a:lnTo>
                <a:lnTo>
                  <a:pt x="1024" y="2198"/>
                </a:lnTo>
                <a:lnTo>
                  <a:pt x="1024" y="2200"/>
                </a:lnTo>
                <a:lnTo>
                  <a:pt x="1024" y="2202"/>
                </a:lnTo>
                <a:lnTo>
                  <a:pt x="1024" y="2203"/>
                </a:lnTo>
                <a:lnTo>
                  <a:pt x="1024" y="2205"/>
                </a:lnTo>
                <a:lnTo>
                  <a:pt x="1022" y="2203"/>
                </a:lnTo>
                <a:lnTo>
                  <a:pt x="1020" y="2200"/>
                </a:lnTo>
                <a:lnTo>
                  <a:pt x="1019" y="2197"/>
                </a:lnTo>
                <a:lnTo>
                  <a:pt x="1020" y="2195"/>
                </a:lnTo>
                <a:lnTo>
                  <a:pt x="1019" y="2197"/>
                </a:lnTo>
                <a:lnTo>
                  <a:pt x="1020" y="2195"/>
                </a:lnTo>
                <a:close/>
                <a:moveTo>
                  <a:pt x="1047" y="2100"/>
                </a:moveTo>
                <a:lnTo>
                  <a:pt x="1049" y="2100"/>
                </a:lnTo>
                <a:lnTo>
                  <a:pt x="1049" y="2101"/>
                </a:lnTo>
                <a:lnTo>
                  <a:pt x="1047" y="2101"/>
                </a:lnTo>
                <a:lnTo>
                  <a:pt x="1047" y="2103"/>
                </a:lnTo>
                <a:lnTo>
                  <a:pt x="1046" y="2101"/>
                </a:lnTo>
                <a:lnTo>
                  <a:pt x="1044" y="2101"/>
                </a:lnTo>
                <a:lnTo>
                  <a:pt x="1044" y="2100"/>
                </a:lnTo>
                <a:lnTo>
                  <a:pt x="1047" y="2100"/>
                </a:lnTo>
                <a:close/>
                <a:moveTo>
                  <a:pt x="1148" y="2106"/>
                </a:moveTo>
                <a:lnTo>
                  <a:pt x="1146" y="2108"/>
                </a:lnTo>
                <a:lnTo>
                  <a:pt x="1146" y="2110"/>
                </a:lnTo>
                <a:lnTo>
                  <a:pt x="1144" y="2110"/>
                </a:lnTo>
                <a:lnTo>
                  <a:pt x="1143" y="2108"/>
                </a:lnTo>
                <a:lnTo>
                  <a:pt x="1144" y="2108"/>
                </a:lnTo>
                <a:lnTo>
                  <a:pt x="1148" y="2106"/>
                </a:lnTo>
                <a:close/>
                <a:moveTo>
                  <a:pt x="1141" y="2231"/>
                </a:moveTo>
                <a:lnTo>
                  <a:pt x="1143" y="2231"/>
                </a:lnTo>
                <a:lnTo>
                  <a:pt x="1144" y="2232"/>
                </a:lnTo>
                <a:lnTo>
                  <a:pt x="1143" y="2232"/>
                </a:lnTo>
                <a:lnTo>
                  <a:pt x="1141" y="2234"/>
                </a:lnTo>
                <a:lnTo>
                  <a:pt x="1139" y="2232"/>
                </a:lnTo>
                <a:lnTo>
                  <a:pt x="1139" y="2231"/>
                </a:lnTo>
                <a:lnTo>
                  <a:pt x="1139" y="2232"/>
                </a:lnTo>
                <a:lnTo>
                  <a:pt x="1141" y="2232"/>
                </a:lnTo>
                <a:lnTo>
                  <a:pt x="1141" y="2231"/>
                </a:lnTo>
                <a:close/>
                <a:moveTo>
                  <a:pt x="1194" y="2180"/>
                </a:moveTo>
                <a:lnTo>
                  <a:pt x="1194" y="2183"/>
                </a:lnTo>
                <a:lnTo>
                  <a:pt x="1195" y="2185"/>
                </a:lnTo>
                <a:lnTo>
                  <a:pt x="1194" y="2185"/>
                </a:lnTo>
                <a:lnTo>
                  <a:pt x="1194" y="2183"/>
                </a:lnTo>
                <a:lnTo>
                  <a:pt x="1194" y="2185"/>
                </a:lnTo>
                <a:lnTo>
                  <a:pt x="1194" y="2183"/>
                </a:lnTo>
                <a:lnTo>
                  <a:pt x="1192" y="2183"/>
                </a:lnTo>
                <a:lnTo>
                  <a:pt x="1194" y="2181"/>
                </a:lnTo>
                <a:lnTo>
                  <a:pt x="1192" y="2181"/>
                </a:lnTo>
                <a:lnTo>
                  <a:pt x="1194" y="2181"/>
                </a:lnTo>
                <a:lnTo>
                  <a:pt x="1192" y="2180"/>
                </a:lnTo>
                <a:lnTo>
                  <a:pt x="1194" y="2181"/>
                </a:lnTo>
                <a:lnTo>
                  <a:pt x="1194" y="2180"/>
                </a:lnTo>
                <a:close/>
                <a:moveTo>
                  <a:pt x="1156" y="2171"/>
                </a:moveTo>
                <a:lnTo>
                  <a:pt x="1158" y="2173"/>
                </a:lnTo>
                <a:lnTo>
                  <a:pt x="1156" y="2176"/>
                </a:lnTo>
                <a:lnTo>
                  <a:pt x="1155" y="2173"/>
                </a:lnTo>
                <a:lnTo>
                  <a:pt x="1156" y="2173"/>
                </a:lnTo>
                <a:lnTo>
                  <a:pt x="1156" y="2171"/>
                </a:lnTo>
                <a:close/>
                <a:moveTo>
                  <a:pt x="1165" y="2231"/>
                </a:moveTo>
                <a:lnTo>
                  <a:pt x="1165" y="2232"/>
                </a:lnTo>
                <a:lnTo>
                  <a:pt x="1168" y="2232"/>
                </a:lnTo>
                <a:lnTo>
                  <a:pt x="1168" y="2234"/>
                </a:lnTo>
                <a:lnTo>
                  <a:pt x="1170" y="2234"/>
                </a:lnTo>
                <a:lnTo>
                  <a:pt x="1168" y="2234"/>
                </a:lnTo>
                <a:lnTo>
                  <a:pt x="1165" y="2234"/>
                </a:lnTo>
                <a:lnTo>
                  <a:pt x="1165" y="2231"/>
                </a:lnTo>
                <a:close/>
                <a:moveTo>
                  <a:pt x="1097" y="2174"/>
                </a:moveTo>
                <a:lnTo>
                  <a:pt x="1097" y="2178"/>
                </a:lnTo>
                <a:lnTo>
                  <a:pt x="1093" y="2176"/>
                </a:lnTo>
                <a:lnTo>
                  <a:pt x="1097" y="2176"/>
                </a:lnTo>
                <a:lnTo>
                  <a:pt x="1097" y="2173"/>
                </a:lnTo>
                <a:lnTo>
                  <a:pt x="1097" y="2174"/>
                </a:lnTo>
                <a:close/>
                <a:moveTo>
                  <a:pt x="1127" y="2164"/>
                </a:moveTo>
                <a:lnTo>
                  <a:pt x="1129" y="2164"/>
                </a:lnTo>
                <a:lnTo>
                  <a:pt x="1129" y="2166"/>
                </a:lnTo>
                <a:lnTo>
                  <a:pt x="1131" y="2168"/>
                </a:lnTo>
                <a:lnTo>
                  <a:pt x="1132" y="2168"/>
                </a:lnTo>
                <a:lnTo>
                  <a:pt x="1132" y="2169"/>
                </a:lnTo>
                <a:lnTo>
                  <a:pt x="1132" y="2168"/>
                </a:lnTo>
                <a:lnTo>
                  <a:pt x="1129" y="2168"/>
                </a:lnTo>
                <a:lnTo>
                  <a:pt x="1127" y="2166"/>
                </a:lnTo>
                <a:lnTo>
                  <a:pt x="1127" y="2164"/>
                </a:lnTo>
                <a:close/>
                <a:moveTo>
                  <a:pt x="1146" y="2229"/>
                </a:moveTo>
                <a:lnTo>
                  <a:pt x="1148" y="2231"/>
                </a:lnTo>
                <a:lnTo>
                  <a:pt x="1146" y="2232"/>
                </a:lnTo>
                <a:lnTo>
                  <a:pt x="1144" y="2231"/>
                </a:lnTo>
                <a:lnTo>
                  <a:pt x="1146" y="2229"/>
                </a:lnTo>
                <a:close/>
                <a:moveTo>
                  <a:pt x="1131" y="2212"/>
                </a:moveTo>
                <a:lnTo>
                  <a:pt x="1132" y="2212"/>
                </a:lnTo>
                <a:lnTo>
                  <a:pt x="1131" y="2212"/>
                </a:lnTo>
                <a:lnTo>
                  <a:pt x="1132" y="2215"/>
                </a:lnTo>
                <a:lnTo>
                  <a:pt x="1134" y="2215"/>
                </a:lnTo>
                <a:lnTo>
                  <a:pt x="1132" y="2215"/>
                </a:lnTo>
                <a:lnTo>
                  <a:pt x="1131" y="2215"/>
                </a:lnTo>
                <a:lnTo>
                  <a:pt x="1131" y="2212"/>
                </a:lnTo>
                <a:close/>
                <a:moveTo>
                  <a:pt x="1030" y="2111"/>
                </a:moveTo>
                <a:lnTo>
                  <a:pt x="1032" y="2111"/>
                </a:lnTo>
                <a:lnTo>
                  <a:pt x="1032" y="2115"/>
                </a:lnTo>
                <a:lnTo>
                  <a:pt x="1030" y="2113"/>
                </a:lnTo>
                <a:lnTo>
                  <a:pt x="1030" y="2111"/>
                </a:lnTo>
                <a:close/>
                <a:moveTo>
                  <a:pt x="1112" y="2225"/>
                </a:moveTo>
                <a:lnTo>
                  <a:pt x="1114" y="2227"/>
                </a:lnTo>
                <a:lnTo>
                  <a:pt x="1112" y="2227"/>
                </a:lnTo>
                <a:lnTo>
                  <a:pt x="1112" y="2225"/>
                </a:lnTo>
                <a:lnTo>
                  <a:pt x="1110" y="2225"/>
                </a:lnTo>
                <a:lnTo>
                  <a:pt x="1112" y="2225"/>
                </a:lnTo>
                <a:close/>
                <a:moveTo>
                  <a:pt x="1034" y="2118"/>
                </a:moveTo>
                <a:lnTo>
                  <a:pt x="1032" y="2118"/>
                </a:lnTo>
                <a:lnTo>
                  <a:pt x="1034" y="2118"/>
                </a:lnTo>
                <a:lnTo>
                  <a:pt x="1032" y="2120"/>
                </a:lnTo>
                <a:lnTo>
                  <a:pt x="1032" y="2123"/>
                </a:lnTo>
                <a:lnTo>
                  <a:pt x="1030" y="2120"/>
                </a:lnTo>
                <a:lnTo>
                  <a:pt x="1032" y="2118"/>
                </a:lnTo>
                <a:lnTo>
                  <a:pt x="1034" y="2118"/>
                </a:lnTo>
                <a:close/>
                <a:moveTo>
                  <a:pt x="1078" y="2084"/>
                </a:moveTo>
                <a:lnTo>
                  <a:pt x="1080" y="2084"/>
                </a:lnTo>
                <a:lnTo>
                  <a:pt x="1078" y="2084"/>
                </a:lnTo>
                <a:close/>
                <a:moveTo>
                  <a:pt x="1090" y="2225"/>
                </a:moveTo>
                <a:lnTo>
                  <a:pt x="1092" y="2225"/>
                </a:lnTo>
                <a:lnTo>
                  <a:pt x="1090" y="2227"/>
                </a:lnTo>
                <a:lnTo>
                  <a:pt x="1090" y="2225"/>
                </a:lnTo>
                <a:close/>
                <a:moveTo>
                  <a:pt x="1076" y="2207"/>
                </a:moveTo>
                <a:lnTo>
                  <a:pt x="1078" y="2207"/>
                </a:lnTo>
                <a:lnTo>
                  <a:pt x="1078" y="2208"/>
                </a:lnTo>
                <a:lnTo>
                  <a:pt x="1076" y="2208"/>
                </a:lnTo>
                <a:lnTo>
                  <a:pt x="1076" y="2207"/>
                </a:lnTo>
                <a:close/>
                <a:moveTo>
                  <a:pt x="1076" y="2210"/>
                </a:moveTo>
                <a:lnTo>
                  <a:pt x="1075" y="2212"/>
                </a:lnTo>
                <a:lnTo>
                  <a:pt x="1075" y="2210"/>
                </a:lnTo>
                <a:lnTo>
                  <a:pt x="1075" y="2212"/>
                </a:lnTo>
                <a:lnTo>
                  <a:pt x="1076" y="2210"/>
                </a:lnTo>
                <a:lnTo>
                  <a:pt x="1075" y="2210"/>
                </a:lnTo>
                <a:lnTo>
                  <a:pt x="1076" y="2210"/>
                </a:lnTo>
                <a:close/>
                <a:moveTo>
                  <a:pt x="1025" y="2203"/>
                </a:moveTo>
                <a:lnTo>
                  <a:pt x="1027" y="2205"/>
                </a:lnTo>
                <a:lnTo>
                  <a:pt x="1024" y="2205"/>
                </a:lnTo>
                <a:lnTo>
                  <a:pt x="1025" y="2203"/>
                </a:lnTo>
                <a:close/>
                <a:moveTo>
                  <a:pt x="1095" y="2225"/>
                </a:moveTo>
                <a:lnTo>
                  <a:pt x="1097" y="2227"/>
                </a:lnTo>
                <a:lnTo>
                  <a:pt x="1098" y="2227"/>
                </a:lnTo>
                <a:lnTo>
                  <a:pt x="1098" y="2229"/>
                </a:lnTo>
                <a:lnTo>
                  <a:pt x="1097" y="2227"/>
                </a:lnTo>
                <a:lnTo>
                  <a:pt x="1095" y="2227"/>
                </a:lnTo>
                <a:lnTo>
                  <a:pt x="1093" y="2227"/>
                </a:lnTo>
                <a:lnTo>
                  <a:pt x="1095" y="2225"/>
                </a:lnTo>
                <a:close/>
                <a:moveTo>
                  <a:pt x="1153" y="2214"/>
                </a:moveTo>
                <a:lnTo>
                  <a:pt x="1155" y="2214"/>
                </a:lnTo>
                <a:lnTo>
                  <a:pt x="1155" y="2217"/>
                </a:lnTo>
                <a:lnTo>
                  <a:pt x="1153" y="2217"/>
                </a:lnTo>
                <a:lnTo>
                  <a:pt x="1153" y="2214"/>
                </a:lnTo>
                <a:close/>
                <a:moveTo>
                  <a:pt x="1172" y="2224"/>
                </a:moveTo>
                <a:lnTo>
                  <a:pt x="1173" y="2224"/>
                </a:lnTo>
                <a:lnTo>
                  <a:pt x="1173" y="2225"/>
                </a:lnTo>
                <a:lnTo>
                  <a:pt x="1172" y="2225"/>
                </a:lnTo>
                <a:lnTo>
                  <a:pt x="1172" y="2224"/>
                </a:lnTo>
                <a:close/>
                <a:moveTo>
                  <a:pt x="1109" y="2234"/>
                </a:moveTo>
                <a:lnTo>
                  <a:pt x="1110" y="2234"/>
                </a:lnTo>
                <a:lnTo>
                  <a:pt x="1110" y="2237"/>
                </a:lnTo>
                <a:lnTo>
                  <a:pt x="1109" y="2237"/>
                </a:lnTo>
                <a:lnTo>
                  <a:pt x="1109" y="2234"/>
                </a:lnTo>
                <a:close/>
                <a:moveTo>
                  <a:pt x="1131" y="2217"/>
                </a:moveTo>
                <a:lnTo>
                  <a:pt x="1132" y="2217"/>
                </a:lnTo>
                <a:lnTo>
                  <a:pt x="1132" y="2219"/>
                </a:lnTo>
                <a:lnTo>
                  <a:pt x="1131" y="2219"/>
                </a:lnTo>
                <a:lnTo>
                  <a:pt x="1131" y="2217"/>
                </a:lnTo>
                <a:close/>
                <a:moveTo>
                  <a:pt x="1102" y="2231"/>
                </a:moveTo>
                <a:lnTo>
                  <a:pt x="1102" y="2232"/>
                </a:lnTo>
                <a:lnTo>
                  <a:pt x="1098" y="2231"/>
                </a:lnTo>
                <a:lnTo>
                  <a:pt x="1102" y="2231"/>
                </a:lnTo>
                <a:close/>
                <a:moveTo>
                  <a:pt x="1071" y="2195"/>
                </a:moveTo>
                <a:lnTo>
                  <a:pt x="1073" y="2195"/>
                </a:lnTo>
                <a:lnTo>
                  <a:pt x="1073" y="2197"/>
                </a:lnTo>
                <a:lnTo>
                  <a:pt x="1071" y="2197"/>
                </a:lnTo>
                <a:lnTo>
                  <a:pt x="1071" y="2195"/>
                </a:lnTo>
                <a:close/>
                <a:moveTo>
                  <a:pt x="1100" y="2163"/>
                </a:moveTo>
                <a:lnTo>
                  <a:pt x="1104" y="2163"/>
                </a:lnTo>
                <a:lnTo>
                  <a:pt x="1100" y="2163"/>
                </a:lnTo>
                <a:close/>
                <a:moveTo>
                  <a:pt x="1144" y="2234"/>
                </a:moveTo>
                <a:lnTo>
                  <a:pt x="1146" y="2234"/>
                </a:lnTo>
                <a:lnTo>
                  <a:pt x="1146" y="2237"/>
                </a:lnTo>
                <a:lnTo>
                  <a:pt x="1144" y="2237"/>
                </a:lnTo>
                <a:lnTo>
                  <a:pt x="1144" y="2234"/>
                </a:lnTo>
                <a:close/>
                <a:moveTo>
                  <a:pt x="1151" y="2215"/>
                </a:moveTo>
                <a:lnTo>
                  <a:pt x="1151" y="2217"/>
                </a:lnTo>
                <a:lnTo>
                  <a:pt x="1153" y="2219"/>
                </a:lnTo>
                <a:lnTo>
                  <a:pt x="1151" y="2217"/>
                </a:lnTo>
                <a:lnTo>
                  <a:pt x="1151" y="2215"/>
                </a:lnTo>
                <a:lnTo>
                  <a:pt x="1149" y="2217"/>
                </a:lnTo>
                <a:lnTo>
                  <a:pt x="1151" y="2215"/>
                </a:lnTo>
                <a:lnTo>
                  <a:pt x="1151" y="2217"/>
                </a:lnTo>
                <a:lnTo>
                  <a:pt x="1151" y="2215"/>
                </a:lnTo>
                <a:close/>
                <a:moveTo>
                  <a:pt x="1087" y="2171"/>
                </a:moveTo>
                <a:lnTo>
                  <a:pt x="1088" y="2171"/>
                </a:lnTo>
                <a:lnTo>
                  <a:pt x="1087" y="2171"/>
                </a:lnTo>
                <a:close/>
                <a:moveTo>
                  <a:pt x="1049" y="2096"/>
                </a:moveTo>
                <a:lnTo>
                  <a:pt x="1051" y="2098"/>
                </a:lnTo>
                <a:lnTo>
                  <a:pt x="1049" y="2098"/>
                </a:lnTo>
                <a:lnTo>
                  <a:pt x="1049" y="2096"/>
                </a:lnTo>
                <a:close/>
                <a:moveTo>
                  <a:pt x="1122" y="2074"/>
                </a:moveTo>
                <a:lnTo>
                  <a:pt x="1124" y="2074"/>
                </a:lnTo>
                <a:lnTo>
                  <a:pt x="1122" y="2074"/>
                </a:lnTo>
                <a:close/>
                <a:moveTo>
                  <a:pt x="1066" y="2220"/>
                </a:moveTo>
                <a:lnTo>
                  <a:pt x="1068" y="2220"/>
                </a:lnTo>
                <a:lnTo>
                  <a:pt x="1068" y="2222"/>
                </a:lnTo>
                <a:lnTo>
                  <a:pt x="1066" y="2222"/>
                </a:lnTo>
                <a:lnTo>
                  <a:pt x="1066" y="2220"/>
                </a:lnTo>
                <a:close/>
                <a:moveTo>
                  <a:pt x="1092" y="2185"/>
                </a:moveTo>
                <a:lnTo>
                  <a:pt x="1092" y="2186"/>
                </a:lnTo>
                <a:lnTo>
                  <a:pt x="1092" y="2185"/>
                </a:lnTo>
                <a:close/>
                <a:moveTo>
                  <a:pt x="1136" y="2173"/>
                </a:moveTo>
                <a:lnTo>
                  <a:pt x="1136" y="2174"/>
                </a:lnTo>
                <a:lnTo>
                  <a:pt x="1136" y="2173"/>
                </a:lnTo>
                <a:close/>
                <a:moveTo>
                  <a:pt x="1160" y="2229"/>
                </a:moveTo>
                <a:lnTo>
                  <a:pt x="1161" y="2229"/>
                </a:lnTo>
                <a:lnTo>
                  <a:pt x="1161" y="2231"/>
                </a:lnTo>
                <a:lnTo>
                  <a:pt x="1160" y="2231"/>
                </a:lnTo>
                <a:lnTo>
                  <a:pt x="1160" y="2229"/>
                </a:lnTo>
                <a:close/>
                <a:moveTo>
                  <a:pt x="1168" y="2231"/>
                </a:moveTo>
                <a:lnTo>
                  <a:pt x="1170" y="2231"/>
                </a:lnTo>
                <a:lnTo>
                  <a:pt x="1170" y="2232"/>
                </a:lnTo>
                <a:lnTo>
                  <a:pt x="1168" y="2232"/>
                </a:lnTo>
                <a:lnTo>
                  <a:pt x="1168" y="2231"/>
                </a:lnTo>
                <a:close/>
                <a:moveTo>
                  <a:pt x="1166" y="2176"/>
                </a:moveTo>
                <a:lnTo>
                  <a:pt x="1168" y="2178"/>
                </a:lnTo>
                <a:lnTo>
                  <a:pt x="1166" y="2178"/>
                </a:lnTo>
                <a:lnTo>
                  <a:pt x="1166" y="2176"/>
                </a:lnTo>
                <a:close/>
                <a:moveTo>
                  <a:pt x="1139" y="2225"/>
                </a:moveTo>
                <a:lnTo>
                  <a:pt x="1139" y="2227"/>
                </a:lnTo>
                <a:lnTo>
                  <a:pt x="1139" y="2225"/>
                </a:lnTo>
                <a:close/>
                <a:moveTo>
                  <a:pt x="1093" y="2224"/>
                </a:moveTo>
                <a:lnTo>
                  <a:pt x="1095" y="2224"/>
                </a:lnTo>
                <a:lnTo>
                  <a:pt x="1095" y="2225"/>
                </a:lnTo>
                <a:lnTo>
                  <a:pt x="1093" y="2225"/>
                </a:lnTo>
                <a:lnTo>
                  <a:pt x="1093" y="2224"/>
                </a:lnTo>
                <a:close/>
                <a:moveTo>
                  <a:pt x="1122" y="2205"/>
                </a:moveTo>
                <a:lnTo>
                  <a:pt x="1124" y="2205"/>
                </a:lnTo>
                <a:lnTo>
                  <a:pt x="1124" y="2207"/>
                </a:lnTo>
                <a:lnTo>
                  <a:pt x="1122" y="2207"/>
                </a:lnTo>
                <a:lnTo>
                  <a:pt x="1122" y="2205"/>
                </a:lnTo>
                <a:close/>
                <a:moveTo>
                  <a:pt x="1104" y="2195"/>
                </a:moveTo>
                <a:lnTo>
                  <a:pt x="1104" y="2197"/>
                </a:lnTo>
                <a:lnTo>
                  <a:pt x="1104" y="2195"/>
                </a:lnTo>
                <a:close/>
                <a:moveTo>
                  <a:pt x="1153" y="2219"/>
                </a:moveTo>
                <a:lnTo>
                  <a:pt x="1153" y="2220"/>
                </a:lnTo>
                <a:lnTo>
                  <a:pt x="1153" y="2219"/>
                </a:lnTo>
                <a:close/>
                <a:moveTo>
                  <a:pt x="1170" y="2229"/>
                </a:moveTo>
                <a:lnTo>
                  <a:pt x="1170" y="2231"/>
                </a:lnTo>
                <a:lnTo>
                  <a:pt x="1170" y="2229"/>
                </a:lnTo>
                <a:close/>
                <a:moveTo>
                  <a:pt x="1192" y="2185"/>
                </a:moveTo>
                <a:lnTo>
                  <a:pt x="1194" y="2186"/>
                </a:lnTo>
                <a:lnTo>
                  <a:pt x="1192" y="2185"/>
                </a:lnTo>
                <a:close/>
                <a:moveTo>
                  <a:pt x="1126" y="2239"/>
                </a:moveTo>
                <a:lnTo>
                  <a:pt x="1126" y="2241"/>
                </a:lnTo>
                <a:lnTo>
                  <a:pt x="1126" y="2239"/>
                </a:lnTo>
                <a:close/>
                <a:moveTo>
                  <a:pt x="1175" y="2222"/>
                </a:moveTo>
                <a:lnTo>
                  <a:pt x="1175" y="2224"/>
                </a:lnTo>
                <a:lnTo>
                  <a:pt x="1175" y="2222"/>
                </a:lnTo>
                <a:close/>
                <a:moveTo>
                  <a:pt x="1088" y="2220"/>
                </a:moveTo>
                <a:lnTo>
                  <a:pt x="1087" y="2220"/>
                </a:lnTo>
                <a:lnTo>
                  <a:pt x="1088" y="2220"/>
                </a:lnTo>
                <a:close/>
                <a:moveTo>
                  <a:pt x="1117" y="2071"/>
                </a:moveTo>
                <a:lnTo>
                  <a:pt x="1119" y="2071"/>
                </a:lnTo>
                <a:lnTo>
                  <a:pt x="1119" y="2072"/>
                </a:lnTo>
                <a:lnTo>
                  <a:pt x="1117" y="2072"/>
                </a:lnTo>
                <a:lnTo>
                  <a:pt x="1117" y="2071"/>
                </a:lnTo>
                <a:close/>
                <a:moveTo>
                  <a:pt x="1017" y="2157"/>
                </a:moveTo>
                <a:lnTo>
                  <a:pt x="1019" y="2157"/>
                </a:lnTo>
                <a:lnTo>
                  <a:pt x="1019" y="2159"/>
                </a:lnTo>
                <a:lnTo>
                  <a:pt x="1017" y="2159"/>
                </a:lnTo>
                <a:lnTo>
                  <a:pt x="1017" y="2157"/>
                </a:lnTo>
                <a:close/>
                <a:moveTo>
                  <a:pt x="1160" y="2258"/>
                </a:moveTo>
                <a:lnTo>
                  <a:pt x="1161" y="2258"/>
                </a:lnTo>
                <a:lnTo>
                  <a:pt x="1160" y="2258"/>
                </a:lnTo>
                <a:close/>
                <a:moveTo>
                  <a:pt x="1107" y="2239"/>
                </a:moveTo>
                <a:lnTo>
                  <a:pt x="1109" y="2239"/>
                </a:lnTo>
                <a:lnTo>
                  <a:pt x="1109" y="2241"/>
                </a:lnTo>
                <a:lnTo>
                  <a:pt x="1107" y="2241"/>
                </a:lnTo>
                <a:lnTo>
                  <a:pt x="1107" y="2239"/>
                </a:lnTo>
                <a:close/>
                <a:moveTo>
                  <a:pt x="1607" y="157"/>
                </a:moveTo>
                <a:lnTo>
                  <a:pt x="1607" y="159"/>
                </a:lnTo>
                <a:lnTo>
                  <a:pt x="1605" y="160"/>
                </a:lnTo>
                <a:lnTo>
                  <a:pt x="1605" y="162"/>
                </a:lnTo>
                <a:lnTo>
                  <a:pt x="1603" y="164"/>
                </a:lnTo>
                <a:lnTo>
                  <a:pt x="1605" y="164"/>
                </a:lnTo>
                <a:lnTo>
                  <a:pt x="1603" y="167"/>
                </a:lnTo>
                <a:lnTo>
                  <a:pt x="1605" y="167"/>
                </a:lnTo>
                <a:lnTo>
                  <a:pt x="1603" y="169"/>
                </a:lnTo>
                <a:lnTo>
                  <a:pt x="1605" y="171"/>
                </a:lnTo>
                <a:lnTo>
                  <a:pt x="1607" y="171"/>
                </a:lnTo>
                <a:lnTo>
                  <a:pt x="1607" y="169"/>
                </a:lnTo>
                <a:lnTo>
                  <a:pt x="1607" y="165"/>
                </a:lnTo>
                <a:lnTo>
                  <a:pt x="1608" y="165"/>
                </a:lnTo>
                <a:lnTo>
                  <a:pt x="1608" y="164"/>
                </a:lnTo>
                <a:lnTo>
                  <a:pt x="1610" y="162"/>
                </a:lnTo>
                <a:lnTo>
                  <a:pt x="1612" y="164"/>
                </a:lnTo>
                <a:lnTo>
                  <a:pt x="1614" y="162"/>
                </a:lnTo>
                <a:lnTo>
                  <a:pt x="1612" y="160"/>
                </a:lnTo>
                <a:lnTo>
                  <a:pt x="1614" y="159"/>
                </a:lnTo>
                <a:lnTo>
                  <a:pt x="1617" y="160"/>
                </a:lnTo>
                <a:lnTo>
                  <a:pt x="1619" y="160"/>
                </a:lnTo>
                <a:lnTo>
                  <a:pt x="1624" y="160"/>
                </a:lnTo>
                <a:lnTo>
                  <a:pt x="1624" y="164"/>
                </a:lnTo>
                <a:lnTo>
                  <a:pt x="1622" y="164"/>
                </a:lnTo>
                <a:lnTo>
                  <a:pt x="1622" y="167"/>
                </a:lnTo>
                <a:lnTo>
                  <a:pt x="1622" y="169"/>
                </a:lnTo>
                <a:lnTo>
                  <a:pt x="1620" y="172"/>
                </a:lnTo>
                <a:lnTo>
                  <a:pt x="1620" y="176"/>
                </a:lnTo>
                <a:lnTo>
                  <a:pt x="1622" y="177"/>
                </a:lnTo>
                <a:lnTo>
                  <a:pt x="1622" y="179"/>
                </a:lnTo>
                <a:lnTo>
                  <a:pt x="1620" y="181"/>
                </a:lnTo>
                <a:lnTo>
                  <a:pt x="1619" y="182"/>
                </a:lnTo>
                <a:lnTo>
                  <a:pt x="1617" y="182"/>
                </a:lnTo>
                <a:lnTo>
                  <a:pt x="1615" y="184"/>
                </a:lnTo>
                <a:lnTo>
                  <a:pt x="1614" y="188"/>
                </a:lnTo>
                <a:lnTo>
                  <a:pt x="1612" y="189"/>
                </a:lnTo>
                <a:lnTo>
                  <a:pt x="1610" y="191"/>
                </a:lnTo>
                <a:lnTo>
                  <a:pt x="1608" y="193"/>
                </a:lnTo>
                <a:lnTo>
                  <a:pt x="1608" y="194"/>
                </a:lnTo>
                <a:lnTo>
                  <a:pt x="1612" y="194"/>
                </a:lnTo>
                <a:lnTo>
                  <a:pt x="1614" y="198"/>
                </a:lnTo>
                <a:lnTo>
                  <a:pt x="1614" y="199"/>
                </a:lnTo>
                <a:lnTo>
                  <a:pt x="1615" y="201"/>
                </a:lnTo>
                <a:lnTo>
                  <a:pt x="1614" y="203"/>
                </a:lnTo>
                <a:lnTo>
                  <a:pt x="1610" y="205"/>
                </a:lnTo>
                <a:lnTo>
                  <a:pt x="1607" y="205"/>
                </a:lnTo>
                <a:lnTo>
                  <a:pt x="1605" y="206"/>
                </a:lnTo>
                <a:lnTo>
                  <a:pt x="1603" y="206"/>
                </a:lnTo>
                <a:lnTo>
                  <a:pt x="1603" y="208"/>
                </a:lnTo>
                <a:lnTo>
                  <a:pt x="1605" y="210"/>
                </a:lnTo>
                <a:lnTo>
                  <a:pt x="1603" y="211"/>
                </a:lnTo>
                <a:lnTo>
                  <a:pt x="1602" y="213"/>
                </a:lnTo>
                <a:lnTo>
                  <a:pt x="1603" y="216"/>
                </a:lnTo>
                <a:lnTo>
                  <a:pt x="1605" y="215"/>
                </a:lnTo>
                <a:lnTo>
                  <a:pt x="1608" y="213"/>
                </a:lnTo>
                <a:lnTo>
                  <a:pt x="1610" y="215"/>
                </a:lnTo>
                <a:lnTo>
                  <a:pt x="1612" y="215"/>
                </a:lnTo>
                <a:lnTo>
                  <a:pt x="1610" y="218"/>
                </a:lnTo>
                <a:lnTo>
                  <a:pt x="1614" y="218"/>
                </a:lnTo>
                <a:lnTo>
                  <a:pt x="1615" y="220"/>
                </a:lnTo>
                <a:lnTo>
                  <a:pt x="1614" y="222"/>
                </a:lnTo>
                <a:lnTo>
                  <a:pt x="1615" y="223"/>
                </a:lnTo>
                <a:lnTo>
                  <a:pt x="1614" y="223"/>
                </a:lnTo>
                <a:lnTo>
                  <a:pt x="1610" y="223"/>
                </a:lnTo>
                <a:lnTo>
                  <a:pt x="1607" y="222"/>
                </a:lnTo>
                <a:lnTo>
                  <a:pt x="1607" y="225"/>
                </a:lnTo>
                <a:lnTo>
                  <a:pt x="1608" y="225"/>
                </a:lnTo>
                <a:lnTo>
                  <a:pt x="1610" y="227"/>
                </a:lnTo>
                <a:lnTo>
                  <a:pt x="1610" y="232"/>
                </a:lnTo>
                <a:lnTo>
                  <a:pt x="1608" y="230"/>
                </a:lnTo>
                <a:lnTo>
                  <a:pt x="1607" y="230"/>
                </a:lnTo>
                <a:lnTo>
                  <a:pt x="1605" y="230"/>
                </a:lnTo>
                <a:lnTo>
                  <a:pt x="1605" y="233"/>
                </a:lnTo>
                <a:lnTo>
                  <a:pt x="1607" y="235"/>
                </a:lnTo>
                <a:lnTo>
                  <a:pt x="1605" y="237"/>
                </a:lnTo>
                <a:lnTo>
                  <a:pt x="1603" y="239"/>
                </a:lnTo>
                <a:lnTo>
                  <a:pt x="1602" y="237"/>
                </a:lnTo>
                <a:lnTo>
                  <a:pt x="1602" y="235"/>
                </a:lnTo>
                <a:lnTo>
                  <a:pt x="1602" y="232"/>
                </a:lnTo>
                <a:lnTo>
                  <a:pt x="1600" y="228"/>
                </a:lnTo>
                <a:lnTo>
                  <a:pt x="1602" y="227"/>
                </a:lnTo>
                <a:lnTo>
                  <a:pt x="1603" y="225"/>
                </a:lnTo>
                <a:lnTo>
                  <a:pt x="1600" y="227"/>
                </a:lnTo>
                <a:lnTo>
                  <a:pt x="1598" y="227"/>
                </a:lnTo>
                <a:lnTo>
                  <a:pt x="1598" y="225"/>
                </a:lnTo>
                <a:lnTo>
                  <a:pt x="1600" y="223"/>
                </a:lnTo>
                <a:lnTo>
                  <a:pt x="1597" y="223"/>
                </a:lnTo>
                <a:lnTo>
                  <a:pt x="1595" y="225"/>
                </a:lnTo>
                <a:lnTo>
                  <a:pt x="1595" y="227"/>
                </a:lnTo>
                <a:lnTo>
                  <a:pt x="1593" y="227"/>
                </a:lnTo>
                <a:lnTo>
                  <a:pt x="1591" y="228"/>
                </a:lnTo>
                <a:lnTo>
                  <a:pt x="1595" y="230"/>
                </a:lnTo>
                <a:lnTo>
                  <a:pt x="1593" y="232"/>
                </a:lnTo>
                <a:lnTo>
                  <a:pt x="1591" y="235"/>
                </a:lnTo>
                <a:lnTo>
                  <a:pt x="1588" y="233"/>
                </a:lnTo>
                <a:lnTo>
                  <a:pt x="1588" y="230"/>
                </a:lnTo>
                <a:lnTo>
                  <a:pt x="1585" y="230"/>
                </a:lnTo>
                <a:lnTo>
                  <a:pt x="1581" y="228"/>
                </a:lnTo>
                <a:lnTo>
                  <a:pt x="1581" y="225"/>
                </a:lnTo>
                <a:lnTo>
                  <a:pt x="1581" y="223"/>
                </a:lnTo>
                <a:lnTo>
                  <a:pt x="1581" y="220"/>
                </a:lnTo>
                <a:lnTo>
                  <a:pt x="1583" y="218"/>
                </a:lnTo>
                <a:lnTo>
                  <a:pt x="1586" y="218"/>
                </a:lnTo>
                <a:lnTo>
                  <a:pt x="1586" y="222"/>
                </a:lnTo>
                <a:lnTo>
                  <a:pt x="1588" y="222"/>
                </a:lnTo>
                <a:lnTo>
                  <a:pt x="1590" y="220"/>
                </a:lnTo>
                <a:lnTo>
                  <a:pt x="1591" y="222"/>
                </a:lnTo>
                <a:lnTo>
                  <a:pt x="1593" y="220"/>
                </a:lnTo>
                <a:lnTo>
                  <a:pt x="1595" y="218"/>
                </a:lnTo>
                <a:lnTo>
                  <a:pt x="1597" y="218"/>
                </a:lnTo>
                <a:lnTo>
                  <a:pt x="1593" y="216"/>
                </a:lnTo>
                <a:lnTo>
                  <a:pt x="1597" y="215"/>
                </a:lnTo>
                <a:lnTo>
                  <a:pt x="1595" y="215"/>
                </a:lnTo>
                <a:lnTo>
                  <a:pt x="1591" y="216"/>
                </a:lnTo>
                <a:lnTo>
                  <a:pt x="1590" y="215"/>
                </a:lnTo>
                <a:lnTo>
                  <a:pt x="1588" y="215"/>
                </a:lnTo>
                <a:lnTo>
                  <a:pt x="1590" y="211"/>
                </a:lnTo>
                <a:lnTo>
                  <a:pt x="1591" y="211"/>
                </a:lnTo>
                <a:lnTo>
                  <a:pt x="1593" y="210"/>
                </a:lnTo>
                <a:lnTo>
                  <a:pt x="1597" y="210"/>
                </a:lnTo>
                <a:lnTo>
                  <a:pt x="1593" y="208"/>
                </a:lnTo>
                <a:lnTo>
                  <a:pt x="1593" y="206"/>
                </a:lnTo>
                <a:lnTo>
                  <a:pt x="1590" y="206"/>
                </a:lnTo>
                <a:lnTo>
                  <a:pt x="1588" y="208"/>
                </a:lnTo>
                <a:lnTo>
                  <a:pt x="1586" y="208"/>
                </a:lnTo>
                <a:lnTo>
                  <a:pt x="1585" y="211"/>
                </a:lnTo>
                <a:lnTo>
                  <a:pt x="1583" y="211"/>
                </a:lnTo>
                <a:lnTo>
                  <a:pt x="1585" y="208"/>
                </a:lnTo>
                <a:lnTo>
                  <a:pt x="1585" y="205"/>
                </a:lnTo>
                <a:lnTo>
                  <a:pt x="1586" y="201"/>
                </a:lnTo>
                <a:lnTo>
                  <a:pt x="1586" y="199"/>
                </a:lnTo>
                <a:lnTo>
                  <a:pt x="1588" y="201"/>
                </a:lnTo>
                <a:lnTo>
                  <a:pt x="1590" y="198"/>
                </a:lnTo>
                <a:lnTo>
                  <a:pt x="1591" y="196"/>
                </a:lnTo>
                <a:lnTo>
                  <a:pt x="1595" y="199"/>
                </a:lnTo>
                <a:lnTo>
                  <a:pt x="1595" y="198"/>
                </a:lnTo>
                <a:lnTo>
                  <a:pt x="1598" y="199"/>
                </a:lnTo>
                <a:lnTo>
                  <a:pt x="1598" y="198"/>
                </a:lnTo>
                <a:lnTo>
                  <a:pt x="1597" y="196"/>
                </a:lnTo>
                <a:lnTo>
                  <a:pt x="1598" y="194"/>
                </a:lnTo>
                <a:lnTo>
                  <a:pt x="1602" y="194"/>
                </a:lnTo>
                <a:lnTo>
                  <a:pt x="1600" y="191"/>
                </a:lnTo>
                <a:lnTo>
                  <a:pt x="1598" y="189"/>
                </a:lnTo>
                <a:lnTo>
                  <a:pt x="1600" y="186"/>
                </a:lnTo>
                <a:lnTo>
                  <a:pt x="1598" y="184"/>
                </a:lnTo>
                <a:lnTo>
                  <a:pt x="1598" y="182"/>
                </a:lnTo>
                <a:lnTo>
                  <a:pt x="1600" y="182"/>
                </a:lnTo>
                <a:lnTo>
                  <a:pt x="1600" y="179"/>
                </a:lnTo>
                <a:lnTo>
                  <a:pt x="1600" y="177"/>
                </a:lnTo>
                <a:lnTo>
                  <a:pt x="1598" y="179"/>
                </a:lnTo>
                <a:lnTo>
                  <a:pt x="1598" y="176"/>
                </a:lnTo>
                <a:lnTo>
                  <a:pt x="1597" y="179"/>
                </a:lnTo>
                <a:lnTo>
                  <a:pt x="1595" y="179"/>
                </a:lnTo>
                <a:lnTo>
                  <a:pt x="1593" y="181"/>
                </a:lnTo>
                <a:lnTo>
                  <a:pt x="1593" y="179"/>
                </a:lnTo>
                <a:lnTo>
                  <a:pt x="1593" y="176"/>
                </a:lnTo>
                <a:lnTo>
                  <a:pt x="1591" y="177"/>
                </a:lnTo>
                <a:lnTo>
                  <a:pt x="1591" y="181"/>
                </a:lnTo>
                <a:lnTo>
                  <a:pt x="1590" y="179"/>
                </a:lnTo>
                <a:lnTo>
                  <a:pt x="1590" y="176"/>
                </a:lnTo>
                <a:lnTo>
                  <a:pt x="1588" y="176"/>
                </a:lnTo>
                <a:lnTo>
                  <a:pt x="1590" y="174"/>
                </a:lnTo>
                <a:lnTo>
                  <a:pt x="1590" y="172"/>
                </a:lnTo>
                <a:lnTo>
                  <a:pt x="1590" y="171"/>
                </a:lnTo>
                <a:lnTo>
                  <a:pt x="1591" y="171"/>
                </a:lnTo>
                <a:lnTo>
                  <a:pt x="1591" y="167"/>
                </a:lnTo>
                <a:lnTo>
                  <a:pt x="1591" y="164"/>
                </a:lnTo>
                <a:lnTo>
                  <a:pt x="1591" y="162"/>
                </a:lnTo>
                <a:lnTo>
                  <a:pt x="1593" y="159"/>
                </a:lnTo>
                <a:lnTo>
                  <a:pt x="1593" y="157"/>
                </a:lnTo>
                <a:lnTo>
                  <a:pt x="1595" y="155"/>
                </a:lnTo>
                <a:lnTo>
                  <a:pt x="1598" y="155"/>
                </a:lnTo>
                <a:lnTo>
                  <a:pt x="1598" y="157"/>
                </a:lnTo>
                <a:lnTo>
                  <a:pt x="1595" y="159"/>
                </a:lnTo>
                <a:lnTo>
                  <a:pt x="1595" y="162"/>
                </a:lnTo>
                <a:lnTo>
                  <a:pt x="1597" y="162"/>
                </a:lnTo>
                <a:lnTo>
                  <a:pt x="1597" y="164"/>
                </a:lnTo>
                <a:lnTo>
                  <a:pt x="1598" y="160"/>
                </a:lnTo>
                <a:lnTo>
                  <a:pt x="1600" y="159"/>
                </a:lnTo>
                <a:lnTo>
                  <a:pt x="1600" y="157"/>
                </a:lnTo>
                <a:lnTo>
                  <a:pt x="1602" y="155"/>
                </a:lnTo>
                <a:lnTo>
                  <a:pt x="1602" y="152"/>
                </a:lnTo>
                <a:lnTo>
                  <a:pt x="1602" y="150"/>
                </a:lnTo>
                <a:lnTo>
                  <a:pt x="1602" y="152"/>
                </a:lnTo>
                <a:lnTo>
                  <a:pt x="1603" y="152"/>
                </a:lnTo>
                <a:lnTo>
                  <a:pt x="1605" y="154"/>
                </a:lnTo>
                <a:lnTo>
                  <a:pt x="1607" y="155"/>
                </a:lnTo>
                <a:lnTo>
                  <a:pt x="1607" y="157"/>
                </a:lnTo>
                <a:close/>
                <a:moveTo>
                  <a:pt x="2151" y="2656"/>
                </a:moveTo>
                <a:lnTo>
                  <a:pt x="2152" y="2656"/>
                </a:lnTo>
                <a:lnTo>
                  <a:pt x="2152" y="2658"/>
                </a:lnTo>
                <a:lnTo>
                  <a:pt x="2149" y="2658"/>
                </a:lnTo>
                <a:lnTo>
                  <a:pt x="2147" y="2661"/>
                </a:lnTo>
                <a:lnTo>
                  <a:pt x="2146" y="2659"/>
                </a:lnTo>
                <a:lnTo>
                  <a:pt x="2147" y="2659"/>
                </a:lnTo>
                <a:lnTo>
                  <a:pt x="2151" y="2658"/>
                </a:lnTo>
                <a:lnTo>
                  <a:pt x="2151" y="2656"/>
                </a:lnTo>
                <a:close/>
                <a:moveTo>
                  <a:pt x="2270" y="2654"/>
                </a:moveTo>
                <a:lnTo>
                  <a:pt x="2270" y="2652"/>
                </a:lnTo>
                <a:lnTo>
                  <a:pt x="2271" y="2656"/>
                </a:lnTo>
                <a:lnTo>
                  <a:pt x="2270" y="2654"/>
                </a:lnTo>
                <a:lnTo>
                  <a:pt x="2270" y="2656"/>
                </a:lnTo>
                <a:lnTo>
                  <a:pt x="2268" y="2654"/>
                </a:lnTo>
                <a:lnTo>
                  <a:pt x="2266" y="2654"/>
                </a:lnTo>
                <a:lnTo>
                  <a:pt x="2270" y="2654"/>
                </a:lnTo>
                <a:close/>
                <a:moveTo>
                  <a:pt x="1280" y="2292"/>
                </a:moveTo>
                <a:lnTo>
                  <a:pt x="1279" y="2292"/>
                </a:lnTo>
                <a:lnTo>
                  <a:pt x="1277" y="2293"/>
                </a:lnTo>
                <a:lnTo>
                  <a:pt x="1277" y="2297"/>
                </a:lnTo>
                <a:lnTo>
                  <a:pt x="1277" y="2299"/>
                </a:lnTo>
                <a:lnTo>
                  <a:pt x="1275" y="2300"/>
                </a:lnTo>
                <a:lnTo>
                  <a:pt x="1275" y="2302"/>
                </a:lnTo>
                <a:lnTo>
                  <a:pt x="1275" y="2305"/>
                </a:lnTo>
                <a:lnTo>
                  <a:pt x="1274" y="2305"/>
                </a:lnTo>
                <a:lnTo>
                  <a:pt x="1274" y="2307"/>
                </a:lnTo>
                <a:lnTo>
                  <a:pt x="1274" y="2305"/>
                </a:lnTo>
                <a:lnTo>
                  <a:pt x="1274" y="2304"/>
                </a:lnTo>
                <a:lnTo>
                  <a:pt x="1272" y="2304"/>
                </a:lnTo>
                <a:lnTo>
                  <a:pt x="1270" y="2304"/>
                </a:lnTo>
                <a:lnTo>
                  <a:pt x="1268" y="2302"/>
                </a:lnTo>
                <a:lnTo>
                  <a:pt x="1267" y="2304"/>
                </a:lnTo>
                <a:lnTo>
                  <a:pt x="1267" y="2302"/>
                </a:lnTo>
                <a:lnTo>
                  <a:pt x="1267" y="2300"/>
                </a:lnTo>
                <a:lnTo>
                  <a:pt x="1267" y="2302"/>
                </a:lnTo>
                <a:lnTo>
                  <a:pt x="1265" y="2302"/>
                </a:lnTo>
                <a:lnTo>
                  <a:pt x="1265" y="2304"/>
                </a:lnTo>
                <a:lnTo>
                  <a:pt x="1263" y="2302"/>
                </a:lnTo>
                <a:lnTo>
                  <a:pt x="1262" y="2304"/>
                </a:lnTo>
                <a:lnTo>
                  <a:pt x="1262" y="2302"/>
                </a:lnTo>
                <a:lnTo>
                  <a:pt x="1260" y="2300"/>
                </a:lnTo>
                <a:lnTo>
                  <a:pt x="1262" y="2299"/>
                </a:lnTo>
                <a:lnTo>
                  <a:pt x="1263" y="2300"/>
                </a:lnTo>
                <a:lnTo>
                  <a:pt x="1265" y="2299"/>
                </a:lnTo>
                <a:lnTo>
                  <a:pt x="1267" y="2299"/>
                </a:lnTo>
                <a:lnTo>
                  <a:pt x="1270" y="2295"/>
                </a:lnTo>
                <a:lnTo>
                  <a:pt x="1274" y="2293"/>
                </a:lnTo>
                <a:lnTo>
                  <a:pt x="1275" y="2293"/>
                </a:lnTo>
                <a:lnTo>
                  <a:pt x="1277" y="2292"/>
                </a:lnTo>
                <a:lnTo>
                  <a:pt x="1279" y="2292"/>
                </a:lnTo>
                <a:lnTo>
                  <a:pt x="1280" y="2290"/>
                </a:lnTo>
                <a:lnTo>
                  <a:pt x="1280" y="2292"/>
                </a:lnTo>
                <a:close/>
                <a:moveTo>
                  <a:pt x="1263" y="2304"/>
                </a:moveTo>
                <a:lnTo>
                  <a:pt x="1265" y="2304"/>
                </a:lnTo>
                <a:lnTo>
                  <a:pt x="1263" y="2305"/>
                </a:lnTo>
                <a:lnTo>
                  <a:pt x="1263" y="2307"/>
                </a:lnTo>
                <a:lnTo>
                  <a:pt x="1262" y="2305"/>
                </a:lnTo>
                <a:lnTo>
                  <a:pt x="1262" y="2304"/>
                </a:lnTo>
                <a:lnTo>
                  <a:pt x="1263" y="2304"/>
                </a:lnTo>
                <a:close/>
                <a:moveTo>
                  <a:pt x="1280" y="2295"/>
                </a:moveTo>
                <a:lnTo>
                  <a:pt x="1279" y="2297"/>
                </a:lnTo>
                <a:lnTo>
                  <a:pt x="1279" y="2293"/>
                </a:lnTo>
                <a:lnTo>
                  <a:pt x="1280" y="2295"/>
                </a:lnTo>
                <a:close/>
                <a:moveTo>
                  <a:pt x="1265" y="2304"/>
                </a:moveTo>
                <a:lnTo>
                  <a:pt x="1267" y="2304"/>
                </a:lnTo>
                <a:lnTo>
                  <a:pt x="1267" y="2305"/>
                </a:lnTo>
                <a:lnTo>
                  <a:pt x="1265" y="2305"/>
                </a:lnTo>
                <a:lnTo>
                  <a:pt x="1265" y="2304"/>
                </a:lnTo>
                <a:close/>
                <a:moveTo>
                  <a:pt x="1260" y="2302"/>
                </a:moveTo>
                <a:lnTo>
                  <a:pt x="1262" y="2304"/>
                </a:lnTo>
                <a:lnTo>
                  <a:pt x="1260" y="2304"/>
                </a:lnTo>
                <a:lnTo>
                  <a:pt x="1260" y="2302"/>
                </a:lnTo>
                <a:close/>
                <a:moveTo>
                  <a:pt x="1277" y="1179"/>
                </a:moveTo>
                <a:lnTo>
                  <a:pt x="1279" y="1181"/>
                </a:lnTo>
                <a:lnTo>
                  <a:pt x="1280" y="1184"/>
                </a:lnTo>
                <a:lnTo>
                  <a:pt x="1280" y="1186"/>
                </a:lnTo>
                <a:lnTo>
                  <a:pt x="1282" y="1186"/>
                </a:lnTo>
                <a:lnTo>
                  <a:pt x="1282" y="1184"/>
                </a:lnTo>
                <a:lnTo>
                  <a:pt x="1284" y="1184"/>
                </a:lnTo>
                <a:lnTo>
                  <a:pt x="1280" y="1183"/>
                </a:lnTo>
                <a:lnTo>
                  <a:pt x="1280" y="1181"/>
                </a:lnTo>
                <a:lnTo>
                  <a:pt x="1280" y="1179"/>
                </a:lnTo>
                <a:lnTo>
                  <a:pt x="1282" y="1178"/>
                </a:lnTo>
                <a:lnTo>
                  <a:pt x="1284" y="1181"/>
                </a:lnTo>
                <a:lnTo>
                  <a:pt x="1284" y="1183"/>
                </a:lnTo>
                <a:lnTo>
                  <a:pt x="1285" y="1183"/>
                </a:lnTo>
                <a:lnTo>
                  <a:pt x="1285" y="1179"/>
                </a:lnTo>
                <a:lnTo>
                  <a:pt x="1285" y="1181"/>
                </a:lnTo>
                <a:lnTo>
                  <a:pt x="1285" y="1179"/>
                </a:lnTo>
                <a:lnTo>
                  <a:pt x="1287" y="1179"/>
                </a:lnTo>
                <a:lnTo>
                  <a:pt x="1287" y="1181"/>
                </a:lnTo>
                <a:lnTo>
                  <a:pt x="1289" y="1184"/>
                </a:lnTo>
                <a:lnTo>
                  <a:pt x="1287" y="1186"/>
                </a:lnTo>
                <a:lnTo>
                  <a:pt x="1287" y="1188"/>
                </a:lnTo>
                <a:lnTo>
                  <a:pt x="1285" y="1188"/>
                </a:lnTo>
                <a:lnTo>
                  <a:pt x="1287" y="1189"/>
                </a:lnTo>
                <a:lnTo>
                  <a:pt x="1287" y="1188"/>
                </a:lnTo>
                <a:lnTo>
                  <a:pt x="1287" y="1186"/>
                </a:lnTo>
                <a:lnTo>
                  <a:pt x="1289" y="1184"/>
                </a:lnTo>
                <a:lnTo>
                  <a:pt x="1289" y="1183"/>
                </a:lnTo>
                <a:lnTo>
                  <a:pt x="1291" y="1184"/>
                </a:lnTo>
                <a:lnTo>
                  <a:pt x="1292" y="1186"/>
                </a:lnTo>
                <a:lnTo>
                  <a:pt x="1291" y="1186"/>
                </a:lnTo>
                <a:lnTo>
                  <a:pt x="1291" y="1188"/>
                </a:lnTo>
                <a:lnTo>
                  <a:pt x="1291" y="1189"/>
                </a:lnTo>
                <a:lnTo>
                  <a:pt x="1289" y="1191"/>
                </a:lnTo>
                <a:lnTo>
                  <a:pt x="1291" y="1191"/>
                </a:lnTo>
                <a:lnTo>
                  <a:pt x="1291" y="1189"/>
                </a:lnTo>
                <a:lnTo>
                  <a:pt x="1292" y="1189"/>
                </a:lnTo>
                <a:lnTo>
                  <a:pt x="1292" y="1191"/>
                </a:lnTo>
                <a:lnTo>
                  <a:pt x="1292" y="1193"/>
                </a:lnTo>
                <a:lnTo>
                  <a:pt x="1292" y="1195"/>
                </a:lnTo>
                <a:lnTo>
                  <a:pt x="1294" y="1195"/>
                </a:lnTo>
                <a:lnTo>
                  <a:pt x="1292" y="1195"/>
                </a:lnTo>
                <a:lnTo>
                  <a:pt x="1291" y="1196"/>
                </a:lnTo>
                <a:lnTo>
                  <a:pt x="1291" y="1198"/>
                </a:lnTo>
                <a:lnTo>
                  <a:pt x="1289" y="1198"/>
                </a:lnTo>
                <a:lnTo>
                  <a:pt x="1291" y="1200"/>
                </a:lnTo>
                <a:lnTo>
                  <a:pt x="1289" y="1201"/>
                </a:lnTo>
                <a:lnTo>
                  <a:pt x="1291" y="1201"/>
                </a:lnTo>
                <a:lnTo>
                  <a:pt x="1292" y="1203"/>
                </a:lnTo>
                <a:lnTo>
                  <a:pt x="1291" y="1205"/>
                </a:lnTo>
                <a:lnTo>
                  <a:pt x="1289" y="1205"/>
                </a:lnTo>
                <a:lnTo>
                  <a:pt x="1291" y="1206"/>
                </a:lnTo>
                <a:lnTo>
                  <a:pt x="1294" y="1206"/>
                </a:lnTo>
                <a:lnTo>
                  <a:pt x="1292" y="1208"/>
                </a:lnTo>
                <a:lnTo>
                  <a:pt x="1291" y="1208"/>
                </a:lnTo>
                <a:lnTo>
                  <a:pt x="1289" y="1210"/>
                </a:lnTo>
                <a:lnTo>
                  <a:pt x="1285" y="1210"/>
                </a:lnTo>
                <a:lnTo>
                  <a:pt x="1284" y="1212"/>
                </a:lnTo>
                <a:lnTo>
                  <a:pt x="1282" y="1210"/>
                </a:lnTo>
                <a:lnTo>
                  <a:pt x="1280" y="1212"/>
                </a:lnTo>
                <a:lnTo>
                  <a:pt x="1280" y="1210"/>
                </a:lnTo>
                <a:lnTo>
                  <a:pt x="1280" y="1208"/>
                </a:lnTo>
                <a:lnTo>
                  <a:pt x="1279" y="1208"/>
                </a:lnTo>
                <a:lnTo>
                  <a:pt x="1279" y="1210"/>
                </a:lnTo>
                <a:lnTo>
                  <a:pt x="1277" y="1210"/>
                </a:lnTo>
                <a:lnTo>
                  <a:pt x="1277" y="1213"/>
                </a:lnTo>
                <a:lnTo>
                  <a:pt x="1275" y="1213"/>
                </a:lnTo>
                <a:lnTo>
                  <a:pt x="1275" y="1215"/>
                </a:lnTo>
                <a:lnTo>
                  <a:pt x="1274" y="1217"/>
                </a:lnTo>
                <a:lnTo>
                  <a:pt x="1272" y="1217"/>
                </a:lnTo>
                <a:lnTo>
                  <a:pt x="1274" y="1218"/>
                </a:lnTo>
                <a:lnTo>
                  <a:pt x="1272" y="1220"/>
                </a:lnTo>
                <a:lnTo>
                  <a:pt x="1274" y="1220"/>
                </a:lnTo>
                <a:lnTo>
                  <a:pt x="1274" y="1222"/>
                </a:lnTo>
                <a:lnTo>
                  <a:pt x="1272" y="1222"/>
                </a:lnTo>
                <a:lnTo>
                  <a:pt x="1270" y="1224"/>
                </a:lnTo>
                <a:lnTo>
                  <a:pt x="1268" y="1222"/>
                </a:lnTo>
                <a:lnTo>
                  <a:pt x="1270" y="1222"/>
                </a:lnTo>
                <a:lnTo>
                  <a:pt x="1272" y="1220"/>
                </a:lnTo>
                <a:lnTo>
                  <a:pt x="1268" y="1220"/>
                </a:lnTo>
                <a:lnTo>
                  <a:pt x="1270" y="1220"/>
                </a:lnTo>
                <a:lnTo>
                  <a:pt x="1270" y="1218"/>
                </a:lnTo>
                <a:lnTo>
                  <a:pt x="1272" y="1218"/>
                </a:lnTo>
                <a:lnTo>
                  <a:pt x="1272" y="1217"/>
                </a:lnTo>
                <a:lnTo>
                  <a:pt x="1268" y="1218"/>
                </a:lnTo>
                <a:lnTo>
                  <a:pt x="1267" y="1218"/>
                </a:lnTo>
                <a:lnTo>
                  <a:pt x="1265" y="1220"/>
                </a:lnTo>
                <a:lnTo>
                  <a:pt x="1263" y="1220"/>
                </a:lnTo>
                <a:lnTo>
                  <a:pt x="1262" y="1220"/>
                </a:lnTo>
                <a:lnTo>
                  <a:pt x="1263" y="1220"/>
                </a:lnTo>
                <a:lnTo>
                  <a:pt x="1262" y="1220"/>
                </a:lnTo>
                <a:lnTo>
                  <a:pt x="1262" y="1217"/>
                </a:lnTo>
                <a:lnTo>
                  <a:pt x="1263" y="1215"/>
                </a:lnTo>
                <a:lnTo>
                  <a:pt x="1265" y="1217"/>
                </a:lnTo>
                <a:lnTo>
                  <a:pt x="1265" y="1215"/>
                </a:lnTo>
                <a:lnTo>
                  <a:pt x="1267" y="1213"/>
                </a:lnTo>
                <a:lnTo>
                  <a:pt x="1268" y="1213"/>
                </a:lnTo>
                <a:lnTo>
                  <a:pt x="1270" y="1213"/>
                </a:lnTo>
                <a:lnTo>
                  <a:pt x="1268" y="1212"/>
                </a:lnTo>
                <a:lnTo>
                  <a:pt x="1270" y="1212"/>
                </a:lnTo>
                <a:lnTo>
                  <a:pt x="1270" y="1210"/>
                </a:lnTo>
                <a:lnTo>
                  <a:pt x="1272" y="1210"/>
                </a:lnTo>
                <a:lnTo>
                  <a:pt x="1272" y="1208"/>
                </a:lnTo>
                <a:lnTo>
                  <a:pt x="1270" y="1210"/>
                </a:lnTo>
                <a:lnTo>
                  <a:pt x="1268" y="1210"/>
                </a:lnTo>
                <a:lnTo>
                  <a:pt x="1265" y="1210"/>
                </a:lnTo>
                <a:lnTo>
                  <a:pt x="1263" y="1210"/>
                </a:lnTo>
                <a:lnTo>
                  <a:pt x="1265" y="1208"/>
                </a:lnTo>
                <a:lnTo>
                  <a:pt x="1263" y="1208"/>
                </a:lnTo>
                <a:lnTo>
                  <a:pt x="1263" y="1206"/>
                </a:lnTo>
                <a:lnTo>
                  <a:pt x="1267" y="1206"/>
                </a:lnTo>
                <a:lnTo>
                  <a:pt x="1268" y="1206"/>
                </a:lnTo>
                <a:lnTo>
                  <a:pt x="1270" y="1206"/>
                </a:lnTo>
                <a:lnTo>
                  <a:pt x="1270" y="1205"/>
                </a:lnTo>
                <a:lnTo>
                  <a:pt x="1270" y="1206"/>
                </a:lnTo>
                <a:lnTo>
                  <a:pt x="1268" y="1205"/>
                </a:lnTo>
                <a:lnTo>
                  <a:pt x="1272" y="1203"/>
                </a:lnTo>
                <a:lnTo>
                  <a:pt x="1268" y="1203"/>
                </a:lnTo>
                <a:lnTo>
                  <a:pt x="1268" y="1205"/>
                </a:lnTo>
                <a:lnTo>
                  <a:pt x="1267" y="1203"/>
                </a:lnTo>
                <a:lnTo>
                  <a:pt x="1268" y="1203"/>
                </a:lnTo>
                <a:lnTo>
                  <a:pt x="1265" y="1203"/>
                </a:lnTo>
                <a:lnTo>
                  <a:pt x="1267" y="1201"/>
                </a:lnTo>
                <a:lnTo>
                  <a:pt x="1265" y="1203"/>
                </a:lnTo>
                <a:lnTo>
                  <a:pt x="1263" y="1201"/>
                </a:lnTo>
                <a:lnTo>
                  <a:pt x="1265" y="1200"/>
                </a:lnTo>
                <a:lnTo>
                  <a:pt x="1267" y="1200"/>
                </a:lnTo>
                <a:lnTo>
                  <a:pt x="1270" y="1201"/>
                </a:lnTo>
                <a:lnTo>
                  <a:pt x="1268" y="1200"/>
                </a:lnTo>
                <a:lnTo>
                  <a:pt x="1270" y="1198"/>
                </a:lnTo>
                <a:lnTo>
                  <a:pt x="1267" y="1200"/>
                </a:lnTo>
                <a:lnTo>
                  <a:pt x="1267" y="1198"/>
                </a:lnTo>
                <a:lnTo>
                  <a:pt x="1270" y="1198"/>
                </a:lnTo>
                <a:lnTo>
                  <a:pt x="1268" y="1198"/>
                </a:lnTo>
                <a:lnTo>
                  <a:pt x="1267" y="1196"/>
                </a:lnTo>
                <a:lnTo>
                  <a:pt x="1265" y="1198"/>
                </a:lnTo>
                <a:lnTo>
                  <a:pt x="1263" y="1198"/>
                </a:lnTo>
                <a:lnTo>
                  <a:pt x="1262" y="1196"/>
                </a:lnTo>
                <a:lnTo>
                  <a:pt x="1263" y="1196"/>
                </a:lnTo>
                <a:lnTo>
                  <a:pt x="1263" y="1195"/>
                </a:lnTo>
                <a:lnTo>
                  <a:pt x="1265" y="1195"/>
                </a:lnTo>
                <a:lnTo>
                  <a:pt x="1267" y="1195"/>
                </a:lnTo>
                <a:lnTo>
                  <a:pt x="1268" y="1196"/>
                </a:lnTo>
                <a:lnTo>
                  <a:pt x="1268" y="1193"/>
                </a:lnTo>
                <a:lnTo>
                  <a:pt x="1270" y="1193"/>
                </a:lnTo>
                <a:lnTo>
                  <a:pt x="1272" y="1193"/>
                </a:lnTo>
                <a:lnTo>
                  <a:pt x="1274" y="1195"/>
                </a:lnTo>
                <a:lnTo>
                  <a:pt x="1275" y="1196"/>
                </a:lnTo>
                <a:lnTo>
                  <a:pt x="1277" y="1195"/>
                </a:lnTo>
                <a:lnTo>
                  <a:pt x="1274" y="1195"/>
                </a:lnTo>
                <a:lnTo>
                  <a:pt x="1274" y="1193"/>
                </a:lnTo>
                <a:lnTo>
                  <a:pt x="1277" y="1191"/>
                </a:lnTo>
                <a:lnTo>
                  <a:pt x="1279" y="1191"/>
                </a:lnTo>
                <a:lnTo>
                  <a:pt x="1277" y="1191"/>
                </a:lnTo>
                <a:lnTo>
                  <a:pt x="1275" y="1191"/>
                </a:lnTo>
                <a:lnTo>
                  <a:pt x="1272" y="1191"/>
                </a:lnTo>
                <a:lnTo>
                  <a:pt x="1270" y="1189"/>
                </a:lnTo>
                <a:lnTo>
                  <a:pt x="1270" y="1188"/>
                </a:lnTo>
                <a:lnTo>
                  <a:pt x="1270" y="1186"/>
                </a:lnTo>
                <a:lnTo>
                  <a:pt x="1272" y="1188"/>
                </a:lnTo>
                <a:lnTo>
                  <a:pt x="1274" y="1189"/>
                </a:lnTo>
                <a:lnTo>
                  <a:pt x="1274" y="1188"/>
                </a:lnTo>
                <a:lnTo>
                  <a:pt x="1275" y="1188"/>
                </a:lnTo>
                <a:lnTo>
                  <a:pt x="1274" y="1186"/>
                </a:lnTo>
                <a:lnTo>
                  <a:pt x="1274" y="1184"/>
                </a:lnTo>
                <a:lnTo>
                  <a:pt x="1272" y="1184"/>
                </a:lnTo>
                <a:lnTo>
                  <a:pt x="1275" y="1184"/>
                </a:lnTo>
                <a:lnTo>
                  <a:pt x="1277" y="1184"/>
                </a:lnTo>
                <a:lnTo>
                  <a:pt x="1277" y="1188"/>
                </a:lnTo>
                <a:lnTo>
                  <a:pt x="1279" y="1186"/>
                </a:lnTo>
                <a:lnTo>
                  <a:pt x="1280" y="1189"/>
                </a:lnTo>
                <a:lnTo>
                  <a:pt x="1282" y="1188"/>
                </a:lnTo>
                <a:lnTo>
                  <a:pt x="1280" y="1186"/>
                </a:lnTo>
                <a:lnTo>
                  <a:pt x="1279" y="1184"/>
                </a:lnTo>
                <a:lnTo>
                  <a:pt x="1277" y="1183"/>
                </a:lnTo>
                <a:lnTo>
                  <a:pt x="1275" y="1181"/>
                </a:lnTo>
                <a:lnTo>
                  <a:pt x="1277" y="1179"/>
                </a:lnTo>
                <a:close/>
                <a:moveTo>
                  <a:pt x="2152" y="2651"/>
                </a:moveTo>
                <a:lnTo>
                  <a:pt x="2154" y="2652"/>
                </a:lnTo>
                <a:lnTo>
                  <a:pt x="2156" y="2651"/>
                </a:lnTo>
                <a:lnTo>
                  <a:pt x="2156" y="2652"/>
                </a:lnTo>
                <a:lnTo>
                  <a:pt x="2154" y="2652"/>
                </a:lnTo>
                <a:lnTo>
                  <a:pt x="2154" y="2656"/>
                </a:lnTo>
                <a:lnTo>
                  <a:pt x="2152" y="2656"/>
                </a:lnTo>
                <a:lnTo>
                  <a:pt x="2151" y="2656"/>
                </a:lnTo>
                <a:lnTo>
                  <a:pt x="2152" y="2656"/>
                </a:lnTo>
                <a:lnTo>
                  <a:pt x="2151" y="2656"/>
                </a:lnTo>
                <a:lnTo>
                  <a:pt x="2151" y="2654"/>
                </a:lnTo>
                <a:lnTo>
                  <a:pt x="2151" y="2658"/>
                </a:lnTo>
                <a:lnTo>
                  <a:pt x="2149" y="2658"/>
                </a:lnTo>
                <a:lnTo>
                  <a:pt x="2147" y="2658"/>
                </a:lnTo>
                <a:lnTo>
                  <a:pt x="2149" y="2658"/>
                </a:lnTo>
                <a:lnTo>
                  <a:pt x="2149" y="2656"/>
                </a:lnTo>
                <a:lnTo>
                  <a:pt x="2149" y="2658"/>
                </a:lnTo>
                <a:lnTo>
                  <a:pt x="2147" y="2659"/>
                </a:lnTo>
                <a:lnTo>
                  <a:pt x="2147" y="2658"/>
                </a:lnTo>
                <a:lnTo>
                  <a:pt x="2149" y="2656"/>
                </a:lnTo>
                <a:lnTo>
                  <a:pt x="2149" y="2654"/>
                </a:lnTo>
                <a:lnTo>
                  <a:pt x="2151" y="2654"/>
                </a:lnTo>
                <a:lnTo>
                  <a:pt x="2151" y="2652"/>
                </a:lnTo>
                <a:lnTo>
                  <a:pt x="2152" y="2651"/>
                </a:lnTo>
                <a:close/>
                <a:moveTo>
                  <a:pt x="2324" y="2589"/>
                </a:moveTo>
                <a:lnTo>
                  <a:pt x="2324" y="2593"/>
                </a:lnTo>
                <a:lnTo>
                  <a:pt x="2322" y="2595"/>
                </a:lnTo>
                <a:lnTo>
                  <a:pt x="2322" y="2596"/>
                </a:lnTo>
                <a:lnTo>
                  <a:pt x="2321" y="2598"/>
                </a:lnTo>
                <a:lnTo>
                  <a:pt x="2321" y="2596"/>
                </a:lnTo>
                <a:lnTo>
                  <a:pt x="2321" y="2595"/>
                </a:lnTo>
                <a:lnTo>
                  <a:pt x="2322" y="2596"/>
                </a:lnTo>
                <a:lnTo>
                  <a:pt x="2322" y="2595"/>
                </a:lnTo>
                <a:lnTo>
                  <a:pt x="2324" y="2593"/>
                </a:lnTo>
                <a:lnTo>
                  <a:pt x="2322" y="2593"/>
                </a:lnTo>
                <a:lnTo>
                  <a:pt x="2324" y="2589"/>
                </a:lnTo>
                <a:close/>
                <a:moveTo>
                  <a:pt x="2049" y="2763"/>
                </a:moveTo>
                <a:lnTo>
                  <a:pt x="2047" y="2765"/>
                </a:lnTo>
                <a:lnTo>
                  <a:pt x="2047" y="2763"/>
                </a:lnTo>
                <a:lnTo>
                  <a:pt x="2047" y="2765"/>
                </a:lnTo>
                <a:lnTo>
                  <a:pt x="2049" y="2763"/>
                </a:lnTo>
                <a:lnTo>
                  <a:pt x="2047" y="2761"/>
                </a:lnTo>
                <a:lnTo>
                  <a:pt x="2049" y="2763"/>
                </a:lnTo>
                <a:close/>
                <a:moveTo>
                  <a:pt x="2159" y="2646"/>
                </a:moveTo>
                <a:lnTo>
                  <a:pt x="2159" y="2647"/>
                </a:lnTo>
                <a:lnTo>
                  <a:pt x="2158" y="2649"/>
                </a:lnTo>
                <a:lnTo>
                  <a:pt x="2158" y="2651"/>
                </a:lnTo>
                <a:lnTo>
                  <a:pt x="2156" y="2651"/>
                </a:lnTo>
                <a:lnTo>
                  <a:pt x="2158" y="2647"/>
                </a:lnTo>
                <a:lnTo>
                  <a:pt x="2158" y="2646"/>
                </a:lnTo>
                <a:lnTo>
                  <a:pt x="2159" y="2646"/>
                </a:lnTo>
                <a:close/>
                <a:moveTo>
                  <a:pt x="2147" y="2656"/>
                </a:moveTo>
                <a:lnTo>
                  <a:pt x="2149" y="2656"/>
                </a:lnTo>
                <a:lnTo>
                  <a:pt x="2147" y="2656"/>
                </a:lnTo>
                <a:lnTo>
                  <a:pt x="2149" y="2656"/>
                </a:lnTo>
                <a:lnTo>
                  <a:pt x="2147" y="2658"/>
                </a:lnTo>
                <a:lnTo>
                  <a:pt x="2146" y="2658"/>
                </a:lnTo>
                <a:lnTo>
                  <a:pt x="2147" y="2656"/>
                </a:lnTo>
                <a:close/>
                <a:moveTo>
                  <a:pt x="2047" y="2765"/>
                </a:moveTo>
                <a:lnTo>
                  <a:pt x="2049" y="2763"/>
                </a:lnTo>
                <a:lnTo>
                  <a:pt x="2050" y="2766"/>
                </a:lnTo>
                <a:lnTo>
                  <a:pt x="2047" y="2766"/>
                </a:lnTo>
                <a:lnTo>
                  <a:pt x="2047" y="2765"/>
                </a:lnTo>
                <a:close/>
                <a:moveTo>
                  <a:pt x="2151" y="2654"/>
                </a:moveTo>
                <a:lnTo>
                  <a:pt x="2149" y="2656"/>
                </a:lnTo>
                <a:lnTo>
                  <a:pt x="2147" y="2656"/>
                </a:lnTo>
                <a:lnTo>
                  <a:pt x="2149" y="2654"/>
                </a:lnTo>
                <a:lnTo>
                  <a:pt x="2147" y="2656"/>
                </a:lnTo>
                <a:lnTo>
                  <a:pt x="2147" y="2654"/>
                </a:lnTo>
                <a:lnTo>
                  <a:pt x="2149" y="2654"/>
                </a:lnTo>
                <a:lnTo>
                  <a:pt x="2151" y="2652"/>
                </a:lnTo>
                <a:lnTo>
                  <a:pt x="2151" y="2654"/>
                </a:lnTo>
                <a:close/>
                <a:moveTo>
                  <a:pt x="2050" y="2780"/>
                </a:moveTo>
                <a:lnTo>
                  <a:pt x="2052" y="2778"/>
                </a:lnTo>
                <a:lnTo>
                  <a:pt x="2052" y="2780"/>
                </a:lnTo>
                <a:lnTo>
                  <a:pt x="2050" y="2782"/>
                </a:lnTo>
                <a:lnTo>
                  <a:pt x="2050" y="2780"/>
                </a:lnTo>
                <a:close/>
                <a:moveTo>
                  <a:pt x="2146" y="2654"/>
                </a:moveTo>
                <a:lnTo>
                  <a:pt x="2147" y="2654"/>
                </a:lnTo>
                <a:lnTo>
                  <a:pt x="2146" y="2656"/>
                </a:lnTo>
                <a:lnTo>
                  <a:pt x="2144" y="2656"/>
                </a:lnTo>
                <a:lnTo>
                  <a:pt x="2146" y="2654"/>
                </a:lnTo>
                <a:close/>
                <a:moveTo>
                  <a:pt x="2146" y="2658"/>
                </a:moveTo>
                <a:lnTo>
                  <a:pt x="2147" y="2658"/>
                </a:lnTo>
                <a:lnTo>
                  <a:pt x="2146" y="2659"/>
                </a:lnTo>
                <a:lnTo>
                  <a:pt x="2146" y="2658"/>
                </a:lnTo>
                <a:close/>
                <a:moveTo>
                  <a:pt x="2149" y="2658"/>
                </a:moveTo>
                <a:lnTo>
                  <a:pt x="2147" y="2659"/>
                </a:lnTo>
                <a:lnTo>
                  <a:pt x="2147" y="2658"/>
                </a:lnTo>
                <a:lnTo>
                  <a:pt x="2149" y="2658"/>
                </a:lnTo>
                <a:close/>
                <a:moveTo>
                  <a:pt x="2271" y="2658"/>
                </a:moveTo>
                <a:lnTo>
                  <a:pt x="2273" y="2656"/>
                </a:lnTo>
                <a:lnTo>
                  <a:pt x="2273" y="2659"/>
                </a:lnTo>
                <a:lnTo>
                  <a:pt x="2271" y="2658"/>
                </a:lnTo>
                <a:close/>
                <a:moveTo>
                  <a:pt x="2237" y="2651"/>
                </a:moveTo>
                <a:lnTo>
                  <a:pt x="2239" y="2652"/>
                </a:lnTo>
                <a:lnTo>
                  <a:pt x="2237" y="2652"/>
                </a:lnTo>
                <a:lnTo>
                  <a:pt x="2237" y="2651"/>
                </a:lnTo>
                <a:close/>
                <a:moveTo>
                  <a:pt x="2146" y="2656"/>
                </a:moveTo>
                <a:lnTo>
                  <a:pt x="2147" y="2654"/>
                </a:lnTo>
                <a:lnTo>
                  <a:pt x="2147" y="2656"/>
                </a:lnTo>
                <a:lnTo>
                  <a:pt x="2146" y="2656"/>
                </a:lnTo>
                <a:close/>
                <a:moveTo>
                  <a:pt x="2045" y="2763"/>
                </a:moveTo>
                <a:lnTo>
                  <a:pt x="2047" y="2763"/>
                </a:lnTo>
                <a:lnTo>
                  <a:pt x="2045" y="2765"/>
                </a:lnTo>
                <a:lnTo>
                  <a:pt x="2045" y="2763"/>
                </a:lnTo>
                <a:close/>
                <a:moveTo>
                  <a:pt x="2146" y="2659"/>
                </a:moveTo>
                <a:lnTo>
                  <a:pt x="2147" y="2659"/>
                </a:lnTo>
                <a:lnTo>
                  <a:pt x="2146" y="2659"/>
                </a:lnTo>
                <a:close/>
                <a:moveTo>
                  <a:pt x="2273" y="2663"/>
                </a:moveTo>
                <a:lnTo>
                  <a:pt x="2273" y="2664"/>
                </a:lnTo>
                <a:lnTo>
                  <a:pt x="2273" y="2663"/>
                </a:lnTo>
                <a:close/>
                <a:moveTo>
                  <a:pt x="1721" y="1870"/>
                </a:moveTo>
                <a:lnTo>
                  <a:pt x="1719" y="1870"/>
                </a:lnTo>
                <a:lnTo>
                  <a:pt x="1716" y="1870"/>
                </a:lnTo>
                <a:lnTo>
                  <a:pt x="1714" y="1870"/>
                </a:lnTo>
                <a:lnTo>
                  <a:pt x="1712" y="1872"/>
                </a:lnTo>
                <a:lnTo>
                  <a:pt x="1710" y="1872"/>
                </a:lnTo>
                <a:lnTo>
                  <a:pt x="1707" y="1873"/>
                </a:lnTo>
                <a:lnTo>
                  <a:pt x="1705" y="1873"/>
                </a:lnTo>
                <a:lnTo>
                  <a:pt x="1704" y="1875"/>
                </a:lnTo>
                <a:lnTo>
                  <a:pt x="1702" y="1875"/>
                </a:lnTo>
                <a:lnTo>
                  <a:pt x="1700" y="1877"/>
                </a:lnTo>
                <a:lnTo>
                  <a:pt x="1699" y="1878"/>
                </a:lnTo>
                <a:lnTo>
                  <a:pt x="1697" y="1880"/>
                </a:lnTo>
                <a:lnTo>
                  <a:pt x="1697" y="1884"/>
                </a:lnTo>
                <a:lnTo>
                  <a:pt x="1695" y="1885"/>
                </a:lnTo>
                <a:lnTo>
                  <a:pt x="1695" y="1887"/>
                </a:lnTo>
                <a:lnTo>
                  <a:pt x="1695" y="1889"/>
                </a:lnTo>
                <a:lnTo>
                  <a:pt x="1697" y="1890"/>
                </a:lnTo>
                <a:lnTo>
                  <a:pt x="1697" y="1892"/>
                </a:lnTo>
                <a:lnTo>
                  <a:pt x="1700" y="1892"/>
                </a:lnTo>
                <a:lnTo>
                  <a:pt x="1702" y="1894"/>
                </a:lnTo>
                <a:lnTo>
                  <a:pt x="1704" y="1895"/>
                </a:lnTo>
                <a:lnTo>
                  <a:pt x="1705" y="1895"/>
                </a:lnTo>
                <a:lnTo>
                  <a:pt x="1705" y="1897"/>
                </a:lnTo>
                <a:lnTo>
                  <a:pt x="1707" y="1899"/>
                </a:lnTo>
                <a:lnTo>
                  <a:pt x="1709" y="1901"/>
                </a:lnTo>
                <a:lnTo>
                  <a:pt x="1709" y="1904"/>
                </a:lnTo>
                <a:lnTo>
                  <a:pt x="1710" y="1906"/>
                </a:lnTo>
                <a:lnTo>
                  <a:pt x="1710" y="1907"/>
                </a:lnTo>
                <a:lnTo>
                  <a:pt x="1712" y="1911"/>
                </a:lnTo>
                <a:lnTo>
                  <a:pt x="1712" y="1912"/>
                </a:lnTo>
                <a:lnTo>
                  <a:pt x="1712" y="1914"/>
                </a:lnTo>
                <a:lnTo>
                  <a:pt x="1714" y="1916"/>
                </a:lnTo>
                <a:lnTo>
                  <a:pt x="1716" y="1916"/>
                </a:lnTo>
                <a:lnTo>
                  <a:pt x="1716" y="1914"/>
                </a:lnTo>
                <a:lnTo>
                  <a:pt x="1717" y="1914"/>
                </a:lnTo>
                <a:lnTo>
                  <a:pt x="1719" y="1916"/>
                </a:lnTo>
                <a:lnTo>
                  <a:pt x="1721" y="1916"/>
                </a:lnTo>
                <a:lnTo>
                  <a:pt x="1719" y="1918"/>
                </a:lnTo>
                <a:lnTo>
                  <a:pt x="1721" y="1918"/>
                </a:lnTo>
                <a:lnTo>
                  <a:pt x="1721" y="1919"/>
                </a:lnTo>
                <a:lnTo>
                  <a:pt x="1721" y="1921"/>
                </a:lnTo>
                <a:lnTo>
                  <a:pt x="1722" y="1923"/>
                </a:lnTo>
                <a:lnTo>
                  <a:pt x="1724" y="1924"/>
                </a:lnTo>
                <a:lnTo>
                  <a:pt x="1724" y="1926"/>
                </a:lnTo>
                <a:lnTo>
                  <a:pt x="1726" y="1928"/>
                </a:lnTo>
                <a:lnTo>
                  <a:pt x="1726" y="1929"/>
                </a:lnTo>
                <a:lnTo>
                  <a:pt x="1727" y="1931"/>
                </a:lnTo>
                <a:lnTo>
                  <a:pt x="1729" y="1933"/>
                </a:lnTo>
                <a:lnTo>
                  <a:pt x="1731" y="1933"/>
                </a:lnTo>
                <a:lnTo>
                  <a:pt x="1731" y="1935"/>
                </a:lnTo>
                <a:lnTo>
                  <a:pt x="1733" y="1936"/>
                </a:lnTo>
                <a:lnTo>
                  <a:pt x="1731" y="1938"/>
                </a:lnTo>
                <a:lnTo>
                  <a:pt x="1733" y="1940"/>
                </a:lnTo>
                <a:lnTo>
                  <a:pt x="1734" y="1941"/>
                </a:lnTo>
                <a:lnTo>
                  <a:pt x="1734" y="1938"/>
                </a:lnTo>
                <a:lnTo>
                  <a:pt x="1736" y="1935"/>
                </a:lnTo>
                <a:lnTo>
                  <a:pt x="1738" y="1936"/>
                </a:lnTo>
                <a:lnTo>
                  <a:pt x="1739" y="1938"/>
                </a:lnTo>
                <a:lnTo>
                  <a:pt x="1741" y="1940"/>
                </a:lnTo>
                <a:lnTo>
                  <a:pt x="1744" y="1941"/>
                </a:lnTo>
                <a:lnTo>
                  <a:pt x="1743" y="1943"/>
                </a:lnTo>
                <a:lnTo>
                  <a:pt x="1746" y="1943"/>
                </a:lnTo>
                <a:lnTo>
                  <a:pt x="1746" y="1945"/>
                </a:lnTo>
                <a:lnTo>
                  <a:pt x="1748" y="1946"/>
                </a:lnTo>
                <a:lnTo>
                  <a:pt x="1750" y="1945"/>
                </a:lnTo>
                <a:lnTo>
                  <a:pt x="1751" y="1945"/>
                </a:lnTo>
                <a:lnTo>
                  <a:pt x="1753" y="1945"/>
                </a:lnTo>
                <a:lnTo>
                  <a:pt x="1755" y="1945"/>
                </a:lnTo>
                <a:lnTo>
                  <a:pt x="1755" y="1943"/>
                </a:lnTo>
                <a:lnTo>
                  <a:pt x="1755" y="1940"/>
                </a:lnTo>
                <a:lnTo>
                  <a:pt x="1755" y="1938"/>
                </a:lnTo>
                <a:lnTo>
                  <a:pt x="1753" y="1936"/>
                </a:lnTo>
                <a:lnTo>
                  <a:pt x="1753" y="1935"/>
                </a:lnTo>
                <a:lnTo>
                  <a:pt x="1750" y="1933"/>
                </a:lnTo>
                <a:lnTo>
                  <a:pt x="1750" y="1931"/>
                </a:lnTo>
                <a:lnTo>
                  <a:pt x="1748" y="1929"/>
                </a:lnTo>
                <a:lnTo>
                  <a:pt x="1746" y="1928"/>
                </a:lnTo>
                <a:lnTo>
                  <a:pt x="1744" y="1928"/>
                </a:lnTo>
                <a:lnTo>
                  <a:pt x="1743" y="1926"/>
                </a:lnTo>
                <a:lnTo>
                  <a:pt x="1741" y="1926"/>
                </a:lnTo>
                <a:lnTo>
                  <a:pt x="1739" y="1926"/>
                </a:lnTo>
                <a:lnTo>
                  <a:pt x="1738" y="1926"/>
                </a:lnTo>
                <a:lnTo>
                  <a:pt x="1738" y="1924"/>
                </a:lnTo>
                <a:lnTo>
                  <a:pt x="1734" y="1926"/>
                </a:lnTo>
                <a:lnTo>
                  <a:pt x="1733" y="1929"/>
                </a:lnTo>
                <a:lnTo>
                  <a:pt x="1731" y="1931"/>
                </a:lnTo>
                <a:lnTo>
                  <a:pt x="1733" y="1931"/>
                </a:lnTo>
                <a:lnTo>
                  <a:pt x="1731" y="1931"/>
                </a:lnTo>
                <a:lnTo>
                  <a:pt x="1731" y="1929"/>
                </a:lnTo>
                <a:lnTo>
                  <a:pt x="1729" y="1929"/>
                </a:lnTo>
                <a:lnTo>
                  <a:pt x="1731" y="1928"/>
                </a:lnTo>
                <a:lnTo>
                  <a:pt x="1731" y="1926"/>
                </a:lnTo>
                <a:lnTo>
                  <a:pt x="1729" y="1926"/>
                </a:lnTo>
                <a:lnTo>
                  <a:pt x="1729" y="1924"/>
                </a:lnTo>
                <a:lnTo>
                  <a:pt x="1727" y="1926"/>
                </a:lnTo>
                <a:lnTo>
                  <a:pt x="1726" y="1924"/>
                </a:lnTo>
                <a:lnTo>
                  <a:pt x="1726" y="1923"/>
                </a:lnTo>
                <a:lnTo>
                  <a:pt x="1726" y="1919"/>
                </a:lnTo>
                <a:lnTo>
                  <a:pt x="1726" y="1918"/>
                </a:lnTo>
                <a:lnTo>
                  <a:pt x="1729" y="1918"/>
                </a:lnTo>
                <a:lnTo>
                  <a:pt x="1729" y="1919"/>
                </a:lnTo>
                <a:lnTo>
                  <a:pt x="1731" y="1918"/>
                </a:lnTo>
                <a:lnTo>
                  <a:pt x="1731" y="1916"/>
                </a:lnTo>
                <a:lnTo>
                  <a:pt x="1727" y="1916"/>
                </a:lnTo>
                <a:lnTo>
                  <a:pt x="1729" y="1914"/>
                </a:lnTo>
                <a:lnTo>
                  <a:pt x="1729" y="1911"/>
                </a:lnTo>
                <a:lnTo>
                  <a:pt x="1727" y="1912"/>
                </a:lnTo>
                <a:lnTo>
                  <a:pt x="1729" y="1909"/>
                </a:lnTo>
                <a:lnTo>
                  <a:pt x="1731" y="1906"/>
                </a:lnTo>
                <a:lnTo>
                  <a:pt x="1733" y="1906"/>
                </a:lnTo>
                <a:lnTo>
                  <a:pt x="1731" y="1909"/>
                </a:lnTo>
                <a:lnTo>
                  <a:pt x="1733" y="1907"/>
                </a:lnTo>
                <a:lnTo>
                  <a:pt x="1733" y="1906"/>
                </a:lnTo>
                <a:lnTo>
                  <a:pt x="1733" y="1904"/>
                </a:lnTo>
                <a:lnTo>
                  <a:pt x="1734" y="1904"/>
                </a:lnTo>
                <a:lnTo>
                  <a:pt x="1733" y="1902"/>
                </a:lnTo>
                <a:lnTo>
                  <a:pt x="1733" y="1906"/>
                </a:lnTo>
                <a:lnTo>
                  <a:pt x="1733" y="1904"/>
                </a:lnTo>
                <a:lnTo>
                  <a:pt x="1733" y="1901"/>
                </a:lnTo>
                <a:lnTo>
                  <a:pt x="1731" y="1899"/>
                </a:lnTo>
                <a:lnTo>
                  <a:pt x="1729" y="1897"/>
                </a:lnTo>
                <a:lnTo>
                  <a:pt x="1729" y="1895"/>
                </a:lnTo>
                <a:lnTo>
                  <a:pt x="1727" y="1894"/>
                </a:lnTo>
                <a:lnTo>
                  <a:pt x="1727" y="1892"/>
                </a:lnTo>
                <a:lnTo>
                  <a:pt x="1727" y="1889"/>
                </a:lnTo>
                <a:lnTo>
                  <a:pt x="1726" y="1889"/>
                </a:lnTo>
                <a:lnTo>
                  <a:pt x="1726" y="1885"/>
                </a:lnTo>
                <a:lnTo>
                  <a:pt x="1726" y="1884"/>
                </a:lnTo>
                <a:lnTo>
                  <a:pt x="1726" y="1882"/>
                </a:lnTo>
                <a:lnTo>
                  <a:pt x="1726" y="1880"/>
                </a:lnTo>
                <a:lnTo>
                  <a:pt x="1724" y="1878"/>
                </a:lnTo>
                <a:lnTo>
                  <a:pt x="1722" y="1877"/>
                </a:lnTo>
                <a:lnTo>
                  <a:pt x="1722" y="1875"/>
                </a:lnTo>
                <a:lnTo>
                  <a:pt x="1721" y="1875"/>
                </a:lnTo>
                <a:lnTo>
                  <a:pt x="1721" y="1872"/>
                </a:lnTo>
                <a:lnTo>
                  <a:pt x="1721" y="1870"/>
                </a:lnTo>
                <a:close/>
                <a:moveTo>
                  <a:pt x="1564" y="1926"/>
                </a:moveTo>
                <a:lnTo>
                  <a:pt x="1566" y="1928"/>
                </a:lnTo>
                <a:lnTo>
                  <a:pt x="1568" y="1928"/>
                </a:lnTo>
                <a:lnTo>
                  <a:pt x="1569" y="1928"/>
                </a:lnTo>
                <a:lnTo>
                  <a:pt x="1569" y="1931"/>
                </a:lnTo>
                <a:lnTo>
                  <a:pt x="1573" y="1933"/>
                </a:lnTo>
                <a:lnTo>
                  <a:pt x="1573" y="1935"/>
                </a:lnTo>
                <a:lnTo>
                  <a:pt x="1573" y="1936"/>
                </a:lnTo>
                <a:lnTo>
                  <a:pt x="1573" y="1938"/>
                </a:lnTo>
                <a:lnTo>
                  <a:pt x="1571" y="1938"/>
                </a:lnTo>
                <a:lnTo>
                  <a:pt x="1571" y="1936"/>
                </a:lnTo>
                <a:lnTo>
                  <a:pt x="1569" y="1935"/>
                </a:lnTo>
                <a:lnTo>
                  <a:pt x="1569" y="1936"/>
                </a:lnTo>
                <a:lnTo>
                  <a:pt x="1568" y="1936"/>
                </a:lnTo>
                <a:lnTo>
                  <a:pt x="1568" y="1938"/>
                </a:lnTo>
                <a:lnTo>
                  <a:pt x="1568" y="1936"/>
                </a:lnTo>
                <a:lnTo>
                  <a:pt x="1566" y="1938"/>
                </a:lnTo>
                <a:lnTo>
                  <a:pt x="1566" y="1936"/>
                </a:lnTo>
                <a:lnTo>
                  <a:pt x="1564" y="1935"/>
                </a:lnTo>
                <a:lnTo>
                  <a:pt x="1563" y="1936"/>
                </a:lnTo>
                <a:lnTo>
                  <a:pt x="1564" y="1938"/>
                </a:lnTo>
                <a:lnTo>
                  <a:pt x="1564" y="1940"/>
                </a:lnTo>
                <a:lnTo>
                  <a:pt x="1566" y="1938"/>
                </a:lnTo>
                <a:lnTo>
                  <a:pt x="1568" y="1940"/>
                </a:lnTo>
                <a:lnTo>
                  <a:pt x="1569" y="1940"/>
                </a:lnTo>
                <a:lnTo>
                  <a:pt x="1569" y="1941"/>
                </a:lnTo>
                <a:lnTo>
                  <a:pt x="1571" y="1940"/>
                </a:lnTo>
                <a:lnTo>
                  <a:pt x="1571" y="1941"/>
                </a:lnTo>
                <a:lnTo>
                  <a:pt x="1571" y="1943"/>
                </a:lnTo>
                <a:lnTo>
                  <a:pt x="1571" y="1941"/>
                </a:lnTo>
                <a:lnTo>
                  <a:pt x="1568" y="1941"/>
                </a:lnTo>
                <a:lnTo>
                  <a:pt x="1568" y="1943"/>
                </a:lnTo>
                <a:lnTo>
                  <a:pt x="1569" y="1943"/>
                </a:lnTo>
                <a:lnTo>
                  <a:pt x="1568" y="1945"/>
                </a:lnTo>
                <a:lnTo>
                  <a:pt x="1568" y="1943"/>
                </a:lnTo>
                <a:lnTo>
                  <a:pt x="1566" y="1943"/>
                </a:lnTo>
                <a:lnTo>
                  <a:pt x="1568" y="1941"/>
                </a:lnTo>
                <a:lnTo>
                  <a:pt x="1566" y="1941"/>
                </a:lnTo>
                <a:lnTo>
                  <a:pt x="1566" y="1943"/>
                </a:lnTo>
                <a:lnTo>
                  <a:pt x="1566" y="1941"/>
                </a:lnTo>
                <a:lnTo>
                  <a:pt x="1564" y="1943"/>
                </a:lnTo>
                <a:lnTo>
                  <a:pt x="1566" y="1943"/>
                </a:lnTo>
                <a:lnTo>
                  <a:pt x="1564" y="1945"/>
                </a:lnTo>
                <a:lnTo>
                  <a:pt x="1564" y="1946"/>
                </a:lnTo>
                <a:lnTo>
                  <a:pt x="1564" y="1945"/>
                </a:lnTo>
                <a:lnTo>
                  <a:pt x="1563" y="1946"/>
                </a:lnTo>
                <a:lnTo>
                  <a:pt x="1564" y="1948"/>
                </a:lnTo>
                <a:lnTo>
                  <a:pt x="1563" y="1948"/>
                </a:lnTo>
                <a:lnTo>
                  <a:pt x="1563" y="1950"/>
                </a:lnTo>
                <a:lnTo>
                  <a:pt x="1561" y="1950"/>
                </a:lnTo>
                <a:lnTo>
                  <a:pt x="1559" y="1950"/>
                </a:lnTo>
                <a:lnTo>
                  <a:pt x="1559" y="1952"/>
                </a:lnTo>
                <a:lnTo>
                  <a:pt x="1559" y="1953"/>
                </a:lnTo>
                <a:lnTo>
                  <a:pt x="1559" y="1955"/>
                </a:lnTo>
                <a:lnTo>
                  <a:pt x="1557" y="1955"/>
                </a:lnTo>
                <a:lnTo>
                  <a:pt x="1556" y="1955"/>
                </a:lnTo>
                <a:lnTo>
                  <a:pt x="1557" y="1955"/>
                </a:lnTo>
                <a:lnTo>
                  <a:pt x="1556" y="1957"/>
                </a:lnTo>
                <a:lnTo>
                  <a:pt x="1556" y="1958"/>
                </a:lnTo>
                <a:lnTo>
                  <a:pt x="1552" y="1958"/>
                </a:lnTo>
                <a:lnTo>
                  <a:pt x="1551" y="1958"/>
                </a:lnTo>
                <a:lnTo>
                  <a:pt x="1551" y="1960"/>
                </a:lnTo>
                <a:lnTo>
                  <a:pt x="1552" y="1960"/>
                </a:lnTo>
                <a:lnTo>
                  <a:pt x="1554" y="1962"/>
                </a:lnTo>
                <a:lnTo>
                  <a:pt x="1552" y="1962"/>
                </a:lnTo>
                <a:lnTo>
                  <a:pt x="1551" y="1962"/>
                </a:lnTo>
                <a:lnTo>
                  <a:pt x="1549" y="1963"/>
                </a:lnTo>
                <a:lnTo>
                  <a:pt x="1549" y="1960"/>
                </a:lnTo>
                <a:lnTo>
                  <a:pt x="1547" y="1963"/>
                </a:lnTo>
                <a:lnTo>
                  <a:pt x="1547" y="1962"/>
                </a:lnTo>
                <a:lnTo>
                  <a:pt x="1546" y="1963"/>
                </a:lnTo>
                <a:lnTo>
                  <a:pt x="1546" y="1960"/>
                </a:lnTo>
                <a:lnTo>
                  <a:pt x="1546" y="1963"/>
                </a:lnTo>
                <a:lnTo>
                  <a:pt x="1544" y="1962"/>
                </a:lnTo>
                <a:lnTo>
                  <a:pt x="1542" y="1963"/>
                </a:lnTo>
                <a:lnTo>
                  <a:pt x="1540" y="1963"/>
                </a:lnTo>
                <a:lnTo>
                  <a:pt x="1540" y="1965"/>
                </a:lnTo>
                <a:lnTo>
                  <a:pt x="1539" y="1965"/>
                </a:lnTo>
                <a:lnTo>
                  <a:pt x="1537" y="1965"/>
                </a:lnTo>
                <a:lnTo>
                  <a:pt x="1535" y="1969"/>
                </a:lnTo>
                <a:lnTo>
                  <a:pt x="1537" y="1970"/>
                </a:lnTo>
                <a:lnTo>
                  <a:pt x="1537" y="1974"/>
                </a:lnTo>
                <a:lnTo>
                  <a:pt x="1535" y="1975"/>
                </a:lnTo>
                <a:lnTo>
                  <a:pt x="1537" y="1977"/>
                </a:lnTo>
                <a:lnTo>
                  <a:pt x="1535" y="1980"/>
                </a:lnTo>
                <a:lnTo>
                  <a:pt x="1537" y="1982"/>
                </a:lnTo>
                <a:lnTo>
                  <a:pt x="1535" y="1982"/>
                </a:lnTo>
                <a:lnTo>
                  <a:pt x="1534" y="1984"/>
                </a:lnTo>
                <a:lnTo>
                  <a:pt x="1532" y="1987"/>
                </a:lnTo>
                <a:lnTo>
                  <a:pt x="1530" y="1987"/>
                </a:lnTo>
                <a:lnTo>
                  <a:pt x="1530" y="1986"/>
                </a:lnTo>
                <a:lnTo>
                  <a:pt x="1529" y="1986"/>
                </a:lnTo>
                <a:lnTo>
                  <a:pt x="1529" y="1984"/>
                </a:lnTo>
                <a:lnTo>
                  <a:pt x="1530" y="1982"/>
                </a:lnTo>
                <a:lnTo>
                  <a:pt x="1530" y="1980"/>
                </a:lnTo>
                <a:lnTo>
                  <a:pt x="1530" y="1979"/>
                </a:lnTo>
                <a:lnTo>
                  <a:pt x="1530" y="1975"/>
                </a:lnTo>
                <a:lnTo>
                  <a:pt x="1532" y="1975"/>
                </a:lnTo>
                <a:lnTo>
                  <a:pt x="1534" y="1977"/>
                </a:lnTo>
                <a:lnTo>
                  <a:pt x="1534" y="1974"/>
                </a:lnTo>
                <a:lnTo>
                  <a:pt x="1535" y="1970"/>
                </a:lnTo>
                <a:lnTo>
                  <a:pt x="1532" y="1970"/>
                </a:lnTo>
                <a:lnTo>
                  <a:pt x="1532" y="1969"/>
                </a:lnTo>
                <a:lnTo>
                  <a:pt x="1530" y="1969"/>
                </a:lnTo>
                <a:lnTo>
                  <a:pt x="1529" y="1969"/>
                </a:lnTo>
                <a:lnTo>
                  <a:pt x="1529" y="1967"/>
                </a:lnTo>
                <a:lnTo>
                  <a:pt x="1525" y="1965"/>
                </a:lnTo>
                <a:lnTo>
                  <a:pt x="1522" y="1965"/>
                </a:lnTo>
                <a:lnTo>
                  <a:pt x="1522" y="1963"/>
                </a:lnTo>
                <a:lnTo>
                  <a:pt x="1520" y="1965"/>
                </a:lnTo>
                <a:lnTo>
                  <a:pt x="1520" y="1963"/>
                </a:lnTo>
                <a:lnTo>
                  <a:pt x="1518" y="1962"/>
                </a:lnTo>
                <a:lnTo>
                  <a:pt x="1522" y="1962"/>
                </a:lnTo>
                <a:lnTo>
                  <a:pt x="1520" y="1958"/>
                </a:lnTo>
                <a:lnTo>
                  <a:pt x="1522" y="1960"/>
                </a:lnTo>
                <a:lnTo>
                  <a:pt x="1523" y="1960"/>
                </a:lnTo>
                <a:lnTo>
                  <a:pt x="1522" y="1957"/>
                </a:lnTo>
                <a:lnTo>
                  <a:pt x="1525" y="1958"/>
                </a:lnTo>
                <a:lnTo>
                  <a:pt x="1525" y="1957"/>
                </a:lnTo>
                <a:lnTo>
                  <a:pt x="1523" y="1957"/>
                </a:lnTo>
                <a:lnTo>
                  <a:pt x="1525" y="1957"/>
                </a:lnTo>
                <a:lnTo>
                  <a:pt x="1523" y="1955"/>
                </a:lnTo>
                <a:lnTo>
                  <a:pt x="1522" y="1953"/>
                </a:lnTo>
                <a:lnTo>
                  <a:pt x="1520" y="1952"/>
                </a:lnTo>
                <a:lnTo>
                  <a:pt x="1520" y="1950"/>
                </a:lnTo>
                <a:lnTo>
                  <a:pt x="1518" y="1950"/>
                </a:lnTo>
                <a:lnTo>
                  <a:pt x="1517" y="1950"/>
                </a:lnTo>
                <a:lnTo>
                  <a:pt x="1517" y="1948"/>
                </a:lnTo>
                <a:lnTo>
                  <a:pt x="1520" y="1950"/>
                </a:lnTo>
                <a:lnTo>
                  <a:pt x="1520" y="1948"/>
                </a:lnTo>
                <a:lnTo>
                  <a:pt x="1520" y="1946"/>
                </a:lnTo>
                <a:lnTo>
                  <a:pt x="1522" y="1946"/>
                </a:lnTo>
                <a:lnTo>
                  <a:pt x="1523" y="1946"/>
                </a:lnTo>
                <a:lnTo>
                  <a:pt x="1525" y="1950"/>
                </a:lnTo>
                <a:lnTo>
                  <a:pt x="1527" y="1952"/>
                </a:lnTo>
                <a:lnTo>
                  <a:pt x="1529" y="1952"/>
                </a:lnTo>
                <a:lnTo>
                  <a:pt x="1527" y="1950"/>
                </a:lnTo>
                <a:lnTo>
                  <a:pt x="1527" y="1948"/>
                </a:lnTo>
                <a:lnTo>
                  <a:pt x="1529" y="1946"/>
                </a:lnTo>
                <a:lnTo>
                  <a:pt x="1530" y="1945"/>
                </a:lnTo>
                <a:lnTo>
                  <a:pt x="1530" y="1943"/>
                </a:lnTo>
                <a:lnTo>
                  <a:pt x="1532" y="1945"/>
                </a:lnTo>
                <a:lnTo>
                  <a:pt x="1532" y="1946"/>
                </a:lnTo>
                <a:lnTo>
                  <a:pt x="1534" y="1946"/>
                </a:lnTo>
                <a:lnTo>
                  <a:pt x="1534" y="1943"/>
                </a:lnTo>
                <a:lnTo>
                  <a:pt x="1532" y="1940"/>
                </a:lnTo>
                <a:lnTo>
                  <a:pt x="1534" y="1941"/>
                </a:lnTo>
                <a:lnTo>
                  <a:pt x="1535" y="1940"/>
                </a:lnTo>
                <a:lnTo>
                  <a:pt x="1537" y="1940"/>
                </a:lnTo>
                <a:lnTo>
                  <a:pt x="1539" y="1938"/>
                </a:lnTo>
                <a:lnTo>
                  <a:pt x="1540" y="1936"/>
                </a:lnTo>
                <a:lnTo>
                  <a:pt x="1540" y="1935"/>
                </a:lnTo>
                <a:lnTo>
                  <a:pt x="1542" y="1935"/>
                </a:lnTo>
                <a:lnTo>
                  <a:pt x="1544" y="1936"/>
                </a:lnTo>
                <a:lnTo>
                  <a:pt x="1546" y="1938"/>
                </a:lnTo>
                <a:lnTo>
                  <a:pt x="1547" y="1936"/>
                </a:lnTo>
                <a:lnTo>
                  <a:pt x="1549" y="1938"/>
                </a:lnTo>
                <a:lnTo>
                  <a:pt x="1549" y="1935"/>
                </a:lnTo>
                <a:lnTo>
                  <a:pt x="1551" y="1933"/>
                </a:lnTo>
                <a:lnTo>
                  <a:pt x="1552" y="1935"/>
                </a:lnTo>
                <a:lnTo>
                  <a:pt x="1552" y="1933"/>
                </a:lnTo>
                <a:lnTo>
                  <a:pt x="1556" y="1933"/>
                </a:lnTo>
                <a:lnTo>
                  <a:pt x="1559" y="1935"/>
                </a:lnTo>
                <a:lnTo>
                  <a:pt x="1561" y="1935"/>
                </a:lnTo>
                <a:lnTo>
                  <a:pt x="1561" y="1936"/>
                </a:lnTo>
                <a:lnTo>
                  <a:pt x="1564" y="1936"/>
                </a:lnTo>
                <a:lnTo>
                  <a:pt x="1564" y="1935"/>
                </a:lnTo>
                <a:lnTo>
                  <a:pt x="1561" y="1935"/>
                </a:lnTo>
                <a:lnTo>
                  <a:pt x="1561" y="1933"/>
                </a:lnTo>
                <a:lnTo>
                  <a:pt x="1563" y="1931"/>
                </a:lnTo>
                <a:lnTo>
                  <a:pt x="1563" y="1929"/>
                </a:lnTo>
                <a:lnTo>
                  <a:pt x="1563" y="1928"/>
                </a:lnTo>
                <a:lnTo>
                  <a:pt x="1564" y="1926"/>
                </a:lnTo>
                <a:close/>
                <a:moveTo>
                  <a:pt x="1537" y="1902"/>
                </a:moveTo>
                <a:lnTo>
                  <a:pt x="1539" y="1902"/>
                </a:lnTo>
                <a:lnTo>
                  <a:pt x="1540" y="1904"/>
                </a:lnTo>
                <a:lnTo>
                  <a:pt x="1540" y="1906"/>
                </a:lnTo>
                <a:lnTo>
                  <a:pt x="1542" y="1907"/>
                </a:lnTo>
                <a:lnTo>
                  <a:pt x="1544" y="1907"/>
                </a:lnTo>
                <a:lnTo>
                  <a:pt x="1547" y="1907"/>
                </a:lnTo>
                <a:lnTo>
                  <a:pt x="1549" y="1909"/>
                </a:lnTo>
                <a:lnTo>
                  <a:pt x="1551" y="1907"/>
                </a:lnTo>
                <a:lnTo>
                  <a:pt x="1551" y="1911"/>
                </a:lnTo>
                <a:lnTo>
                  <a:pt x="1554" y="1912"/>
                </a:lnTo>
                <a:lnTo>
                  <a:pt x="1556" y="1914"/>
                </a:lnTo>
                <a:lnTo>
                  <a:pt x="1556" y="1916"/>
                </a:lnTo>
                <a:lnTo>
                  <a:pt x="1557" y="1918"/>
                </a:lnTo>
                <a:lnTo>
                  <a:pt x="1556" y="1918"/>
                </a:lnTo>
                <a:lnTo>
                  <a:pt x="1554" y="1918"/>
                </a:lnTo>
                <a:lnTo>
                  <a:pt x="1552" y="1918"/>
                </a:lnTo>
                <a:lnTo>
                  <a:pt x="1554" y="1919"/>
                </a:lnTo>
                <a:lnTo>
                  <a:pt x="1552" y="1918"/>
                </a:lnTo>
                <a:lnTo>
                  <a:pt x="1552" y="1919"/>
                </a:lnTo>
                <a:lnTo>
                  <a:pt x="1551" y="1919"/>
                </a:lnTo>
                <a:lnTo>
                  <a:pt x="1549" y="1919"/>
                </a:lnTo>
                <a:lnTo>
                  <a:pt x="1551" y="1919"/>
                </a:lnTo>
                <a:lnTo>
                  <a:pt x="1551" y="1921"/>
                </a:lnTo>
                <a:lnTo>
                  <a:pt x="1549" y="1923"/>
                </a:lnTo>
                <a:lnTo>
                  <a:pt x="1549" y="1924"/>
                </a:lnTo>
                <a:lnTo>
                  <a:pt x="1549" y="1923"/>
                </a:lnTo>
                <a:lnTo>
                  <a:pt x="1547" y="1923"/>
                </a:lnTo>
                <a:lnTo>
                  <a:pt x="1546" y="1921"/>
                </a:lnTo>
                <a:lnTo>
                  <a:pt x="1547" y="1923"/>
                </a:lnTo>
                <a:lnTo>
                  <a:pt x="1549" y="1919"/>
                </a:lnTo>
                <a:lnTo>
                  <a:pt x="1547" y="1921"/>
                </a:lnTo>
                <a:lnTo>
                  <a:pt x="1546" y="1923"/>
                </a:lnTo>
                <a:lnTo>
                  <a:pt x="1546" y="1924"/>
                </a:lnTo>
                <a:lnTo>
                  <a:pt x="1546" y="1928"/>
                </a:lnTo>
                <a:lnTo>
                  <a:pt x="1544" y="1929"/>
                </a:lnTo>
                <a:lnTo>
                  <a:pt x="1540" y="1931"/>
                </a:lnTo>
                <a:lnTo>
                  <a:pt x="1539" y="1929"/>
                </a:lnTo>
                <a:lnTo>
                  <a:pt x="1537" y="1929"/>
                </a:lnTo>
                <a:lnTo>
                  <a:pt x="1539" y="1928"/>
                </a:lnTo>
                <a:lnTo>
                  <a:pt x="1537" y="1926"/>
                </a:lnTo>
                <a:lnTo>
                  <a:pt x="1535" y="1924"/>
                </a:lnTo>
                <a:lnTo>
                  <a:pt x="1535" y="1923"/>
                </a:lnTo>
                <a:lnTo>
                  <a:pt x="1535" y="1921"/>
                </a:lnTo>
                <a:lnTo>
                  <a:pt x="1534" y="1919"/>
                </a:lnTo>
                <a:lnTo>
                  <a:pt x="1532" y="1918"/>
                </a:lnTo>
                <a:lnTo>
                  <a:pt x="1530" y="1919"/>
                </a:lnTo>
                <a:lnTo>
                  <a:pt x="1529" y="1918"/>
                </a:lnTo>
                <a:lnTo>
                  <a:pt x="1529" y="1919"/>
                </a:lnTo>
                <a:lnTo>
                  <a:pt x="1527" y="1919"/>
                </a:lnTo>
                <a:lnTo>
                  <a:pt x="1525" y="1919"/>
                </a:lnTo>
                <a:lnTo>
                  <a:pt x="1523" y="1918"/>
                </a:lnTo>
                <a:lnTo>
                  <a:pt x="1520" y="1918"/>
                </a:lnTo>
                <a:lnTo>
                  <a:pt x="1520" y="1916"/>
                </a:lnTo>
                <a:lnTo>
                  <a:pt x="1522" y="1916"/>
                </a:lnTo>
                <a:lnTo>
                  <a:pt x="1525" y="1916"/>
                </a:lnTo>
                <a:lnTo>
                  <a:pt x="1527" y="1914"/>
                </a:lnTo>
                <a:lnTo>
                  <a:pt x="1529" y="1914"/>
                </a:lnTo>
                <a:lnTo>
                  <a:pt x="1530" y="1914"/>
                </a:lnTo>
                <a:lnTo>
                  <a:pt x="1532" y="1914"/>
                </a:lnTo>
                <a:lnTo>
                  <a:pt x="1532" y="1912"/>
                </a:lnTo>
                <a:lnTo>
                  <a:pt x="1534" y="1912"/>
                </a:lnTo>
                <a:lnTo>
                  <a:pt x="1534" y="1911"/>
                </a:lnTo>
                <a:lnTo>
                  <a:pt x="1535" y="1911"/>
                </a:lnTo>
                <a:lnTo>
                  <a:pt x="1534" y="1907"/>
                </a:lnTo>
                <a:lnTo>
                  <a:pt x="1535" y="1907"/>
                </a:lnTo>
                <a:lnTo>
                  <a:pt x="1537" y="1907"/>
                </a:lnTo>
                <a:lnTo>
                  <a:pt x="1537" y="1906"/>
                </a:lnTo>
                <a:lnTo>
                  <a:pt x="1537" y="1902"/>
                </a:lnTo>
                <a:close/>
                <a:moveTo>
                  <a:pt x="1559" y="1902"/>
                </a:moveTo>
                <a:lnTo>
                  <a:pt x="1561" y="1902"/>
                </a:lnTo>
                <a:lnTo>
                  <a:pt x="1563" y="1904"/>
                </a:lnTo>
                <a:lnTo>
                  <a:pt x="1564" y="1901"/>
                </a:lnTo>
                <a:lnTo>
                  <a:pt x="1564" y="1902"/>
                </a:lnTo>
                <a:lnTo>
                  <a:pt x="1568" y="1904"/>
                </a:lnTo>
                <a:lnTo>
                  <a:pt x="1566" y="1906"/>
                </a:lnTo>
                <a:lnTo>
                  <a:pt x="1564" y="1906"/>
                </a:lnTo>
                <a:lnTo>
                  <a:pt x="1564" y="1907"/>
                </a:lnTo>
                <a:lnTo>
                  <a:pt x="1561" y="1906"/>
                </a:lnTo>
                <a:lnTo>
                  <a:pt x="1561" y="1907"/>
                </a:lnTo>
                <a:lnTo>
                  <a:pt x="1559" y="1907"/>
                </a:lnTo>
                <a:lnTo>
                  <a:pt x="1561" y="1907"/>
                </a:lnTo>
                <a:lnTo>
                  <a:pt x="1559" y="1907"/>
                </a:lnTo>
                <a:lnTo>
                  <a:pt x="1557" y="1904"/>
                </a:lnTo>
                <a:lnTo>
                  <a:pt x="1557" y="1902"/>
                </a:lnTo>
                <a:lnTo>
                  <a:pt x="1559" y="1902"/>
                </a:lnTo>
                <a:close/>
                <a:moveTo>
                  <a:pt x="1598" y="1855"/>
                </a:moveTo>
                <a:lnTo>
                  <a:pt x="1600" y="1855"/>
                </a:lnTo>
                <a:lnTo>
                  <a:pt x="1600" y="1858"/>
                </a:lnTo>
                <a:lnTo>
                  <a:pt x="1598" y="1858"/>
                </a:lnTo>
                <a:lnTo>
                  <a:pt x="1597" y="1856"/>
                </a:lnTo>
                <a:lnTo>
                  <a:pt x="1598" y="1855"/>
                </a:lnTo>
                <a:close/>
                <a:moveTo>
                  <a:pt x="1600" y="1958"/>
                </a:moveTo>
                <a:lnTo>
                  <a:pt x="1602" y="1960"/>
                </a:lnTo>
                <a:lnTo>
                  <a:pt x="1600" y="1962"/>
                </a:lnTo>
                <a:lnTo>
                  <a:pt x="1598" y="1960"/>
                </a:lnTo>
                <a:lnTo>
                  <a:pt x="1598" y="1958"/>
                </a:lnTo>
                <a:lnTo>
                  <a:pt x="1600" y="1958"/>
                </a:lnTo>
                <a:close/>
                <a:moveTo>
                  <a:pt x="1583" y="1875"/>
                </a:moveTo>
                <a:lnTo>
                  <a:pt x="1585" y="1877"/>
                </a:lnTo>
                <a:lnTo>
                  <a:pt x="1583" y="1878"/>
                </a:lnTo>
                <a:lnTo>
                  <a:pt x="1583" y="1877"/>
                </a:lnTo>
                <a:lnTo>
                  <a:pt x="1581" y="1877"/>
                </a:lnTo>
                <a:lnTo>
                  <a:pt x="1581" y="1875"/>
                </a:lnTo>
                <a:lnTo>
                  <a:pt x="1583" y="1875"/>
                </a:lnTo>
                <a:close/>
                <a:moveTo>
                  <a:pt x="1581" y="1877"/>
                </a:moveTo>
                <a:lnTo>
                  <a:pt x="1583" y="1877"/>
                </a:lnTo>
                <a:lnTo>
                  <a:pt x="1583" y="1878"/>
                </a:lnTo>
                <a:lnTo>
                  <a:pt x="1581" y="1878"/>
                </a:lnTo>
                <a:lnTo>
                  <a:pt x="1580" y="1877"/>
                </a:lnTo>
                <a:lnTo>
                  <a:pt x="1581" y="1877"/>
                </a:lnTo>
                <a:close/>
                <a:moveTo>
                  <a:pt x="1576" y="1986"/>
                </a:moveTo>
                <a:lnTo>
                  <a:pt x="1578" y="1987"/>
                </a:lnTo>
                <a:lnTo>
                  <a:pt x="1578" y="1989"/>
                </a:lnTo>
                <a:lnTo>
                  <a:pt x="1576" y="1989"/>
                </a:lnTo>
                <a:lnTo>
                  <a:pt x="1576" y="1986"/>
                </a:lnTo>
                <a:close/>
                <a:moveTo>
                  <a:pt x="1522" y="1955"/>
                </a:moveTo>
                <a:lnTo>
                  <a:pt x="1522" y="1957"/>
                </a:lnTo>
                <a:lnTo>
                  <a:pt x="1520" y="1957"/>
                </a:lnTo>
                <a:lnTo>
                  <a:pt x="1518" y="1957"/>
                </a:lnTo>
                <a:lnTo>
                  <a:pt x="1517" y="1957"/>
                </a:lnTo>
                <a:lnTo>
                  <a:pt x="1520" y="1957"/>
                </a:lnTo>
                <a:lnTo>
                  <a:pt x="1520" y="1955"/>
                </a:lnTo>
                <a:lnTo>
                  <a:pt x="1522" y="1955"/>
                </a:lnTo>
                <a:close/>
                <a:moveTo>
                  <a:pt x="1546" y="1967"/>
                </a:moveTo>
                <a:lnTo>
                  <a:pt x="1547" y="1969"/>
                </a:lnTo>
                <a:lnTo>
                  <a:pt x="1546" y="1970"/>
                </a:lnTo>
                <a:lnTo>
                  <a:pt x="1544" y="1969"/>
                </a:lnTo>
                <a:lnTo>
                  <a:pt x="1546" y="1967"/>
                </a:lnTo>
                <a:close/>
                <a:moveTo>
                  <a:pt x="1724" y="1914"/>
                </a:moveTo>
                <a:lnTo>
                  <a:pt x="1722" y="1916"/>
                </a:lnTo>
                <a:lnTo>
                  <a:pt x="1721" y="1914"/>
                </a:lnTo>
                <a:lnTo>
                  <a:pt x="1724" y="1914"/>
                </a:lnTo>
                <a:close/>
                <a:moveTo>
                  <a:pt x="1614" y="1848"/>
                </a:moveTo>
                <a:lnTo>
                  <a:pt x="1615" y="1848"/>
                </a:lnTo>
                <a:lnTo>
                  <a:pt x="1617" y="1850"/>
                </a:lnTo>
                <a:lnTo>
                  <a:pt x="1615" y="1850"/>
                </a:lnTo>
                <a:lnTo>
                  <a:pt x="1615" y="1851"/>
                </a:lnTo>
                <a:lnTo>
                  <a:pt x="1615" y="1850"/>
                </a:lnTo>
                <a:lnTo>
                  <a:pt x="1614" y="1848"/>
                </a:lnTo>
                <a:close/>
                <a:moveTo>
                  <a:pt x="1563" y="1884"/>
                </a:moveTo>
                <a:lnTo>
                  <a:pt x="1564" y="1884"/>
                </a:lnTo>
                <a:lnTo>
                  <a:pt x="1564" y="1885"/>
                </a:lnTo>
                <a:lnTo>
                  <a:pt x="1563" y="1884"/>
                </a:lnTo>
                <a:close/>
                <a:moveTo>
                  <a:pt x="1554" y="1911"/>
                </a:moveTo>
                <a:lnTo>
                  <a:pt x="1556" y="1911"/>
                </a:lnTo>
                <a:lnTo>
                  <a:pt x="1556" y="1912"/>
                </a:lnTo>
                <a:lnTo>
                  <a:pt x="1554" y="1912"/>
                </a:lnTo>
                <a:lnTo>
                  <a:pt x="1554" y="1911"/>
                </a:lnTo>
                <a:close/>
                <a:moveTo>
                  <a:pt x="1571" y="1914"/>
                </a:moveTo>
                <a:lnTo>
                  <a:pt x="1573" y="1914"/>
                </a:lnTo>
                <a:lnTo>
                  <a:pt x="1573" y="1916"/>
                </a:lnTo>
                <a:lnTo>
                  <a:pt x="1571" y="1916"/>
                </a:lnTo>
                <a:lnTo>
                  <a:pt x="1571" y="1914"/>
                </a:lnTo>
                <a:close/>
                <a:moveTo>
                  <a:pt x="1607" y="1853"/>
                </a:moveTo>
                <a:lnTo>
                  <a:pt x="1608" y="1853"/>
                </a:lnTo>
                <a:lnTo>
                  <a:pt x="1608" y="1855"/>
                </a:lnTo>
                <a:lnTo>
                  <a:pt x="1607" y="1855"/>
                </a:lnTo>
                <a:lnTo>
                  <a:pt x="1607" y="1853"/>
                </a:lnTo>
                <a:close/>
                <a:moveTo>
                  <a:pt x="1557" y="1931"/>
                </a:moveTo>
                <a:lnTo>
                  <a:pt x="1559" y="1931"/>
                </a:lnTo>
                <a:lnTo>
                  <a:pt x="1557" y="1931"/>
                </a:lnTo>
                <a:close/>
                <a:moveTo>
                  <a:pt x="1602" y="1952"/>
                </a:moveTo>
                <a:lnTo>
                  <a:pt x="1603" y="1952"/>
                </a:lnTo>
                <a:lnTo>
                  <a:pt x="1605" y="1953"/>
                </a:lnTo>
                <a:lnTo>
                  <a:pt x="1603" y="1953"/>
                </a:lnTo>
                <a:lnTo>
                  <a:pt x="1602" y="1952"/>
                </a:lnTo>
                <a:close/>
                <a:moveTo>
                  <a:pt x="1547" y="1963"/>
                </a:moveTo>
                <a:lnTo>
                  <a:pt x="1549" y="1963"/>
                </a:lnTo>
                <a:lnTo>
                  <a:pt x="1549" y="1965"/>
                </a:lnTo>
                <a:lnTo>
                  <a:pt x="1547" y="1965"/>
                </a:lnTo>
                <a:lnTo>
                  <a:pt x="1547" y="1963"/>
                </a:lnTo>
                <a:close/>
                <a:moveTo>
                  <a:pt x="1554" y="1919"/>
                </a:moveTo>
                <a:lnTo>
                  <a:pt x="1556" y="1919"/>
                </a:lnTo>
                <a:lnTo>
                  <a:pt x="1556" y="1921"/>
                </a:lnTo>
                <a:lnTo>
                  <a:pt x="1554" y="1919"/>
                </a:lnTo>
                <a:close/>
                <a:moveTo>
                  <a:pt x="1557" y="1918"/>
                </a:moveTo>
                <a:lnTo>
                  <a:pt x="1557" y="1919"/>
                </a:lnTo>
                <a:lnTo>
                  <a:pt x="1557" y="1918"/>
                </a:lnTo>
                <a:close/>
                <a:moveTo>
                  <a:pt x="1622" y="1851"/>
                </a:moveTo>
                <a:lnTo>
                  <a:pt x="1624" y="1851"/>
                </a:lnTo>
                <a:lnTo>
                  <a:pt x="1622" y="1851"/>
                </a:lnTo>
                <a:close/>
                <a:moveTo>
                  <a:pt x="1590" y="1946"/>
                </a:moveTo>
                <a:lnTo>
                  <a:pt x="1590" y="1948"/>
                </a:lnTo>
                <a:lnTo>
                  <a:pt x="1590" y="1946"/>
                </a:lnTo>
                <a:close/>
                <a:moveTo>
                  <a:pt x="1568" y="1907"/>
                </a:moveTo>
                <a:lnTo>
                  <a:pt x="1568" y="1909"/>
                </a:lnTo>
                <a:lnTo>
                  <a:pt x="1568" y="1907"/>
                </a:lnTo>
                <a:close/>
                <a:moveTo>
                  <a:pt x="1544" y="1969"/>
                </a:moveTo>
                <a:lnTo>
                  <a:pt x="1546" y="1970"/>
                </a:lnTo>
                <a:lnTo>
                  <a:pt x="1544" y="1970"/>
                </a:lnTo>
                <a:lnTo>
                  <a:pt x="1544" y="1969"/>
                </a:lnTo>
                <a:close/>
                <a:moveTo>
                  <a:pt x="1641" y="1839"/>
                </a:moveTo>
                <a:lnTo>
                  <a:pt x="1642" y="1839"/>
                </a:lnTo>
                <a:lnTo>
                  <a:pt x="1641" y="1839"/>
                </a:lnTo>
                <a:close/>
                <a:moveTo>
                  <a:pt x="1619" y="1850"/>
                </a:moveTo>
                <a:lnTo>
                  <a:pt x="1619" y="1851"/>
                </a:lnTo>
                <a:lnTo>
                  <a:pt x="1619" y="1850"/>
                </a:lnTo>
                <a:close/>
                <a:moveTo>
                  <a:pt x="2084" y="938"/>
                </a:moveTo>
                <a:lnTo>
                  <a:pt x="2086" y="941"/>
                </a:lnTo>
                <a:lnTo>
                  <a:pt x="2086" y="943"/>
                </a:lnTo>
                <a:lnTo>
                  <a:pt x="2086" y="945"/>
                </a:lnTo>
                <a:lnTo>
                  <a:pt x="2086" y="948"/>
                </a:lnTo>
                <a:lnTo>
                  <a:pt x="2084" y="946"/>
                </a:lnTo>
                <a:lnTo>
                  <a:pt x="2084" y="945"/>
                </a:lnTo>
                <a:lnTo>
                  <a:pt x="2083" y="941"/>
                </a:lnTo>
                <a:lnTo>
                  <a:pt x="2083" y="939"/>
                </a:lnTo>
                <a:lnTo>
                  <a:pt x="2079" y="941"/>
                </a:lnTo>
                <a:lnTo>
                  <a:pt x="2081" y="943"/>
                </a:lnTo>
                <a:lnTo>
                  <a:pt x="2079" y="945"/>
                </a:lnTo>
                <a:lnTo>
                  <a:pt x="2079" y="946"/>
                </a:lnTo>
                <a:lnTo>
                  <a:pt x="2079" y="948"/>
                </a:lnTo>
                <a:lnTo>
                  <a:pt x="2079" y="951"/>
                </a:lnTo>
                <a:lnTo>
                  <a:pt x="2081" y="950"/>
                </a:lnTo>
                <a:lnTo>
                  <a:pt x="2081" y="951"/>
                </a:lnTo>
                <a:lnTo>
                  <a:pt x="2079" y="953"/>
                </a:lnTo>
                <a:lnTo>
                  <a:pt x="2079" y="955"/>
                </a:lnTo>
                <a:lnTo>
                  <a:pt x="2079" y="958"/>
                </a:lnTo>
                <a:lnTo>
                  <a:pt x="2081" y="958"/>
                </a:lnTo>
                <a:lnTo>
                  <a:pt x="2079" y="962"/>
                </a:lnTo>
                <a:lnTo>
                  <a:pt x="2081" y="962"/>
                </a:lnTo>
                <a:lnTo>
                  <a:pt x="2079" y="962"/>
                </a:lnTo>
                <a:lnTo>
                  <a:pt x="2078" y="965"/>
                </a:lnTo>
                <a:lnTo>
                  <a:pt x="2078" y="968"/>
                </a:lnTo>
                <a:lnTo>
                  <a:pt x="2076" y="970"/>
                </a:lnTo>
                <a:lnTo>
                  <a:pt x="2073" y="975"/>
                </a:lnTo>
                <a:lnTo>
                  <a:pt x="2069" y="979"/>
                </a:lnTo>
                <a:lnTo>
                  <a:pt x="2069" y="980"/>
                </a:lnTo>
                <a:lnTo>
                  <a:pt x="2069" y="979"/>
                </a:lnTo>
                <a:lnTo>
                  <a:pt x="2067" y="980"/>
                </a:lnTo>
                <a:lnTo>
                  <a:pt x="2066" y="982"/>
                </a:lnTo>
                <a:lnTo>
                  <a:pt x="2064" y="984"/>
                </a:lnTo>
                <a:lnTo>
                  <a:pt x="2064" y="985"/>
                </a:lnTo>
                <a:lnTo>
                  <a:pt x="2061" y="985"/>
                </a:lnTo>
                <a:lnTo>
                  <a:pt x="2059" y="985"/>
                </a:lnTo>
                <a:lnTo>
                  <a:pt x="2056" y="987"/>
                </a:lnTo>
                <a:lnTo>
                  <a:pt x="2054" y="987"/>
                </a:lnTo>
                <a:lnTo>
                  <a:pt x="2052" y="987"/>
                </a:lnTo>
                <a:lnTo>
                  <a:pt x="2052" y="985"/>
                </a:lnTo>
                <a:lnTo>
                  <a:pt x="2049" y="982"/>
                </a:lnTo>
                <a:lnTo>
                  <a:pt x="2045" y="979"/>
                </a:lnTo>
                <a:lnTo>
                  <a:pt x="2044" y="975"/>
                </a:lnTo>
                <a:lnTo>
                  <a:pt x="2044" y="973"/>
                </a:lnTo>
                <a:lnTo>
                  <a:pt x="2042" y="972"/>
                </a:lnTo>
                <a:lnTo>
                  <a:pt x="2042" y="970"/>
                </a:lnTo>
                <a:lnTo>
                  <a:pt x="2040" y="968"/>
                </a:lnTo>
                <a:lnTo>
                  <a:pt x="2039" y="967"/>
                </a:lnTo>
                <a:lnTo>
                  <a:pt x="2039" y="965"/>
                </a:lnTo>
                <a:lnTo>
                  <a:pt x="2037" y="963"/>
                </a:lnTo>
                <a:lnTo>
                  <a:pt x="2035" y="955"/>
                </a:lnTo>
                <a:lnTo>
                  <a:pt x="2033" y="951"/>
                </a:lnTo>
                <a:lnTo>
                  <a:pt x="2033" y="948"/>
                </a:lnTo>
                <a:lnTo>
                  <a:pt x="2035" y="945"/>
                </a:lnTo>
                <a:lnTo>
                  <a:pt x="2035" y="939"/>
                </a:lnTo>
                <a:lnTo>
                  <a:pt x="2035" y="938"/>
                </a:lnTo>
                <a:lnTo>
                  <a:pt x="2037" y="936"/>
                </a:lnTo>
                <a:lnTo>
                  <a:pt x="2039" y="933"/>
                </a:lnTo>
                <a:lnTo>
                  <a:pt x="2042" y="929"/>
                </a:lnTo>
                <a:lnTo>
                  <a:pt x="2044" y="928"/>
                </a:lnTo>
                <a:lnTo>
                  <a:pt x="2045" y="928"/>
                </a:lnTo>
                <a:lnTo>
                  <a:pt x="2047" y="928"/>
                </a:lnTo>
                <a:lnTo>
                  <a:pt x="2049" y="926"/>
                </a:lnTo>
                <a:lnTo>
                  <a:pt x="2050" y="926"/>
                </a:lnTo>
                <a:lnTo>
                  <a:pt x="2052" y="928"/>
                </a:lnTo>
                <a:lnTo>
                  <a:pt x="2057" y="928"/>
                </a:lnTo>
                <a:lnTo>
                  <a:pt x="2062" y="929"/>
                </a:lnTo>
                <a:lnTo>
                  <a:pt x="2071" y="929"/>
                </a:lnTo>
                <a:lnTo>
                  <a:pt x="2076" y="929"/>
                </a:lnTo>
                <a:lnTo>
                  <a:pt x="2079" y="931"/>
                </a:lnTo>
                <a:lnTo>
                  <a:pt x="2081" y="933"/>
                </a:lnTo>
                <a:lnTo>
                  <a:pt x="2083" y="934"/>
                </a:lnTo>
                <a:lnTo>
                  <a:pt x="2084" y="936"/>
                </a:lnTo>
                <a:lnTo>
                  <a:pt x="2084" y="938"/>
                </a:lnTo>
                <a:close/>
                <a:moveTo>
                  <a:pt x="1654" y="101"/>
                </a:moveTo>
                <a:lnTo>
                  <a:pt x="1658" y="99"/>
                </a:lnTo>
                <a:lnTo>
                  <a:pt x="1659" y="96"/>
                </a:lnTo>
                <a:lnTo>
                  <a:pt x="1661" y="96"/>
                </a:lnTo>
                <a:lnTo>
                  <a:pt x="1663" y="97"/>
                </a:lnTo>
                <a:lnTo>
                  <a:pt x="1666" y="96"/>
                </a:lnTo>
                <a:lnTo>
                  <a:pt x="1668" y="96"/>
                </a:lnTo>
                <a:lnTo>
                  <a:pt x="1671" y="94"/>
                </a:lnTo>
                <a:lnTo>
                  <a:pt x="1671" y="96"/>
                </a:lnTo>
                <a:lnTo>
                  <a:pt x="1673" y="96"/>
                </a:lnTo>
                <a:lnTo>
                  <a:pt x="1676" y="96"/>
                </a:lnTo>
                <a:lnTo>
                  <a:pt x="1678" y="97"/>
                </a:lnTo>
                <a:lnTo>
                  <a:pt x="1678" y="96"/>
                </a:lnTo>
                <a:lnTo>
                  <a:pt x="1678" y="94"/>
                </a:lnTo>
                <a:lnTo>
                  <a:pt x="1680" y="92"/>
                </a:lnTo>
                <a:lnTo>
                  <a:pt x="1676" y="92"/>
                </a:lnTo>
                <a:lnTo>
                  <a:pt x="1675" y="92"/>
                </a:lnTo>
                <a:lnTo>
                  <a:pt x="1673" y="91"/>
                </a:lnTo>
                <a:lnTo>
                  <a:pt x="1673" y="89"/>
                </a:lnTo>
                <a:lnTo>
                  <a:pt x="1673" y="87"/>
                </a:lnTo>
                <a:lnTo>
                  <a:pt x="1673" y="85"/>
                </a:lnTo>
                <a:lnTo>
                  <a:pt x="1676" y="84"/>
                </a:lnTo>
                <a:lnTo>
                  <a:pt x="1680" y="85"/>
                </a:lnTo>
                <a:lnTo>
                  <a:pt x="1683" y="85"/>
                </a:lnTo>
                <a:lnTo>
                  <a:pt x="1685" y="85"/>
                </a:lnTo>
                <a:lnTo>
                  <a:pt x="1685" y="89"/>
                </a:lnTo>
                <a:lnTo>
                  <a:pt x="1685" y="91"/>
                </a:lnTo>
                <a:lnTo>
                  <a:pt x="1687" y="91"/>
                </a:lnTo>
                <a:lnTo>
                  <a:pt x="1687" y="92"/>
                </a:lnTo>
                <a:lnTo>
                  <a:pt x="1685" y="94"/>
                </a:lnTo>
                <a:lnTo>
                  <a:pt x="1682" y="94"/>
                </a:lnTo>
                <a:lnTo>
                  <a:pt x="1680" y="94"/>
                </a:lnTo>
                <a:lnTo>
                  <a:pt x="1682" y="96"/>
                </a:lnTo>
                <a:lnTo>
                  <a:pt x="1685" y="96"/>
                </a:lnTo>
                <a:lnTo>
                  <a:pt x="1685" y="97"/>
                </a:lnTo>
                <a:lnTo>
                  <a:pt x="1683" y="101"/>
                </a:lnTo>
                <a:lnTo>
                  <a:pt x="1685" y="101"/>
                </a:lnTo>
                <a:lnTo>
                  <a:pt x="1683" y="103"/>
                </a:lnTo>
                <a:lnTo>
                  <a:pt x="1685" y="104"/>
                </a:lnTo>
                <a:lnTo>
                  <a:pt x="1685" y="106"/>
                </a:lnTo>
                <a:lnTo>
                  <a:pt x="1682" y="108"/>
                </a:lnTo>
                <a:lnTo>
                  <a:pt x="1685" y="109"/>
                </a:lnTo>
                <a:lnTo>
                  <a:pt x="1687" y="108"/>
                </a:lnTo>
                <a:lnTo>
                  <a:pt x="1687" y="106"/>
                </a:lnTo>
                <a:lnTo>
                  <a:pt x="1687" y="104"/>
                </a:lnTo>
                <a:lnTo>
                  <a:pt x="1687" y="101"/>
                </a:lnTo>
                <a:lnTo>
                  <a:pt x="1687" y="99"/>
                </a:lnTo>
                <a:lnTo>
                  <a:pt x="1688" y="97"/>
                </a:lnTo>
                <a:lnTo>
                  <a:pt x="1690" y="94"/>
                </a:lnTo>
                <a:lnTo>
                  <a:pt x="1693" y="94"/>
                </a:lnTo>
                <a:lnTo>
                  <a:pt x="1697" y="96"/>
                </a:lnTo>
                <a:lnTo>
                  <a:pt x="1697" y="97"/>
                </a:lnTo>
                <a:lnTo>
                  <a:pt x="1699" y="101"/>
                </a:lnTo>
                <a:lnTo>
                  <a:pt x="1697" y="103"/>
                </a:lnTo>
                <a:lnTo>
                  <a:pt x="1697" y="106"/>
                </a:lnTo>
                <a:lnTo>
                  <a:pt x="1697" y="108"/>
                </a:lnTo>
                <a:lnTo>
                  <a:pt x="1693" y="108"/>
                </a:lnTo>
                <a:lnTo>
                  <a:pt x="1692" y="108"/>
                </a:lnTo>
                <a:lnTo>
                  <a:pt x="1690" y="109"/>
                </a:lnTo>
                <a:lnTo>
                  <a:pt x="1687" y="109"/>
                </a:lnTo>
                <a:lnTo>
                  <a:pt x="1687" y="111"/>
                </a:lnTo>
                <a:lnTo>
                  <a:pt x="1687" y="114"/>
                </a:lnTo>
                <a:lnTo>
                  <a:pt x="1688" y="116"/>
                </a:lnTo>
                <a:lnTo>
                  <a:pt x="1687" y="118"/>
                </a:lnTo>
                <a:lnTo>
                  <a:pt x="1685" y="121"/>
                </a:lnTo>
                <a:lnTo>
                  <a:pt x="1683" y="123"/>
                </a:lnTo>
                <a:lnTo>
                  <a:pt x="1685" y="126"/>
                </a:lnTo>
                <a:lnTo>
                  <a:pt x="1683" y="130"/>
                </a:lnTo>
                <a:lnTo>
                  <a:pt x="1682" y="130"/>
                </a:lnTo>
                <a:lnTo>
                  <a:pt x="1680" y="133"/>
                </a:lnTo>
                <a:lnTo>
                  <a:pt x="1678" y="131"/>
                </a:lnTo>
                <a:lnTo>
                  <a:pt x="1676" y="133"/>
                </a:lnTo>
                <a:lnTo>
                  <a:pt x="1676" y="135"/>
                </a:lnTo>
                <a:lnTo>
                  <a:pt x="1671" y="137"/>
                </a:lnTo>
                <a:lnTo>
                  <a:pt x="1671" y="138"/>
                </a:lnTo>
                <a:lnTo>
                  <a:pt x="1670" y="137"/>
                </a:lnTo>
                <a:lnTo>
                  <a:pt x="1670" y="135"/>
                </a:lnTo>
                <a:lnTo>
                  <a:pt x="1670" y="133"/>
                </a:lnTo>
                <a:lnTo>
                  <a:pt x="1668" y="131"/>
                </a:lnTo>
                <a:lnTo>
                  <a:pt x="1668" y="133"/>
                </a:lnTo>
                <a:lnTo>
                  <a:pt x="1665" y="135"/>
                </a:lnTo>
                <a:lnTo>
                  <a:pt x="1665" y="133"/>
                </a:lnTo>
                <a:lnTo>
                  <a:pt x="1665" y="131"/>
                </a:lnTo>
                <a:lnTo>
                  <a:pt x="1666" y="130"/>
                </a:lnTo>
                <a:lnTo>
                  <a:pt x="1666" y="128"/>
                </a:lnTo>
                <a:lnTo>
                  <a:pt x="1668" y="126"/>
                </a:lnTo>
                <a:lnTo>
                  <a:pt x="1670" y="125"/>
                </a:lnTo>
                <a:lnTo>
                  <a:pt x="1671" y="121"/>
                </a:lnTo>
                <a:lnTo>
                  <a:pt x="1673" y="121"/>
                </a:lnTo>
                <a:lnTo>
                  <a:pt x="1676" y="121"/>
                </a:lnTo>
                <a:lnTo>
                  <a:pt x="1680" y="121"/>
                </a:lnTo>
                <a:lnTo>
                  <a:pt x="1680" y="120"/>
                </a:lnTo>
                <a:lnTo>
                  <a:pt x="1676" y="120"/>
                </a:lnTo>
                <a:lnTo>
                  <a:pt x="1673" y="118"/>
                </a:lnTo>
                <a:lnTo>
                  <a:pt x="1670" y="120"/>
                </a:lnTo>
                <a:lnTo>
                  <a:pt x="1668" y="120"/>
                </a:lnTo>
                <a:lnTo>
                  <a:pt x="1666" y="121"/>
                </a:lnTo>
                <a:lnTo>
                  <a:pt x="1663" y="121"/>
                </a:lnTo>
                <a:lnTo>
                  <a:pt x="1661" y="121"/>
                </a:lnTo>
                <a:lnTo>
                  <a:pt x="1661" y="120"/>
                </a:lnTo>
                <a:lnTo>
                  <a:pt x="1658" y="120"/>
                </a:lnTo>
                <a:lnTo>
                  <a:pt x="1654" y="120"/>
                </a:lnTo>
                <a:lnTo>
                  <a:pt x="1651" y="118"/>
                </a:lnTo>
                <a:lnTo>
                  <a:pt x="1651" y="120"/>
                </a:lnTo>
                <a:lnTo>
                  <a:pt x="1648" y="121"/>
                </a:lnTo>
                <a:lnTo>
                  <a:pt x="1646" y="121"/>
                </a:lnTo>
                <a:lnTo>
                  <a:pt x="1646" y="120"/>
                </a:lnTo>
                <a:lnTo>
                  <a:pt x="1644" y="118"/>
                </a:lnTo>
                <a:lnTo>
                  <a:pt x="1641" y="121"/>
                </a:lnTo>
                <a:lnTo>
                  <a:pt x="1639" y="121"/>
                </a:lnTo>
                <a:lnTo>
                  <a:pt x="1637" y="120"/>
                </a:lnTo>
                <a:lnTo>
                  <a:pt x="1637" y="118"/>
                </a:lnTo>
                <a:lnTo>
                  <a:pt x="1637" y="114"/>
                </a:lnTo>
                <a:lnTo>
                  <a:pt x="1636" y="113"/>
                </a:lnTo>
                <a:lnTo>
                  <a:pt x="1637" y="111"/>
                </a:lnTo>
                <a:lnTo>
                  <a:pt x="1641" y="111"/>
                </a:lnTo>
                <a:lnTo>
                  <a:pt x="1642" y="111"/>
                </a:lnTo>
                <a:lnTo>
                  <a:pt x="1644" y="111"/>
                </a:lnTo>
                <a:lnTo>
                  <a:pt x="1646" y="111"/>
                </a:lnTo>
                <a:lnTo>
                  <a:pt x="1648" y="111"/>
                </a:lnTo>
                <a:lnTo>
                  <a:pt x="1649" y="113"/>
                </a:lnTo>
                <a:lnTo>
                  <a:pt x="1651" y="111"/>
                </a:lnTo>
                <a:lnTo>
                  <a:pt x="1653" y="108"/>
                </a:lnTo>
                <a:lnTo>
                  <a:pt x="1654" y="106"/>
                </a:lnTo>
                <a:lnTo>
                  <a:pt x="1658" y="106"/>
                </a:lnTo>
                <a:lnTo>
                  <a:pt x="1659" y="108"/>
                </a:lnTo>
                <a:lnTo>
                  <a:pt x="1661" y="106"/>
                </a:lnTo>
                <a:lnTo>
                  <a:pt x="1665" y="106"/>
                </a:lnTo>
                <a:lnTo>
                  <a:pt x="1668" y="108"/>
                </a:lnTo>
                <a:lnTo>
                  <a:pt x="1670" y="109"/>
                </a:lnTo>
                <a:lnTo>
                  <a:pt x="1671" y="109"/>
                </a:lnTo>
                <a:lnTo>
                  <a:pt x="1675" y="109"/>
                </a:lnTo>
                <a:lnTo>
                  <a:pt x="1676" y="109"/>
                </a:lnTo>
                <a:lnTo>
                  <a:pt x="1678" y="109"/>
                </a:lnTo>
                <a:lnTo>
                  <a:pt x="1676" y="108"/>
                </a:lnTo>
                <a:lnTo>
                  <a:pt x="1675" y="104"/>
                </a:lnTo>
                <a:lnTo>
                  <a:pt x="1671" y="104"/>
                </a:lnTo>
                <a:lnTo>
                  <a:pt x="1670" y="104"/>
                </a:lnTo>
                <a:lnTo>
                  <a:pt x="1668" y="104"/>
                </a:lnTo>
                <a:lnTo>
                  <a:pt x="1666" y="103"/>
                </a:lnTo>
                <a:lnTo>
                  <a:pt x="1663" y="101"/>
                </a:lnTo>
                <a:lnTo>
                  <a:pt x="1659" y="103"/>
                </a:lnTo>
                <a:lnTo>
                  <a:pt x="1658" y="101"/>
                </a:lnTo>
                <a:lnTo>
                  <a:pt x="1653" y="103"/>
                </a:lnTo>
                <a:lnTo>
                  <a:pt x="1651" y="99"/>
                </a:lnTo>
                <a:lnTo>
                  <a:pt x="1654" y="101"/>
                </a:lnTo>
                <a:close/>
                <a:moveTo>
                  <a:pt x="1729" y="68"/>
                </a:moveTo>
                <a:lnTo>
                  <a:pt x="1731" y="70"/>
                </a:lnTo>
                <a:lnTo>
                  <a:pt x="1733" y="72"/>
                </a:lnTo>
                <a:lnTo>
                  <a:pt x="1736" y="75"/>
                </a:lnTo>
                <a:lnTo>
                  <a:pt x="1738" y="79"/>
                </a:lnTo>
                <a:lnTo>
                  <a:pt x="1739" y="82"/>
                </a:lnTo>
                <a:lnTo>
                  <a:pt x="1741" y="84"/>
                </a:lnTo>
                <a:lnTo>
                  <a:pt x="1741" y="87"/>
                </a:lnTo>
                <a:lnTo>
                  <a:pt x="1739" y="89"/>
                </a:lnTo>
                <a:lnTo>
                  <a:pt x="1739" y="92"/>
                </a:lnTo>
                <a:lnTo>
                  <a:pt x="1741" y="94"/>
                </a:lnTo>
                <a:lnTo>
                  <a:pt x="1743" y="96"/>
                </a:lnTo>
                <a:lnTo>
                  <a:pt x="1743" y="97"/>
                </a:lnTo>
                <a:lnTo>
                  <a:pt x="1741" y="99"/>
                </a:lnTo>
                <a:lnTo>
                  <a:pt x="1743" y="99"/>
                </a:lnTo>
                <a:lnTo>
                  <a:pt x="1743" y="103"/>
                </a:lnTo>
                <a:lnTo>
                  <a:pt x="1744" y="104"/>
                </a:lnTo>
                <a:lnTo>
                  <a:pt x="1743" y="108"/>
                </a:lnTo>
                <a:lnTo>
                  <a:pt x="1739" y="108"/>
                </a:lnTo>
                <a:lnTo>
                  <a:pt x="1739" y="109"/>
                </a:lnTo>
                <a:lnTo>
                  <a:pt x="1736" y="109"/>
                </a:lnTo>
                <a:lnTo>
                  <a:pt x="1734" y="109"/>
                </a:lnTo>
                <a:lnTo>
                  <a:pt x="1731" y="108"/>
                </a:lnTo>
                <a:lnTo>
                  <a:pt x="1729" y="109"/>
                </a:lnTo>
                <a:lnTo>
                  <a:pt x="1731" y="111"/>
                </a:lnTo>
                <a:lnTo>
                  <a:pt x="1729" y="113"/>
                </a:lnTo>
                <a:lnTo>
                  <a:pt x="1729" y="114"/>
                </a:lnTo>
                <a:lnTo>
                  <a:pt x="1727" y="118"/>
                </a:lnTo>
                <a:lnTo>
                  <a:pt x="1726" y="118"/>
                </a:lnTo>
                <a:lnTo>
                  <a:pt x="1724" y="118"/>
                </a:lnTo>
                <a:lnTo>
                  <a:pt x="1722" y="116"/>
                </a:lnTo>
                <a:lnTo>
                  <a:pt x="1721" y="116"/>
                </a:lnTo>
                <a:lnTo>
                  <a:pt x="1717" y="114"/>
                </a:lnTo>
                <a:lnTo>
                  <a:pt x="1717" y="111"/>
                </a:lnTo>
                <a:lnTo>
                  <a:pt x="1716" y="111"/>
                </a:lnTo>
                <a:lnTo>
                  <a:pt x="1714" y="109"/>
                </a:lnTo>
                <a:lnTo>
                  <a:pt x="1712" y="108"/>
                </a:lnTo>
                <a:lnTo>
                  <a:pt x="1712" y="106"/>
                </a:lnTo>
                <a:lnTo>
                  <a:pt x="1710" y="104"/>
                </a:lnTo>
                <a:lnTo>
                  <a:pt x="1710" y="103"/>
                </a:lnTo>
                <a:lnTo>
                  <a:pt x="1709" y="101"/>
                </a:lnTo>
                <a:lnTo>
                  <a:pt x="1707" y="97"/>
                </a:lnTo>
                <a:lnTo>
                  <a:pt x="1709" y="96"/>
                </a:lnTo>
                <a:lnTo>
                  <a:pt x="1707" y="96"/>
                </a:lnTo>
                <a:lnTo>
                  <a:pt x="1705" y="92"/>
                </a:lnTo>
                <a:lnTo>
                  <a:pt x="1705" y="91"/>
                </a:lnTo>
                <a:lnTo>
                  <a:pt x="1707" y="89"/>
                </a:lnTo>
                <a:lnTo>
                  <a:pt x="1707" y="85"/>
                </a:lnTo>
                <a:lnTo>
                  <a:pt x="1710" y="85"/>
                </a:lnTo>
                <a:lnTo>
                  <a:pt x="1710" y="87"/>
                </a:lnTo>
                <a:lnTo>
                  <a:pt x="1709" y="89"/>
                </a:lnTo>
                <a:lnTo>
                  <a:pt x="1710" y="89"/>
                </a:lnTo>
                <a:lnTo>
                  <a:pt x="1710" y="87"/>
                </a:lnTo>
                <a:lnTo>
                  <a:pt x="1714" y="87"/>
                </a:lnTo>
                <a:lnTo>
                  <a:pt x="1714" y="85"/>
                </a:lnTo>
                <a:lnTo>
                  <a:pt x="1716" y="84"/>
                </a:lnTo>
                <a:lnTo>
                  <a:pt x="1717" y="84"/>
                </a:lnTo>
                <a:lnTo>
                  <a:pt x="1716" y="82"/>
                </a:lnTo>
                <a:lnTo>
                  <a:pt x="1719" y="79"/>
                </a:lnTo>
                <a:lnTo>
                  <a:pt x="1719" y="77"/>
                </a:lnTo>
                <a:lnTo>
                  <a:pt x="1721" y="75"/>
                </a:lnTo>
                <a:lnTo>
                  <a:pt x="1722" y="74"/>
                </a:lnTo>
                <a:lnTo>
                  <a:pt x="1721" y="70"/>
                </a:lnTo>
                <a:lnTo>
                  <a:pt x="1726" y="67"/>
                </a:lnTo>
                <a:lnTo>
                  <a:pt x="1729" y="68"/>
                </a:lnTo>
                <a:close/>
                <a:moveTo>
                  <a:pt x="1736" y="23"/>
                </a:moveTo>
                <a:lnTo>
                  <a:pt x="1736" y="21"/>
                </a:lnTo>
                <a:lnTo>
                  <a:pt x="1738" y="21"/>
                </a:lnTo>
                <a:lnTo>
                  <a:pt x="1741" y="21"/>
                </a:lnTo>
                <a:lnTo>
                  <a:pt x="1744" y="23"/>
                </a:lnTo>
                <a:lnTo>
                  <a:pt x="1746" y="24"/>
                </a:lnTo>
                <a:lnTo>
                  <a:pt x="1748" y="26"/>
                </a:lnTo>
                <a:lnTo>
                  <a:pt x="1750" y="26"/>
                </a:lnTo>
                <a:lnTo>
                  <a:pt x="1750" y="28"/>
                </a:lnTo>
                <a:lnTo>
                  <a:pt x="1750" y="31"/>
                </a:lnTo>
                <a:lnTo>
                  <a:pt x="1751" y="31"/>
                </a:lnTo>
                <a:lnTo>
                  <a:pt x="1753" y="33"/>
                </a:lnTo>
                <a:lnTo>
                  <a:pt x="1756" y="33"/>
                </a:lnTo>
                <a:lnTo>
                  <a:pt x="1756" y="36"/>
                </a:lnTo>
                <a:lnTo>
                  <a:pt x="1758" y="40"/>
                </a:lnTo>
                <a:lnTo>
                  <a:pt x="1758" y="41"/>
                </a:lnTo>
                <a:lnTo>
                  <a:pt x="1760" y="45"/>
                </a:lnTo>
                <a:lnTo>
                  <a:pt x="1760" y="46"/>
                </a:lnTo>
                <a:lnTo>
                  <a:pt x="1758" y="48"/>
                </a:lnTo>
                <a:lnTo>
                  <a:pt x="1760" y="50"/>
                </a:lnTo>
                <a:lnTo>
                  <a:pt x="1758" y="51"/>
                </a:lnTo>
                <a:lnTo>
                  <a:pt x="1758" y="53"/>
                </a:lnTo>
                <a:lnTo>
                  <a:pt x="1758" y="55"/>
                </a:lnTo>
                <a:lnTo>
                  <a:pt x="1756" y="57"/>
                </a:lnTo>
                <a:lnTo>
                  <a:pt x="1756" y="58"/>
                </a:lnTo>
                <a:lnTo>
                  <a:pt x="1755" y="60"/>
                </a:lnTo>
                <a:lnTo>
                  <a:pt x="1755" y="62"/>
                </a:lnTo>
                <a:lnTo>
                  <a:pt x="1753" y="63"/>
                </a:lnTo>
                <a:lnTo>
                  <a:pt x="1751" y="62"/>
                </a:lnTo>
                <a:lnTo>
                  <a:pt x="1751" y="63"/>
                </a:lnTo>
                <a:lnTo>
                  <a:pt x="1751" y="65"/>
                </a:lnTo>
                <a:lnTo>
                  <a:pt x="1750" y="67"/>
                </a:lnTo>
                <a:lnTo>
                  <a:pt x="1750" y="70"/>
                </a:lnTo>
                <a:lnTo>
                  <a:pt x="1748" y="72"/>
                </a:lnTo>
                <a:lnTo>
                  <a:pt x="1746" y="70"/>
                </a:lnTo>
                <a:lnTo>
                  <a:pt x="1744" y="70"/>
                </a:lnTo>
                <a:lnTo>
                  <a:pt x="1741" y="68"/>
                </a:lnTo>
                <a:lnTo>
                  <a:pt x="1739" y="68"/>
                </a:lnTo>
                <a:lnTo>
                  <a:pt x="1738" y="68"/>
                </a:lnTo>
                <a:lnTo>
                  <a:pt x="1736" y="68"/>
                </a:lnTo>
                <a:lnTo>
                  <a:pt x="1734" y="67"/>
                </a:lnTo>
                <a:lnTo>
                  <a:pt x="1734" y="65"/>
                </a:lnTo>
                <a:lnTo>
                  <a:pt x="1734" y="63"/>
                </a:lnTo>
                <a:lnTo>
                  <a:pt x="1733" y="60"/>
                </a:lnTo>
                <a:lnTo>
                  <a:pt x="1734" y="58"/>
                </a:lnTo>
                <a:lnTo>
                  <a:pt x="1734" y="55"/>
                </a:lnTo>
                <a:lnTo>
                  <a:pt x="1733" y="51"/>
                </a:lnTo>
                <a:lnTo>
                  <a:pt x="1733" y="50"/>
                </a:lnTo>
                <a:lnTo>
                  <a:pt x="1734" y="48"/>
                </a:lnTo>
                <a:lnTo>
                  <a:pt x="1736" y="46"/>
                </a:lnTo>
                <a:lnTo>
                  <a:pt x="1738" y="45"/>
                </a:lnTo>
                <a:lnTo>
                  <a:pt x="1739" y="43"/>
                </a:lnTo>
                <a:lnTo>
                  <a:pt x="1739" y="41"/>
                </a:lnTo>
                <a:lnTo>
                  <a:pt x="1738" y="38"/>
                </a:lnTo>
                <a:lnTo>
                  <a:pt x="1736" y="36"/>
                </a:lnTo>
                <a:lnTo>
                  <a:pt x="1734" y="34"/>
                </a:lnTo>
                <a:lnTo>
                  <a:pt x="1733" y="33"/>
                </a:lnTo>
                <a:lnTo>
                  <a:pt x="1733" y="31"/>
                </a:lnTo>
                <a:lnTo>
                  <a:pt x="1731" y="31"/>
                </a:lnTo>
                <a:lnTo>
                  <a:pt x="1731" y="26"/>
                </a:lnTo>
                <a:lnTo>
                  <a:pt x="1731" y="24"/>
                </a:lnTo>
                <a:lnTo>
                  <a:pt x="1734" y="23"/>
                </a:lnTo>
                <a:lnTo>
                  <a:pt x="1736" y="23"/>
                </a:lnTo>
                <a:close/>
                <a:moveTo>
                  <a:pt x="2209" y="727"/>
                </a:moveTo>
                <a:lnTo>
                  <a:pt x="2210" y="728"/>
                </a:lnTo>
                <a:lnTo>
                  <a:pt x="2212" y="727"/>
                </a:lnTo>
                <a:lnTo>
                  <a:pt x="2214" y="728"/>
                </a:lnTo>
                <a:lnTo>
                  <a:pt x="2215" y="728"/>
                </a:lnTo>
                <a:lnTo>
                  <a:pt x="2217" y="728"/>
                </a:lnTo>
                <a:lnTo>
                  <a:pt x="2220" y="728"/>
                </a:lnTo>
                <a:lnTo>
                  <a:pt x="2222" y="728"/>
                </a:lnTo>
                <a:lnTo>
                  <a:pt x="2224" y="730"/>
                </a:lnTo>
                <a:lnTo>
                  <a:pt x="2226" y="730"/>
                </a:lnTo>
                <a:lnTo>
                  <a:pt x="2229" y="732"/>
                </a:lnTo>
                <a:lnTo>
                  <a:pt x="2231" y="732"/>
                </a:lnTo>
                <a:lnTo>
                  <a:pt x="2232" y="732"/>
                </a:lnTo>
                <a:lnTo>
                  <a:pt x="2237" y="732"/>
                </a:lnTo>
                <a:lnTo>
                  <a:pt x="2237" y="734"/>
                </a:lnTo>
                <a:lnTo>
                  <a:pt x="2241" y="734"/>
                </a:lnTo>
                <a:lnTo>
                  <a:pt x="2243" y="734"/>
                </a:lnTo>
                <a:lnTo>
                  <a:pt x="2244" y="734"/>
                </a:lnTo>
                <a:lnTo>
                  <a:pt x="2244" y="732"/>
                </a:lnTo>
                <a:lnTo>
                  <a:pt x="2246" y="734"/>
                </a:lnTo>
                <a:lnTo>
                  <a:pt x="2249" y="734"/>
                </a:lnTo>
                <a:lnTo>
                  <a:pt x="2251" y="734"/>
                </a:lnTo>
                <a:lnTo>
                  <a:pt x="2254" y="735"/>
                </a:lnTo>
                <a:lnTo>
                  <a:pt x="2256" y="735"/>
                </a:lnTo>
                <a:lnTo>
                  <a:pt x="2258" y="735"/>
                </a:lnTo>
                <a:lnTo>
                  <a:pt x="2260" y="735"/>
                </a:lnTo>
                <a:lnTo>
                  <a:pt x="2261" y="735"/>
                </a:lnTo>
                <a:lnTo>
                  <a:pt x="2261" y="737"/>
                </a:lnTo>
                <a:lnTo>
                  <a:pt x="2268" y="739"/>
                </a:lnTo>
                <a:lnTo>
                  <a:pt x="2268" y="740"/>
                </a:lnTo>
                <a:lnTo>
                  <a:pt x="2268" y="742"/>
                </a:lnTo>
                <a:lnTo>
                  <a:pt x="2270" y="744"/>
                </a:lnTo>
                <a:lnTo>
                  <a:pt x="2271" y="746"/>
                </a:lnTo>
                <a:lnTo>
                  <a:pt x="2270" y="747"/>
                </a:lnTo>
                <a:lnTo>
                  <a:pt x="2268" y="747"/>
                </a:lnTo>
                <a:lnTo>
                  <a:pt x="2270" y="747"/>
                </a:lnTo>
                <a:lnTo>
                  <a:pt x="2268" y="749"/>
                </a:lnTo>
                <a:lnTo>
                  <a:pt x="2270" y="751"/>
                </a:lnTo>
                <a:lnTo>
                  <a:pt x="2268" y="751"/>
                </a:lnTo>
                <a:lnTo>
                  <a:pt x="2268" y="752"/>
                </a:lnTo>
                <a:lnTo>
                  <a:pt x="2266" y="752"/>
                </a:lnTo>
                <a:lnTo>
                  <a:pt x="2268" y="754"/>
                </a:lnTo>
                <a:lnTo>
                  <a:pt x="2266" y="752"/>
                </a:lnTo>
                <a:lnTo>
                  <a:pt x="2263" y="754"/>
                </a:lnTo>
                <a:lnTo>
                  <a:pt x="2261" y="754"/>
                </a:lnTo>
                <a:lnTo>
                  <a:pt x="2265" y="756"/>
                </a:lnTo>
                <a:lnTo>
                  <a:pt x="2261" y="756"/>
                </a:lnTo>
                <a:lnTo>
                  <a:pt x="2265" y="757"/>
                </a:lnTo>
                <a:lnTo>
                  <a:pt x="2263" y="757"/>
                </a:lnTo>
                <a:lnTo>
                  <a:pt x="2261" y="757"/>
                </a:lnTo>
                <a:lnTo>
                  <a:pt x="2260" y="759"/>
                </a:lnTo>
                <a:lnTo>
                  <a:pt x="2256" y="761"/>
                </a:lnTo>
                <a:lnTo>
                  <a:pt x="2254" y="761"/>
                </a:lnTo>
                <a:lnTo>
                  <a:pt x="2253" y="759"/>
                </a:lnTo>
                <a:lnTo>
                  <a:pt x="2251" y="759"/>
                </a:lnTo>
                <a:lnTo>
                  <a:pt x="2249" y="757"/>
                </a:lnTo>
                <a:lnTo>
                  <a:pt x="2251" y="757"/>
                </a:lnTo>
                <a:lnTo>
                  <a:pt x="2253" y="756"/>
                </a:lnTo>
                <a:lnTo>
                  <a:pt x="2253" y="754"/>
                </a:lnTo>
                <a:lnTo>
                  <a:pt x="2253" y="756"/>
                </a:lnTo>
                <a:lnTo>
                  <a:pt x="2249" y="754"/>
                </a:lnTo>
                <a:lnTo>
                  <a:pt x="2246" y="754"/>
                </a:lnTo>
                <a:lnTo>
                  <a:pt x="2246" y="752"/>
                </a:lnTo>
                <a:lnTo>
                  <a:pt x="2243" y="754"/>
                </a:lnTo>
                <a:lnTo>
                  <a:pt x="2239" y="756"/>
                </a:lnTo>
                <a:lnTo>
                  <a:pt x="2237" y="756"/>
                </a:lnTo>
                <a:lnTo>
                  <a:pt x="2236" y="757"/>
                </a:lnTo>
                <a:lnTo>
                  <a:pt x="2234" y="757"/>
                </a:lnTo>
                <a:lnTo>
                  <a:pt x="2231" y="757"/>
                </a:lnTo>
                <a:lnTo>
                  <a:pt x="2232" y="759"/>
                </a:lnTo>
                <a:lnTo>
                  <a:pt x="2234" y="759"/>
                </a:lnTo>
                <a:lnTo>
                  <a:pt x="2236" y="757"/>
                </a:lnTo>
                <a:lnTo>
                  <a:pt x="2237" y="759"/>
                </a:lnTo>
                <a:lnTo>
                  <a:pt x="2239" y="759"/>
                </a:lnTo>
                <a:lnTo>
                  <a:pt x="2237" y="761"/>
                </a:lnTo>
                <a:lnTo>
                  <a:pt x="2234" y="761"/>
                </a:lnTo>
                <a:lnTo>
                  <a:pt x="2232" y="759"/>
                </a:lnTo>
                <a:lnTo>
                  <a:pt x="2231" y="759"/>
                </a:lnTo>
                <a:lnTo>
                  <a:pt x="2227" y="759"/>
                </a:lnTo>
                <a:lnTo>
                  <a:pt x="2226" y="759"/>
                </a:lnTo>
                <a:lnTo>
                  <a:pt x="2224" y="759"/>
                </a:lnTo>
                <a:lnTo>
                  <a:pt x="2222" y="757"/>
                </a:lnTo>
                <a:lnTo>
                  <a:pt x="2220" y="757"/>
                </a:lnTo>
                <a:lnTo>
                  <a:pt x="2219" y="756"/>
                </a:lnTo>
                <a:lnTo>
                  <a:pt x="2217" y="756"/>
                </a:lnTo>
                <a:lnTo>
                  <a:pt x="2217" y="754"/>
                </a:lnTo>
                <a:lnTo>
                  <a:pt x="2214" y="754"/>
                </a:lnTo>
                <a:lnTo>
                  <a:pt x="2215" y="752"/>
                </a:lnTo>
                <a:lnTo>
                  <a:pt x="2214" y="752"/>
                </a:lnTo>
                <a:lnTo>
                  <a:pt x="2214" y="751"/>
                </a:lnTo>
                <a:lnTo>
                  <a:pt x="2214" y="752"/>
                </a:lnTo>
                <a:lnTo>
                  <a:pt x="2212" y="751"/>
                </a:lnTo>
                <a:lnTo>
                  <a:pt x="2212" y="752"/>
                </a:lnTo>
                <a:lnTo>
                  <a:pt x="2210" y="752"/>
                </a:lnTo>
                <a:lnTo>
                  <a:pt x="2210" y="749"/>
                </a:lnTo>
                <a:lnTo>
                  <a:pt x="2209" y="749"/>
                </a:lnTo>
                <a:lnTo>
                  <a:pt x="2209" y="751"/>
                </a:lnTo>
                <a:lnTo>
                  <a:pt x="2207" y="749"/>
                </a:lnTo>
                <a:lnTo>
                  <a:pt x="2205" y="749"/>
                </a:lnTo>
                <a:lnTo>
                  <a:pt x="2207" y="747"/>
                </a:lnTo>
                <a:lnTo>
                  <a:pt x="2209" y="747"/>
                </a:lnTo>
                <a:lnTo>
                  <a:pt x="2210" y="746"/>
                </a:lnTo>
                <a:lnTo>
                  <a:pt x="2212" y="746"/>
                </a:lnTo>
                <a:lnTo>
                  <a:pt x="2215" y="746"/>
                </a:lnTo>
                <a:lnTo>
                  <a:pt x="2215" y="744"/>
                </a:lnTo>
                <a:lnTo>
                  <a:pt x="2212" y="744"/>
                </a:lnTo>
                <a:lnTo>
                  <a:pt x="2210" y="742"/>
                </a:lnTo>
                <a:lnTo>
                  <a:pt x="2210" y="744"/>
                </a:lnTo>
                <a:lnTo>
                  <a:pt x="2207" y="742"/>
                </a:lnTo>
                <a:lnTo>
                  <a:pt x="2205" y="744"/>
                </a:lnTo>
                <a:lnTo>
                  <a:pt x="2203" y="742"/>
                </a:lnTo>
                <a:lnTo>
                  <a:pt x="2207" y="740"/>
                </a:lnTo>
                <a:lnTo>
                  <a:pt x="2207" y="739"/>
                </a:lnTo>
                <a:lnTo>
                  <a:pt x="2207" y="735"/>
                </a:lnTo>
                <a:lnTo>
                  <a:pt x="2205" y="734"/>
                </a:lnTo>
                <a:lnTo>
                  <a:pt x="2205" y="732"/>
                </a:lnTo>
                <a:lnTo>
                  <a:pt x="2207" y="730"/>
                </a:lnTo>
                <a:lnTo>
                  <a:pt x="2209" y="727"/>
                </a:lnTo>
                <a:close/>
                <a:moveTo>
                  <a:pt x="1569" y="181"/>
                </a:moveTo>
                <a:lnTo>
                  <a:pt x="1571" y="181"/>
                </a:lnTo>
                <a:lnTo>
                  <a:pt x="1574" y="182"/>
                </a:lnTo>
                <a:lnTo>
                  <a:pt x="1578" y="181"/>
                </a:lnTo>
                <a:lnTo>
                  <a:pt x="1578" y="179"/>
                </a:lnTo>
                <a:lnTo>
                  <a:pt x="1581" y="179"/>
                </a:lnTo>
                <a:lnTo>
                  <a:pt x="1583" y="179"/>
                </a:lnTo>
                <a:lnTo>
                  <a:pt x="1585" y="181"/>
                </a:lnTo>
                <a:lnTo>
                  <a:pt x="1583" y="184"/>
                </a:lnTo>
                <a:lnTo>
                  <a:pt x="1586" y="184"/>
                </a:lnTo>
                <a:lnTo>
                  <a:pt x="1588" y="186"/>
                </a:lnTo>
                <a:lnTo>
                  <a:pt x="1591" y="188"/>
                </a:lnTo>
                <a:lnTo>
                  <a:pt x="1591" y="189"/>
                </a:lnTo>
                <a:lnTo>
                  <a:pt x="1588" y="191"/>
                </a:lnTo>
                <a:lnTo>
                  <a:pt x="1586" y="189"/>
                </a:lnTo>
                <a:lnTo>
                  <a:pt x="1585" y="191"/>
                </a:lnTo>
                <a:lnTo>
                  <a:pt x="1583" y="193"/>
                </a:lnTo>
                <a:lnTo>
                  <a:pt x="1580" y="189"/>
                </a:lnTo>
                <a:lnTo>
                  <a:pt x="1578" y="189"/>
                </a:lnTo>
                <a:lnTo>
                  <a:pt x="1576" y="186"/>
                </a:lnTo>
                <a:lnTo>
                  <a:pt x="1573" y="186"/>
                </a:lnTo>
                <a:lnTo>
                  <a:pt x="1573" y="188"/>
                </a:lnTo>
                <a:lnTo>
                  <a:pt x="1574" y="189"/>
                </a:lnTo>
                <a:lnTo>
                  <a:pt x="1571" y="191"/>
                </a:lnTo>
                <a:lnTo>
                  <a:pt x="1574" y="191"/>
                </a:lnTo>
                <a:lnTo>
                  <a:pt x="1574" y="194"/>
                </a:lnTo>
                <a:lnTo>
                  <a:pt x="1571" y="194"/>
                </a:lnTo>
                <a:lnTo>
                  <a:pt x="1573" y="198"/>
                </a:lnTo>
                <a:lnTo>
                  <a:pt x="1576" y="199"/>
                </a:lnTo>
                <a:lnTo>
                  <a:pt x="1578" y="201"/>
                </a:lnTo>
                <a:lnTo>
                  <a:pt x="1576" y="203"/>
                </a:lnTo>
                <a:lnTo>
                  <a:pt x="1573" y="203"/>
                </a:lnTo>
                <a:lnTo>
                  <a:pt x="1573" y="206"/>
                </a:lnTo>
                <a:lnTo>
                  <a:pt x="1573" y="210"/>
                </a:lnTo>
                <a:lnTo>
                  <a:pt x="1571" y="210"/>
                </a:lnTo>
                <a:lnTo>
                  <a:pt x="1569" y="210"/>
                </a:lnTo>
                <a:lnTo>
                  <a:pt x="1569" y="211"/>
                </a:lnTo>
                <a:lnTo>
                  <a:pt x="1571" y="215"/>
                </a:lnTo>
                <a:lnTo>
                  <a:pt x="1568" y="215"/>
                </a:lnTo>
                <a:lnTo>
                  <a:pt x="1569" y="218"/>
                </a:lnTo>
                <a:lnTo>
                  <a:pt x="1569" y="220"/>
                </a:lnTo>
                <a:lnTo>
                  <a:pt x="1566" y="220"/>
                </a:lnTo>
                <a:lnTo>
                  <a:pt x="1564" y="218"/>
                </a:lnTo>
                <a:lnTo>
                  <a:pt x="1564" y="215"/>
                </a:lnTo>
                <a:lnTo>
                  <a:pt x="1563" y="213"/>
                </a:lnTo>
                <a:lnTo>
                  <a:pt x="1561" y="216"/>
                </a:lnTo>
                <a:lnTo>
                  <a:pt x="1559" y="216"/>
                </a:lnTo>
                <a:lnTo>
                  <a:pt x="1557" y="220"/>
                </a:lnTo>
                <a:lnTo>
                  <a:pt x="1554" y="218"/>
                </a:lnTo>
                <a:lnTo>
                  <a:pt x="1552" y="216"/>
                </a:lnTo>
                <a:lnTo>
                  <a:pt x="1551" y="218"/>
                </a:lnTo>
                <a:lnTo>
                  <a:pt x="1546" y="218"/>
                </a:lnTo>
                <a:lnTo>
                  <a:pt x="1546" y="216"/>
                </a:lnTo>
                <a:lnTo>
                  <a:pt x="1547" y="215"/>
                </a:lnTo>
                <a:lnTo>
                  <a:pt x="1551" y="213"/>
                </a:lnTo>
                <a:lnTo>
                  <a:pt x="1551" y="211"/>
                </a:lnTo>
                <a:lnTo>
                  <a:pt x="1552" y="210"/>
                </a:lnTo>
                <a:lnTo>
                  <a:pt x="1556" y="206"/>
                </a:lnTo>
                <a:lnTo>
                  <a:pt x="1557" y="206"/>
                </a:lnTo>
                <a:lnTo>
                  <a:pt x="1559" y="205"/>
                </a:lnTo>
                <a:lnTo>
                  <a:pt x="1559" y="203"/>
                </a:lnTo>
                <a:lnTo>
                  <a:pt x="1561" y="201"/>
                </a:lnTo>
                <a:lnTo>
                  <a:pt x="1561" y="198"/>
                </a:lnTo>
                <a:lnTo>
                  <a:pt x="1563" y="196"/>
                </a:lnTo>
                <a:lnTo>
                  <a:pt x="1564" y="193"/>
                </a:lnTo>
                <a:lnTo>
                  <a:pt x="1564" y="191"/>
                </a:lnTo>
                <a:lnTo>
                  <a:pt x="1566" y="188"/>
                </a:lnTo>
                <a:lnTo>
                  <a:pt x="1564" y="186"/>
                </a:lnTo>
                <a:lnTo>
                  <a:pt x="1564" y="184"/>
                </a:lnTo>
                <a:lnTo>
                  <a:pt x="1566" y="184"/>
                </a:lnTo>
                <a:lnTo>
                  <a:pt x="1566" y="182"/>
                </a:lnTo>
                <a:lnTo>
                  <a:pt x="1569" y="181"/>
                </a:lnTo>
                <a:close/>
                <a:moveTo>
                  <a:pt x="1705" y="126"/>
                </a:moveTo>
                <a:lnTo>
                  <a:pt x="1707" y="126"/>
                </a:lnTo>
                <a:lnTo>
                  <a:pt x="1707" y="125"/>
                </a:lnTo>
                <a:lnTo>
                  <a:pt x="1709" y="125"/>
                </a:lnTo>
                <a:lnTo>
                  <a:pt x="1716" y="123"/>
                </a:lnTo>
                <a:lnTo>
                  <a:pt x="1717" y="123"/>
                </a:lnTo>
                <a:lnTo>
                  <a:pt x="1721" y="125"/>
                </a:lnTo>
                <a:lnTo>
                  <a:pt x="1722" y="123"/>
                </a:lnTo>
                <a:lnTo>
                  <a:pt x="1726" y="125"/>
                </a:lnTo>
                <a:lnTo>
                  <a:pt x="1726" y="126"/>
                </a:lnTo>
                <a:lnTo>
                  <a:pt x="1726" y="128"/>
                </a:lnTo>
                <a:lnTo>
                  <a:pt x="1722" y="130"/>
                </a:lnTo>
                <a:lnTo>
                  <a:pt x="1719" y="131"/>
                </a:lnTo>
                <a:lnTo>
                  <a:pt x="1719" y="133"/>
                </a:lnTo>
                <a:lnTo>
                  <a:pt x="1717" y="135"/>
                </a:lnTo>
                <a:lnTo>
                  <a:pt x="1717" y="137"/>
                </a:lnTo>
                <a:lnTo>
                  <a:pt x="1717" y="140"/>
                </a:lnTo>
                <a:lnTo>
                  <a:pt x="1719" y="143"/>
                </a:lnTo>
                <a:lnTo>
                  <a:pt x="1721" y="142"/>
                </a:lnTo>
                <a:lnTo>
                  <a:pt x="1724" y="142"/>
                </a:lnTo>
                <a:lnTo>
                  <a:pt x="1724" y="143"/>
                </a:lnTo>
                <a:lnTo>
                  <a:pt x="1726" y="145"/>
                </a:lnTo>
                <a:lnTo>
                  <a:pt x="1721" y="148"/>
                </a:lnTo>
                <a:lnTo>
                  <a:pt x="1724" y="150"/>
                </a:lnTo>
                <a:lnTo>
                  <a:pt x="1724" y="152"/>
                </a:lnTo>
                <a:lnTo>
                  <a:pt x="1722" y="154"/>
                </a:lnTo>
                <a:lnTo>
                  <a:pt x="1719" y="154"/>
                </a:lnTo>
                <a:lnTo>
                  <a:pt x="1717" y="154"/>
                </a:lnTo>
                <a:lnTo>
                  <a:pt x="1714" y="154"/>
                </a:lnTo>
                <a:lnTo>
                  <a:pt x="1712" y="152"/>
                </a:lnTo>
                <a:lnTo>
                  <a:pt x="1710" y="152"/>
                </a:lnTo>
                <a:lnTo>
                  <a:pt x="1707" y="148"/>
                </a:lnTo>
                <a:lnTo>
                  <a:pt x="1705" y="147"/>
                </a:lnTo>
                <a:lnTo>
                  <a:pt x="1705" y="145"/>
                </a:lnTo>
                <a:lnTo>
                  <a:pt x="1704" y="145"/>
                </a:lnTo>
                <a:lnTo>
                  <a:pt x="1702" y="142"/>
                </a:lnTo>
                <a:lnTo>
                  <a:pt x="1700" y="142"/>
                </a:lnTo>
                <a:lnTo>
                  <a:pt x="1699" y="138"/>
                </a:lnTo>
                <a:lnTo>
                  <a:pt x="1695" y="138"/>
                </a:lnTo>
                <a:lnTo>
                  <a:pt x="1695" y="137"/>
                </a:lnTo>
                <a:lnTo>
                  <a:pt x="1697" y="135"/>
                </a:lnTo>
                <a:lnTo>
                  <a:pt x="1697" y="133"/>
                </a:lnTo>
                <a:lnTo>
                  <a:pt x="1700" y="131"/>
                </a:lnTo>
                <a:lnTo>
                  <a:pt x="1702" y="128"/>
                </a:lnTo>
                <a:lnTo>
                  <a:pt x="1704" y="128"/>
                </a:lnTo>
                <a:lnTo>
                  <a:pt x="1705" y="126"/>
                </a:lnTo>
                <a:close/>
                <a:moveTo>
                  <a:pt x="1699" y="143"/>
                </a:moveTo>
                <a:lnTo>
                  <a:pt x="1700" y="145"/>
                </a:lnTo>
                <a:lnTo>
                  <a:pt x="1704" y="145"/>
                </a:lnTo>
                <a:lnTo>
                  <a:pt x="1704" y="147"/>
                </a:lnTo>
                <a:lnTo>
                  <a:pt x="1705" y="148"/>
                </a:lnTo>
                <a:lnTo>
                  <a:pt x="1705" y="150"/>
                </a:lnTo>
                <a:lnTo>
                  <a:pt x="1707" y="152"/>
                </a:lnTo>
                <a:lnTo>
                  <a:pt x="1709" y="152"/>
                </a:lnTo>
                <a:lnTo>
                  <a:pt x="1709" y="155"/>
                </a:lnTo>
                <a:lnTo>
                  <a:pt x="1712" y="159"/>
                </a:lnTo>
                <a:lnTo>
                  <a:pt x="1714" y="160"/>
                </a:lnTo>
                <a:lnTo>
                  <a:pt x="1714" y="162"/>
                </a:lnTo>
                <a:lnTo>
                  <a:pt x="1712" y="165"/>
                </a:lnTo>
                <a:lnTo>
                  <a:pt x="1712" y="167"/>
                </a:lnTo>
                <a:lnTo>
                  <a:pt x="1710" y="165"/>
                </a:lnTo>
                <a:lnTo>
                  <a:pt x="1709" y="167"/>
                </a:lnTo>
                <a:lnTo>
                  <a:pt x="1707" y="169"/>
                </a:lnTo>
                <a:lnTo>
                  <a:pt x="1705" y="171"/>
                </a:lnTo>
                <a:lnTo>
                  <a:pt x="1704" y="171"/>
                </a:lnTo>
                <a:lnTo>
                  <a:pt x="1700" y="172"/>
                </a:lnTo>
                <a:lnTo>
                  <a:pt x="1699" y="172"/>
                </a:lnTo>
                <a:lnTo>
                  <a:pt x="1699" y="171"/>
                </a:lnTo>
                <a:lnTo>
                  <a:pt x="1699" y="167"/>
                </a:lnTo>
                <a:lnTo>
                  <a:pt x="1699" y="165"/>
                </a:lnTo>
                <a:lnTo>
                  <a:pt x="1699" y="162"/>
                </a:lnTo>
                <a:lnTo>
                  <a:pt x="1697" y="160"/>
                </a:lnTo>
                <a:lnTo>
                  <a:pt x="1695" y="160"/>
                </a:lnTo>
                <a:lnTo>
                  <a:pt x="1693" y="159"/>
                </a:lnTo>
                <a:lnTo>
                  <a:pt x="1692" y="157"/>
                </a:lnTo>
                <a:lnTo>
                  <a:pt x="1690" y="157"/>
                </a:lnTo>
                <a:lnTo>
                  <a:pt x="1690" y="154"/>
                </a:lnTo>
                <a:lnTo>
                  <a:pt x="1692" y="152"/>
                </a:lnTo>
                <a:lnTo>
                  <a:pt x="1693" y="150"/>
                </a:lnTo>
                <a:lnTo>
                  <a:pt x="1695" y="150"/>
                </a:lnTo>
                <a:lnTo>
                  <a:pt x="1697" y="150"/>
                </a:lnTo>
                <a:lnTo>
                  <a:pt x="1697" y="147"/>
                </a:lnTo>
                <a:lnTo>
                  <a:pt x="1699" y="145"/>
                </a:lnTo>
                <a:lnTo>
                  <a:pt x="1699" y="143"/>
                </a:lnTo>
                <a:close/>
                <a:moveTo>
                  <a:pt x="1641" y="75"/>
                </a:moveTo>
                <a:lnTo>
                  <a:pt x="1644" y="75"/>
                </a:lnTo>
                <a:lnTo>
                  <a:pt x="1646" y="74"/>
                </a:lnTo>
                <a:lnTo>
                  <a:pt x="1649" y="74"/>
                </a:lnTo>
                <a:lnTo>
                  <a:pt x="1651" y="75"/>
                </a:lnTo>
                <a:lnTo>
                  <a:pt x="1651" y="74"/>
                </a:lnTo>
                <a:lnTo>
                  <a:pt x="1654" y="75"/>
                </a:lnTo>
                <a:lnTo>
                  <a:pt x="1656" y="74"/>
                </a:lnTo>
                <a:lnTo>
                  <a:pt x="1656" y="72"/>
                </a:lnTo>
                <a:lnTo>
                  <a:pt x="1658" y="74"/>
                </a:lnTo>
                <a:lnTo>
                  <a:pt x="1661" y="74"/>
                </a:lnTo>
                <a:lnTo>
                  <a:pt x="1659" y="75"/>
                </a:lnTo>
                <a:lnTo>
                  <a:pt x="1659" y="77"/>
                </a:lnTo>
                <a:lnTo>
                  <a:pt x="1658" y="77"/>
                </a:lnTo>
                <a:lnTo>
                  <a:pt x="1656" y="80"/>
                </a:lnTo>
                <a:lnTo>
                  <a:pt x="1654" y="85"/>
                </a:lnTo>
                <a:lnTo>
                  <a:pt x="1654" y="89"/>
                </a:lnTo>
                <a:lnTo>
                  <a:pt x="1654" y="91"/>
                </a:lnTo>
                <a:lnTo>
                  <a:pt x="1654" y="92"/>
                </a:lnTo>
                <a:lnTo>
                  <a:pt x="1653" y="94"/>
                </a:lnTo>
                <a:lnTo>
                  <a:pt x="1651" y="94"/>
                </a:lnTo>
                <a:lnTo>
                  <a:pt x="1649" y="92"/>
                </a:lnTo>
                <a:lnTo>
                  <a:pt x="1648" y="92"/>
                </a:lnTo>
                <a:lnTo>
                  <a:pt x="1646" y="96"/>
                </a:lnTo>
                <a:lnTo>
                  <a:pt x="1644" y="97"/>
                </a:lnTo>
                <a:lnTo>
                  <a:pt x="1641" y="97"/>
                </a:lnTo>
                <a:lnTo>
                  <a:pt x="1639" y="96"/>
                </a:lnTo>
                <a:lnTo>
                  <a:pt x="1639" y="94"/>
                </a:lnTo>
                <a:lnTo>
                  <a:pt x="1636" y="94"/>
                </a:lnTo>
                <a:lnTo>
                  <a:pt x="1636" y="92"/>
                </a:lnTo>
                <a:lnTo>
                  <a:pt x="1634" y="91"/>
                </a:lnTo>
                <a:lnTo>
                  <a:pt x="1636" y="87"/>
                </a:lnTo>
                <a:lnTo>
                  <a:pt x="1637" y="89"/>
                </a:lnTo>
                <a:lnTo>
                  <a:pt x="1639" y="87"/>
                </a:lnTo>
                <a:lnTo>
                  <a:pt x="1642" y="89"/>
                </a:lnTo>
                <a:lnTo>
                  <a:pt x="1644" y="87"/>
                </a:lnTo>
                <a:lnTo>
                  <a:pt x="1646" y="87"/>
                </a:lnTo>
                <a:lnTo>
                  <a:pt x="1649" y="87"/>
                </a:lnTo>
                <a:lnTo>
                  <a:pt x="1649" y="85"/>
                </a:lnTo>
                <a:lnTo>
                  <a:pt x="1646" y="84"/>
                </a:lnTo>
                <a:lnTo>
                  <a:pt x="1644" y="84"/>
                </a:lnTo>
                <a:lnTo>
                  <a:pt x="1642" y="82"/>
                </a:lnTo>
                <a:lnTo>
                  <a:pt x="1641" y="80"/>
                </a:lnTo>
                <a:lnTo>
                  <a:pt x="1639" y="79"/>
                </a:lnTo>
                <a:lnTo>
                  <a:pt x="1641" y="75"/>
                </a:lnTo>
                <a:close/>
                <a:moveTo>
                  <a:pt x="1656" y="172"/>
                </a:moveTo>
                <a:lnTo>
                  <a:pt x="1659" y="174"/>
                </a:lnTo>
                <a:lnTo>
                  <a:pt x="1659" y="176"/>
                </a:lnTo>
                <a:lnTo>
                  <a:pt x="1663" y="176"/>
                </a:lnTo>
                <a:lnTo>
                  <a:pt x="1666" y="177"/>
                </a:lnTo>
                <a:lnTo>
                  <a:pt x="1670" y="177"/>
                </a:lnTo>
                <a:lnTo>
                  <a:pt x="1671" y="179"/>
                </a:lnTo>
                <a:lnTo>
                  <a:pt x="1671" y="182"/>
                </a:lnTo>
                <a:lnTo>
                  <a:pt x="1668" y="181"/>
                </a:lnTo>
                <a:lnTo>
                  <a:pt x="1668" y="182"/>
                </a:lnTo>
                <a:lnTo>
                  <a:pt x="1668" y="184"/>
                </a:lnTo>
                <a:lnTo>
                  <a:pt x="1670" y="188"/>
                </a:lnTo>
                <a:lnTo>
                  <a:pt x="1666" y="189"/>
                </a:lnTo>
                <a:lnTo>
                  <a:pt x="1665" y="189"/>
                </a:lnTo>
                <a:lnTo>
                  <a:pt x="1663" y="191"/>
                </a:lnTo>
                <a:lnTo>
                  <a:pt x="1661" y="191"/>
                </a:lnTo>
                <a:lnTo>
                  <a:pt x="1659" y="193"/>
                </a:lnTo>
                <a:lnTo>
                  <a:pt x="1658" y="193"/>
                </a:lnTo>
                <a:lnTo>
                  <a:pt x="1654" y="193"/>
                </a:lnTo>
                <a:lnTo>
                  <a:pt x="1651" y="191"/>
                </a:lnTo>
                <a:lnTo>
                  <a:pt x="1649" y="189"/>
                </a:lnTo>
                <a:lnTo>
                  <a:pt x="1649" y="188"/>
                </a:lnTo>
                <a:lnTo>
                  <a:pt x="1653" y="186"/>
                </a:lnTo>
                <a:lnTo>
                  <a:pt x="1653" y="184"/>
                </a:lnTo>
                <a:lnTo>
                  <a:pt x="1654" y="182"/>
                </a:lnTo>
                <a:lnTo>
                  <a:pt x="1654" y="179"/>
                </a:lnTo>
                <a:lnTo>
                  <a:pt x="1651" y="179"/>
                </a:lnTo>
                <a:lnTo>
                  <a:pt x="1651" y="177"/>
                </a:lnTo>
                <a:lnTo>
                  <a:pt x="1653" y="174"/>
                </a:lnTo>
                <a:lnTo>
                  <a:pt x="1654" y="174"/>
                </a:lnTo>
                <a:lnTo>
                  <a:pt x="1654" y="172"/>
                </a:lnTo>
                <a:lnTo>
                  <a:pt x="1656" y="172"/>
                </a:lnTo>
                <a:close/>
                <a:moveTo>
                  <a:pt x="1709" y="58"/>
                </a:moveTo>
                <a:lnTo>
                  <a:pt x="1710" y="60"/>
                </a:lnTo>
                <a:lnTo>
                  <a:pt x="1712" y="62"/>
                </a:lnTo>
                <a:lnTo>
                  <a:pt x="1712" y="65"/>
                </a:lnTo>
                <a:lnTo>
                  <a:pt x="1714" y="68"/>
                </a:lnTo>
                <a:lnTo>
                  <a:pt x="1714" y="70"/>
                </a:lnTo>
                <a:lnTo>
                  <a:pt x="1714" y="72"/>
                </a:lnTo>
                <a:lnTo>
                  <a:pt x="1712" y="75"/>
                </a:lnTo>
                <a:lnTo>
                  <a:pt x="1709" y="77"/>
                </a:lnTo>
                <a:lnTo>
                  <a:pt x="1704" y="79"/>
                </a:lnTo>
                <a:lnTo>
                  <a:pt x="1704" y="77"/>
                </a:lnTo>
                <a:lnTo>
                  <a:pt x="1700" y="79"/>
                </a:lnTo>
                <a:lnTo>
                  <a:pt x="1699" y="77"/>
                </a:lnTo>
                <a:lnTo>
                  <a:pt x="1700" y="74"/>
                </a:lnTo>
                <a:lnTo>
                  <a:pt x="1699" y="72"/>
                </a:lnTo>
                <a:lnTo>
                  <a:pt x="1700" y="68"/>
                </a:lnTo>
                <a:lnTo>
                  <a:pt x="1700" y="67"/>
                </a:lnTo>
                <a:lnTo>
                  <a:pt x="1700" y="65"/>
                </a:lnTo>
                <a:lnTo>
                  <a:pt x="1700" y="63"/>
                </a:lnTo>
                <a:lnTo>
                  <a:pt x="1702" y="62"/>
                </a:lnTo>
                <a:lnTo>
                  <a:pt x="1702" y="58"/>
                </a:lnTo>
                <a:lnTo>
                  <a:pt x="1705" y="57"/>
                </a:lnTo>
                <a:lnTo>
                  <a:pt x="1709" y="55"/>
                </a:lnTo>
                <a:lnTo>
                  <a:pt x="1709" y="58"/>
                </a:lnTo>
                <a:close/>
                <a:moveTo>
                  <a:pt x="1644" y="57"/>
                </a:moveTo>
                <a:lnTo>
                  <a:pt x="1646" y="57"/>
                </a:lnTo>
                <a:lnTo>
                  <a:pt x="1648" y="58"/>
                </a:lnTo>
                <a:lnTo>
                  <a:pt x="1649" y="60"/>
                </a:lnTo>
                <a:lnTo>
                  <a:pt x="1651" y="60"/>
                </a:lnTo>
                <a:lnTo>
                  <a:pt x="1653" y="58"/>
                </a:lnTo>
                <a:lnTo>
                  <a:pt x="1654" y="57"/>
                </a:lnTo>
                <a:lnTo>
                  <a:pt x="1659" y="58"/>
                </a:lnTo>
                <a:lnTo>
                  <a:pt x="1661" y="60"/>
                </a:lnTo>
                <a:lnTo>
                  <a:pt x="1659" y="63"/>
                </a:lnTo>
                <a:lnTo>
                  <a:pt x="1659" y="65"/>
                </a:lnTo>
                <a:lnTo>
                  <a:pt x="1658" y="67"/>
                </a:lnTo>
                <a:lnTo>
                  <a:pt x="1654" y="68"/>
                </a:lnTo>
                <a:lnTo>
                  <a:pt x="1651" y="68"/>
                </a:lnTo>
                <a:lnTo>
                  <a:pt x="1649" y="67"/>
                </a:lnTo>
                <a:lnTo>
                  <a:pt x="1648" y="67"/>
                </a:lnTo>
                <a:lnTo>
                  <a:pt x="1646" y="70"/>
                </a:lnTo>
                <a:lnTo>
                  <a:pt x="1644" y="70"/>
                </a:lnTo>
                <a:lnTo>
                  <a:pt x="1641" y="70"/>
                </a:lnTo>
                <a:lnTo>
                  <a:pt x="1639" y="68"/>
                </a:lnTo>
                <a:lnTo>
                  <a:pt x="1641" y="67"/>
                </a:lnTo>
                <a:lnTo>
                  <a:pt x="1637" y="65"/>
                </a:lnTo>
                <a:lnTo>
                  <a:pt x="1639" y="63"/>
                </a:lnTo>
                <a:lnTo>
                  <a:pt x="1641" y="62"/>
                </a:lnTo>
                <a:lnTo>
                  <a:pt x="1642" y="58"/>
                </a:lnTo>
                <a:lnTo>
                  <a:pt x="1644" y="57"/>
                </a:lnTo>
                <a:close/>
                <a:moveTo>
                  <a:pt x="1656" y="125"/>
                </a:moveTo>
                <a:lnTo>
                  <a:pt x="1658" y="125"/>
                </a:lnTo>
                <a:lnTo>
                  <a:pt x="1661" y="125"/>
                </a:lnTo>
                <a:lnTo>
                  <a:pt x="1663" y="125"/>
                </a:lnTo>
                <a:lnTo>
                  <a:pt x="1666" y="125"/>
                </a:lnTo>
                <a:lnTo>
                  <a:pt x="1666" y="126"/>
                </a:lnTo>
                <a:lnTo>
                  <a:pt x="1665" y="128"/>
                </a:lnTo>
                <a:lnTo>
                  <a:pt x="1663" y="130"/>
                </a:lnTo>
                <a:lnTo>
                  <a:pt x="1663" y="131"/>
                </a:lnTo>
                <a:lnTo>
                  <a:pt x="1659" y="133"/>
                </a:lnTo>
                <a:lnTo>
                  <a:pt x="1659" y="137"/>
                </a:lnTo>
                <a:lnTo>
                  <a:pt x="1658" y="137"/>
                </a:lnTo>
                <a:lnTo>
                  <a:pt x="1654" y="137"/>
                </a:lnTo>
                <a:lnTo>
                  <a:pt x="1653" y="135"/>
                </a:lnTo>
                <a:lnTo>
                  <a:pt x="1649" y="135"/>
                </a:lnTo>
                <a:lnTo>
                  <a:pt x="1648" y="138"/>
                </a:lnTo>
                <a:lnTo>
                  <a:pt x="1644" y="138"/>
                </a:lnTo>
                <a:lnTo>
                  <a:pt x="1642" y="137"/>
                </a:lnTo>
                <a:lnTo>
                  <a:pt x="1642" y="133"/>
                </a:lnTo>
                <a:lnTo>
                  <a:pt x="1644" y="131"/>
                </a:lnTo>
                <a:lnTo>
                  <a:pt x="1646" y="131"/>
                </a:lnTo>
                <a:lnTo>
                  <a:pt x="1648" y="128"/>
                </a:lnTo>
                <a:lnTo>
                  <a:pt x="1649" y="128"/>
                </a:lnTo>
                <a:lnTo>
                  <a:pt x="1651" y="128"/>
                </a:lnTo>
                <a:lnTo>
                  <a:pt x="1651" y="125"/>
                </a:lnTo>
                <a:lnTo>
                  <a:pt x="1653" y="123"/>
                </a:lnTo>
                <a:lnTo>
                  <a:pt x="1656" y="125"/>
                </a:lnTo>
                <a:close/>
                <a:moveTo>
                  <a:pt x="1641" y="26"/>
                </a:moveTo>
                <a:lnTo>
                  <a:pt x="1644" y="26"/>
                </a:lnTo>
                <a:lnTo>
                  <a:pt x="1646" y="26"/>
                </a:lnTo>
                <a:lnTo>
                  <a:pt x="1648" y="29"/>
                </a:lnTo>
                <a:lnTo>
                  <a:pt x="1649" y="31"/>
                </a:lnTo>
                <a:lnTo>
                  <a:pt x="1649" y="33"/>
                </a:lnTo>
                <a:lnTo>
                  <a:pt x="1649" y="34"/>
                </a:lnTo>
                <a:lnTo>
                  <a:pt x="1646" y="36"/>
                </a:lnTo>
                <a:lnTo>
                  <a:pt x="1646" y="38"/>
                </a:lnTo>
                <a:lnTo>
                  <a:pt x="1642" y="40"/>
                </a:lnTo>
                <a:lnTo>
                  <a:pt x="1642" y="41"/>
                </a:lnTo>
                <a:lnTo>
                  <a:pt x="1642" y="45"/>
                </a:lnTo>
                <a:lnTo>
                  <a:pt x="1641" y="45"/>
                </a:lnTo>
                <a:lnTo>
                  <a:pt x="1639" y="45"/>
                </a:lnTo>
                <a:lnTo>
                  <a:pt x="1637" y="43"/>
                </a:lnTo>
                <a:lnTo>
                  <a:pt x="1636" y="40"/>
                </a:lnTo>
                <a:lnTo>
                  <a:pt x="1632" y="38"/>
                </a:lnTo>
                <a:lnTo>
                  <a:pt x="1634" y="36"/>
                </a:lnTo>
                <a:lnTo>
                  <a:pt x="1634" y="34"/>
                </a:lnTo>
                <a:lnTo>
                  <a:pt x="1637" y="33"/>
                </a:lnTo>
                <a:lnTo>
                  <a:pt x="1637" y="31"/>
                </a:lnTo>
                <a:lnTo>
                  <a:pt x="1639" y="29"/>
                </a:lnTo>
                <a:lnTo>
                  <a:pt x="1639" y="28"/>
                </a:lnTo>
                <a:lnTo>
                  <a:pt x="1641" y="26"/>
                </a:lnTo>
                <a:close/>
                <a:moveTo>
                  <a:pt x="1693" y="0"/>
                </a:moveTo>
                <a:lnTo>
                  <a:pt x="1695" y="0"/>
                </a:lnTo>
                <a:lnTo>
                  <a:pt x="1699" y="2"/>
                </a:lnTo>
                <a:lnTo>
                  <a:pt x="1700" y="6"/>
                </a:lnTo>
                <a:lnTo>
                  <a:pt x="1700" y="7"/>
                </a:lnTo>
                <a:lnTo>
                  <a:pt x="1699" y="9"/>
                </a:lnTo>
                <a:lnTo>
                  <a:pt x="1695" y="11"/>
                </a:lnTo>
                <a:lnTo>
                  <a:pt x="1693" y="12"/>
                </a:lnTo>
                <a:lnTo>
                  <a:pt x="1692" y="14"/>
                </a:lnTo>
                <a:lnTo>
                  <a:pt x="1690" y="14"/>
                </a:lnTo>
                <a:lnTo>
                  <a:pt x="1687" y="12"/>
                </a:lnTo>
                <a:lnTo>
                  <a:pt x="1683" y="14"/>
                </a:lnTo>
                <a:lnTo>
                  <a:pt x="1682" y="14"/>
                </a:lnTo>
                <a:lnTo>
                  <a:pt x="1682" y="11"/>
                </a:lnTo>
                <a:lnTo>
                  <a:pt x="1682" y="9"/>
                </a:lnTo>
                <a:lnTo>
                  <a:pt x="1683" y="7"/>
                </a:lnTo>
                <a:lnTo>
                  <a:pt x="1685" y="6"/>
                </a:lnTo>
                <a:lnTo>
                  <a:pt x="1685" y="7"/>
                </a:lnTo>
                <a:lnTo>
                  <a:pt x="1687" y="6"/>
                </a:lnTo>
                <a:lnTo>
                  <a:pt x="1688" y="4"/>
                </a:lnTo>
                <a:lnTo>
                  <a:pt x="1688" y="2"/>
                </a:lnTo>
                <a:lnTo>
                  <a:pt x="1692" y="0"/>
                </a:lnTo>
                <a:lnTo>
                  <a:pt x="1693" y="0"/>
                </a:lnTo>
                <a:close/>
                <a:moveTo>
                  <a:pt x="1663" y="157"/>
                </a:moveTo>
                <a:lnTo>
                  <a:pt x="1665" y="155"/>
                </a:lnTo>
                <a:lnTo>
                  <a:pt x="1666" y="155"/>
                </a:lnTo>
                <a:lnTo>
                  <a:pt x="1668" y="154"/>
                </a:lnTo>
                <a:lnTo>
                  <a:pt x="1665" y="154"/>
                </a:lnTo>
                <a:lnTo>
                  <a:pt x="1665" y="152"/>
                </a:lnTo>
                <a:lnTo>
                  <a:pt x="1666" y="150"/>
                </a:lnTo>
                <a:lnTo>
                  <a:pt x="1668" y="150"/>
                </a:lnTo>
                <a:lnTo>
                  <a:pt x="1671" y="150"/>
                </a:lnTo>
                <a:lnTo>
                  <a:pt x="1671" y="152"/>
                </a:lnTo>
                <a:lnTo>
                  <a:pt x="1673" y="155"/>
                </a:lnTo>
                <a:lnTo>
                  <a:pt x="1670" y="155"/>
                </a:lnTo>
                <a:lnTo>
                  <a:pt x="1671" y="157"/>
                </a:lnTo>
                <a:lnTo>
                  <a:pt x="1671" y="160"/>
                </a:lnTo>
                <a:lnTo>
                  <a:pt x="1673" y="160"/>
                </a:lnTo>
                <a:lnTo>
                  <a:pt x="1673" y="159"/>
                </a:lnTo>
                <a:lnTo>
                  <a:pt x="1673" y="157"/>
                </a:lnTo>
                <a:lnTo>
                  <a:pt x="1676" y="155"/>
                </a:lnTo>
                <a:lnTo>
                  <a:pt x="1676" y="154"/>
                </a:lnTo>
                <a:lnTo>
                  <a:pt x="1678" y="155"/>
                </a:lnTo>
                <a:lnTo>
                  <a:pt x="1678" y="157"/>
                </a:lnTo>
                <a:lnTo>
                  <a:pt x="1676" y="159"/>
                </a:lnTo>
                <a:lnTo>
                  <a:pt x="1673" y="157"/>
                </a:lnTo>
                <a:lnTo>
                  <a:pt x="1673" y="160"/>
                </a:lnTo>
                <a:lnTo>
                  <a:pt x="1675" y="162"/>
                </a:lnTo>
                <a:lnTo>
                  <a:pt x="1673" y="164"/>
                </a:lnTo>
                <a:lnTo>
                  <a:pt x="1671" y="162"/>
                </a:lnTo>
                <a:lnTo>
                  <a:pt x="1668" y="164"/>
                </a:lnTo>
                <a:lnTo>
                  <a:pt x="1668" y="160"/>
                </a:lnTo>
                <a:lnTo>
                  <a:pt x="1666" y="159"/>
                </a:lnTo>
                <a:lnTo>
                  <a:pt x="1666" y="157"/>
                </a:lnTo>
                <a:lnTo>
                  <a:pt x="1665" y="159"/>
                </a:lnTo>
                <a:lnTo>
                  <a:pt x="1666" y="162"/>
                </a:lnTo>
                <a:lnTo>
                  <a:pt x="1665" y="162"/>
                </a:lnTo>
                <a:lnTo>
                  <a:pt x="1661" y="162"/>
                </a:lnTo>
                <a:lnTo>
                  <a:pt x="1659" y="164"/>
                </a:lnTo>
                <a:lnTo>
                  <a:pt x="1659" y="162"/>
                </a:lnTo>
                <a:lnTo>
                  <a:pt x="1658" y="160"/>
                </a:lnTo>
                <a:lnTo>
                  <a:pt x="1658" y="159"/>
                </a:lnTo>
                <a:lnTo>
                  <a:pt x="1654" y="157"/>
                </a:lnTo>
                <a:lnTo>
                  <a:pt x="1653" y="155"/>
                </a:lnTo>
                <a:lnTo>
                  <a:pt x="1653" y="154"/>
                </a:lnTo>
                <a:lnTo>
                  <a:pt x="1654" y="152"/>
                </a:lnTo>
                <a:lnTo>
                  <a:pt x="1658" y="150"/>
                </a:lnTo>
                <a:lnTo>
                  <a:pt x="1658" y="152"/>
                </a:lnTo>
                <a:lnTo>
                  <a:pt x="1658" y="155"/>
                </a:lnTo>
                <a:lnTo>
                  <a:pt x="1661" y="154"/>
                </a:lnTo>
                <a:lnTo>
                  <a:pt x="1663" y="157"/>
                </a:lnTo>
                <a:close/>
                <a:moveTo>
                  <a:pt x="1751" y="140"/>
                </a:moveTo>
                <a:lnTo>
                  <a:pt x="1751" y="142"/>
                </a:lnTo>
                <a:lnTo>
                  <a:pt x="1751" y="143"/>
                </a:lnTo>
                <a:lnTo>
                  <a:pt x="1751" y="147"/>
                </a:lnTo>
                <a:lnTo>
                  <a:pt x="1750" y="148"/>
                </a:lnTo>
                <a:lnTo>
                  <a:pt x="1750" y="150"/>
                </a:lnTo>
                <a:lnTo>
                  <a:pt x="1748" y="152"/>
                </a:lnTo>
                <a:lnTo>
                  <a:pt x="1746" y="150"/>
                </a:lnTo>
                <a:lnTo>
                  <a:pt x="1743" y="150"/>
                </a:lnTo>
                <a:lnTo>
                  <a:pt x="1741" y="152"/>
                </a:lnTo>
                <a:lnTo>
                  <a:pt x="1739" y="150"/>
                </a:lnTo>
                <a:lnTo>
                  <a:pt x="1738" y="152"/>
                </a:lnTo>
                <a:lnTo>
                  <a:pt x="1738" y="150"/>
                </a:lnTo>
                <a:lnTo>
                  <a:pt x="1738" y="148"/>
                </a:lnTo>
                <a:lnTo>
                  <a:pt x="1739" y="142"/>
                </a:lnTo>
                <a:lnTo>
                  <a:pt x="1741" y="140"/>
                </a:lnTo>
                <a:lnTo>
                  <a:pt x="1743" y="138"/>
                </a:lnTo>
                <a:lnTo>
                  <a:pt x="1744" y="138"/>
                </a:lnTo>
                <a:lnTo>
                  <a:pt x="1748" y="138"/>
                </a:lnTo>
                <a:lnTo>
                  <a:pt x="1750" y="140"/>
                </a:lnTo>
                <a:lnTo>
                  <a:pt x="1751" y="140"/>
                </a:lnTo>
                <a:close/>
                <a:moveTo>
                  <a:pt x="1665" y="79"/>
                </a:moveTo>
                <a:lnTo>
                  <a:pt x="1666" y="79"/>
                </a:lnTo>
                <a:lnTo>
                  <a:pt x="1668" y="79"/>
                </a:lnTo>
                <a:lnTo>
                  <a:pt x="1666" y="80"/>
                </a:lnTo>
                <a:lnTo>
                  <a:pt x="1666" y="82"/>
                </a:lnTo>
                <a:lnTo>
                  <a:pt x="1668" y="85"/>
                </a:lnTo>
                <a:lnTo>
                  <a:pt x="1668" y="87"/>
                </a:lnTo>
                <a:lnTo>
                  <a:pt x="1666" y="91"/>
                </a:lnTo>
                <a:lnTo>
                  <a:pt x="1663" y="92"/>
                </a:lnTo>
                <a:lnTo>
                  <a:pt x="1661" y="91"/>
                </a:lnTo>
                <a:lnTo>
                  <a:pt x="1658" y="91"/>
                </a:lnTo>
                <a:lnTo>
                  <a:pt x="1658" y="89"/>
                </a:lnTo>
                <a:lnTo>
                  <a:pt x="1659" y="87"/>
                </a:lnTo>
                <a:lnTo>
                  <a:pt x="1659" y="84"/>
                </a:lnTo>
                <a:lnTo>
                  <a:pt x="1661" y="82"/>
                </a:lnTo>
                <a:lnTo>
                  <a:pt x="1661" y="80"/>
                </a:lnTo>
                <a:lnTo>
                  <a:pt x="1665" y="79"/>
                </a:lnTo>
                <a:close/>
                <a:moveTo>
                  <a:pt x="1666" y="53"/>
                </a:moveTo>
                <a:lnTo>
                  <a:pt x="1668" y="57"/>
                </a:lnTo>
                <a:lnTo>
                  <a:pt x="1670" y="57"/>
                </a:lnTo>
                <a:lnTo>
                  <a:pt x="1670" y="58"/>
                </a:lnTo>
                <a:lnTo>
                  <a:pt x="1673" y="58"/>
                </a:lnTo>
                <a:lnTo>
                  <a:pt x="1673" y="60"/>
                </a:lnTo>
                <a:lnTo>
                  <a:pt x="1673" y="63"/>
                </a:lnTo>
                <a:lnTo>
                  <a:pt x="1671" y="65"/>
                </a:lnTo>
                <a:lnTo>
                  <a:pt x="1670" y="65"/>
                </a:lnTo>
                <a:lnTo>
                  <a:pt x="1666" y="67"/>
                </a:lnTo>
                <a:lnTo>
                  <a:pt x="1663" y="65"/>
                </a:lnTo>
                <a:lnTo>
                  <a:pt x="1663" y="63"/>
                </a:lnTo>
                <a:lnTo>
                  <a:pt x="1663" y="60"/>
                </a:lnTo>
                <a:lnTo>
                  <a:pt x="1663" y="58"/>
                </a:lnTo>
                <a:lnTo>
                  <a:pt x="1663" y="57"/>
                </a:lnTo>
                <a:lnTo>
                  <a:pt x="1666" y="53"/>
                </a:lnTo>
                <a:close/>
                <a:moveTo>
                  <a:pt x="1846" y="1375"/>
                </a:moveTo>
                <a:lnTo>
                  <a:pt x="1848" y="1377"/>
                </a:lnTo>
                <a:lnTo>
                  <a:pt x="1848" y="1378"/>
                </a:lnTo>
                <a:lnTo>
                  <a:pt x="1850" y="1380"/>
                </a:lnTo>
                <a:lnTo>
                  <a:pt x="1850" y="1382"/>
                </a:lnTo>
                <a:lnTo>
                  <a:pt x="1848" y="1378"/>
                </a:lnTo>
                <a:lnTo>
                  <a:pt x="1846" y="1380"/>
                </a:lnTo>
                <a:lnTo>
                  <a:pt x="1848" y="1382"/>
                </a:lnTo>
                <a:lnTo>
                  <a:pt x="1852" y="1382"/>
                </a:lnTo>
                <a:lnTo>
                  <a:pt x="1852" y="1385"/>
                </a:lnTo>
                <a:lnTo>
                  <a:pt x="1850" y="1387"/>
                </a:lnTo>
                <a:lnTo>
                  <a:pt x="1850" y="1389"/>
                </a:lnTo>
                <a:lnTo>
                  <a:pt x="1848" y="1387"/>
                </a:lnTo>
                <a:lnTo>
                  <a:pt x="1848" y="1385"/>
                </a:lnTo>
                <a:lnTo>
                  <a:pt x="1846" y="1383"/>
                </a:lnTo>
                <a:lnTo>
                  <a:pt x="1845" y="1383"/>
                </a:lnTo>
                <a:lnTo>
                  <a:pt x="1843" y="1383"/>
                </a:lnTo>
                <a:lnTo>
                  <a:pt x="1840" y="1383"/>
                </a:lnTo>
                <a:lnTo>
                  <a:pt x="1840" y="1382"/>
                </a:lnTo>
                <a:lnTo>
                  <a:pt x="1838" y="1380"/>
                </a:lnTo>
                <a:lnTo>
                  <a:pt x="1838" y="1378"/>
                </a:lnTo>
                <a:lnTo>
                  <a:pt x="1840" y="1377"/>
                </a:lnTo>
                <a:lnTo>
                  <a:pt x="1840" y="1378"/>
                </a:lnTo>
                <a:lnTo>
                  <a:pt x="1841" y="1378"/>
                </a:lnTo>
                <a:lnTo>
                  <a:pt x="1841" y="1375"/>
                </a:lnTo>
                <a:lnTo>
                  <a:pt x="1845" y="1373"/>
                </a:lnTo>
                <a:lnTo>
                  <a:pt x="1846" y="1373"/>
                </a:lnTo>
                <a:lnTo>
                  <a:pt x="1846" y="1375"/>
                </a:lnTo>
                <a:close/>
                <a:moveTo>
                  <a:pt x="2256" y="795"/>
                </a:moveTo>
                <a:lnTo>
                  <a:pt x="2258" y="795"/>
                </a:lnTo>
                <a:lnTo>
                  <a:pt x="2260" y="793"/>
                </a:lnTo>
                <a:lnTo>
                  <a:pt x="2265" y="793"/>
                </a:lnTo>
                <a:lnTo>
                  <a:pt x="2266" y="793"/>
                </a:lnTo>
                <a:lnTo>
                  <a:pt x="2268" y="793"/>
                </a:lnTo>
                <a:lnTo>
                  <a:pt x="2271" y="793"/>
                </a:lnTo>
                <a:lnTo>
                  <a:pt x="2271" y="797"/>
                </a:lnTo>
                <a:lnTo>
                  <a:pt x="2273" y="797"/>
                </a:lnTo>
                <a:lnTo>
                  <a:pt x="2273" y="798"/>
                </a:lnTo>
                <a:lnTo>
                  <a:pt x="2277" y="800"/>
                </a:lnTo>
                <a:lnTo>
                  <a:pt x="2273" y="800"/>
                </a:lnTo>
                <a:lnTo>
                  <a:pt x="2273" y="798"/>
                </a:lnTo>
                <a:lnTo>
                  <a:pt x="2271" y="798"/>
                </a:lnTo>
                <a:lnTo>
                  <a:pt x="2270" y="797"/>
                </a:lnTo>
                <a:lnTo>
                  <a:pt x="2268" y="795"/>
                </a:lnTo>
                <a:lnTo>
                  <a:pt x="2266" y="795"/>
                </a:lnTo>
                <a:lnTo>
                  <a:pt x="2263" y="795"/>
                </a:lnTo>
                <a:lnTo>
                  <a:pt x="2261" y="795"/>
                </a:lnTo>
                <a:lnTo>
                  <a:pt x="2260" y="797"/>
                </a:lnTo>
                <a:lnTo>
                  <a:pt x="2256" y="797"/>
                </a:lnTo>
                <a:lnTo>
                  <a:pt x="2254" y="797"/>
                </a:lnTo>
                <a:lnTo>
                  <a:pt x="2253" y="795"/>
                </a:lnTo>
                <a:lnTo>
                  <a:pt x="2253" y="793"/>
                </a:lnTo>
                <a:lnTo>
                  <a:pt x="2253" y="795"/>
                </a:lnTo>
                <a:lnTo>
                  <a:pt x="2256" y="795"/>
                </a:lnTo>
                <a:close/>
                <a:moveTo>
                  <a:pt x="1697" y="1101"/>
                </a:moveTo>
                <a:lnTo>
                  <a:pt x="1700" y="1101"/>
                </a:lnTo>
                <a:lnTo>
                  <a:pt x="1704" y="1101"/>
                </a:lnTo>
                <a:lnTo>
                  <a:pt x="1705" y="1101"/>
                </a:lnTo>
                <a:lnTo>
                  <a:pt x="1705" y="1103"/>
                </a:lnTo>
                <a:lnTo>
                  <a:pt x="1704" y="1104"/>
                </a:lnTo>
                <a:lnTo>
                  <a:pt x="1702" y="1106"/>
                </a:lnTo>
                <a:lnTo>
                  <a:pt x="1700" y="1106"/>
                </a:lnTo>
                <a:lnTo>
                  <a:pt x="1699" y="1104"/>
                </a:lnTo>
                <a:lnTo>
                  <a:pt x="1697" y="1104"/>
                </a:lnTo>
                <a:lnTo>
                  <a:pt x="1695" y="1106"/>
                </a:lnTo>
                <a:lnTo>
                  <a:pt x="1695" y="1103"/>
                </a:lnTo>
                <a:lnTo>
                  <a:pt x="1697" y="1101"/>
                </a:lnTo>
                <a:close/>
                <a:moveTo>
                  <a:pt x="1982" y="1348"/>
                </a:moveTo>
                <a:lnTo>
                  <a:pt x="1984" y="1348"/>
                </a:lnTo>
                <a:lnTo>
                  <a:pt x="1986" y="1349"/>
                </a:lnTo>
                <a:lnTo>
                  <a:pt x="1988" y="1351"/>
                </a:lnTo>
                <a:lnTo>
                  <a:pt x="1989" y="1354"/>
                </a:lnTo>
                <a:lnTo>
                  <a:pt x="1989" y="1356"/>
                </a:lnTo>
                <a:lnTo>
                  <a:pt x="1986" y="1356"/>
                </a:lnTo>
                <a:lnTo>
                  <a:pt x="1986" y="1353"/>
                </a:lnTo>
                <a:lnTo>
                  <a:pt x="1984" y="1353"/>
                </a:lnTo>
                <a:lnTo>
                  <a:pt x="1982" y="1351"/>
                </a:lnTo>
                <a:lnTo>
                  <a:pt x="1979" y="1351"/>
                </a:lnTo>
                <a:lnTo>
                  <a:pt x="1977" y="1351"/>
                </a:lnTo>
                <a:lnTo>
                  <a:pt x="1979" y="1351"/>
                </a:lnTo>
                <a:lnTo>
                  <a:pt x="1981" y="1349"/>
                </a:lnTo>
                <a:lnTo>
                  <a:pt x="1982" y="1348"/>
                </a:lnTo>
                <a:close/>
                <a:moveTo>
                  <a:pt x="2875" y="2414"/>
                </a:moveTo>
                <a:lnTo>
                  <a:pt x="2875" y="2416"/>
                </a:lnTo>
                <a:lnTo>
                  <a:pt x="2873" y="2414"/>
                </a:lnTo>
                <a:lnTo>
                  <a:pt x="2873" y="2413"/>
                </a:lnTo>
                <a:lnTo>
                  <a:pt x="2871" y="2413"/>
                </a:lnTo>
                <a:lnTo>
                  <a:pt x="2870" y="2411"/>
                </a:lnTo>
                <a:lnTo>
                  <a:pt x="2868" y="2411"/>
                </a:lnTo>
                <a:lnTo>
                  <a:pt x="2868" y="2409"/>
                </a:lnTo>
                <a:lnTo>
                  <a:pt x="2868" y="2407"/>
                </a:lnTo>
                <a:lnTo>
                  <a:pt x="2866" y="2406"/>
                </a:lnTo>
                <a:lnTo>
                  <a:pt x="2865" y="2404"/>
                </a:lnTo>
                <a:lnTo>
                  <a:pt x="2866" y="2404"/>
                </a:lnTo>
                <a:lnTo>
                  <a:pt x="2866" y="2402"/>
                </a:lnTo>
                <a:lnTo>
                  <a:pt x="2865" y="2402"/>
                </a:lnTo>
                <a:lnTo>
                  <a:pt x="2868" y="2402"/>
                </a:lnTo>
                <a:lnTo>
                  <a:pt x="2868" y="2404"/>
                </a:lnTo>
                <a:lnTo>
                  <a:pt x="2870" y="2404"/>
                </a:lnTo>
                <a:lnTo>
                  <a:pt x="2870" y="2406"/>
                </a:lnTo>
                <a:lnTo>
                  <a:pt x="2871" y="2409"/>
                </a:lnTo>
                <a:lnTo>
                  <a:pt x="2873" y="2409"/>
                </a:lnTo>
                <a:lnTo>
                  <a:pt x="2873" y="2411"/>
                </a:lnTo>
                <a:lnTo>
                  <a:pt x="2875" y="2413"/>
                </a:lnTo>
                <a:lnTo>
                  <a:pt x="2875" y="2414"/>
                </a:lnTo>
                <a:close/>
                <a:moveTo>
                  <a:pt x="2917" y="2510"/>
                </a:moveTo>
                <a:lnTo>
                  <a:pt x="2919" y="2508"/>
                </a:lnTo>
                <a:lnTo>
                  <a:pt x="2921" y="2506"/>
                </a:lnTo>
                <a:lnTo>
                  <a:pt x="2921" y="2508"/>
                </a:lnTo>
                <a:lnTo>
                  <a:pt x="2921" y="2510"/>
                </a:lnTo>
                <a:lnTo>
                  <a:pt x="2921" y="2511"/>
                </a:lnTo>
                <a:lnTo>
                  <a:pt x="2919" y="2513"/>
                </a:lnTo>
                <a:lnTo>
                  <a:pt x="2919" y="2511"/>
                </a:lnTo>
                <a:lnTo>
                  <a:pt x="2919" y="2513"/>
                </a:lnTo>
                <a:lnTo>
                  <a:pt x="2917" y="2513"/>
                </a:lnTo>
                <a:lnTo>
                  <a:pt x="2914" y="2515"/>
                </a:lnTo>
                <a:lnTo>
                  <a:pt x="2916" y="2513"/>
                </a:lnTo>
                <a:lnTo>
                  <a:pt x="2916" y="2511"/>
                </a:lnTo>
                <a:lnTo>
                  <a:pt x="2916" y="2513"/>
                </a:lnTo>
                <a:lnTo>
                  <a:pt x="2914" y="2515"/>
                </a:lnTo>
                <a:lnTo>
                  <a:pt x="2912" y="2515"/>
                </a:lnTo>
                <a:lnTo>
                  <a:pt x="2912" y="2511"/>
                </a:lnTo>
                <a:lnTo>
                  <a:pt x="2914" y="2510"/>
                </a:lnTo>
                <a:lnTo>
                  <a:pt x="2916" y="2510"/>
                </a:lnTo>
                <a:lnTo>
                  <a:pt x="2917" y="2510"/>
                </a:lnTo>
                <a:close/>
                <a:moveTo>
                  <a:pt x="1850" y="1372"/>
                </a:moveTo>
                <a:lnTo>
                  <a:pt x="1852" y="1370"/>
                </a:lnTo>
                <a:lnTo>
                  <a:pt x="1853" y="1372"/>
                </a:lnTo>
                <a:lnTo>
                  <a:pt x="1855" y="1370"/>
                </a:lnTo>
                <a:lnTo>
                  <a:pt x="1857" y="1370"/>
                </a:lnTo>
                <a:lnTo>
                  <a:pt x="1858" y="1368"/>
                </a:lnTo>
                <a:lnTo>
                  <a:pt x="1858" y="1370"/>
                </a:lnTo>
                <a:lnTo>
                  <a:pt x="1855" y="1372"/>
                </a:lnTo>
                <a:lnTo>
                  <a:pt x="1855" y="1373"/>
                </a:lnTo>
                <a:lnTo>
                  <a:pt x="1853" y="1373"/>
                </a:lnTo>
                <a:lnTo>
                  <a:pt x="1850" y="1373"/>
                </a:lnTo>
                <a:lnTo>
                  <a:pt x="1850" y="1372"/>
                </a:lnTo>
                <a:lnTo>
                  <a:pt x="1850" y="1370"/>
                </a:lnTo>
                <a:lnTo>
                  <a:pt x="1850" y="1372"/>
                </a:lnTo>
                <a:close/>
                <a:moveTo>
                  <a:pt x="2197" y="928"/>
                </a:moveTo>
                <a:lnTo>
                  <a:pt x="2198" y="929"/>
                </a:lnTo>
                <a:lnTo>
                  <a:pt x="2198" y="931"/>
                </a:lnTo>
                <a:lnTo>
                  <a:pt x="2198" y="934"/>
                </a:lnTo>
                <a:lnTo>
                  <a:pt x="2197" y="934"/>
                </a:lnTo>
                <a:lnTo>
                  <a:pt x="2195" y="933"/>
                </a:lnTo>
                <a:lnTo>
                  <a:pt x="2195" y="929"/>
                </a:lnTo>
                <a:lnTo>
                  <a:pt x="2197" y="928"/>
                </a:lnTo>
                <a:close/>
                <a:moveTo>
                  <a:pt x="1726" y="1771"/>
                </a:moveTo>
                <a:lnTo>
                  <a:pt x="1726" y="1770"/>
                </a:lnTo>
                <a:lnTo>
                  <a:pt x="1726" y="1771"/>
                </a:lnTo>
                <a:lnTo>
                  <a:pt x="1727" y="1771"/>
                </a:lnTo>
                <a:lnTo>
                  <a:pt x="1729" y="1773"/>
                </a:lnTo>
                <a:lnTo>
                  <a:pt x="1731" y="1773"/>
                </a:lnTo>
                <a:lnTo>
                  <a:pt x="1731" y="1775"/>
                </a:lnTo>
                <a:lnTo>
                  <a:pt x="1729" y="1776"/>
                </a:lnTo>
                <a:lnTo>
                  <a:pt x="1726" y="1775"/>
                </a:lnTo>
                <a:lnTo>
                  <a:pt x="1726" y="1773"/>
                </a:lnTo>
                <a:lnTo>
                  <a:pt x="1724" y="1771"/>
                </a:lnTo>
                <a:lnTo>
                  <a:pt x="1726" y="1771"/>
                </a:lnTo>
                <a:close/>
                <a:moveTo>
                  <a:pt x="2205" y="928"/>
                </a:moveTo>
                <a:lnTo>
                  <a:pt x="2207" y="928"/>
                </a:lnTo>
                <a:lnTo>
                  <a:pt x="2207" y="926"/>
                </a:lnTo>
                <a:lnTo>
                  <a:pt x="2209" y="929"/>
                </a:lnTo>
                <a:lnTo>
                  <a:pt x="2209" y="931"/>
                </a:lnTo>
                <a:lnTo>
                  <a:pt x="2207" y="933"/>
                </a:lnTo>
                <a:lnTo>
                  <a:pt x="2205" y="931"/>
                </a:lnTo>
                <a:lnTo>
                  <a:pt x="2205" y="929"/>
                </a:lnTo>
                <a:lnTo>
                  <a:pt x="2205" y="926"/>
                </a:lnTo>
                <a:lnTo>
                  <a:pt x="2205" y="924"/>
                </a:lnTo>
                <a:lnTo>
                  <a:pt x="2205" y="928"/>
                </a:lnTo>
                <a:close/>
                <a:moveTo>
                  <a:pt x="1979" y="1339"/>
                </a:moveTo>
                <a:lnTo>
                  <a:pt x="1979" y="1343"/>
                </a:lnTo>
                <a:lnTo>
                  <a:pt x="1977" y="1341"/>
                </a:lnTo>
                <a:lnTo>
                  <a:pt x="1976" y="1339"/>
                </a:lnTo>
                <a:lnTo>
                  <a:pt x="1976" y="1337"/>
                </a:lnTo>
                <a:lnTo>
                  <a:pt x="1974" y="1336"/>
                </a:lnTo>
                <a:lnTo>
                  <a:pt x="1974" y="1334"/>
                </a:lnTo>
                <a:lnTo>
                  <a:pt x="1976" y="1336"/>
                </a:lnTo>
                <a:lnTo>
                  <a:pt x="1977" y="1337"/>
                </a:lnTo>
                <a:lnTo>
                  <a:pt x="1979" y="1339"/>
                </a:lnTo>
                <a:close/>
                <a:moveTo>
                  <a:pt x="1673" y="1106"/>
                </a:moveTo>
                <a:lnTo>
                  <a:pt x="1675" y="1106"/>
                </a:lnTo>
                <a:lnTo>
                  <a:pt x="1671" y="1108"/>
                </a:lnTo>
                <a:lnTo>
                  <a:pt x="1673" y="1108"/>
                </a:lnTo>
                <a:lnTo>
                  <a:pt x="1671" y="1110"/>
                </a:lnTo>
                <a:lnTo>
                  <a:pt x="1670" y="1111"/>
                </a:lnTo>
                <a:lnTo>
                  <a:pt x="1670" y="1108"/>
                </a:lnTo>
                <a:lnTo>
                  <a:pt x="1671" y="1108"/>
                </a:lnTo>
                <a:lnTo>
                  <a:pt x="1673" y="1106"/>
                </a:lnTo>
                <a:close/>
                <a:moveTo>
                  <a:pt x="1678" y="1804"/>
                </a:moveTo>
                <a:lnTo>
                  <a:pt x="1678" y="1805"/>
                </a:lnTo>
                <a:lnTo>
                  <a:pt x="1676" y="1807"/>
                </a:lnTo>
                <a:lnTo>
                  <a:pt x="1676" y="1804"/>
                </a:lnTo>
                <a:lnTo>
                  <a:pt x="1675" y="1802"/>
                </a:lnTo>
                <a:lnTo>
                  <a:pt x="1675" y="1800"/>
                </a:lnTo>
                <a:lnTo>
                  <a:pt x="1676" y="1802"/>
                </a:lnTo>
                <a:lnTo>
                  <a:pt x="1678" y="1804"/>
                </a:lnTo>
                <a:close/>
                <a:moveTo>
                  <a:pt x="2883" y="2380"/>
                </a:moveTo>
                <a:lnTo>
                  <a:pt x="2883" y="2382"/>
                </a:lnTo>
                <a:lnTo>
                  <a:pt x="2885" y="2384"/>
                </a:lnTo>
                <a:lnTo>
                  <a:pt x="2887" y="2384"/>
                </a:lnTo>
                <a:lnTo>
                  <a:pt x="2888" y="2387"/>
                </a:lnTo>
                <a:lnTo>
                  <a:pt x="2890" y="2387"/>
                </a:lnTo>
                <a:lnTo>
                  <a:pt x="2888" y="2387"/>
                </a:lnTo>
                <a:lnTo>
                  <a:pt x="2887" y="2385"/>
                </a:lnTo>
                <a:lnTo>
                  <a:pt x="2887" y="2387"/>
                </a:lnTo>
                <a:lnTo>
                  <a:pt x="2885" y="2385"/>
                </a:lnTo>
                <a:lnTo>
                  <a:pt x="2885" y="2384"/>
                </a:lnTo>
                <a:lnTo>
                  <a:pt x="2883" y="2382"/>
                </a:lnTo>
                <a:lnTo>
                  <a:pt x="2882" y="2382"/>
                </a:lnTo>
                <a:lnTo>
                  <a:pt x="2882" y="2380"/>
                </a:lnTo>
                <a:lnTo>
                  <a:pt x="2883" y="2380"/>
                </a:lnTo>
                <a:close/>
                <a:moveTo>
                  <a:pt x="1721" y="1770"/>
                </a:moveTo>
                <a:lnTo>
                  <a:pt x="1724" y="1771"/>
                </a:lnTo>
                <a:lnTo>
                  <a:pt x="1724" y="1775"/>
                </a:lnTo>
                <a:lnTo>
                  <a:pt x="1724" y="1773"/>
                </a:lnTo>
                <a:lnTo>
                  <a:pt x="1722" y="1773"/>
                </a:lnTo>
                <a:lnTo>
                  <a:pt x="1722" y="1771"/>
                </a:lnTo>
                <a:lnTo>
                  <a:pt x="1721" y="1771"/>
                </a:lnTo>
                <a:lnTo>
                  <a:pt x="1721" y="1770"/>
                </a:lnTo>
                <a:close/>
                <a:moveTo>
                  <a:pt x="1721" y="1751"/>
                </a:moveTo>
                <a:lnTo>
                  <a:pt x="1722" y="1753"/>
                </a:lnTo>
                <a:lnTo>
                  <a:pt x="1724" y="1754"/>
                </a:lnTo>
                <a:lnTo>
                  <a:pt x="1722" y="1754"/>
                </a:lnTo>
                <a:lnTo>
                  <a:pt x="1724" y="1756"/>
                </a:lnTo>
                <a:lnTo>
                  <a:pt x="1722" y="1754"/>
                </a:lnTo>
                <a:lnTo>
                  <a:pt x="1722" y="1756"/>
                </a:lnTo>
                <a:lnTo>
                  <a:pt x="1721" y="1754"/>
                </a:lnTo>
                <a:lnTo>
                  <a:pt x="1721" y="1753"/>
                </a:lnTo>
                <a:lnTo>
                  <a:pt x="1721" y="1751"/>
                </a:lnTo>
                <a:close/>
                <a:moveTo>
                  <a:pt x="1853" y="1378"/>
                </a:moveTo>
                <a:lnTo>
                  <a:pt x="1855" y="1382"/>
                </a:lnTo>
                <a:lnTo>
                  <a:pt x="1853" y="1382"/>
                </a:lnTo>
                <a:lnTo>
                  <a:pt x="1852" y="1382"/>
                </a:lnTo>
                <a:lnTo>
                  <a:pt x="1853" y="1378"/>
                </a:lnTo>
                <a:close/>
                <a:moveTo>
                  <a:pt x="1768" y="1781"/>
                </a:moveTo>
                <a:lnTo>
                  <a:pt x="1770" y="1781"/>
                </a:lnTo>
                <a:lnTo>
                  <a:pt x="1772" y="1781"/>
                </a:lnTo>
                <a:lnTo>
                  <a:pt x="1773" y="1781"/>
                </a:lnTo>
                <a:lnTo>
                  <a:pt x="1772" y="1781"/>
                </a:lnTo>
                <a:lnTo>
                  <a:pt x="1773" y="1783"/>
                </a:lnTo>
                <a:lnTo>
                  <a:pt x="1773" y="1785"/>
                </a:lnTo>
                <a:lnTo>
                  <a:pt x="1772" y="1785"/>
                </a:lnTo>
                <a:lnTo>
                  <a:pt x="1770" y="1783"/>
                </a:lnTo>
                <a:lnTo>
                  <a:pt x="1770" y="1785"/>
                </a:lnTo>
                <a:lnTo>
                  <a:pt x="1770" y="1783"/>
                </a:lnTo>
                <a:lnTo>
                  <a:pt x="1768" y="1781"/>
                </a:lnTo>
                <a:close/>
                <a:moveTo>
                  <a:pt x="1719" y="1764"/>
                </a:moveTo>
                <a:lnTo>
                  <a:pt x="1721" y="1766"/>
                </a:lnTo>
                <a:lnTo>
                  <a:pt x="1722" y="1768"/>
                </a:lnTo>
                <a:lnTo>
                  <a:pt x="1724" y="1770"/>
                </a:lnTo>
                <a:lnTo>
                  <a:pt x="1722" y="1770"/>
                </a:lnTo>
                <a:lnTo>
                  <a:pt x="1724" y="1771"/>
                </a:lnTo>
                <a:lnTo>
                  <a:pt x="1722" y="1770"/>
                </a:lnTo>
                <a:lnTo>
                  <a:pt x="1722" y="1768"/>
                </a:lnTo>
                <a:lnTo>
                  <a:pt x="1721" y="1766"/>
                </a:lnTo>
                <a:lnTo>
                  <a:pt x="1719" y="1764"/>
                </a:lnTo>
                <a:close/>
                <a:moveTo>
                  <a:pt x="1722" y="1758"/>
                </a:moveTo>
                <a:lnTo>
                  <a:pt x="1724" y="1759"/>
                </a:lnTo>
                <a:lnTo>
                  <a:pt x="1727" y="1761"/>
                </a:lnTo>
                <a:lnTo>
                  <a:pt x="1726" y="1761"/>
                </a:lnTo>
                <a:lnTo>
                  <a:pt x="1724" y="1761"/>
                </a:lnTo>
                <a:lnTo>
                  <a:pt x="1722" y="1758"/>
                </a:lnTo>
                <a:close/>
                <a:moveTo>
                  <a:pt x="1977" y="1348"/>
                </a:moveTo>
                <a:lnTo>
                  <a:pt x="1979" y="1348"/>
                </a:lnTo>
                <a:lnTo>
                  <a:pt x="1977" y="1349"/>
                </a:lnTo>
                <a:lnTo>
                  <a:pt x="1979" y="1348"/>
                </a:lnTo>
                <a:lnTo>
                  <a:pt x="1981" y="1349"/>
                </a:lnTo>
                <a:lnTo>
                  <a:pt x="1977" y="1349"/>
                </a:lnTo>
                <a:lnTo>
                  <a:pt x="1976" y="1351"/>
                </a:lnTo>
                <a:lnTo>
                  <a:pt x="1977" y="1349"/>
                </a:lnTo>
                <a:lnTo>
                  <a:pt x="1977" y="1348"/>
                </a:lnTo>
                <a:close/>
                <a:moveTo>
                  <a:pt x="1705" y="1798"/>
                </a:moveTo>
                <a:lnTo>
                  <a:pt x="1709" y="1800"/>
                </a:lnTo>
                <a:lnTo>
                  <a:pt x="1705" y="1802"/>
                </a:lnTo>
                <a:lnTo>
                  <a:pt x="1705" y="1800"/>
                </a:lnTo>
                <a:lnTo>
                  <a:pt x="1705" y="1798"/>
                </a:lnTo>
                <a:close/>
                <a:moveTo>
                  <a:pt x="1976" y="1353"/>
                </a:moveTo>
                <a:lnTo>
                  <a:pt x="1974" y="1354"/>
                </a:lnTo>
                <a:lnTo>
                  <a:pt x="1974" y="1353"/>
                </a:lnTo>
                <a:lnTo>
                  <a:pt x="1974" y="1354"/>
                </a:lnTo>
                <a:lnTo>
                  <a:pt x="1974" y="1353"/>
                </a:lnTo>
                <a:lnTo>
                  <a:pt x="1976" y="1353"/>
                </a:lnTo>
                <a:close/>
                <a:moveTo>
                  <a:pt x="2885" y="2377"/>
                </a:moveTo>
                <a:lnTo>
                  <a:pt x="2887" y="2380"/>
                </a:lnTo>
                <a:lnTo>
                  <a:pt x="2887" y="2382"/>
                </a:lnTo>
                <a:lnTo>
                  <a:pt x="2885" y="2380"/>
                </a:lnTo>
                <a:lnTo>
                  <a:pt x="2883" y="2379"/>
                </a:lnTo>
                <a:lnTo>
                  <a:pt x="2885" y="2377"/>
                </a:lnTo>
                <a:close/>
                <a:moveTo>
                  <a:pt x="1714" y="1104"/>
                </a:moveTo>
                <a:lnTo>
                  <a:pt x="1716" y="1104"/>
                </a:lnTo>
                <a:lnTo>
                  <a:pt x="1717" y="1104"/>
                </a:lnTo>
                <a:lnTo>
                  <a:pt x="1716" y="1106"/>
                </a:lnTo>
                <a:lnTo>
                  <a:pt x="1714" y="1104"/>
                </a:lnTo>
                <a:close/>
                <a:moveTo>
                  <a:pt x="1734" y="1935"/>
                </a:moveTo>
                <a:lnTo>
                  <a:pt x="1734" y="1938"/>
                </a:lnTo>
                <a:lnTo>
                  <a:pt x="1733" y="1936"/>
                </a:lnTo>
                <a:lnTo>
                  <a:pt x="1734" y="1935"/>
                </a:lnTo>
                <a:close/>
                <a:moveTo>
                  <a:pt x="1688" y="1817"/>
                </a:moveTo>
                <a:lnTo>
                  <a:pt x="1687" y="1817"/>
                </a:lnTo>
                <a:lnTo>
                  <a:pt x="1687" y="1815"/>
                </a:lnTo>
                <a:lnTo>
                  <a:pt x="1688" y="1815"/>
                </a:lnTo>
                <a:lnTo>
                  <a:pt x="1688" y="1817"/>
                </a:lnTo>
                <a:close/>
                <a:moveTo>
                  <a:pt x="1974" y="1356"/>
                </a:moveTo>
                <a:lnTo>
                  <a:pt x="1972" y="1358"/>
                </a:lnTo>
                <a:lnTo>
                  <a:pt x="1972" y="1360"/>
                </a:lnTo>
                <a:lnTo>
                  <a:pt x="1972" y="1358"/>
                </a:lnTo>
                <a:lnTo>
                  <a:pt x="1974" y="1356"/>
                </a:lnTo>
                <a:close/>
                <a:moveTo>
                  <a:pt x="1722" y="1742"/>
                </a:moveTo>
                <a:lnTo>
                  <a:pt x="1724" y="1742"/>
                </a:lnTo>
                <a:lnTo>
                  <a:pt x="1724" y="1744"/>
                </a:lnTo>
                <a:lnTo>
                  <a:pt x="1722" y="1744"/>
                </a:lnTo>
                <a:lnTo>
                  <a:pt x="1722" y="1742"/>
                </a:lnTo>
                <a:close/>
                <a:moveTo>
                  <a:pt x="1719" y="1751"/>
                </a:moveTo>
                <a:lnTo>
                  <a:pt x="1721" y="1753"/>
                </a:lnTo>
                <a:lnTo>
                  <a:pt x="1719" y="1753"/>
                </a:lnTo>
                <a:lnTo>
                  <a:pt x="1719" y="1751"/>
                </a:lnTo>
                <a:close/>
                <a:moveTo>
                  <a:pt x="1724" y="1793"/>
                </a:moveTo>
                <a:lnTo>
                  <a:pt x="1726" y="1793"/>
                </a:lnTo>
                <a:lnTo>
                  <a:pt x="1726" y="1795"/>
                </a:lnTo>
                <a:lnTo>
                  <a:pt x="1724" y="1795"/>
                </a:lnTo>
                <a:lnTo>
                  <a:pt x="1724" y="1793"/>
                </a:lnTo>
                <a:close/>
                <a:moveTo>
                  <a:pt x="1976" y="1354"/>
                </a:moveTo>
                <a:lnTo>
                  <a:pt x="1977" y="1356"/>
                </a:lnTo>
                <a:lnTo>
                  <a:pt x="1976" y="1356"/>
                </a:lnTo>
                <a:lnTo>
                  <a:pt x="1976" y="1354"/>
                </a:lnTo>
                <a:close/>
                <a:moveTo>
                  <a:pt x="1685" y="1118"/>
                </a:moveTo>
                <a:lnTo>
                  <a:pt x="1687" y="1118"/>
                </a:lnTo>
                <a:lnTo>
                  <a:pt x="1685" y="1120"/>
                </a:lnTo>
                <a:lnTo>
                  <a:pt x="1685" y="1118"/>
                </a:lnTo>
                <a:close/>
                <a:moveTo>
                  <a:pt x="1974" y="1356"/>
                </a:moveTo>
                <a:lnTo>
                  <a:pt x="1976" y="1356"/>
                </a:lnTo>
                <a:lnTo>
                  <a:pt x="1976" y="1358"/>
                </a:lnTo>
                <a:lnTo>
                  <a:pt x="1974" y="1356"/>
                </a:lnTo>
                <a:close/>
                <a:moveTo>
                  <a:pt x="1722" y="1756"/>
                </a:moveTo>
                <a:lnTo>
                  <a:pt x="1724" y="1758"/>
                </a:lnTo>
                <a:lnTo>
                  <a:pt x="1722" y="1758"/>
                </a:lnTo>
                <a:lnTo>
                  <a:pt x="1722" y="1756"/>
                </a:lnTo>
                <a:close/>
                <a:moveTo>
                  <a:pt x="1979" y="1360"/>
                </a:moveTo>
                <a:lnTo>
                  <a:pt x="1981" y="1360"/>
                </a:lnTo>
                <a:lnTo>
                  <a:pt x="1977" y="1360"/>
                </a:lnTo>
                <a:lnTo>
                  <a:pt x="1979" y="1360"/>
                </a:lnTo>
                <a:close/>
                <a:moveTo>
                  <a:pt x="1712" y="1797"/>
                </a:moveTo>
                <a:lnTo>
                  <a:pt x="1714" y="1797"/>
                </a:lnTo>
                <a:lnTo>
                  <a:pt x="1712" y="1798"/>
                </a:lnTo>
                <a:lnTo>
                  <a:pt x="1712" y="1797"/>
                </a:lnTo>
                <a:close/>
                <a:moveTo>
                  <a:pt x="1717" y="1754"/>
                </a:moveTo>
                <a:lnTo>
                  <a:pt x="1717" y="1756"/>
                </a:lnTo>
                <a:lnTo>
                  <a:pt x="1717" y="1754"/>
                </a:lnTo>
                <a:close/>
                <a:moveTo>
                  <a:pt x="1789" y="1787"/>
                </a:moveTo>
                <a:lnTo>
                  <a:pt x="1790" y="1785"/>
                </a:lnTo>
                <a:lnTo>
                  <a:pt x="1789" y="1787"/>
                </a:lnTo>
                <a:close/>
                <a:moveTo>
                  <a:pt x="1726" y="1761"/>
                </a:moveTo>
                <a:lnTo>
                  <a:pt x="1727" y="1761"/>
                </a:lnTo>
                <a:lnTo>
                  <a:pt x="1727" y="1763"/>
                </a:lnTo>
                <a:lnTo>
                  <a:pt x="1726" y="1761"/>
                </a:lnTo>
                <a:close/>
                <a:moveTo>
                  <a:pt x="1658" y="1106"/>
                </a:moveTo>
                <a:lnTo>
                  <a:pt x="1659" y="1106"/>
                </a:lnTo>
                <a:lnTo>
                  <a:pt x="1659" y="1108"/>
                </a:lnTo>
                <a:lnTo>
                  <a:pt x="1658" y="1106"/>
                </a:lnTo>
                <a:close/>
                <a:moveTo>
                  <a:pt x="1972" y="1361"/>
                </a:moveTo>
                <a:lnTo>
                  <a:pt x="1974" y="1363"/>
                </a:lnTo>
                <a:lnTo>
                  <a:pt x="1972" y="1363"/>
                </a:lnTo>
                <a:lnTo>
                  <a:pt x="1972" y="1361"/>
                </a:lnTo>
                <a:close/>
                <a:moveTo>
                  <a:pt x="1721" y="1756"/>
                </a:moveTo>
                <a:lnTo>
                  <a:pt x="1722" y="1756"/>
                </a:lnTo>
                <a:lnTo>
                  <a:pt x="1722" y="1758"/>
                </a:lnTo>
                <a:lnTo>
                  <a:pt x="1721" y="1756"/>
                </a:lnTo>
                <a:close/>
                <a:moveTo>
                  <a:pt x="1775" y="1780"/>
                </a:moveTo>
                <a:lnTo>
                  <a:pt x="1773" y="1781"/>
                </a:lnTo>
                <a:lnTo>
                  <a:pt x="1773" y="1780"/>
                </a:lnTo>
                <a:lnTo>
                  <a:pt x="1775" y="1780"/>
                </a:lnTo>
                <a:close/>
                <a:moveTo>
                  <a:pt x="1415" y="2003"/>
                </a:moveTo>
                <a:lnTo>
                  <a:pt x="1418" y="2004"/>
                </a:lnTo>
                <a:lnTo>
                  <a:pt x="1420" y="2003"/>
                </a:lnTo>
                <a:lnTo>
                  <a:pt x="1420" y="2004"/>
                </a:lnTo>
                <a:lnTo>
                  <a:pt x="1421" y="2006"/>
                </a:lnTo>
                <a:lnTo>
                  <a:pt x="1421" y="2008"/>
                </a:lnTo>
                <a:lnTo>
                  <a:pt x="1423" y="2008"/>
                </a:lnTo>
                <a:lnTo>
                  <a:pt x="1423" y="2009"/>
                </a:lnTo>
                <a:lnTo>
                  <a:pt x="1421" y="2009"/>
                </a:lnTo>
                <a:lnTo>
                  <a:pt x="1420" y="2013"/>
                </a:lnTo>
                <a:lnTo>
                  <a:pt x="1421" y="2013"/>
                </a:lnTo>
                <a:lnTo>
                  <a:pt x="1421" y="2015"/>
                </a:lnTo>
                <a:lnTo>
                  <a:pt x="1421" y="2016"/>
                </a:lnTo>
                <a:lnTo>
                  <a:pt x="1420" y="2013"/>
                </a:lnTo>
                <a:lnTo>
                  <a:pt x="1420" y="2015"/>
                </a:lnTo>
                <a:lnTo>
                  <a:pt x="1418" y="2013"/>
                </a:lnTo>
                <a:lnTo>
                  <a:pt x="1418" y="2015"/>
                </a:lnTo>
                <a:lnTo>
                  <a:pt x="1420" y="2016"/>
                </a:lnTo>
                <a:lnTo>
                  <a:pt x="1420" y="2018"/>
                </a:lnTo>
                <a:lnTo>
                  <a:pt x="1418" y="2016"/>
                </a:lnTo>
                <a:lnTo>
                  <a:pt x="1418" y="2018"/>
                </a:lnTo>
                <a:lnTo>
                  <a:pt x="1416" y="2016"/>
                </a:lnTo>
                <a:lnTo>
                  <a:pt x="1415" y="2018"/>
                </a:lnTo>
                <a:lnTo>
                  <a:pt x="1415" y="2016"/>
                </a:lnTo>
                <a:lnTo>
                  <a:pt x="1413" y="2016"/>
                </a:lnTo>
                <a:lnTo>
                  <a:pt x="1415" y="2018"/>
                </a:lnTo>
                <a:lnTo>
                  <a:pt x="1413" y="2018"/>
                </a:lnTo>
                <a:lnTo>
                  <a:pt x="1415" y="2020"/>
                </a:lnTo>
                <a:lnTo>
                  <a:pt x="1415" y="2021"/>
                </a:lnTo>
                <a:lnTo>
                  <a:pt x="1413" y="2023"/>
                </a:lnTo>
                <a:lnTo>
                  <a:pt x="1413" y="2026"/>
                </a:lnTo>
                <a:lnTo>
                  <a:pt x="1415" y="2026"/>
                </a:lnTo>
                <a:lnTo>
                  <a:pt x="1415" y="2028"/>
                </a:lnTo>
                <a:lnTo>
                  <a:pt x="1415" y="2030"/>
                </a:lnTo>
                <a:lnTo>
                  <a:pt x="1415" y="2032"/>
                </a:lnTo>
                <a:lnTo>
                  <a:pt x="1413" y="2033"/>
                </a:lnTo>
                <a:lnTo>
                  <a:pt x="1415" y="2035"/>
                </a:lnTo>
                <a:lnTo>
                  <a:pt x="1415" y="2037"/>
                </a:lnTo>
                <a:lnTo>
                  <a:pt x="1416" y="2035"/>
                </a:lnTo>
                <a:lnTo>
                  <a:pt x="1415" y="2037"/>
                </a:lnTo>
                <a:lnTo>
                  <a:pt x="1416" y="2038"/>
                </a:lnTo>
                <a:lnTo>
                  <a:pt x="1420" y="2037"/>
                </a:lnTo>
                <a:lnTo>
                  <a:pt x="1421" y="2038"/>
                </a:lnTo>
                <a:lnTo>
                  <a:pt x="1421" y="2040"/>
                </a:lnTo>
                <a:lnTo>
                  <a:pt x="1420" y="2042"/>
                </a:lnTo>
                <a:lnTo>
                  <a:pt x="1418" y="2040"/>
                </a:lnTo>
                <a:lnTo>
                  <a:pt x="1416" y="2043"/>
                </a:lnTo>
                <a:lnTo>
                  <a:pt x="1415" y="2043"/>
                </a:lnTo>
                <a:lnTo>
                  <a:pt x="1413" y="2045"/>
                </a:lnTo>
                <a:lnTo>
                  <a:pt x="1413" y="2047"/>
                </a:lnTo>
                <a:lnTo>
                  <a:pt x="1413" y="2049"/>
                </a:lnTo>
                <a:lnTo>
                  <a:pt x="1415" y="2050"/>
                </a:lnTo>
                <a:lnTo>
                  <a:pt x="1415" y="2052"/>
                </a:lnTo>
                <a:lnTo>
                  <a:pt x="1413" y="2052"/>
                </a:lnTo>
                <a:lnTo>
                  <a:pt x="1415" y="2052"/>
                </a:lnTo>
                <a:lnTo>
                  <a:pt x="1415" y="2054"/>
                </a:lnTo>
                <a:lnTo>
                  <a:pt x="1413" y="2054"/>
                </a:lnTo>
                <a:lnTo>
                  <a:pt x="1411" y="2054"/>
                </a:lnTo>
                <a:lnTo>
                  <a:pt x="1408" y="2055"/>
                </a:lnTo>
                <a:lnTo>
                  <a:pt x="1410" y="2055"/>
                </a:lnTo>
                <a:lnTo>
                  <a:pt x="1408" y="2057"/>
                </a:lnTo>
                <a:lnTo>
                  <a:pt x="1406" y="2057"/>
                </a:lnTo>
                <a:lnTo>
                  <a:pt x="1406" y="2059"/>
                </a:lnTo>
                <a:lnTo>
                  <a:pt x="1404" y="2059"/>
                </a:lnTo>
                <a:lnTo>
                  <a:pt x="1403" y="2060"/>
                </a:lnTo>
                <a:lnTo>
                  <a:pt x="1403" y="2062"/>
                </a:lnTo>
                <a:lnTo>
                  <a:pt x="1406" y="2062"/>
                </a:lnTo>
                <a:lnTo>
                  <a:pt x="1404" y="2062"/>
                </a:lnTo>
                <a:lnTo>
                  <a:pt x="1403" y="2064"/>
                </a:lnTo>
                <a:lnTo>
                  <a:pt x="1401" y="2066"/>
                </a:lnTo>
                <a:lnTo>
                  <a:pt x="1403" y="2067"/>
                </a:lnTo>
                <a:lnTo>
                  <a:pt x="1403" y="2069"/>
                </a:lnTo>
                <a:lnTo>
                  <a:pt x="1404" y="2071"/>
                </a:lnTo>
                <a:lnTo>
                  <a:pt x="1403" y="2071"/>
                </a:lnTo>
                <a:lnTo>
                  <a:pt x="1401" y="2072"/>
                </a:lnTo>
                <a:lnTo>
                  <a:pt x="1401" y="2076"/>
                </a:lnTo>
                <a:lnTo>
                  <a:pt x="1399" y="2076"/>
                </a:lnTo>
                <a:lnTo>
                  <a:pt x="1398" y="2077"/>
                </a:lnTo>
                <a:lnTo>
                  <a:pt x="1394" y="2077"/>
                </a:lnTo>
                <a:lnTo>
                  <a:pt x="1396" y="2074"/>
                </a:lnTo>
                <a:lnTo>
                  <a:pt x="1398" y="2072"/>
                </a:lnTo>
                <a:lnTo>
                  <a:pt x="1396" y="2071"/>
                </a:lnTo>
                <a:lnTo>
                  <a:pt x="1398" y="2069"/>
                </a:lnTo>
                <a:lnTo>
                  <a:pt x="1399" y="2069"/>
                </a:lnTo>
                <a:lnTo>
                  <a:pt x="1399" y="2067"/>
                </a:lnTo>
                <a:lnTo>
                  <a:pt x="1399" y="2064"/>
                </a:lnTo>
                <a:lnTo>
                  <a:pt x="1399" y="2066"/>
                </a:lnTo>
                <a:lnTo>
                  <a:pt x="1398" y="2067"/>
                </a:lnTo>
                <a:lnTo>
                  <a:pt x="1396" y="2066"/>
                </a:lnTo>
                <a:lnTo>
                  <a:pt x="1396" y="2062"/>
                </a:lnTo>
                <a:lnTo>
                  <a:pt x="1394" y="2060"/>
                </a:lnTo>
                <a:lnTo>
                  <a:pt x="1394" y="2059"/>
                </a:lnTo>
                <a:lnTo>
                  <a:pt x="1394" y="2057"/>
                </a:lnTo>
                <a:lnTo>
                  <a:pt x="1393" y="2055"/>
                </a:lnTo>
                <a:lnTo>
                  <a:pt x="1391" y="2054"/>
                </a:lnTo>
                <a:lnTo>
                  <a:pt x="1391" y="2052"/>
                </a:lnTo>
                <a:lnTo>
                  <a:pt x="1393" y="2050"/>
                </a:lnTo>
                <a:lnTo>
                  <a:pt x="1393" y="2049"/>
                </a:lnTo>
                <a:lnTo>
                  <a:pt x="1394" y="2047"/>
                </a:lnTo>
                <a:lnTo>
                  <a:pt x="1393" y="2045"/>
                </a:lnTo>
                <a:lnTo>
                  <a:pt x="1394" y="2043"/>
                </a:lnTo>
                <a:lnTo>
                  <a:pt x="1393" y="2043"/>
                </a:lnTo>
                <a:lnTo>
                  <a:pt x="1391" y="2042"/>
                </a:lnTo>
                <a:lnTo>
                  <a:pt x="1391" y="2040"/>
                </a:lnTo>
                <a:lnTo>
                  <a:pt x="1391" y="2037"/>
                </a:lnTo>
                <a:lnTo>
                  <a:pt x="1389" y="2037"/>
                </a:lnTo>
                <a:lnTo>
                  <a:pt x="1389" y="2035"/>
                </a:lnTo>
                <a:lnTo>
                  <a:pt x="1391" y="2032"/>
                </a:lnTo>
                <a:lnTo>
                  <a:pt x="1391" y="2030"/>
                </a:lnTo>
                <a:lnTo>
                  <a:pt x="1393" y="2030"/>
                </a:lnTo>
                <a:lnTo>
                  <a:pt x="1394" y="2028"/>
                </a:lnTo>
                <a:lnTo>
                  <a:pt x="1394" y="2026"/>
                </a:lnTo>
                <a:lnTo>
                  <a:pt x="1396" y="2025"/>
                </a:lnTo>
                <a:lnTo>
                  <a:pt x="1396" y="2023"/>
                </a:lnTo>
                <a:lnTo>
                  <a:pt x="1398" y="2023"/>
                </a:lnTo>
                <a:lnTo>
                  <a:pt x="1398" y="2020"/>
                </a:lnTo>
                <a:lnTo>
                  <a:pt x="1399" y="2018"/>
                </a:lnTo>
                <a:lnTo>
                  <a:pt x="1399" y="2016"/>
                </a:lnTo>
                <a:lnTo>
                  <a:pt x="1399" y="2013"/>
                </a:lnTo>
                <a:lnTo>
                  <a:pt x="1403" y="2013"/>
                </a:lnTo>
                <a:lnTo>
                  <a:pt x="1403" y="2011"/>
                </a:lnTo>
                <a:lnTo>
                  <a:pt x="1404" y="2011"/>
                </a:lnTo>
                <a:lnTo>
                  <a:pt x="1406" y="2008"/>
                </a:lnTo>
                <a:lnTo>
                  <a:pt x="1406" y="2006"/>
                </a:lnTo>
                <a:lnTo>
                  <a:pt x="1408" y="2004"/>
                </a:lnTo>
                <a:lnTo>
                  <a:pt x="1410" y="2004"/>
                </a:lnTo>
                <a:lnTo>
                  <a:pt x="1411" y="2006"/>
                </a:lnTo>
                <a:lnTo>
                  <a:pt x="1411" y="2008"/>
                </a:lnTo>
                <a:lnTo>
                  <a:pt x="1411" y="2009"/>
                </a:lnTo>
                <a:lnTo>
                  <a:pt x="1413" y="2011"/>
                </a:lnTo>
                <a:lnTo>
                  <a:pt x="1413" y="2008"/>
                </a:lnTo>
                <a:lnTo>
                  <a:pt x="1415" y="2008"/>
                </a:lnTo>
                <a:lnTo>
                  <a:pt x="1413" y="2004"/>
                </a:lnTo>
                <a:lnTo>
                  <a:pt x="1415" y="2003"/>
                </a:lnTo>
                <a:close/>
                <a:moveTo>
                  <a:pt x="1234" y="1229"/>
                </a:moveTo>
                <a:lnTo>
                  <a:pt x="1236" y="1230"/>
                </a:lnTo>
                <a:lnTo>
                  <a:pt x="1238" y="1229"/>
                </a:lnTo>
                <a:lnTo>
                  <a:pt x="1240" y="1229"/>
                </a:lnTo>
                <a:lnTo>
                  <a:pt x="1240" y="1230"/>
                </a:lnTo>
                <a:lnTo>
                  <a:pt x="1241" y="1232"/>
                </a:lnTo>
                <a:lnTo>
                  <a:pt x="1241" y="1234"/>
                </a:lnTo>
                <a:lnTo>
                  <a:pt x="1241" y="1235"/>
                </a:lnTo>
                <a:lnTo>
                  <a:pt x="1241" y="1237"/>
                </a:lnTo>
                <a:lnTo>
                  <a:pt x="1241" y="1241"/>
                </a:lnTo>
                <a:lnTo>
                  <a:pt x="1241" y="1242"/>
                </a:lnTo>
                <a:lnTo>
                  <a:pt x="1240" y="1242"/>
                </a:lnTo>
                <a:lnTo>
                  <a:pt x="1240" y="1246"/>
                </a:lnTo>
                <a:lnTo>
                  <a:pt x="1238" y="1246"/>
                </a:lnTo>
                <a:lnTo>
                  <a:pt x="1240" y="1246"/>
                </a:lnTo>
                <a:lnTo>
                  <a:pt x="1241" y="1242"/>
                </a:lnTo>
                <a:lnTo>
                  <a:pt x="1243" y="1241"/>
                </a:lnTo>
                <a:lnTo>
                  <a:pt x="1243" y="1242"/>
                </a:lnTo>
                <a:lnTo>
                  <a:pt x="1245" y="1244"/>
                </a:lnTo>
                <a:lnTo>
                  <a:pt x="1243" y="1247"/>
                </a:lnTo>
                <a:lnTo>
                  <a:pt x="1241" y="1251"/>
                </a:lnTo>
                <a:lnTo>
                  <a:pt x="1241" y="1252"/>
                </a:lnTo>
                <a:lnTo>
                  <a:pt x="1240" y="1252"/>
                </a:lnTo>
                <a:lnTo>
                  <a:pt x="1238" y="1254"/>
                </a:lnTo>
                <a:lnTo>
                  <a:pt x="1240" y="1256"/>
                </a:lnTo>
                <a:lnTo>
                  <a:pt x="1240" y="1259"/>
                </a:lnTo>
                <a:lnTo>
                  <a:pt x="1238" y="1259"/>
                </a:lnTo>
                <a:lnTo>
                  <a:pt x="1238" y="1261"/>
                </a:lnTo>
                <a:lnTo>
                  <a:pt x="1238" y="1259"/>
                </a:lnTo>
                <a:lnTo>
                  <a:pt x="1240" y="1258"/>
                </a:lnTo>
                <a:lnTo>
                  <a:pt x="1240" y="1256"/>
                </a:lnTo>
                <a:lnTo>
                  <a:pt x="1240" y="1254"/>
                </a:lnTo>
                <a:lnTo>
                  <a:pt x="1241" y="1252"/>
                </a:lnTo>
                <a:lnTo>
                  <a:pt x="1243" y="1252"/>
                </a:lnTo>
                <a:lnTo>
                  <a:pt x="1245" y="1251"/>
                </a:lnTo>
                <a:lnTo>
                  <a:pt x="1246" y="1251"/>
                </a:lnTo>
                <a:lnTo>
                  <a:pt x="1246" y="1252"/>
                </a:lnTo>
                <a:lnTo>
                  <a:pt x="1246" y="1251"/>
                </a:lnTo>
                <a:lnTo>
                  <a:pt x="1245" y="1249"/>
                </a:lnTo>
                <a:lnTo>
                  <a:pt x="1245" y="1247"/>
                </a:lnTo>
                <a:lnTo>
                  <a:pt x="1245" y="1246"/>
                </a:lnTo>
                <a:lnTo>
                  <a:pt x="1246" y="1244"/>
                </a:lnTo>
                <a:lnTo>
                  <a:pt x="1248" y="1246"/>
                </a:lnTo>
                <a:lnTo>
                  <a:pt x="1250" y="1246"/>
                </a:lnTo>
                <a:lnTo>
                  <a:pt x="1251" y="1247"/>
                </a:lnTo>
                <a:lnTo>
                  <a:pt x="1250" y="1246"/>
                </a:lnTo>
                <a:lnTo>
                  <a:pt x="1251" y="1244"/>
                </a:lnTo>
                <a:lnTo>
                  <a:pt x="1250" y="1244"/>
                </a:lnTo>
                <a:lnTo>
                  <a:pt x="1248" y="1242"/>
                </a:lnTo>
                <a:lnTo>
                  <a:pt x="1246" y="1242"/>
                </a:lnTo>
                <a:lnTo>
                  <a:pt x="1246" y="1239"/>
                </a:lnTo>
                <a:lnTo>
                  <a:pt x="1246" y="1237"/>
                </a:lnTo>
                <a:lnTo>
                  <a:pt x="1248" y="1235"/>
                </a:lnTo>
                <a:lnTo>
                  <a:pt x="1250" y="1235"/>
                </a:lnTo>
                <a:lnTo>
                  <a:pt x="1251" y="1237"/>
                </a:lnTo>
                <a:lnTo>
                  <a:pt x="1251" y="1235"/>
                </a:lnTo>
                <a:lnTo>
                  <a:pt x="1250" y="1234"/>
                </a:lnTo>
                <a:lnTo>
                  <a:pt x="1250" y="1232"/>
                </a:lnTo>
                <a:lnTo>
                  <a:pt x="1251" y="1234"/>
                </a:lnTo>
                <a:lnTo>
                  <a:pt x="1255" y="1235"/>
                </a:lnTo>
                <a:lnTo>
                  <a:pt x="1257" y="1235"/>
                </a:lnTo>
                <a:lnTo>
                  <a:pt x="1257" y="1239"/>
                </a:lnTo>
                <a:lnTo>
                  <a:pt x="1258" y="1237"/>
                </a:lnTo>
                <a:lnTo>
                  <a:pt x="1258" y="1239"/>
                </a:lnTo>
                <a:lnTo>
                  <a:pt x="1258" y="1241"/>
                </a:lnTo>
                <a:lnTo>
                  <a:pt x="1260" y="1241"/>
                </a:lnTo>
                <a:lnTo>
                  <a:pt x="1258" y="1242"/>
                </a:lnTo>
                <a:lnTo>
                  <a:pt x="1260" y="1244"/>
                </a:lnTo>
                <a:lnTo>
                  <a:pt x="1258" y="1246"/>
                </a:lnTo>
                <a:lnTo>
                  <a:pt x="1260" y="1246"/>
                </a:lnTo>
                <a:lnTo>
                  <a:pt x="1260" y="1244"/>
                </a:lnTo>
                <a:lnTo>
                  <a:pt x="1260" y="1246"/>
                </a:lnTo>
                <a:lnTo>
                  <a:pt x="1258" y="1249"/>
                </a:lnTo>
                <a:lnTo>
                  <a:pt x="1260" y="1249"/>
                </a:lnTo>
                <a:lnTo>
                  <a:pt x="1262" y="1249"/>
                </a:lnTo>
                <a:lnTo>
                  <a:pt x="1260" y="1249"/>
                </a:lnTo>
                <a:lnTo>
                  <a:pt x="1260" y="1251"/>
                </a:lnTo>
                <a:lnTo>
                  <a:pt x="1260" y="1252"/>
                </a:lnTo>
                <a:lnTo>
                  <a:pt x="1258" y="1254"/>
                </a:lnTo>
                <a:lnTo>
                  <a:pt x="1258" y="1256"/>
                </a:lnTo>
                <a:lnTo>
                  <a:pt x="1257" y="1258"/>
                </a:lnTo>
                <a:lnTo>
                  <a:pt x="1255" y="1258"/>
                </a:lnTo>
                <a:lnTo>
                  <a:pt x="1253" y="1258"/>
                </a:lnTo>
                <a:lnTo>
                  <a:pt x="1251" y="1258"/>
                </a:lnTo>
                <a:lnTo>
                  <a:pt x="1250" y="1258"/>
                </a:lnTo>
                <a:lnTo>
                  <a:pt x="1250" y="1261"/>
                </a:lnTo>
                <a:lnTo>
                  <a:pt x="1248" y="1259"/>
                </a:lnTo>
                <a:lnTo>
                  <a:pt x="1248" y="1261"/>
                </a:lnTo>
                <a:lnTo>
                  <a:pt x="1248" y="1263"/>
                </a:lnTo>
                <a:lnTo>
                  <a:pt x="1248" y="1264"/>
                </a:lnTo>
                <a:lnTo>
                  <a:pt x="1246" y="1266"/>
                </a:lnTo>
                <a:lnTo>
                  <a:pt x="1246" y="1269"/>
                </a:lnTo>
                <a:lnTo>
                  <a:pt x="1243" y="1271"/>
                </a:lnTo>
                <a:lnTo>
                  <a:pt x="1243" y="1268"/>
                </a:lnTo>
                <a:lnTo>
                  <a:pt x="1243" y="1266"/>
                </a:lnTo>
                <a:lnTo>
                  <a:pt x="1243" y="1264"/>
                </a:lnTo>
                <a:lnTo>
                  <a:pt x="1241" y="1263"/>
                </a:lnTo>
                <a:lnTo>
                  <a:pt x="1241" y="1264"/>
                </a:lnTo>
                <a:lnTo>
                  <a:pt x="1243" y="1266"/>
                </a:lnTo>
                <a:lnTo>
                  <a:pt x="1241" y="1268"/>
                </a:lnTo>
                <a:lnTo>
                  <a:pt x="1240" y="1266"/>
                </a:lnTo>
                <a:lnTo>
                  <a:pt x="1240" y="1268"/>
                </a:lnTo>
                <a:lnTo>
                  <a:pt x="1241" y="1268"/>
                </a:lnTo>
                <a:lnTo>
                  <a:pt x="1241" y="1269"/>
                </a:lnTo>
                <a:lnTo>
                  <a:pt x="1240" y="1269"/>
                </a:lnTo>
                <a:lnTo>
                  <a:pt x="1240" y="1268"/>
                </a:lnTo>
                <a:lnTo>
                  <a:pt x="1240" y="1269"/>
                </a:lnTo>
                <a:lnTo>
                  <a:pt x="1240" y="1273"/>
                </a:lnTo>
                <a:lnTo>
                  <a:pt x="1236" y="1273"/>
                </a:lnTo>
                <a:lnTo>
                  <a:pt x="1238" y="1273"/>
                </a:lnTo>
                <a:lnTo>
                  <a:pt x="1240" y="1273"/>
                </a:lnTo>
                <a:lnTo>
                  <a:pt x="1238" y="1273"/>
                </a:lnTo>
                <a:lnTo>
                  <a:pt x="1238" y="1275"/>
                </a:lnTo>
                <a:lnTo>
                  <a:pt x="1238" y="1276"/>
                </a:lnTo>
                <a:lnTo>
                  <a:pt x="1236" y="1276"/>
                </a:lnTo>
                <a:lnTo>
                  <a:pt x="1238" y="1278"/>
                </a:lnTo>
                <a:lnTo>
                  <a:pt x="1236" y="1278"/>
                </a:lnTo>
                <a:lnTo>
                  <a:pt x="1234" y="1278"/>
                </a:lnTo>
                <a:lnTo>
                  <a:pt x="1236" y="1278"/>
                </a:lnTo>
                <a:lnTo>
                  <a:pt x="1234" y="1276"/>
                </a:lnTo>
                <a:lnTo>
                  <a:pt x="1234" y="1278"/>
                </a:lnTo>
                <a:lnTo>
                  <a:pt x="1234" y="1276"/>
                </a:lnTo>
                <a:lnTo>
                  <a:pt x="1236" y="1276"/>
                </a:lnTo>
                <a:lnTo>
                  <a:pt x="1234" y="1276"/>
                </a:lnTo>
                <a:lnTo>
                  <a:pt x="1233" y="1276"/>
                </a:lnTo>
                <a:lnTo>
                  <a:pt x="1233" y="1275"/>
                </a:lnTo>
                <a:lnTo>
                  <a:pt x="1233" y="1276"/>
                </a:lnTo>
                <a:lnTo>
                  <a:pt x="1231" y="1275"/>
                </a:lnTo>
                <a:lnTo>
                  <a:pt x="1231" y="1276"/>
                </a:lnTo>
                <a:lnTo>
                  <a:pt x="1231" y="1275"/>
                </a:lnTo>
                <a:lnTo>
                  <a:pt x="1229" y="1275"/>
                </a:lnTo>
                <a:lnTo>
                  <a:pt x="1229" y="1276"/>
                </a:lnTo>
                <a:lnTo>
                  <a:pt x="1228" y="1275"/>
                </a:lnTo>
                <a:lnTo>
                  <a:pt x="1229" y="1275"/>
                </a:lnTo>
                <a:lnTo>
                  <a:pt x="1229" y="1273"/>
                </a:lnTo>
                <a:lnTo>
                  <a:pt x="1229" y="1271"/>
                </a:lnTo>
                <a:lnTo>
                  <a:pt x="1231" y="1269"/>
                </a:lnTo>
                <a:lnTo>
                  <a:pt x="1233" y="1269"/>
                </a:lnTo>
                <a:lnTo>
                  <a:pt x="1233" y="1268"/>
                </a:lnTo>
                <a:lnTo>
                  <a:pt x="1233" y="1266"/>
                </a:lnTo>
                <a:lnTo>
                  <a:pt x="1234" y="1264"/>
                </a:lnTo>
                <a:lnTo>
                  <a:pt x="1234" y="1263"/>
                </a:lnTo>
                <a:lnTo>
                  <a:pt x="1233" y="1263"/>
                </a:lnTo>
                <a:lnTo>
                  <a:pt x="1234" y="1264"/>
                </a:lnTo>
                <a:lnTo>
                  <a:pt x="1233" y="1266"/>
                </a:lnTo>
                <a:lnTo>
                  <a:pt x="1231" y="1269"/>
                </a:lnTo>
                <a:lnTo>
                  <a:pt x="1229" y="1269"/>
                </a:lnTo>
                <a:lnTo>
                  <a:pt x="1229" y="1271"/>
                </a:lnTo>
                <a:lnTo>
                  <a:pt x="1228" y="1271"/>
                </a:lnTo>
                <a:lnTo>
                  <a:pt x="1226" y="1273"/>
                </a:lnTo>
                <a:lnTo>
                  <a:pt x="1226" y="1275"/>
                </a:lnTo>
                <a:lnTo>
                  <a:pt x="1224" y="1275"/>
                </a:lnTo>
                <a:lnTo>
                  <a:pt x="1226" y="1275"/>
                </a:lnTo>
                <a:lnTo>
                  <a:pt x="1226" y="1276"/>
                </a:lnTo>
                <a:lnTo>
                  <a:pt x="1224" y="1276"/>
                </a:lnTo>
                <a:lnTo>
                  <a:pt x="1224" y="1278"/>
                </a:lnTo>
                <a:lnTo>
                  <a:pt x="1223" y="1278"/>
                </a:lnTo>
                <a:lnTo>
                  <a:pt x="1223" y="1280"/>
                </a:lnTo>
                <a:lnTo>
                  <a:pt x="1221" y="1278"/>
                </a:lnTo>
                <a:lnTo>
                  <a:pt x="1219" y="1280"/>
                </a:lnTo>
                <a:lnTo>
                  <a:pt x="1219" y="1278"/>
                </a:lnTo>
                <a:lnTo>
                  <a:pt x="1221" y="1276"/>
                </a:lnTo>
                <a:lnTo>
                  <a:pt x="1221" y="1275"/>
                </a:lnTo>
                <a:lnTo>
                  <a:pt x="1221" y="1273"/>
                </a:lnTo>
                <a:lnTo>
                  <a:pt x="1223" y="1273"/>
                </a:lnTo>
                <a:lnTo>
                  <a:pt x="1223" y="1271"/>
                </a:lnTo>
                <a:lnTo>
                  <a:pt x="1223" y="1269"/>
                </a:lnTo>
                <a:lnTo>
                  <a:pt x="1224" y="1269"/>
                </a:lnTo>
                <a:lnTo>
                  <a:pt x="1224" y="1266"/>
                </a:lnTo>
                <a:lnTo>
                  <a:pt x="1228" y="1268"/>
                </a:lnTo>
                <a:lnTo>
                  <a:pt x="1229" y="1266"/>
                </a:lnTo>
                <a:lnTo>
                  <a:pt x="1228" y="1266"/>
                </a:lnTo>
                <a:lnTo>
                  <a:pt x="1226" y="1266"/>
                </a:lnTo>
                <a:lnTo>
                  <a:pt x="1224" y="1264"/>
                </a:lnTo>
                <a:lnTo>
                  <a:pt x="1226" y="1263"/>
                </a:lnTo>
                <a:lnTo>
                  <a:pt x="1226" y="1264"/>
                </a:lnTo>
                <a:lnTo>
                  <a:pt x="1228" y="1264"/>
                </a:lnTo>
                <a:lnTo>
                  <a:pt x="1226" y="1264"/>
                </a:lnTo>
                <a:lnTo>
                  <a:pt x="1226" y="1263"/>
                </a:lnTo>
                <a:lnTo>
                  <a:pt x="1223" y="1263"/>
                </a:lnTo>
                <a:lnTo>
                  <a:pt x="1224" y="1259"/>
                </a:lnTo>
                <a:lnTo>
                  <a:pt x="1226" y="1259"/>
                </a:lnTo>
                <a:lnTo>
                  <a:pt x="1228" y="1259"/>
                </a:lnTo>
                <a:lnTo>
                  <a:pt x="1226" y="1258"/>
                </a:lnTo>
                <a:lnTo>
                  <a:pt x="1228" y="1258"/>
                </a:lnTo>
                <a:lnTo>
                  <a:pt x="1229" y="1256"/>
                </a:lnTo>
                <a:lnTo>
                  <a:pt x="1231" y="1256"/>
                </a:lnTo>
                <a:lnTo>
                  <a:pt x="1229" y="1254"/>
                </a:lnTo>
                <a:lnTo>
                  <a:pt x="1233" y="1254"/>
                </a:lnTo>
                <a:lnTo>
                  <a:pt x="1233" y="1256"/>
                </a:lnTo>
                <a:lnTo>
                  <a:pt x="1234" y="1256"/>
                </a:lnTo>
                <a:lnTo>
                  <a:pt x="1233" y="1254"/>
                </a:lnTo>
                <a:lnTo>
                  <a:pt x="1231" y="1254"/>
                </a:lnTo>
                <a:lnTo>
                  <a:pt x="1229" y="1252"/>
                </a:lnTo>
                <a:lnTo>
                  <a:pt x="1231" y="1251"/>
                </a:lnTo>
                <a:lnTo>
                  <a:pt x="1229" y="1249"/>
                </a:lnTo>
                <a:lnTo>
                  <a:pt x="1229" y="1247"/>
                </a:lnTo>
                <a:lnTo>
                  <a:pt x="1231" y="1247"/>
                </a:lnTo>
                <a:lnTo>
                  <a:pt x="1234" y="1246"/>
                </a:lnTo>
                <a:lnTo>
                  <a:pt x="1236" y="1249"/>
                </a:lnTo>
                <a:lnTo>
                  <a:pt x="1234" y="1247"/>
                </a:lnTo>
                <a:lnTo>
                  <a:pt x="1234" y="1246"/>
                </a:lnTo>
                <a:lnTo>
                  <a:pt x="1233" y="1246"/>
                </a:lnTo>
                <a:lnTo>
                  <a:pt x="1231" y="1247"/>
                </a:lnTo>
                <a:lnTo>
                  <a:pt x="1231" y="1246"/>
                </a:lnTo>
                <a:lnTo>
                  <a:pt x="1229" y="1246"/>
                </a:lnTo>
                <a:lnTo>
                  <a:pt x="1229" y="1244"/>
                </a:lnTo>
                <a:lnTo>
                  <a:pt x="1229" y="1241"/>
                </a:lnTo>
                <a:lnTo>
                  <a:pt x="1231" y="1241"/>
                </a:lnTo>
                <a:lnTo>
                  <a:pt x="1231" y="1242"/>
                </a:lnTo>
                <a:lnTo>
                  <a:pt x="1231" y="1241"/>
                </a:lnTo>
                <a:lnTo>
                  <a:pt x="1233" y="1241"/>
                </a:lnTo>
                <a:lnTo>
                  <a:pt x="1234" y="1241"/>
                </a:lnTo>
                <a:lnTo>
                  <a:pt x="1234" y="1239"/>
                </a:lnTo>
                <a:lnTo>
                  <a:pt x="1233" y="1239"/>
                </a:lnTo>
                <a:lnTo>
                  <a:pt x="1231" y="1237"/>
                </a:lnTo>
                <a:lnTo>
                  <a:pt x="1231" y="1235"/>
                </a:lnTo>
                <a:lnTo>
                  <a:pt x="1233" y="1235"/>
                </a:lnTo>
                <a:lnTo>
                  <a:pt x="1233" y="1234"/>
                </a:lnTo>
                <a:lnTo>
                  <a:pt x="1233" y="1230"/>
                </a:lnTo>
                <a:lnTo>
                  <a:pt x="1234" y="1229"/>
                </a:lnTo>
                <a:close/>
                <a:moveTo>
                  <a:pt x="1428" y="1824"/>
                </a:moveTo>
                <a:lnTo>
                  <a:pt x="1430" y="1826"/>
                </a:lnTo>
                <a:lnTo>
                  <a:pt x="1430" y="1827"/>
                </a:lnTo>
                <a:lnTo>
                  <a:pt x="1430" y="1829"/>
                </a:lnTo>
                <a:lnTo>
                  <a:pt x="1432" y="1827"/>
                </a:lnTo>
                <a:lnTo>
                  <a:pt x="1430" y="1827"/>
                </a:lnTo>
                <a:lnTo>
                  <a:pt x="1432" y="1827"/>
                </a:lnTo>
                <a:lnTo>
                  <a:pt x="1433" y="1827"/>
                </a:lnTo>
                <a:lnTo>
                  <a:pt x="1433" y="1829"/>
                </a:lnTo>
                <a:lnTo>
                  <a:pt x="1433" y="1827"/>
                </a:lnTo>
                <a:lnTo>
                  <a:pt x="1435" y="1827"/>
                </a:lnTo>
                <a:lnTo>
                  <a:pt x="1435" y="1829"/>
                </a:lnTo>
                <a:lnTo>
                  <a:pt x="1435" y="1827"/>
                </a:lnTo>
                <a:lnTo>
                  <a:pt x="1437" y="1827"/>
                </a:lnTo>
                <a:lnTo>
                  <a:pt x="1435" y="1829"/>
                </a:lnTo>
                <a:lnTo>
                  <a:pt x="1437" y="1827"/>
                </a:lnTo>
                <a:lnTo>
                  <a:pt x="1437" y="1829"/>
                </a:lnTo>
                <a:lnTo>
                  <a:pt x="1438" y="1831"/>
                </a:lnTo>
                <a:lnTo>
                  <a:pt x="1437" y="1829"/>
                </a:lnTo>
                <a:lnTo>
                  <a:pt x="1440" y="1829"/>
                </a:lnTo>
                <a:lnTo>
                  <a:pt x="1438" y="1832"/>
                </a:lnTo>
                <a:lnTo>
                  <a:pt x="1440" y="1832"/>
                </a:lnTo>
                <a:lnTo>
                  <a:pt x="1440" y="1831"/>
                </a:lnTo>
                <a:lnTo>
                  <a:pt x="1440" y="1832"/>
                </a:lnTo>
                <a:lnTo>
                  <a:pt x="1442" y="1832"/>
                </a:lnTo>
                <a:lnTo>
                  <a:pt x="1442" y="1834"/>
                </a:lnTo>
                <a:lnTo>
                  <a:pt x="1442" y="1836"/>
                </a:lnTo>
                <a:lnTo>
                  <a:pt x="1440" y="1836"/>
                </a:lnTo>
                <a:lnTo>
                  <a:pt x="1442" y="1838"/>
                </a:lnTo>
                <a:lnTo>
                  <a:pt x="1440" y="1839"/>
                </a:lnTo>
                <a:lnTo>
                  <a:pt x="1440" y="1841"/>
                </a:lnTo>
                <a:lnTo>
                  <a:pt x="1438" y="1839"/>
                </a:lnTo>
                <a:lnTo>
                  <a:pt x="1437" y="1841"/>
                </a:lnTo>
                <a:lnTo>
                  <a:pt x="1437" y="1839"/>
                </a:lnTo>
                <a:lnTo>
                  <a:pt x="1437" y="1838"/>
                </a:lnTo>
                <a:lnTo>
                  <a:pt x="1437" y="1839"/>
                </a:lnTo>
                <a:lnTo>
                  <a:pt x="1435" y="1839"/>
                </a:lnTo>
                <a:lnTo>
                  <a:pt x="1435" y="1838"/>
                </a:lnTo>
                <a:lnTo>
                  <a:pt x="1433" y="1836"/>
                </a:lnTo>
                <a:lnTo>
                  <a:pt x="1435" y="1834"/>
                </a:lnTo>
                <a:lnTo>
                  <a:pt x="1435" y="1831"/>
                </a:lnTo>
                <a:lnTo>
                  <a:pt x="1433" y="1831"/>
                </a:lnTo>
                <a:lnTo>
                  <a:pt x="1435" y="1832"/>
                </a:lnTo>
                <a:lnTo>
                  <a:pt x="1433" y="1834"/>
                </a:lnTo>
                <a:lnTo>
                  <a:pt x="1433" y="1836"/>
                </a:lnTo>
                <a:lnTo>
                  <a:pt x="1432" y="1834"/>
                </a:lnTo>
                <a:lnTo>
                  <a:pt x="1432" y="1832"/>
                </a:lnTo>
                <a:lnTo>
                  <a:pt x="1432" y="1834"/>
                </a:lnTo>
                <a:lnTo>
                  <a:pt x="1432" y="1836"/>
                </a:lnTo>
                <a:lnTo>
                  <a:pt x="1435" y="1838"/>
                </a:lnTo>
                <a:lnTo>
                  <a:pt x="1433" y="1839"/>
                </a:lnTo>
                <a:lnTo>
                  <a:pt x="1435" y="1841"/>
                </a:lnTo>
                <a:lnTo>
                  <a:pt x="1435" y="1843"/>
                </a:lnTo>
                <a:lnTo>
                  <a:pt x="1435" y="1844"/>
                </a:lnTo>
                <a:lnTo>
                  <a:pt x="1437" y="1844"/>
                </a:lnTo>
                <a:lnTo>
                  <a:pt x="1437" y="1846"/>
                </a:lnTo>
                <a:lnTo>
                  <a:pt x="1435" y="1846"/>
                </a:lnTo>
                <a:lnTo>
                  <a:pt x="1437" y="1848"/>
                </a:lnTo>
                <a:lnTo>
                  <a:pt x="1437" y="1846"/>
                </a:lnTo>
                <a:lnTo>
                  <a:pt x="1440" y="1846"/>
                </a:lnTo>
                <a:lnTo>
                  <a:pt x="1442" y="1848"/>
                </a:lnTo>
                <a:lnTo>
                  <a:pt x="1442" y="1846"/>
                </a:lnTo>
                <a:lnTo>
                  <a:pt x="1444" y="1848"/>
                </a:lnTo>
                <a:lnTo>
                  <a:pt x="1442" y="1848"/>
                </a:lnTo>
                <a:lnTo>
                  <a:pt x="1444" y="1851"/>
                </a:lnTo>
                <a:lnTo>
                  <a:pt x="1444" y="1853"/>
                </a:lnTo>
                <a:lnTo>
                  <a:pt x="1442" y="1855"/>
                </a:lnTo>
                <a:lnTo>
                  <a:pt x="1442" y="1851"/>
                </a:lnTo>
                <a:lnTo>
                  <a:pt x="1440" y="1853"/>
                </a:lnTo>
                <a:lnTo>
                  <a:pt x="1438" y="1850"/>
                </a:lnTo>
                <a:lnTo>
                  <a:pt x="1438" y="1851"/>
                </a:lnTo>
                <a:lnTo>
                  <a:pt x="1437" y="1850"/>
                </a:lnTo>
                <a:lnTo>
                  <a:pt x="1437" y="1851"/>
                </a:lnTo>
                <a:lnTo>
                  <a:pt x="1437" y="1850"/>
                </a:lnTo>
                <a:lnTo>
                  <a:pt x="1435" y="1850"/>
                </a:lnTo>
                <a:lnTo>
                  <a:pt x="1435" y="1848"/>
                </a:lnTo>
                <a:lnTo>
                  <a:pt x="1435" y="1846"/>
                </a:lnTo>
                <a:lnTo>
                  <a:pt x="1435" y="1848"/>
                </a:lnTo>
                <a:lnTo>
                  <a:pt x="1433" y="1846"/>
                </a:lnTo>
                <a:lnTo>
                  <a:pt x="1433" y="1850"/>
                </a:lnTo>
                <a:lnTo>
                  <a:pt x="1432" y="1846"/>
                </a:lnTo>
                <a:lnTo>
                  <a:pt x="1432" y="1850"/>
                </a:lnTo>
                <a:lnTo>
                  <a:pt x="1430" y="1846"/>
                </a:lnTo>
                <a:lnTo>
                  <a:pt x="1430" y="1848"/>
                </a:lnTo>
                <a:lnTo>
                  <a:pt x="1428" y="1848"/>
                </a:lnTo>
                <a:lnTo>
                  <a:pt x="1428" y="1846"/>
                </a:lnTo>
                <a:lnTo>
                  <a:pt x="1428" y="1848"/>
                </a:lnTo>
                <a:lnTo>
                  <a:pt x="1427" y="1848"/>
                </a:lnTo>
                <a:lnTo>
                  <a:pt x="1425" y="1846"/>
                </a:lnTo>
                <a:lnTo>
                  <a:pt x="1425" y="1844"/>
                </a:lnTo>
                <a:lnTo>
                  <a:pt x="1423" y="1841"/>
                </a:lnTo>
                <a:lnTo>
                  <a:pt x="1423" y="1839"/>
                </a:lnTo>
                <a:lnTo>
                  <a:pt x="1421" y="1838"/>
                </a:lnTo>
                <a:lnTo>
                  <a:pt x="1421" y="1836"/>
                </a:lnTo>
                <a:lnTo>
                  <a:pt x="1420" y="1836"/>
                </a:lnTo>
                <a:lnTo>
                  <a:pt x="1421" y="1836"/>
                </a:lnTo>
                <a:lnTo>
                  <a:pt x="1420" y="1836"/>
                </a:lnTo>
                <a:lnTo>
                  <a:pt x="1421" y="1834"/>
                </a:lnTo>
                <a:lnTo>
                  <a:pt x="1421" y="1836"/>
                </a:lnTo>
                <a:lnTo>
                  <a:pt x="1423" y="1834"/>
                </a:lnTo>
                <a:lnTo>
                  <a:pt x="1421" y="1838"/>
                </a:lnTo>
                <a:lnTo>
                  <a:pt x="1423" y="1838"/>
                </a:lnTo>
                <a:lnTo>
                  <a:pt x="1423" y="1834"/>
                </a:lnTo>
                <a:lnTo>
                  <a:pt x="1425" y="1836"/>
                </a:lnTo>
                <a:lnTo>
                  <a:pt x="1425" y="1834"/>
                </a:lnTo>
                <a:lnTo>
                  <a:pt x="1425" y="1832"/>
                </a:lnTo>
                <a:lnTo>
                  <a:pt x="1425" y="1834"/>
                </a:lnTo>
                <a:lnTo>
                  <a:pt x="1423" y="1832"/>
                </a:lnTo>
                <a:lnTo>
                  <a:pt x="1427" y="1832"/>
                </a:lnTo>
                <a:lnTo>
                  <a:pt x="1427" y="1834"/>
                </a:lnTo>
                <a:lnTo>
                  <a:pt x="1425" y="1836"/>
                </a:lnTo>
                <a:lnTo>
                  <a:pt x="1427" y="1838"/>
                </a:lnTo>
                <a:lnTo>
                  <a:pt x="1427" y="1839"/>
                </a:lnTo>
                <a:lnTo>
                  <a:pt x="1427" y="1841"/>
                </a:lnTo>
                <a:lnTo>
                  <a:pt x="1428" y="1841"/>
                </a:lnTo>
                <a:lnTo>
                  <a:pt x="1428" y="1838"/>
                </a:lnTo>
                <a:lnTo>
                  <a:pt x="1427" y="1839"/>
                </a:lnTo>
                <a:lnTo>
                  <a:pt x="1427" y="1838"/>
                </a:lnTo>
                <a:lnTo>
                  <a:pt x="1427" y="1836"/>
                </a:lnTo>
                <a:lnTo>
                  <a:pt x="1427" y="1838"/>
                </a:lnTo>
                <a:lnTo>
                  <a:pt x="1428" y="1838"/>
                </a:lnTo>
                <a:lnTo>
                  <a:pt x="1428" y="1836"/>
                </a:lnTo>
                <a:lnTo>
                  <a:pt x="1430" y="1834"/>
                </a:lnTo>
                <a:lnTo>
                  <a:pt x="1430" y="1832"/>
                </a:lnTo>
                <a:lnTo>
                  <a:pt x="1428" y="1834"/>
                </a:lnTo>
                <a:lnTo>
                  <a:pt x="1428" y="1832"/>
                </a:lnTo>
                <a:lnTo>
                  <a:pt x="1428" y="1834"/>
                </a:lnTo>
                <a:lnTo>
                  <a:pt x="1427" y="1832"/>
                </a:lnTo>
                <a:lnTo>
                  <a:pt x="1428" y="1831"/>
                </a:lnTo>
                <a:lnTo>
                  <a:pt x="1428" y="1832"/>
                </a:lnTo>
                <a:lnTo>
                  <a:pt x="1430" y="1832"/>
                </a:lnTo>
                <a:lnTo>
                  <a:pt x="1428" y="1832"/>
                </a:lnTo>
                <a:lnTo>
                  <a:pt x="1430" y="1832"/>
                </a:lnTo>
                <a:lnTo>
                  <a:pt x="1430" y="1831"/>
                </a:lnTo>
                <a:lnTo>
                  <a:pt x="1428" y="1831"/>
                </a:lnTo>
                <a:lnTo>
                  <a:pt x="1428" y="1829"/>
                </a:lnTo>
                <a:lnTo>
                  <a:pt x="1428" y="1831"/>
                </a:lnTo>
                <a:lnTo>
                  <a:pt x="1428" y="1832"/>
                </a:lnTo>
                <a:lnTo>
                  <a:pt x="1427" y="1831"/>
                </a:lnTo>
                <a:lnTo>
                  <a:pt x="1427" y="1829"/>
                </a:lnTo>
                <a:lnTo>
                  <a:pt x="1425" y="1829"/>
                </a:lnTo>
                <a:lnTo>
                  <a:pt x="1427" y="1832"/>
                </a:lnTo>
                <a:lnTo>
                  <a:pt x="1425" y="1829"/>
                </a:lnTo>
                <a:lnTo>
                  <a:pt x="1427" y="1829"/>
                </a:lnTo>
                <a:lnTo>
                  <a:pt x="1425" y="1827"/>
                </a:lnTo>
                <a:lnTo>
                  <a:pt x="1425" y="1826"/>
                </a:lnTo>
                <a:lnTo>
                  <a:pt x="1427" y="1826"/>
                </a:lnTo>
                <a:lnTo>
                  <a:pt x="1428" y="1824"/>
                </a:lnTo>
                <a:close/>
                <a:moveTo>
                  <a:pt x="1535" y="1815"/>
                </a:moveTo>
                <a:lnTo>
                  <a:pt x="1535" y="1819"/>
                </a:lnTo>
                <a:lnTo>
                  <a:pt x="1534" y="1821"/>
                </a:lnTo>
                <a:lnTo>
                  <a:pt x="1534" y="1822"/>
                </a:lnTo>
                <a:lnTo>
                  <a:pt x="1532" y="1824"/>
                </a:lnTo>
                <a:lnTo>
                  <a:pt x="1532" y="1822"/>
                </a:lnTo>
                <a:lnTo>
                  <a:pt x="1534" y="1824"/>
                </a:lnTo>
                <a:lnTo>
                  <a:pt x="1532" y="1826"/>
                </a:lnTo>
                <a:lnTo>
                  <a:pt x="1534" y="1827"/>
                </a:lnTo>
                <a:lnTo>
                  <a:pt x="1534" y="1829"/>
                </a:lnTo>
                <a:lnTo>
                  <a:pt x="1534" y="1831"/>
                </a:lnTo>
                <a:lnTo>
                  <a:pt x="1532" y="1832"/>
                </a:lnTo>
                <a:lnTo>
                  <a:pt x="1530" y="1834"/>
                </a:lnTo>
                <a:lnTo>
                  <a:pt x="1532" y="1834"/>
                </a:lnTo>
                <a:lnTo>
                  <a:pt x="1532" y="1836"/>
                </a:lnTo>
                <a:lnTo>
                  <a:pt x="1532" y="1838"/>
                </a:lnTo>
                <a:lnTo>
                  <a:pt x="1532" y="1836"/>
                </a:lnTo>
                <a:lnTo>
                  <a:pt x="1530" y="1836"/>
                </a:lnTo>
                <a:lnTo>
                  <a:pt x="1532" y="1838"/>
                </a:lnTo>
                <a:lnTo>
                  <a:pt x="1530" y="1838"/>
                </a:lnTo>
                <a:lnTo>
                  <a:pt x="1529" y="1836"/>
                </a:lnTo>
                <a:lnTo>
                  <a:pt x="1527" y="1838"/>
                </a:lnTo>
                <a:lnTo>
                  <a:pt x="1529" y="1838"/>
                </a:lnTo>
                <a:lnTo>
                  <a:pt x="1527" y="1838"/>
                </a:lnTo>
                <a:lnTo>
                  <a:pt x="1529" y="1839"/>
                </a:lnTo>
                <a:lnTo>
                  <a:pt x="1527" y="1839"/>
                </a:lnTo>
                <a:lnTo>
                  <a:pt x="1527" y="1838"/>
                </a:lnTo>
                <a:lnTo>
                  <a:pt x="1525" y="1838"/>
                </a:lnTo>
                <a:lnTo>
                  <a:pt x="1525" y="1836"/>
                </a:lnTo>
                <a:lnTo>
                  <a:pt x="1525" y="1838"/>
                </a:lnTo>
                <a:lnTo>
                  <a:pt x="1523" y="1839"/>
                </a:lnTo>
                <a:lnTo>
                  <a:pt x="1522" y="1839"/>
                </a:lnTo>
                <a:lnTo>
                  <a:pt x="1522" y="1841"/>
                </a:lnTo>
                <a:lnTo>
                  <a:pt x="1520" y="1839"/>
                </a:lnTo>
                <a:lnTo>
                  <a:pt x="1520" y="1838"/>
                </a:lnTo>
                <a:lnTo>
                  <a:pt x="1520" y="1839"/>
                </a:lnTo>
                <a:lnTo>
                  <a:pt x="1518" y="1838"/>
                </a:lnTo>
                <a:lnTo>
                  <a:pt x="1518" y="1841"/>
                </a:lnTo>
                <a:lnTo>
                  <a:pt x="1518" y="1838"/>
                </a:lnTo>
                <a:lnTo>
                  <a:pt x="1517" y="1836"/>
                </a:lnTo>
                <a:lnTo>
                  <a:pt x="1517" y="1834"/>
                </a:lnTo>
                <a:lnTo>
                  <a:pt x="1518" y="1834"/>
                </a:lnTo>
                <a:lnTo>
                  <a:pt x="1518" y="1832"/>
                </a:lnTo>
                <a:lnTo>
                  <a:pt x="1520" y="1834"/>
                </a:lnTo>
                <a:lnTo>
                  <a:pt x="1520" y="1836"/>
                </a:lnTo>
                <a:lnTo>
                  <a:pt x="1522" y="1834"/>
                </a:lnTo>
                <a:lnTo>
                  <a:pt x="1520" y="1832"/>
                </a:lnTo>
                <a:lnTo>
                  <a:pt x="1522" y="1832"/>
                </a:lnTo>
                <a:lnTo>
                  <a:pt x="1520" y="1832"/>
                </a:lnTo>
                <a:lnTo>
                  <a:pt x="1518" y="1832"/>
                </a:lnTo>
                <a:lnTo>
                  <a:pt x="1518" y="1831"/>
                </a:lnTo>
                <a:lnTo>
                  <a:pt x="1522" y="1829"/>
                </a:lnTo>
                <a:lnTo>
                  <a:pt x="1523" y="1829"/>
                </a:lnTo>
                <a:lnTo>
                  <a:pt x="1525" y="1829"/>
                </a:lnTo>
                <a:lnTo>
                  <a:pt x="1522" y="1829"/>
                </a:lnTo>
                <a:lnTo>
                  <a:pt x="1520" y="1829"/>
                </a:lnTo>
                <a:lnTo>
                  <a:pt x="1518" y="1829"/>
                </a:lnTo>
                <a:lnTo>
                  <a:pt x="1518" y="1827"/>
                </a:lnTo>
                <a:lnTo>
                  <a:pt x="1518" y="1826"/>
                </a:lnTo>
                <a:lnTo>
                  <a:pt x="1518" y="1824"/>
                </a:lnTo>
                <a:lnTo>
                  <a:pt x="1520" y="1824"/>
                </a:lnTo>
                <a:lnTo>
                  <a:pt x="1520" y="1826"/>
                </a:lnTo>
                <a:lnTo>
                  <a:pt x="1522" y="1826"/>
                </a:lnTo>
                <a:lnTo>
                  <a:pt x="1523" y="1826"/>
                </a:lnTo>
                <a:lnTo>
                  <a:pt x="1523" y="1824"/>
                </a:lnTo>
                <a:lnTo>
                  <a:pt x="1525" y="1824"/>
                </a:lnTo>
                <a:lnTo>
                  <a:pt x="1527" y="1822"/>
                </a:lnTo>
                <a:lnTo>
                  <a:pt x="1529" y="1822"/>
                </a:lnTo>
                <a:lnTo>
                  <a:pt x="1530" y="1822"/>
                </a:lnTo>
                <a:lnTo>
                  <a:pt x="1530" y="1821"/>
                </a:lnTo>
                <a:lnTo>
                  <a:pt x="1532" y="1821"/>
                </a:lnTo>
                <a:lnTo>
                  <a:pt x="1532" y="1819"/>
                </a:lnTo>
                <a:lnTo>
                  <a:pt x="1534" y="1817"/>
                </a:lnTo>
                <a:lnTo>
                  <a:pt x="1534" y="1815"/>
                </a:lnTo>
                <a:lnTo>
                  <a:pt x="1535" y="1815"/>
                </a:lnTo>
                <a:close/>
                <a:moveTo>
                  <a:pt x="1442" y="1610"/>
                </a:moveTo>
                <a:lnTo>
                  <a:pt x="1442" y="1611"/>
                </a:lnTo>
                <a:lnTo>
                  <a:pt x="1442" y="1613"/>
                </a:lnTo>
                <a:lnTo>
                  <a:pt x="1440" y="1615"/>
                </a:lnTo>
                <a:lnTo>
                  <a:pt x="1442" y="1615"/>
                </a:lnTo>
                <a:lnTo>
                  <a:pt x="1440" y="1615"/>
                </a:lnTo>
                <a:lnTo>
                  <a:pt x="1440" y="1618"/>
                </a:lnTo>
                <a:lnTo>
                  <a:pt x="1440" y="1616"/>
                </a:lnTo>
                <a:lnTo>
                  <a:pt x="1438" y="1618"/>
                </a:lnTo>
                <a:lnTo>
                  <a:pt x="1440" y="1618"/>
                </a:lnTo>
                <a:lnTo>
                  <a:pt x="1442" y="1618"/>
                </a:lnTo>
                <a:lnTo>
                  <a:pt x="1442" y="1616"/>
                </a:lnTo>
                <a:lnTo>
                  <a:pt x="1440" y="1616"/>
                </a:lnTo>
                <a:lnTo>
                  <a:pt x="1442" y="1616"/>
                </a:lnTo>
                <a:lnTo>
                  <a:pt x="1440" y="1616"/>
                </a:lnTo>
                <a:lnTo>
                  <a:pt x="1442" y="1616"/>
                </a:lnTo>
                <a:lnTo>
                  <a:pt x="1442" y="1615"/>
                </a:lnTo>
                <a:lnTo>
                  <a:pt x="1444" y="1615"/>
                </a:lnTo>
                <a:lnTo>
                  <a:pt x="1444" y="1616"/>
                </a:lnTo>
                <a:lnTo>
                  <a:pt x="1444" y="1615"/>
                </a:lnTo>
                <a:lnTo>
                  <a:pt x="1444" y="1616"/>
                </a:lnTo>
                <a:lnTo>
                  <a:pt x="1442" y="1618"/>
                </a:lnTo>
                <a:lnTo>
                  <a:pt x="1444" y="1620"/>
                </a:lnTo>
                <a:lnTo>
                  <a:pt x="1442" y="1620"/>
                </a:lnTo>
                <a:lnTo>
                  <a:pt x="1444" y="1622"/>
                </a:lnTo>
                <a:lnTo>
                  <a:pt x="1445" y="1620"/>
                </a:lnTo>
                <a:lnTo>
                  <a:pt x="1444" y="1620"/>
                </a:lnTo>
                <a:lnTo>
                  <a:pt x="1445" y="1620"/>
                </a:lnTo>
                <a:lnTo>
                  <a:pt x="1447" y="1618"/>
                </a:lnTo>
                <a:lnTo>
                  <a:pt x="1447" y="1616"/>
                </a:lnTo>
                <a:lnTo>
                  <a:pt x="1449" y="1618"/>
                </a:lnTo>
                <a:lnTo>
                  <a:pt x="1449" y="1616"/>
                </a:lnTo>
                <a:lnTo>
                  <a:pt x="1447" y="1616"/>
                </a:lnTo>
                <a:lnTo>
                  <a:pt x="1449" y="1616"/>
                </a:lnTo>
                <a:lnTo>
                  <a:pt x="1449" y="1615"/>
                </a:lnTo>
                <a:lnTo>
                  <a:pt x="1449" y="1616"/>
                </a:lnTo>
                <a:lnTo>
                  <a:pt x="1449" y="1618"/>
                </a:lnTo>
                <a:lnTo>
                  <a:pt x="1450" y="1618"/>
                </a:lnTo>
                <a:lnTo>
                  <a:pt x="1450" y="1622"/>
                </a:lnTo>
                <a:lnTo>
                  <a:pt x="1450" y="1623"/>
                </a:lnTo>
                <a:lnTo>
                  <a:pt x="1449" y="1622"/>
                </a:lnTo>
                <a:lnTo>
                  <a:pt x="1450" y="1623"/>
                </a:lnTo>
                <a:lnTo>
                  <a:pt x="1449" y="1623"/>
                </a:lnTo>
                <a:lnTo>
                  <a:pt x="1449" y="1622"/>
                </a:lnTo>
                <a:lnTo>
                  <a:pt x="1447" y="1622"/>
                </a:lnTo>
                <a:lnTo>
                  <a:pt x="1447" y="1625"/>
                </a:lnTo>
                <a:lnTo>
                  <a:pt x="1447" y="1627"/>
                </a:lnTo>
                <a:lnTo>
                  <a:pt x="1447" y="1625"/>
                </a:lnTo>
                <a:lnTo>
                  <a:pt x="1447" y="1627"/>
                </a:lnTo>
                <a:lnTo>
                  <a:pt x="1444" y="1625"/>
                </a:lnTo>
                <a:lnTo>
                  <a:pt x="1444" y="1623"/>
                </a:lnTo>
                <a:lnTo>
                  <a:pt x="1442" y="1623"/>
                </a:lnTo>
                <a:lnTo>
                  <a:pt x="1444" y="1625"/>
                </a:lnTo>
                <a:lnTo>
                  <a:pt x="1442" y="1625"/>
                </a:lnTo>
                <a:lnTo>
                  <a:pt x="1442" y="1623"/>
                </a:lnTo>
                <a:lnTo>
                  <a:pt x="1440" y="1623"/>
                </a:lnTo>
                <a:lnTo>
                  <a:pt x="1440" y="1622"/>
                </a:lnTo>
                <a:lnTo>
                  <a:pt x="1438" y="1620"/>
                </a:lnTo>
                <a:lnTo>
                  <a:pt x="1440" y="1620"/>
                </a:lnTo>
                <a:lnTo>
                  <a:pt x="1438" y="1620"/>
                </a:lnTo>
                <a:lnTo>
                  <a:pt x="1438" y="1616"/>
                </a:lnTo>
                <a:lnTo>
                  <a:pt x="1438" y="1618"/>
                </a:lnTo>
                <a:lnTo>
                  <a:pt x="1438" y="1616"/>
                </a:lnTo>
                <a:lnTo>
                  <a:pt x="1440" y="1615"/>
                </a:lnTo>
                <a:lnTo>
                  <a:pt x="1440" y="1613"/>
                </a:lnTo>
                <a:lnTo>
                  <a:pt x="1442" y="1611"/>
                </a:lnTo>
                <a:lnTo>
                  <a:pt x="1440" y="1613"/>
                </a:lnTo>
                <a:lnTo>
                  <a:pt x="1440" y="1611"/>
                </a:lnTo>
                <a:lnTo>
                  <a:pt x="1442" y="1610"/>
                </a:lnTo>
                <a:close/>
                <a:moveTo>
                  <a:pt x="1530" y="1470"/>
                </a:moveTo>
                <a:lnTo>
                  <a:pt x="1532" y="1470"/>
                </a:lnTo>
                <a:lnTo>
                  <a:pt x="1532" y="1472"/>
                </a:lnTo>
                <a:lnTo>
                  <a:pt x="1535" y="1472"/>
                </a:lnTo>
                <a:lnTo>
                  <a:pt x="1537" y="1472"/>
                </a:lnTo>
                <a:lnTo>
                  <a:pt x="1535" y="1474"/>
                </a:lnTo>
                <a:lnTo>
                  <a:pt x="1534" y="1474"/>
                </a:lnTo>
                <a:lnTo>
                  <a:pt x="1532" y="1474"/>
                </a:lnTo>
                <a:lnTo>
                  <a:pt x="1530" y="1474"/>
                </a:lnTo>
                <a:lnTo>
                  <a:pt x="1529" y="1474"/>
                </a:lnTo>
                <a:lnTo>
                  <a:pt x="1530" y="1474"/>
                </a:lnTo>
                <a:lnTo>
                  <a:pt x="1530" y="1475"/>
                </a:lnTo>
                <a:lnTo>
                  <a:pt x="1530" y="1477"/>
                </a:lnTo>
                <a:lnTo>
                  <a:pt x="1529" y="1475"/>
                </a:lnTo>
                <a:lnTo>
                  <a:pt x="1527" y="1479"/>
                </a:lnTo>
                <a:lnTo>
                  <a:pt x="1529" y="1479"/>
                </a:lnTo>
                <a:lnTo>
                  <a:pt x="1530" y="1477"/>
                </a:lnTo>
                <a:lnTo>
                  <a:pt x="1532" y="1479"/>
                </a:lnTo>
                <a:lnTo>
                  <a:pt x="1530" y="1480"/>
                </a:lnTo>
                <a:lnTo>
                  <a:pt x="1529" y="1480"/>
                </a:lnTo>
                <a:lnTo>
                  <a:pt x="1529" y="1479"/>
                </a:lnTo>
                <a:lnTo>
                  <a:pt x="1527" y="1479"/>
                </a:lnTo>
                <a:lnTo>
                  <a:pt x="1529" y="1479"/>
                </a:lnTo>
                <a:lnTo>
                  <a:pt x="1527" y="1480"/>
                </a:lnTo>
                <a:lnTo>
                  <a:pt x="1525" y="1479"/>
                </a:lnTo>
                <a:lnTo>
                  <a:pt x="1523" y="1479"/>
                </a:lnTo>
                <a:lnTo>
                  <a:pt x="1522" y="1475"/>
                </a:lnTo>
                <a:lnTo>
                  <a:pt x="1523" y="1475"/>
                </a:lnTo>
                <a:lnTo>
                  <a:pt x="1523" y="1474"/>
                </a:lnTo>
                <a:lnTo>
                  <a:pt x="1523" y="1472"/>
                </a:lnTo>
                <a:lnTo>
                  <a:pt x="1527" y="1472"/>
                </a:lnTo>
                <a:lnTo>
                  <a:pt x="1530" y="1470"/>
                </a:lnTo>
                <a:close/>
                <a:moveTo>
                  <a:pt x="1495" y="1810"/>
                </a:moveTo>
                <a:lnTo>
                  <a:pt x="1496" y="1810"/>
                </a:lnTo>
                <a:lnTo>
                  <a:pt x="1498" y="1812"/>
                </a:lnTo>
                <a:lnTo>
                  <a:pt x="1498" y="1814"/>
                </a:lnTo>
                <a:lnTo>
                  <a:pt x="1500" y="1814"/>
                </a:lnTo>
                <a:lnTo>
                  <a:pt x="1500" y="1815"/>
                </a:lnTo>
                <a:lnTo>
                  <a:pt x="1498" y="1815"/>
                </a:lnTo>
                <a:lnTo>
                  <a:pt x="1501" y="1815"/>
                </a:lnTo>
                <a:lnTo>
                  <a:pt x="1500" y="1817"/>
                </a:lnTo>
                <a:lnTo>
                  <a:pt x="1503" y="1817"/>
                </a:lnTo>
                <a:lnTo>
                  <a:pt x="1503" y="1819"/>
                </a:lnTo>
                <a:lnTo>
                  <a:pt x="1501" y="1819"/>
                </a:lnTo>
                <a:lnTo>
                  <a:pt x="1498" y="1819"/>
                </a:lnTo>
                <a:lnTo>
                  <a:pt x="1496" y="1819"/>
                </a:lnTo>
                <a:lnTo>
                  <a:pt x="1498" y="1819"/>
                </a:lnTo>
                <a:lnTo>
                  <a:pt x="1500" y="1819"/>
                </a:lnTo>
                <a:lnTo>
                  <a:pt x="1498" y="1819"/>
                </a:lnTo>
                <a:lnTo>
                  <a:pt x="1495" y="1817"/>
                </a:lnTo>
                <a:lnTo>
                  <a:pt x="1493" y="1817"/>
                </a:lnTo>
                <a:lnTo>
                  <a:pt x="1495" y="1815"/>
                </a:lnTo>
                <a:lnTo>
                  <a:pt x="1493" y="1815"/>
                </a:lnTo>
                <a:lnTo>
                  <a:pt x="1495" y="1815"/>
                </a:lnTo>
                <a:lnTo>
                  <a:pt x="1495" y="1814"/>
                </a:lnTo>
                <a:lnTo>
                  <a:pt x="1496" y="1814"/>
                </a:lnTo>
                <a:lnTo>
                  <a:pt x="1495" y="1814"/>
                </a:lnTo>
                <a:lnTo>
                  <a:pt x="1495" y="1815"/>
                </a:lnTo>
                <a:lnTo>
                  <a:pt x="1493" y="1814"/>
                </a:lnTo>
                <a:lnTo>
                  <a:pt x="1495" y="1814"/>
                </a:lnTo>
                <a:lnTo>
                  <a:pt x="1493" y="1814"/>
                </a:lnTo>
                <a:lnTo>
                  <a:pt x="1495" y="1814"/>
                </a:lnTo>
                <a:lnTo>
                  <a:pt x="1495" y="1812"/>
                </a:lnTo>
                <a:lnTo>
                  <a:pt x="1493" y="1812"/>
                </a:lnTo>
                <a:lnTo>
                  <a:pt x="1495" y="1810"/>
                </a:lnTo>
                <a:close/>
                <a:moveTo>
                  <a:pt x="1472" y="1800"/>
                </a:moveTo>
                <a:lnTo>
                  <a:pt x="1474" y="1800"/>
                </a:lnTo>
                <a:lnTo>
                  <a:pt x="1474" y="1802"/>
                </a:lnTo>
                <a:lnTo>
                  <a:pt x="1476" y="1804"/>
                </a:lnTo>
                <a:lnTo>
                  <a:pt x="1474" y="1802"/>
                </a:lnTo>
                <a:lnTo>
                  <a:pt x="1476" y="1802"/>
                </a:lnTo>
                <a:lnTo>
                  <a:pt x="1476" y="1804"/>
                </a:lnTo>
                <a:lnTo>
                  <a:pt x="1478" y="1805"/>
                </a:lnTo>
                <a:lnTo>
                  <a:pt x="1479" y="1807"/>
                </a:lnTo>
                <a:lnTo>
                  <a:pt x="1479" y="1805"/>
                </a:lnTo>
                <a:lnTo>
                  <a:pt x="1479" y="1807"/>
                </a:lnTo>
                <a:lnTo>
                  <a:pt x="1481" y="1807"/>
                </a:lnTo>
                <a:lnTo>
                  <a:pt x="1481" y="1809"/>
                </a:lnTo>
                <a:lnTo>
                  <a:pt x="1481" y="1807"/>
                </a:lnTo>
                <a:lnTo>
                  <a:pt x="1484" y="1809"/>
                </a:lnTo>
                <a:lnTo>
                  <a:pt x="1481" y="1809"/>
                </a:lnTo>
                <a:lnTo>
                  <a:pt x="1483" y="1810"/>
                </a:lnTo>
                <a:lnTo>
                  <a:pt x="1481" y="1809"/>
                </a:lnTo>
                <a:lnTo>
                  <a:pt x="1483" y="1810"/>
                </a:lnTo>
                <a:lnTo>
                  <a:pt x="1483" y="1812"/>
                </a:lnTo>
                <a:lnTo>
                  <a:pt x="1481" y="1812"/>
                </a:lnTo>
                <a:lnTo>
                  <a:pt x="1479" y="1810"/>
                </a:lnTo>
                <a:lnTo>
                  <a:pt x="1478" y="1809"/>
                </a:lnTo>
                <a:lnTo>
                  <a:pt x="1476" y="1809"/>
                </a:lnTo>
                <a:lnTo>
                  <a:pt x="1474" y="1807"/>
                </a:lnTo>
                <a:lnTo>
                  <a:pt x="1476" y="1807"/>
                </a:lnTo>
                <a:lnTo>
                  <a:pt x="1476" y="1809"/>
                </a:lnTo>
                <a:lnTo>
                  <a:pt x="1476" y="1807"/>
                </a:lnTo>
                <a:lnTo>
                  <a:pt x="1478" y="1807"/>
                </a:lnTo>
                <a:lnTo>
                  <a:pt x="1476" y="1805"/>
                </a:lnTo>
                <a:lnTo>
                  <a:pt x="1474" y="1804"/>
                </a:lnTo>
                <a:lnTo>
                  <a:pt x="1474" y="1805"/>
                </a:lnTo>
                <a:lnTo>
                  <a:pt x="1476" y="1805"/>
                </a:lnTo>
                <a:lnTo>
                  <a:pt x="1476" y="1807"/>
                </a:lnTo>
                <a:lnTo>
                  <a:pt x="1474" y="1807"/>
                </a:lnTo>
                <a:lnTo>
                  <a:pt x="1474" y="1805"/>
                </a:lnTo>
                <a:lnTo>
                  <a:pt x="1472" y="1804"/>
                </a:lnTo>
                <a:lnTo>
                  <a:pt x="1472" y="1805"/>
                </a:lnTo>
                <a:lnTo>
                  <a:pt x="1474" y="1805"/>
                </a:lnTo>
                <a:lnTo>
                  <a:pt x="1472" y="1805"/>
                </a:lnTo>
                <a:lnTo>
                  <a:pt x="1472" y="1804"/>
                </a:lnTo>
                <a:lnTo>
                  <a:pt x="1471" y="1804"/>
                </a:lnTo>
                <a:lnTo>
                  <a:pt x="1472" y="1804"/>
                </a:lnTo>
                <a:lnTo>
                  <a:pt x="1471" y="1804"/>
                </a:lnTo>
                <a:lnTo>
                  <a:pt x="1471" y="1802"/>
                </a:lnTo>
                <a:lnTo>
                  <a:pt x="1472" y="1804"/>
                </a:lnTo>
                <a:lnTo>
                  <a:pt x="1472" y="1802"/>
                </a:lnTo>
                <a:lnTo>
                  <a:pt x="1474" y="1800"/>
                </a:lnTo>
                <a:lnTo>
                  <a:pt x="1472" y="1800"/>
                </a:lnTo>
                <a:close/>
                <a:moveTo>
                  <a:pt x="1466" y="1606"/>
                </a:moveTo>
                <a:lnTo>
                  <a:pt x="1469" y="1606"/>
                </a:lnTo>
                <a:lnTo>
                  <a:pt x="1469" y="1608"/>
                </a:lnTo>
                <a:lnTo>
                  <a:pt x="1467" y="1608"/>
                </a:lnTo>
                <a:lnTo>
                  <a:pt x="1467" y="1610"/>
                </a:lnTo>
                <a:lnTo>
                  <a:pt x="1466" y="1610"/>
                </a:lnTo>
                <a:lnTo>
                  <a:pt x="1467" y="1610"/>
                </a:lnTo>
                <a:lnTo>
                  <a:pt x="1466" y="1610"/>
                </a:lnTo>
                <a:lnTo>
                  <a:pt x="1467" y="1610"/>
                </a:lnTo>
                <a:lnTo>
                  <a:pt x="1467" y="1611"/>
                </a:lnTo>
                <a:lnTo>
                  <a:pt x="1467" y="1610"/>
                </a:lnTo>
                <a:lnTo>
                  <a:pt x="1469" y="1613"/>
                </a:lnTo>
                <a:lnTo>
                  <a:pt x="1469" y="1610"/>
                </a:lnTo>
                <a:lnTo>
                  <a:pt x="1469" y="1611"/>
                </a:lnTo>
                <a:lnTo>
                  <a:pt x="1471" y="1610"/>
                </a:lnTo>
                <a:lnTo>
                  <a:pt x="1472" y="1611"/>
                </a:lnTo>
                <a:lnTo>
                  <a:pt x="1472" y="1610"/>
                </a:lnTo>
                <a:lnTo>
                  <a:pt x="1472" y="1611"/>
                </a:lnTo>
                <a:lnTo>
                  <a:pt x="1474" y="1608"/>
                </a:lnTo>
                <a:lnTo>
                  <a:pt x="1474" y="1610"/>
                </a:lnTo>
                <a:lnTo>
                  <a:pt x="1474" y="1613"/>
                </a:lnTo>
                <a:lnTo>
                  <a:pt x="1472" y="1611"/>
                </a:lnTo>
                <a:lnTo>
                  <a:pt x="1471" y="1613"/>
                </a:lnTo>
                <a:lnTo>
                  <a:pt x="1472" y="1613"/>
                </a:lnTo>
                <a:lnTo>
                  <a:pt x="1472" y="1615"/>
                </a:lnTo>
                <a:lnTo>
                  <a:pt x="1469" y="1615"/>
                </a:lnTo>
                <a:lnTo>
                  <a:pt x="1469" y="1613"/>
                </a:lnTo>
                <a:lnTo>
                  <a:pt x="1466" y="1615"/>
                </a:lnTo>
                <a:lnTo>
                  <a:pt x="1466" y="1611"/>
                </a:lnTo>
                <a:lnTo>
                  <a:pt x="1467" y="1611"/>
                </a:lnTo>
                <a:lnTo>
                  <a:pt x="1466" y="1611"/>
                </a:lnTo>
                <a:lnTo>
                  <a:pt x="1466" y="1610"/>
                </a:lnTo>
                <a:lnTo>
                  <a:pt x="1466" y="1611"/>
                </a:lnTo>
                <a:lnTo>
                  <a:pt x="1466" y="1610"/>
                </a:lnTo>
                <a:lnTo>
                  <a:pt x="1464" y="1610"/>
                </a:lnTo>
                <a:lnTo>
                  <a:pt x="1466" y="1606"/>
                </a:lnTo>
                <a:close/>
                <a:moveTo>
                  <a:pt x="1420" y="1834"/>
                </a:moveTo>
                <a:lnTo>
                  <a:pt x="1420" y="1836"/>
                </a:lnTo>
                <a:lnTo>
                  <a:pt x="1420" y="1838"/>
                </a:lnTo>
                <a:lnTo>
                  <a:pt x="1421" y="1838"/>
                </a:lnTo>
                <a:lnTo>
                  <a:pt x="1421" y="1839"/>
                </a:lnTo>
                <a:lnTo>
                  <a:pt x="1423" y="1839"/>
                </a:lnTo>
                <a:lnTo>
                  <a:pt x="1423" y="1841"/>
                </a:lnTo>
                <a:lnTo>
                  <a:pt x="1423" y="1843"/>
                </a:lnTo>
                <a:lnTo>
                  <a:pt x="1421" y="1844"/>
                </a:lnTo>
                <a:lnTo>
                  <a:pt x="1421" y="1843"/>
                </a:lnTo>
                <a:lnTo>
                  <a:pt x="1421" y="1844"/>
                </a:lnTo>
                <a:lnTo>
                  <a:pt x="1421" y="1843"/>
                </a:lnTo>
                <a:lnTo>
                  <a:pt x="1421" y="1841"/>
                </a:lnTo>
                <a:lnTo>
                  <a:pt x="1420" y="1839"/>
                </a:lnTo>
                <a:lnTo>
                  <a:pt x="1420" y="1843"/>
                </a:lnTo>
                <a:lnTo>
                  <a:pt x="1420" y="1844"/>
                </a:lnTo>
                <a:lnTo>
                  <a:pt x="1421" y="1844"/>
                </a:lnTo>
                <a:lnTo>
                  <a:pt x="1420" y="1846"/>
                </a:lnTo>
                <a:lnTo>
                  <a:pt x="1418" y="1844"/>
                </a:lnTo>
                <a:lnTo>
                  <a:pt x="1418" y="1843"/>
                </a:lnTo>
                <a:lnTo>
                  <a:pt x="1416" y="1841"/>
                </a:lnTo>
                <a:lnTo>
                  <a:pt x="1418" y="1841"/>
                </a:lnTo>
                <a:lnTo>
                  <a:pt x="1418" y="1839"/>
                </a:lnTo>
                <a:lnTo>
                  <a:pt x="1416" y="1839"/>
                </a:lnTo>
                <a:lnTo>
                  <a:pt x="1416" y="1838"/>
                </a:lnTo>
                <a:lnTo>
                  <a:pt x="1416" y="1839"/>
                </a:lnTo>
                <a:lnTo>
                  <a:pt x="1415" y="1839"/>
                </a:lnTo>
                <a:lnTo>
                  <a:pt x="1416" y="1838"/>
                </a:lnTo>
                <a:lnTo>
                  <a:pt x="1416" y="1839"/>
                </a:lnTo>
                <a:lnTo>
                  <a:pt x="1418" y="1838"/>
                </a:lnTo>
                <a:lnTo>
                  <a:pt x="1416" y="1838"/>
                </a:lnTo>
                <a:lnTo>
                  <a:pt x="1418" y="1839"/>
                </a:lnTo>
                <a:lnTo>
                  <a:pt x="1418" y="1838"/>
                </a:lnTo>
                <a:lnTo>
                  <a:pt x="1418" y="1836"/>
                </a:lnTo>
                <a:lnTo>
                  <a:pt x="1418" y="1838"/>
                </a:lnTo>
                <a:lnTo>
                  <a:pt x="1420" y="1834"/>
                </a:lnTo>
                <a:close/>
                <a:moveTo>
                  <a:pt x="1510" y="1817"/>
                </a:moveTo>
                <a:lnTo>
                  <a:pt x="1510" y="1819"/>
                </a:lnTo>
                <a:lnTo>
                  <a:pt x="1512" y="1819"/>
                </a:lnTo>
                <a:lnTo>
                  <a:pt x="1513" y="1819"/>
                </a:lnTo>
                <a:lnTo>
                  <a:pt x="1515" y="1819"/>
                </a:lnTo>
                <a:lnTo>
                  <a:pt x="1513" y="1821"/>
                </a:lnTo>
                <a:lnTo>
                  <a:pt x="1515" y="1821"/>
                </a:lnTo>
                <a:lnTo>
                  <a:pt x="1513" y="1822"/>
                </a:lnTo>
                <a:lnTo>
                  <a:pt x="1513" y="1821"/>
                </a:lnTo>
                <a:lnTo>
                  <a:pt x="1512" y="1821"/>
                </a:lnTo>
                <a:lnTo>
                  <a:pt x="1512" y="1822"/>
                </a:lnTo>
                <a:lnTo>
                  <a:pt x="1510" y="1822"/>
                </a:lnTo>
                <a:lnTo>
                  <a:pt x="1512" y="1824"/>
                </a:lnTo>
                <a:lnTo>
                  <a:pt x="1508" y="1824"/>
                </a:lnTo>
                <a:lnTo>
                  <a:pt x="1506" y="1826"/>
                </a:lnTo>
                <a:lnTo>
                  <a:pt x="1506" y="1824"/>
                </a:lnTo>
                <a:lnTo>
                  <a:pt x="1510" y="1824"/>
                </a:lnTo>
                <a:lnTo>
                  <a:pt x="1510" y="1822"/>
                </a:lnTo>
                <a:lnTo>
                  <a:pt x="1508" y="1822"/>
                </a:lnTo>
                <a:lnTo>
                  <a:pt x="1508" y="1824"/>
                </a:lnTo>
                <a:lnTo>
                  <a:pt x="1506" y="1822"/>
                </a:lnTo>
                <a:lnTo>
                  <a:pt x="1506" y="1824"/>
                </a:lnTo>
                <a:lnTo>
                  <a:pt x="1505" y="1822"/>
                </a:lnTo>
                <a:lnTo>
                  <a:pt x="1505" y="1821"/>
                </a:lnTo>
                <a:lnTo>
                  <a:pt x="1508" y="1819"/>
                </a:lnTo>
                <a:lnTo>
                  <a:pt x="1510" y="1819"/>
                </a:lnTo>
                <a:lnTo>
                  <a:pt x="1510" y="1817"/>
                </a:lnTo>
                <a:close/>
                <a:moveTo>
                  <a:pt x="1498" y="1829"/>
                </a:moveTo>
                <a:lnTo>
                  <a:pt x="1500" y="1831"/>
                </a:lnTo>
                <a:lnTo>
                  <a:pt x="1501" y="1829"/>
                </a:lnTo>
                <a:lnTo>
                  <a:pt x="1501" y="1831"/>
                </a:lnTo>
                <a:lnTo>
                  <a:pt x="1498" y="1831"/>
                </a:lnTo>
                <a:lnTo>
                  <a:pt x="1500" y="1831"/>
                </a:lnTo>
                <a:lnTo>
                  <a:pt x="1498" y="1832"/>
                </a:lnTo>
                <a:lnTo>
                  <a:pt x="1500" y="1832"/>
                </a:lnTo>
                <a:lnTo>
                  <a:pt x="1498" y="1834"/>
                </a:lnTo>
                <a:lnTo>
                  <a:pt x="1498" y="1836"/>
                </a:lnTo>
                <a:lnTo>
                  <a:pt x="1496" y="1836"/>
                </a:lnTo>
                <a:lnTo>
                  <a:pt x="1493" y="1836"/>
                </a:lnTo>
                <a:lnTo>
                  <a:pt x="1495" y="1834"/>
                </a:lnTo>
                <a:lnTo>
                  <a:pt x="1493" y="1832"/>
                </a:lnTo>
                <a:lnTo>
                  <a:pt x="1495" y="1832"/>
                </a:lnTo>
                <a:lnTo>
                  <a:pt x="1493" y="1832"/>
                </a:lnTo>
                <a:lnTo>
                  <a:pt x="1495" y="1832"/>
                </a:lnTo>
                <a:lnTo>
                  <a:pt x="1495" y="1831"/>
                </a:lnTo>
                <a:lnTo>
                  <a:pt x="1495" y="1829"/>
                </a:lnTo>
                <a:lnTo>
                  <a:pt x="1495" y="1831"/>
                </a:lnTo>
                <a:lnTo>
                  <a:pt x="1496" y="1829"/>
                </a:lnTo>
                <a:lnTo>
                  <a:pt x="1498" y="1829"/>
                </a:lnTo>
                <a:close/>
                <a:moveTo>
                  <a:pt x="1489" y="1832"/>
                </a:moveTo>
                <a:lnTo>
                  <a:pt x="1491" y="1832"/>
                </a:lnTo>
                <a:lnTo>
                  <a:pt x="1493" y="1832"/>
                </a:lnTo>
                <a:lnTo>
                  <a:pt x="1493" y="1834"/>
                </a:lnTo>
                <a:lnTo>
                  <a:pt x="1491" y="1834"/>
                </a:lnTo>
                <a:lnTo>
                  <a:pt x="1493" y="1836"/>
                </a:lnTo>
                <a:lnTo>
                  <a:pt x="1489" y="1838"/>
                </a:lnTo>
                <a:lnTo>
                  <a:pt x="1488" y="1838"/>
                </a:lnTo>
                <a:lnTo>
                  <a:pt x="1488" y="1839"/>
                </a:lnTo>
                <a:lnTo>
                  <a:pt x="1486" y="1839"/>
                </a:lnTo>
                <a:lnTo>
                  <a:pt x="1486" y="1838"/>
                </a:lnTo>
                <a:lnTo>
                  <a:pt x="1488" y="1838"/>
                </a:lnTo>
                <a:lnTo>
                  <a:pt x="1486" y="1838"/>
                </a:lnTo>
                <a:lnTo>
                  <a:pt x="1488" y="1836"/>
                </a:lnTo>
                <a:lnTo>
                  <a:pt x="1486" y="1836"/>
                </a:lnTo>
                <a:lnTo>
                  <a:pt x="1486" y="1834"/>
                </a:lnTo>
                <a:lnTo>
                  <a:pt x="1488" y="1834"/>
                </a:lnTo>
                <a:lnTo>
                  <a:pt x="1488" y="1832"/>
                </a:lnTo>
                <a:lnTo>
                  <a:pt x="1489" y="1832"/>
                </a:lnTo>
                <a:close/>
                <a:moveTo>
                  <a:pt x="1445" y="1611"/>
                </a:moveTo>
                <a:lnTo>
                  <a:pt x="1447" y="1611"/>
                </a:lnTo>
                <a:lnTo>
                  <a:pt x="1449" y="1611"/>
                </a:lnTo>
                <a:lnTo>
                  <a:pt x="1447" y="1613"/>
                </a:lnTo>
                <a:lnTo>
                  <a:pt x="1447" y="1615"/>
                </a:lnTo>
                <a:lnTo>
                  <a:pt x="1447" y="1616"/>
                </a:lnTo>
                <a:lnTo>
                  <a:pt x="1445" y="1616"/>
                </a:lnTo>
                <a:lnTo>
                  <a:pt x="1445" y="1615"/>
                </a:lnTo>
                <a:lnTo>
                  <a:pt x="1447" y="1615"/>
                </a:lnTo>
                <a:lnTo>
                  <a:pt x="1445" y="1615"/>
                </a:lnTo>
                <a:lnTo>
                  <a:pt x="1444" y="1615"/>
                </a:lnTo>
                <a:lnTo>
                  <a:pt x="1442" y="1615"/>
                </a:lnTo>
                <a:lnTo>
                  <a:pt x="1444" y="1613"/>
                </a:lnTo>
                <a:lnTo>
                  <a:pt x="1442" y="1613"/>
                </a:lnTo>
                <a:lnTo>
                  <a:pt x="1442" y="1611"/>
                </a:lnTo>
                <a:lnTo>
                  <a:pt x="1444" y="1613"/>
                </a:lnTo>
                <a:lnTo>
                  <a:pt x="1444" y="1611"/>
                </a:lnTo>
                <a:lnTo>
                  <a:pt x="1445" y="1611"/>
                </a:lnTo>
                <a:close/>
                <a:moveTo>
                  <a:pt x="1515" y="1814"/>
                </a:moveTo>
                <a:lnTo>
                  <a:pt x="1515" y="1815"/>
                </a:lnTo>
                <a:lnTo>
                  <a:pt x="1517" y="1817"/>
                </a:lnTo>
                <a:lnTo>
                  <a:pt x="1518" y="1815"/>
                </a:lnTo>
                <a:lnTo>
                  <a:pt x="1520" y="1815"/>
                </a:lnTo>
                <a:lnTo>
                  <a:pt x="1518" y="1819"/>
                </a:lnTo>
                <a:lnTo>
                  <a:pt x="1518" y="1817"/>
                </a:lnTo>
                <a:lnTo>
                  <a:pt x="1517" y="1819"/>
                </a:lnTo>
                <a:lnTo>
                  <a:pt x="1515" y="1821"/>
                </a:lnTo>
                <a:lnTo>
                  <a:pt x="1515" y="1817"/>
                </a:lnTo>
                <a:lnTo>
                  <a:pt x="1515" y="1819"/>
                </a:lnTo>
                <a:lnTo>
                  <a:pt x="1512" y="1819"/>
                </a:lnTo>
                <a:lnTo>
                  <a:pt x="1512" y="1817"/>
                </a:lnTo>
                <a:lnTo>
                  <a:pt x="1513" y="1817"/>
                </a:lnTo>
                <a:lnTo>
                  <a:pt x="1513" y="1815"/>
                </a:lnTo>
                <a:lnTo>
                  <a:pt x="1515" y="1814"/>
                </a:lnTo>
                <a:close/>
                <a:moveTo>
                  <a:pt x="1513" y="1822"/>
                </a:moveTo>
                <a:lnTo>
                  <a:pt x="1513" y="1824"/>
                </a:lnTo>
                <a:lnTo>
                  <a:pt x="1513" y="1826"/>
                </a:lnTo>
                <a:lnTo>
                  <a:pt x="1513" y="1827"/>
                </a:lnTo>
                <a:lnTo>
                  <a:pt x="1510" y="1829"/>
                </a:lnTo>
                <a:lnTo>
                  <a:pt x="1510" y="1827"/>
                </a:lnTo>
                <a:lnTo>
                  <a:pt x="1510" y="1826"/>
                </a:lnTo>
                <a:lnTo>
                  <a:pt x="1508" y="1827"/>
                </a:lnTo>
                <a:lnTo>
                  <a:pt x="1510" y="1826"/>
                </a:lnTo>
                <a:lnTo>
                  <a:pt x="1508" y="1826"/>
                </a:lnTo>
                <a:lnTo>
                  <a:pt x="1506" y="1826"/>
                </a:lnTo>
                <a:lnTo>
                  <a:pt x="1510" y="1824"/>
                </a:lnTo>
                <a:lnTo>
                  <a:pt x="1513" y="1822"/>
                </a:lnTo>
                <a:close/>
                <a:moveTo>
                  <a:pt x="1484" y="1574"/>
                </a:moveTo>
                <a:lnTo>
                  <a:pt x="1486" y="1576"/>
                </a:lnTo>
                <a:lnTo>
                  <a:pt x="1486" y="1574"/>
                </a:lnTo>
                <a:lnTo>
                  <a:pt x="1488" y="1576"/>
                </a:lnTo>
                <a:lnTo>
                  <a:pt x="1486" y="1576"/>
                </a:lnTo>
                <a:lnTo>
                  <a:pt x="1486" y="1577"/>
                </a:lnTo>
                <a:lnTo>
                  <a:pt x="1484" y="1577"/>
                </a:lnTo>
                <a:lnTo>
                  <a:pt x="1486" y="1579"/>
                </a:lnTo>
                <a:lnTo>
                  <a:pt x="1484" y="1579"/>
                </a:lnTo>
                <a:lnTo>
                  <a:pt x="1484" y="1577"/>
                </a:lnTo>
                <a:lnTo>
                  <a:pt x="1483" y="1579"/>
                </a:lnTo>
                <a:lnTo>
                  <a:pt x="1483" y="1577"/>
                </a:lnTo>
                <a:lnTo>
                  <a:pt x="1483" y="1576"/>
                </a:lnTo>
                <a:lnTo>
                  <a:pt x="1484" y="1574"/>
                </a:lnTo>
                <a:close/>
                <a:moveTo>
                  <a:pt x="1506" y="1827"/>
                </a:moveTo>
                <a:lnTo>
                  <a:pt x="1506" y="1829"/>
                </a:lnTo>
                <a:lnTo>
                  <a:pt x="1505" y="1829"/>
                </a:lnTo>
                <a:lnTo>
                  <a:pt x="1506" y="1831"/>
                </a:lnTo>
                <a:lnTo>
                  <a:pt x="1506" y="1832"/>
                </a:lnTo>
                <a:lnTo>
                  <a:pt x="1503" y="1832"/>
                </a:lnTo>
                <a:lnTo>
                  <a:pt x="1503" y="1831"/>
                </a:lnTo>
                <a:lnTo>
                  <a:pt x="1503" y="1832"/>
                </a:lnTo>
                <a:lnTo>
                  <a:pt x="1501" y="1832"/>
                </a:lnTo>
                <a:lnTo>
                  <a:pt x="1501" y="1831"/>
                </a:lnTo>
                <a:lnTo>
                  <a:pt x="1503" y="1829"/>
                </a:lnTo>
                <a:lnTo>
                  <a:pt x="1501" y="1829"/>
                </a:lnTo>
                <a:lnTo>
                  <a:pt x="1503" y="1829"/>
                </a:lnTo>
                <a:lnTo>
                  <a:pt x="1506" y="1827"/>
                </a:lnTo>
                <a:close/>
                <a:moveTo>
                  <a:pt x="1481" y="1831"/>
                </a:moveTo>
                <a:lnTo>
                  <a:pt x="1479" y="1831"/>
                </a:lnTo>
                <a:lnTo>
                  <a:pt x="1481" y="1831"/>
                </a:lnTo>
                <a:lnTo>
                  <a:pt x="1483" y="1831"/>
                </a:lnTo>
                <a:lnTo>
                  <a:pt x="1481" y="1832"/>
                </a:lnTo>
                <a:lnTo>
                  <a:pt x="1483" y="1832"/>
                </a:lnTo>
                <a:lnTo>
                  <a:pt x="1484" y="1831"/>
                </a:lnTo>
                <a:lnTo>
                  <a:pt x="1484" y="1832"/>
                </a:lnTo>
                <a:lnTo>
                  <a:pt x="1483" y="1832"/>
                </a:lnTo>
                <a:lnTo>
                  <a:pt x="1483" y="1834"/>
                </a:lnTo>
                <a:lnTo>
                  <a:pt x="1481" y="1834"/>
                </a:lnTo>
                <a:lnTo>
                  <a:pt x="1479" y="1834"/>
                </a:lnTo>
                <a:lnTo>
                  <a:pt x="1481" y="1832"/>
                </a:lnTo>
                <a:lnTo>
                  <a:pt x="1479" y="1832"/>
                </a:lnTo>
                <a:lnTo>
                  <a:pt x="1478" y="1832"/>
                </a:lnTo>
                <a:lnTo>
                  <a:pt x="1478" y="1831"/>
                </a:lnTo>
                <a:lnTo>
                  <a:pt x="1479" y="1831"/>
                </a:lnTo>
                <a:lnTo>
                  <a:pt x="1479" y="1832"/>
                </a:lnTo>
                <a:lnTo>
                  <a:pt x="1479" y="1831"/>
                </a:lnTo>
                <a:lnTo>
                  <a:pt x="1481" y="1831"/>
                </a:lnTo>
                <a:close/>
                <a:moveTo>
                  <a:pt x="1442" y="1841"/>
                </a:moveTo>
                <a:lnTo>
                  <a:pt x="1444" y="1843"/>
                </a:lnTo>
                <a:lnTo>
                  <a:pt x="1444" y="1841"/>
                </a:lnTo>
                <a:lnTo>
                  <a:pt x="1445" y="1843"/>
                </a:lnTo>
                <a:lnTo>
                  <a:pt x="1445" y="1844"/>
                </a:lnTo>
                <a:lnTo>
                  <a:pt x="1444" y="1844"/>
                </a:lnTo>
                <a:lnTo>
                  <a:pt x="1445" y="1846"/>
                </a:lnTo>
                <a:lnTo>
                  <a:pt x="1444" y="1848"/>
                </a:lnTo>
                <a:lnTo>
                  <a:pt x="1444" y="1846"/>
                </a:lnTo>
                <a:lnTo>
                  <a:pt x="1444" y="1848"/>
                </a:lnTo>
                <a:lnTo>
                  <a:pt x="1444" y="1846"/>
                </a:lnTo>
                <a:lnTo>
                  <a:pt x="1442" y="1846"/>
                </a:lnTo>
                <a:lnTo>
                  <a:pt x="1442" y="1844"/>
                </a:lnTo>
                <a:lnTo>
                  <a:pt x="1442" y="1843"/>
                </a:lnTo>
                <a:lnTo>
                  <a:pt x="1444" y="1843"/>
                </a:lnTo>
                <a:lnTo>
                  <a:pt x="1442" y="1843"/>
                </a:lnTo>
                <a:lnTo>
                  <a:pt x="1442" y="1841"/>
                </a:lnTo>
                <a:close/>
                <a:moveTo>
                  <a:pt x="1457" y="1611"/>
                </a:moveTo>
                <a:lnTo>
                  <a:pt x="1457" y="1613"/>
                </a:lnTo>
                <a:lnTo>
                  <a:pt x="1459" y="1613"/>
                </a:lnTo>
                <a:lnTo>
                  <a:pt x="1459" y="1615"/>
                </a:lnTo>
                <a:lnTo>
                  <a:pt x="1461" y="1615"/>
                </a:lnTo>
                <a:lnTo>
                  <a:pt x="1459" y="1615"/>
                </a:lnTo>
                <a:lnTo>
                  <a:pt x="1457" y="1613"/>
                </a:lnTo>
                <a:lnTo>
                  <a:pt x="1457" y="1615"/>
                </a:lnTo>
                <a:lnTo>
                  <a:pt x="1457" y="1616"/>
                </a:lnTo>
                <a:lnTo>
                  <a:pt x="1457" y="1618"/>
                </a:lnTo>
                <a:lnTo>
                  <a:pt x="1455" y="1616"/>
                </a:lnTo>
                <a:lnTo>
                  <a:pt x="1454" y="1616"/>
                </a:lnTo>
                <a:lnTo>
                  <a:pt x="1454" y="1618"/>
                </a:lnTo>
                <a:lnTo>
                  <a:pt x="1454" y="1616"/>
                </a:lnTo>
                <a:lnTo>
                  <a:pt x="1455" y="1616"/>
                </a:lnTo>
                <a:lnTo>
                  <a:pt x="1455" y="1615"/>
                </a:lnTo>
                <a:lnTo>
                  <a:pt x="1455" y="1613"/>
                </a:lnTo>
                <a:lnTo>
                  <a:pt x="1457" y="1613"/>
                </a:lnTo>
                <a:lnTo>
                  <a:pt x="1457" y="1611"/>
                </a:lnTo>
                <a:close/>
                <a:moveTo>
                  <a:pt x="1518" y="1819"/>
                </a:moveTo>
                <a:lnTo>
                  <a:pt x="1518" y="1821"/>
                </a:lnTo>
                <a:lnTo>
                  <a:pt x="1517" y="1822"/>
                </a:lnTo>
                <a:lnTo>
                  <a:pt x="1517" y="1824"/>
                </a:lnTo>
                <a:lnTo>
                  <a:pt x="1513" y="1824"/>
                </a:lnTo>
                <a:lnTo>
                  <a:pt x="1513" y="1822"/>
                </a:lnTo>
                <a:lnTo>
                  <a:pt x="1515" y="1822"/>
                </a:lnTo>
                <a:lnTo>
                  <a:pt x="1515" y="1821"/>
                </a:lnTo>
                <a:lnTo>
                  <a:pt x="1517" y="1819"/>
                </a:lnTo>
                <a:lnTo>
                  <a:pt x="1518" y="1819"/>
                </a:lnTo>
                <a:close/>
                <a:moveTo>
                  <a:pt x="1625" y="1797"/>
                </a:moveTo>
                <a:lnTo>
                  <a:pt x="1627" y="1798"/>
                </a:lnTo>
                <a:lnTo>
                  <a:pt x="1629" y="1800"/>
                </a:lnTo>
                <a:lnTo>
                  <a:pt x="1629" y="1802"/>
                </a:lnTo>
                <a:lnTo>
                  <a:pt x="1627" y="1804"/>
                </a:lnTo>
                <a:lnTo>
                  <a:pt x="1627" y="1805"/>
                </a:lnTo>
                <a:lnTo>
                  <a:pt x="1625" y="1804"/>
                </a:lnTo>
                <a:lnTo>
                  <a:pt x="1627" y="1802"/>
                </a:lnTo>
                <a:lnTo>
                  <a:pt x="1625" y="1802"/>
                </a:lnTo>
                <a:lnTo>
                  <a:pt x="1625" y="1800"/>
                </a:lnTo>
                <a:lnTo>
                  <a:pt x="1624" y="1798"/>
                </a:lnTo>
                <a:lnTo>
                  <a:pt x="1625" y="1797"/>
                </a:lnTo>
                <a:close/>
                <a:moveTo>
                  <a:pt x="1472" y="1807"/>
                </a:moveTo>
                <a:lnTo>
                  <a:pt x="1474" y="1807"/>
                </a:lnTo>
                <a:lnTo>
                  <a:pt x="1476" y="1809"/>
                </a:lnTo>
                <a:lnTo>
                  <a:pt x="1476" y="1810"/>
                </a:lnTo>
                <a:lnTo>
                  <a:pt x="1478" y="1812"/>
                </a:lnTo>
                <a:lnTo>
                  <a:pt x="1476" y="1812"/>
                </a:lnTo>
                <a:lnTo>
                  <a:pt x="1476" y="1814"/>
                </a:lnTo>
                <a:lnTo>
                  <a:pt x="1476" y="1812"/>
                </a:lnTo>
                <a:lnTo>
                  <a:pt x="1474" y="1810"/>
                </a:lnTo>
                <a:lnTo>
                  <a:pt x="1474" y="1812"/>
                </a:lnTo>
                <a:lnTo>
                  <a:pt x="1474" y="1810"/>
                </a:lnTo>
                <a:lnTo>
                  <a:pt x="1474" y="1809"/>
                </a:lnTo>
                <a:lnTo>
                  <a:pt x="1472" y="1807"/>
                </a:lnTo>
                <a:close/>
                <a:moveTo>
                  <a:pt x="1467" y="1785"/>
                </a:moveTo>
                <a:lnTo>
                  <a:pt x="1469" y="1787"/>
                </a:lnTo>
                <a:lnTo>
                  <a:pt x="1471" y="1785"/>
                </a:lnTo>
                <a:lnTo>
                  <a:pt x="1471" y="1787"/>
                </a:lnTo>
                <a:lnTo>
                  <a:pt x="1469" y="1787"/>
                </a:lnTo>
                <a:lnTo>
                  <a:pt x="1469" y="1788"/>
                </a:lnTo>
                <a:lnTo>
                  <a:pt x="1471" y="1788"/>
                </a:lnTo>
                <a:lnTo>
                  <a:pt x="1471" y="1787"/>
                </a:lnTo>
                <a:lnTo>
                  <a:pt x="1472" y="1790"/>
                </a:lnTo>
                <a:lnTo>
                  <a:pt x="1472" y="1788"/>
                </a:lnTo>
                <a:lnTo>
                  <a:pt x="1472" y="1790"/>
                </a:lnTo>
                <a:lnTo>
                  <a:pt x="1472" y="1788"/>
                </a:lnTo>
                <a:lnTo>
                  <a:pt x="1474" y="1790"/>
                </a:lnTo>
                <a:lnTo>
                  <a:pt x="1472" y="1790"/>
                </a:lnTo>
                <a:lnTo>
                  <a:pt x="1471" y="1790"/>
                </a:lnTo>
                <a:lnTo>
                  <a:pt x="1471" y="1788"/>
                </a:lnTo>
                <a:lnTo>
                  <a:pt x="1471" y="1790"/>
                </a:lnTo>
                <a:lnTo>
                  <a:pt x="1472" y="1790"/>
                </a:lnTo>
                <a:lnTo>
                  <a:pt x="1471" y="1792"/>
                </a:lnTo>
                <a:lnTo>
                  <a:pt x="1471" y="1790"/>
                </a:lnTo>
                <a:lnTo>
                  <a:pt x="1471" y="1788"/>
                </a:lnTo>
                <a:lnTo>
                  <a:pt x="1469" y="1788"/>
                </a:lnTo>
                <a:lnTo>
                  <a:pt x="1467" y="1788"/>
                </a:lnTo>
                <a:lnTo>
                  <a:pt x="1469" y="1787"/>
                </a:lnTo>
                <a:lnTo>
                  <a:pt x="1467" y="1787"/>
                </a:lnTo>
                <a:lnTo>
                  <a:pt x="1467" y="1785"/>
                </a:lnTo>
                <a:close/>
                <a:moveTo>
                  <a:pt x="1569" y="1832"/>
                </a:moveTo>
                <a:lnTo>
                  <a:pt x="1571" y="1832"/>
                </a:lnTo>
                <a:lnTo>
                  <a:pt x="1573" y="1831"/>
                </a:lnTo>
                <a:lnTo>
                  <a:pt x="1574" y="1832"/>
                </a:lnTo>
                <a:lnTo>
                  <a:pt x="1573" y="1832"/>
                </a:lnTo>
                <a:lnTo>
                  <a:pt x="1573" y="1834"/>
                </a:lnTo>
                <a:lnTo>
                  <a:pt x="1574" y="1834"/>
                </a:lnTo>
                <a:lnTo>
                  <a:pt x="1573" y="1834"/>
                </a:lnTo>
                <a:lnTo>
                  <a:pt x="1574" y="1836"/>
                </a:lnTo>
                <a:lnTo>
                  <a:pt x="1571" y="1834"/>
                </a:lnTo>
                <a:lnTo>
                  <a:pt x="1573" y="1834"/>
                </a:lnTo>
                <a:lnTo>
                  <a:pt x="1571" y="1834"/>
                </a:lnTo>
                <a:lnTo>
                  <a:pt x="1569" y="1836"/>
                </a:lnTo>
                <a:lnTo>
                  <a:pt x="1571" y="1834"/>
                </a:lnTo>
                <a:lnTo>
                  <a:pt x="1571" y="1832"/>
                </a:lnTo>
                <a:lnTo>
                  <a:pt x="1569" y="1834"/>
                </a:lnTo>
                <a:lnTo>
                  <a:pt x="1569" y="1832"/>
                </a:lnTo>
                <a:close/>
                <a:moveTo>
                  <a:pt x="1508" y="1815"/>
                </a:moveTo>
                <a:lnTo>
                  <a:pt x="1508" y="1817"/>
                </a:lnTo>
                <a:lnTo>
                  <a:pt x="1508" y="1815"/>
                </a:lnTo>
                <a:lnTo>
                  <a:pt x="1510" y="1815"/>
                </a:lnTo>
                <a:lnTo>
                  <a:pt x="1512" y="1815"/>
                </a:lnTo>
                <a:lnTo>
                  <a:pt x="1512" y="1817"/>
                </a:lnTo>
                <a:lnTo>
                  <a:pt x="1510" y="1817"/>
                </a:lnTo>
                <a:lnTo>
                  <a:pt x="1508" y="1819"/>
                </a:lnTo>
                <a:lnTo>
                  <a:pt x="1506" y="1817"/>
                </a:lnTo>
                <a:lnTo>
                  <a:pt x="1505" y="1819"/>
                </a:lnTo>
                <a:lnTo>
                  <a:pt x="1505" y="1815"/>
                </a:lnTo>
                <a:lnTo>
                  <a:pt x="1506" y="1815"/>
                </a:lnTo>
                <a:lnTo>
                  <a:pt x="1508" y="1815"/>
                </a:lnTo>
                <a:close/>
                <a:moveTo>
                  <a:pt x="1500" y="1423"/>
                </a:moveTo>
                <a:lnTo>
                  <a:pt x="1503" y="1424"/>
                </a:lnTo>
                <a:lnTo>
                  <a:pt x="1501" y="1424"/>
                </a:lnTo>
                <a:lnTo>
                  <a:pt x="1503" y="1426"/>
                </a:lnTo>
                <a:lnTo>
                  <a:pt x="1501" y="1426"/>
                </a:lnTo>
                <a:lnTo>
                  <a:pt x="1500" y="1428"/>
                </a:lnTo>
                <a:lnTo>
                  <a:pt x="1500" y="1426"/>
                </a:lnTo>
                <a:lnTo>
                  <a:pt x="1500" y="1424"/>
                </a:lnTo>
                <a:lnTo>
                  <a:pt x="1500" y="1423"/>
                </a:lnTo>
                <a:close/>
                <a:moveTo>
                  <a:pt x="1637" y="1792"/>
                </a:moveTo>
                <a:lnTo>
                  <a:pt x="1639" y="1793"/>
                </a:lnTo>
                <a:lnTo>
                  <a:pt x="1639" y="1795"/>
                </a:lnTo>
                <a:lnTo>
                  <a:pt x="1641" y="1795"/>
                </a:lnTo>
                <a:lnTo>
                  <a:pt x="1641" y="1797"/>
                </a:lnTo>
                <a:lnTo>
                  <a:pt x="1639" y="1797"/>
                </a:lnTo>
                <a:lnTo>
                  <a:pt x="1637" y="1798"/>
                </a:lnTo>
                <a:lnTo>
                  <a:pt x="1637" y="1795"/>
                </a:lnTo>
                <a:lnTo>
                  <a:pt x="1637" y="1793"/>
                </a:lnTo>
                <a:lnTo>
                  <a:pt x="1636" y="1793"/>
                </a:lnTo>
                <a:lnTo>
                  <a:pt x="1637" y="1792"/>
                </a:lnTo>
                <a:close/>
                <a:moveTo>
                  <a:pt x="1445" y="1831"/>
                </a:moveTo>
                <a:lnTo>
                  <a:pt x="1445" y="1832"/>
                </a:lnTo>
                <a:lnTo>
                  <a:pt x="1447" y="1832"/>
                </a:lnTo>
                <a:lnTo>
                  <a:pt x="1447" y="1834"/>
                </a:lnTo>
                <a:lnTo>
                  <a:pt x="1447" y="1832"/>
                </a:lnTo>
                <a:lnTo>
                  <a:pt x="1447" y="1834"/>
                </a:lnTo>
                <a:lnTo>
                  <a:pt x="1449" y="1834"/>
                </a:lnTo>
                <a:lnTo>
                  <a:pt x="1447" y="1836"/>
                </a:lnTo>
                <a:lnTo>
                  <a:pt x="1447" y="1838"/>
                </a:lnTo>
                <a:lnTo>
                  <a:pt x="1447" y="1836"/>
                </a:lnTo>
                <a:lnTo>
                  <a:pt x="1445" y="1836"/>
                </a:lnTo>
                <a:lnTo>
                  <a:pt x="1447" y="1836"/>
                </a:lnTo>
                <a:lnTo>
                  <a:pt x="1445" y="1836"/>
                </a:lnTo>
                <a:lnTo>
                  <a:pt x="1445" y="1832"/>
                </a:lnTo>
                <a:lnTo>
                  <a:pt x="1444" y="1832"/>
                </a:lnTo>
                <a:lnTo>
                  <a:pt x="1445" y="1831"/>
                </a:lnTo>
                <a:close/>
                <a:moveTo>
                  <a:pt x="1498" y="1810"/>
                </a:moveTo>
                <a:lnTo>
                  <a:pt x="1501" y="1810"/>
                </a:lnTo>
                <a:lnTo>
                  <a:pt x="1501" y="1812"/>
                </a:lnTo>
                <a:lnTo>
                  <a:pt x="1503" y="1812"/>
                </a:lnTo>
                <a:lnTo>
                  <a:pt x="1503" y="1814"/>
                </a:lnTo>
                <a:lnTo>
                  <a:pt x="1500" y="1814"/>
                </a:lnTo>
                <a:lnTo>
                  <a:pt x="1498" y="1812"/>
                </a:lnTo>
                <a:lnTo>
                  <a:pt x="1498" y="1810"/>
                </a:lnTo>
                <a:close/>
                <a:moveTo>
                  <a:pt x="1491" y="1805"/>
                </a:moveTo>
                <a:lnTo>
                  <a:pt x="1493" y="1805"/>
                </a:lnTo>
                <a:lnTo>
                  <a:pt x="1493" y="1807"/>
                </a:lnTo>
                <a:lnTo>
                  <a:pt x="1491" y="1809"/>
                </a:lnTo>
                <a:lnTo>
                  <a:pt x="1491" y="1810"/>
                </a:lnTo>
                <a:lnTo>
                  <a:pt x="1491" y="1812"/>
                </a:lnTo>
                <a:lnTo>
                  <a:pt x="1489" y="1812"/>
                </a:lnTo>
                <a:lnTo>
                  <a:pt x="1489" y="1809"/>
                </a:lnTo>
                <a:lnTo>
                  <a:pt x="1489" y="1807"/>
                </a:lnTo>
                <a:lnTo>
                  <a:pt x="1491" y="1805"/>
                </a:lnTo>
                <a:close/>
                <a:moveTo>
                  <a:pt x="1455" y="1846"/>
                </a:moveTo>
                <a:lnTo>
                  <a:pt x="1457" y="1848"/>
                </a:lnTo>
                <a:lnTo>
                  <a:pt x="1457" y="1850"/>
                </a:lnTo>
                <a:lnTo>
                  <a:pt x="1455" y="1850"/>
                </a:lnTo>
                <a:lnTo>
                  <a:pt x="1454" y="1850"/>
                </a:lnTo>
                <a:lnTo>
                  <a:pt x="1455" y="1851"/>
                </a:lnTo>
                <a:lnTo>
                  <a:pt x="1454" y="1851"/>
                </a:lnTo>
                <a:lnTo>
                  <a:pt x="1454" y="1848"/>
                </a:lnTo>
                <a:lnTo>
                  <a:pt x="1454" y="1846"/>
                </a:lnTo>
                <a:lnTo>
                  <a:pt x="1455" y="1848"/>
                </a:lnTo>
                <a:lnTo>
                  <a:pt x="1455" y="1846"/>
                </a:lnTo>
                <a:close/>
                <a:moveTo>
                  <a:pt x="1449" y="1851"/>
                </a:moveTo>
                <a:lnTo>
                  <a:pt x="1450" y="1851"/>
                </a:lnTo>
                <a:lnTo>
                  <a:pt x="1452" y="1853"/>
                </a:lnTo>
                <a:lnTo>
                  <a:pt x="1450" y="1851"/>
                </a:lnTo>
                <a:lnTo>
                  <a:pt x="1450" y="1853"/>
                </a:lnTo>
                <a:lnTo>
                  <a:pt x="1449" y="1853"/>
                </a:lnTo>
                <a:lnTo>
                  <a:pt x="1449" y="1851"/>
                </a:lnTo>
                <a:lnTo>
                  <a:pt x="1449" y="1853"/>
                </a:lnTo>
                <a:lnTo>
                  <a:pt x="1447" y="1853"/>
                </a:lnTo>
                <a:lnTo>
                  <a:pt x="1447" y="1855"/>
                </a:lnTo>
                <a:lnTo>
                  <a:pt x="1447" y="1853"/>
                </a:lnTo>
                <a:lnTo>
                  <a:pt x="1447" y="1855"/>
                </a:lnTo>
                <a:lnTo>
                  <a:pt x="1447" y="1853"/>
                </a:lnTo>
                <a:lnTo>
                  <a:pt x="1449" y="1851"/>
                </a:lnTo>
                <a:lnTo>
                  <a:pt x="1447" y="1851"/>
                </a:lnTo>
                <a:lnTo>
                  <a:pt x="1449" y="1851"/>
                </a:lnTo>
                <a:close/>
                <a:moveTo>
                  <a:pt x="1444" y="1637"/>
                </a:moveTo>
                <a:lnTo>
                  <a:pt x="1445" y="1639"/>
                </a:lnTo>
                <a:lnTo>
                  <a:pt x="1445" y="1642"/>
                </a:lnTo>
                <a:lnTo>
                  <a:pt x="1445" y="1640"/>
                </a:lnTo>
                <a:lnTo>
                  <a:pt x="1444" y="1642"/>
                </a:lnTo>
                <a:lnTo>
                  <a:pt x="1442" y="1640"/>
                </a:lnTo>
                <a:lnTo>
                  <a:pt x="1444" y="1640"/>
                </a:lnTo>
                <a:lnTo>
                  <a:pt x="1442" y="1639"/>
                </a:lnTo>
                <a:lnTo>
                  <a:pt x="1444" y="1637"/>
                </a:lnTo>
                <a:close/>
                <a:moveTo>
                  <a:pt x="1445" y="1647"/>
                </a:moveTo>
                <a:lnTo>
                  <a:pt x="1447" y="1647"/>
                </a:lnTo>
                <a:lnTo>
                  <a:pt x="1447" y="1649"/>
                </a:lnTo>
                <a:lnTo>
                  <a:pt x="1445" y="1650"/>
                </a:lnTo>
                <a:lnTo>
                  <a:pt x="1444" y="1649"/>
                </a:lnTo>
                <a:lnTo>
                  <a:pt x="1444" y="1650"/>
                </a:lnTo>
                <a:lnTo>
                  <a:pt x="1444" y="1647"/>
                </a:lnTo>
                <a:lnTo>
                  <a:pt x="1445" y="1647"/>
                </a:lnTo>
                <a:close/>
                <a:moveTo>
                  <a:pt x="1461" y="1829"/>
                </a:moveTo>
                <a:lnTo>
                  <a:pt x="1462" y="1831"/>
                </a:lnTo>
                <a:lnTo>
                  <a:pt x="1462" y="1832"/>
                </a:lnTo>
                <a:lnTo>
                  <a:pt x="1461" y="1832"/>
                </a:lnTo>
                <a:lnTo>
                  <a:pt x="1462" y="1834"/>
                </a:lnTo>
                <a:lnTo>
                  <a:pt x="1461" y="1834"/>
                </a:lnTo>
                <a:lnTo>
                  <a:pt x="1459" y="1832"/>
                </a:lnTo>
                <a:lnTo>
                  <a:pt x="1459" y="1831"/>
                </a:lnTo>
                <a:lnTo>
                  <a:pt x="1461" y="1829"/>
                </a:lnTo>
                <a:close/>
                <a:moveTo>
                  <a:pt x="1508" y="1812"/>
                </a:moveTo>
                <a:lnTo>
                  <a:pt x="1510" y="1812"/>
                </a:lnTo>
                <a:lnTo>
                  <a:pt x="1510" y="1814"/>
                </a:lnTo>
                <a:lnTo>
                  <a:pt x="1508" y="1815"/>
                </a:lnTo>
                <a:lnTo>
                  <a:pt x="1506" y="1815"/>
                </a:lnTo>
                <a:lnTo>
                  <a:pt x="1506" y="1814"/>
                </a:lnTo>
                <a:lnTo>
                  <a:pt x="1508" y="1812"/>
                </a:lnTo>
                <a:close/>
                <a:moveTo>
                  <a:pt x="1656" y="1780"/>
                </a:moveTo>
                <a:lnTo>
                  <a:pt x="1659" y="1781"/>
                </a:lnTo>
                <a:lnTo>
                  <a:pt x="1658" y="1781"/>
                </a:lnTo>
                <a:lnTo>
                  <a:pt x="1656" y="1783"/>
                </a:lnTo>
                <a:lnTo>
                  <a:pt x="1656" y="1787"/>
                </a:lnTo>
                <a:lnTo>
                  <a:pt x="1654" y="1785"/>
                </a:lnTo>
                <a:lnTo>
                  <a:pt x="1656" y="1785"/>
                </a:lnTo>
                <a:lnTo>
                  <a:pt x="1654" y="1783"/>
                </a:lnTo>
                <a:lnTo>
                  <a:pt x="1656" y="1783"/>
                </a:lnTo>
                <a:lnTo>
                  <a:pt x="1658" y="1781"/>
                </a:lnTo>
                <a:lnTo>
                  <a:pt x="1656" y="1780"/>
                </a:lnTo>
                <a:close/>
                <a:moveTo>
                  <a:pt x="1537" y="1829"/>
                </a:moveTo>
                <a:lnTo>
                  <a:pt x="1537" y="1831"/>
                </a:lnTo>
                <a:lnTo>
                  <a:pt x="1535" y="1832"/>
                </a:lnTo>
                <a:lnTo>
                  <a:pt x="1534" y="1832"/>
                </a:lnTo>
                <a:lnTo>
                  <a:pt x="1535" y="1832"/>
                </a:lnTo>
                <a:lnTo>
                  <a:pt x="1534" y="1831"/>
                </a:lnTo>
                <a:lnTo>
                  <a:pt x="1535" y="1829"/>
                </a:lnTo>
                <a:lnTo>
                  <a:pt x="1537" y="1829"/>
                </a:lnTo>
                <a:close/>
                <a:moveTo>
                  <a:pt x="1481" y="1572"/>
                </a:moveTo>
                <a:lnTo>
                  <a:pt x="1481" y="1574"/>
                </a:lnTo>
                <a:lnTo>
                  <a:pt x="1483" y="1576"/>
                </a:lnTo>
                <a:lnTo>
                  <a:pt x="1481" y="1574"/>
                </a:lnTo>
                <a:lnTo>
                  <a:pt x="1481" y="1572"/>
                </a:lnTo>
                <a:lnTo>
                  <a:pt x="1481" y="1574"/>
                </a:lnTo>
                <a:lnTo>
                  <a:pt x="1483" y="1576"/>
                </a:lnTo>
                <a:lnTo>
                  <a:pt x="1481" y="1576"/>
                </a:lnTo>
                <a:lnTo>
                  <a:pt x="1481" y="1574"/>
                </a:lnTo>
                <a:lnTo>
                  <a:pt x="1479" y="1574"/>
                </a:lnTo>
                <a:lnTo>
                  <a:pt x="1479" y="1576"/>
                </a:lnTo>
                <a:lnTo>
                  <a:pt x="1481" y="1576"/>
                </a:lnTo>
                <a:lnTo>
                  <a:pt x="1481" y="1574"/>
                </a:lnTo>
                <a:lnTo>
                  <a:pt x="1481" y="1576"/>
                </a:lnTo>
                <a:lnTo>
                  <a:pt x="1481" y="1577"/>
                </a:lnTo>
                <a:lnTo>
                  <a:pt x="1479" y="1577"/>
                </a:lnTo>
                <a:lnTo>
                  <a:pt x="1479" y="1574"/>
                </a:lnTo>
                <a:lnTo>
                  <a:pt x="1479" y="1572"/>
                </a:lnTo>
                <a:lnTo>
                  <a:pt x="1481" y="1574"/>
                </a:lnTo>
                <a:lnTo>
                  <a:pt x="1481" y="1572"/>
                </a:lnTo>
                <a:close/>
                <a:moveTo>
                  <a:pt x="1517" y="1826"/>
                </a:moveTo>
                <a:lnTo>
                  <a:pt x="1517" y="1829"/>
                </a:lnTo>
                <a:lnTo>
                  <a:pt x="1515" y="1829"/>
                </a:lnTo>
                <a:lnTo>
                  <a:pt x="1517" y="1829"/>
                </a:lnTo>
                <a:lnTo>
                  <a:pt x="1515" y="1831"/>
                </a:lnTo>
                <a:lnTo>
                  <a:pt x="1513" y="1831"/>
                </a:lnTo>
                <a:lnTo>
                  <a:pt x="1515" y="1831"/>
                </a:lnTo>
                <a:lnTo>
                  <a:pt x="1513" y="1829"/>
                </a:lnTo>
                <a:lnTo>
                  <a:pt x="1513" y="1827"/>
                </a:lnTo>
                <a:lnTo>
                  <a:pt x="1517" y="1826"/>
                </a:lnTo>
                <a:close/>
                <a:moveTo>
                  <a:pt x="1559" y="1839"/>
                </a:moveTo>
                <a:lnTo>
                  <a:pt x="1561" y="1839"/>
                </a:lnTo>
                <a:lnTo>
                  <a:pt x="1559" y="1839"/>
                </a:lnTo>
                <a:lnTo>
                  <a:pt x="1561" y="1839"/>
                </a:lnTo>
                <a:lnTo>
                  <a:pt x="1561" y="1841"/>
                </a:lnTo>
                <a:lnTo>
                  <a:pt x="1559" y="1841"/>
                </a:lnTo>
                <a:lnTo>
                  <a:pt x="1557" y="1841"/>
                </a:lnTo>
                <a:lnTo>
                  <a:pt x="1556" y="1841"/>
                </a:lnTo>
                <a:lnTo>
                  <a:pt x="1554" y="1841"/>
                </a:lnTo>
                <a:lnTo>
                  <a:pt x="1557" y="1839"/>
                </a:lnTo>
                <a:lnTo>
                  <a:pt x="1559" y="1839"/>
                </a:lnTo>
                <a:close/>
                <a:moveTo>
                  <a:pt x="1500" y="1822"/>
                </a:moveTo>
                <a:lnTo>
                  <a:pt x="1501" y="1822"/>
                </a:lnTo>
                <a:lnTo>
                  <a:pt x="1501" y="1824"/>
                </a:lnTo>
                <a:lnTo>
                  <a:pt x="1498" y="1824"/>
                </a:lnTo>
                <a:lnTo>
                  <a:pt x="1498" y="1822"/>
                </a:lnTo>
                <a:lnTo>
                  <a:pt x="1500" y="1822"/>
                </a:lnTo>
                <a:close/>
                <a:moveTo>
                  <a:pt x="1537" y="1832"/>
                </a:moveTo>
                <a:lnTo>
                  <a:pt x="1537" y="1834"/>
                </a:lnTo>
                <a:lnTo>
                  <a:pt x="1535" y="1836"/>
                </a:lnTo>
                <a:lnTo>
                  <a:pt x="1535" y="1838"/>
                </a:lnTo>
                <a:lnTo>
                  <a:pt x="1535" y="1836"/>
                </a:lnTo>
                <a:lnTo>
                  <a:pt x="1535" y="1834"/>
                </a:lnTo>
                <a:lnTo>
                  <a:pt x="1535" y="1836"/>
                </a:lnTo>
                <a:lnTo>
                  <a:pt x="1535" y="1834"/>
                </a:lnTo>
                <a:lnTo>
                  <a:pt x="1534" y="1834"/>
                </a:lnTo>
                <a:lnTo>
                  <a:pt x="1537" y="1832"/>
                </a:lnTo>
                <a:close/>
                <a:moveTo>
                  <a:pt x="1488" y="1826"/>
                </a:moveTo>
                <a:lnTo>
                  <a:pt x="1489" y="1827"/>
                </a:lnTo>
                <a:lnTo>
                  <a:pt x="1488" y="1827"/>
                </a:lnTo>
                <a:lnTo>
                  <a:pt x="1489" y="1827"/>
                </a:lnTo>
                <a:lnTo>
                  <a:pt x="1489" y="1829"/>
                </a:lnTo>
                <a:lnTo>
                  <a:pt x="1488" y="1831"/>
                </a:lnTo>
                <a:lnTo>
                  <a:pt x="1488" y="1829"/>
                </a:lnTo>
                <a:lnTo>
                  <a:pt x="1488" y="1826"/>
                </a:lnTo>
                <a:close/>
                <a:moveTo>
                  <a:pt x="1445" y="1642"/>
                </a:moveTo>
                <a:lnTo>
                  <a:pt x="1447" y="1645"/>
                </a:lnTo>
                <a:lnTo>
                  <a:pt x="1447" y="1644"/>
                </a:lnTo>
                <a:lnTo>
                  <a:pt x="1447" y="1647"/>
                </a:lnTo>
                <a:lnTo>
                  <a:pt x="1447" y="1645"/>
                </a:lnTo>
                <a:lnTo>
                  <a:pt x="1445" y="1644"/>
                </a:lnTo>
                <a:lnTo>
                  <a:pt x="1445" y="1642"/>
                </a:lnTo>
                <a:close/>
                <a:moveTo>
                  <a:pt x="1450" y="1846"/>
                </a:moveTo>
                <a:lnTo>
                  <a:pt x="1452" y="1846"/>
                </a:lnTo>
                <a:lnTo>
                  <a:pt x="1452" y="1848"/>
                </a:lnTo>
                <a:lnTo>
                  <a:pt x="1450" y="1850"/>
                </a:lnTo>
                <a:lnTo>
                  <a:pt x="1449" y="1851"/>
                </a:lnTo>
                <a:lnTo>
                  <a:pt x="1449" y="1850"/>
                </a:lnTo>
                <a:lnTo>
                  <a:pt x="1450" y="1850"/>
                </a:lnTo>
                <a:lnTo>
                  <a:pt x="1450" y="1848"/>
                </a:lnTo>
                <a:lnTo>
                  <a:pt x="1450" y="1846"/>
                </a:lnTo>
                <a:close/>
                <a:moveTo>
                  <a:pt x="1666" y="1776"/>
                </a:moveTo>
                <a:lnTo>
                  <a:pt x="1668" y="1776"/>
                </a:lnTo>
                <a:lnTo>
                  <a:pt x="1668" y="1778"/>
                </a:lnTo>
                <a:lnTo>
                  <a:pt x="1668" y="1780"/>
                </a:lnTo>
                <a:lnTo>
                  <a:pt x="1666" y="1778"/>
                </a:lnTo>
                <a:lnTo>
                  <a:pt x="1666" y="1780"/>
                </a:lnTo>
                <a:lnTo>
                  <a:pt x="1666" y="1776"/>
                </a:lnTo>
                <a:close/>
                <a:moveTo>
                  <a:pt x="1636" y="1802"/>
                </a:moveTo>
                <a:lnTo>
                  <a:pt x="1637" y="1802"/>
                </a:lnTo>
                <a:lnTo>
                  <a:pt x="1636" y="1802"/>
                </a:lnTo>
                <a:lnTo>
                  <a:pt x="1634" y="1804"/>
                </a:lnTo>
                <a:lnTo>
                  <a:pt x="1634" y="1802"/>
                </a:lnTo>
                <a:lnTo>
                  <a:pt x="1636" y="1802"/>
                </a:lnTo>
                <a:close/>
                <a:moveTo>
                  <a:pt x="1454" y="1846"/>
                </a:moveTo>
                <a:lnTo>
                  <a:pt x="1454" y="1848"/>
                </a:lnTo>
                <a:lnTo>
                  <a:pt x="1452" y="1850"/>
                </a:lnTo>
                <a:lnTo>
                  <a:pt x="1452" y="1851"/>
                </a:lnTo>
                <a:lnTo>
                  <a:pt x="1452" y="1850"/>
                </a:lnTo>
                <a:lnTo>
                  <a:pt x="1452" y="1848"/>
                </a:lnTo>
                <a:lnTo>
                  <a:pt x="1452" y="1846"/>
                </a:lnTo>
                <a:lnTo>
                  <a:pt x="1452" y="1848"/>
                </a:lnTo>
                <a:lnTo>
                  <a:pt x="1454" y="1846"/>
                </a:lnTo>
                <a:close/>
                <a:moveTo>
                  <a:pt x="1469" y="1851"/>
                </a:moveTo>
                <a:lnTo>
                  <a:pt x="1471" y="1851"/>
                </a:lnTo>
                <a:lnTo>
                  <a:pt x="1471" y="1853"/>
                </a:lnTo>
                <a:lnTo>
                  <a:pt x="1469" y="1853"/>
                </a:lnTo>
                <a:lnTo>
                  <a:pt x="1471" y="1853"/>
                </a:lnTo>
                <a:lnTo>
                  <a:pt x="1471" y="1855"/>
                </a:lnTo>
                <a:lnTo>
                  <a:pt x="1467" y="1853"/>
                </a:lnTo>
                <a:lnTo>
                  <a:pt x="1469" y="1851"/>
                </a:lnTo>
                <a:close/>
                <a:moveTo>
                  <a:pt x="1483" y="1827"/>
                </a:moveTo>
                <a:lnTo>
                  <a:pt x="1483" y="1829"/>
                </a:lnTo>
                <a:lnTo>
                  <a:pt x="1479" y="1831"/>
                </a:lnTo>
                <a:lnTo>
                  <a:pt x="1479" y="1829"/>
                </a:lnTo>
                <a:lnTo>
                  <a:pt x="1481" y="1829"/>
                </a:lnTo>
                <a:lnTo>
                  <a:pt x="1483" y="1829"/>
                </a:lnTo>
                <a:lnTo>
                  <a:pt x="1481" y="1829"/>
                </a:lnTo>
                <a:lnTo>
                  <a:pt x="1479" y="1829"/>
                </a:lnTo>
                <a:lnTo>
                  <a:pt x="1483" y="1827"/>
                </a:lnTo>
                <a:close/>
                <a:moveTo>
                  <a:pt x="1525" y="1846"/>
                </a:moveTo>
                <a:lnTo>
                  <a:pt x="1523" y="1848"/>
                </a:lnTo>
                <a:lnTo>
                  <a:pt x="1525" y="1848"/>
                </a:lnTo>
                <a:lnTo>
                  <a:pt x="1525" y="1850"/>
                </a:lnTo>
                <a:lnTo>
                  <a:pt x="1523" y="1850"/>
                </a:lnTo>
                <a:lnTo>
                  <a:pt x="1522" y="1851"/>
                </a:lnTo>
                <a:lnTo>
                  <a:pt x="1522" y="1850"/>
                </a:lnTo>
                <a:lnTo>
                  <a:pt x="1522" y="1851"/>
                </a:lnTo>
                <a:lnTo>
                  <a:pt x="1523" y="1850"/>
                </a:lnTo>
                <a:lnTo>
                  <a:pt x="1523" y="1848"/>
                </a:lnTo>
                <a:lnTo>
                  <a:pt x="1525" y="1846"/>
                </a:lnTo>
                <a:close/>
                <a:moveTo>
                  <a:pt x="1501" y="1819"/>
                </a:moveTo>
                <a:lnTo>
                  <a:pt x="1503" y="1821"/>
                </a:lnTo>
                <a:lnTo>
                  <a:pt x="1503" y="1822"/>
                </a:lnTo>
                <a:lnTo>
                  <a:pt x="1500" y="1821"/>
                </a:lnTo>
                <a:lnTo>
                  <a:pt x="1501" y="1819"/>
                </a:lnTo>
                <a:close/>
                <a:moveTo>
                  <a:pt x="1467" y="1729"/>
                </a:moveTo>
                <a:lnTo>
                  <a:pt x="1469" y="1732"/>
                </a:lnTo>
                <a:lnTo>
                  <a:pt x="1471" y="1732"/>
                </a:lnTo>
                <a:lnTo>
                  <a:pt x="1467" y="1732"/>
                </a:lnTo>
                <a:lnTo>
                  <a:pt x="1469" y="1732"/>
                </a:lnTo>
                <a:lnTo>
                  <a:pt x="1467" y="1730"/>
                </a:lnTo>
                <a:lnTo>
                  <a:pt x="1466" y="1729"/>
                </a:lnTo>
                <a:lnTo>
                  <a:pt x="1467" y="1729"/>
                </a:lnTo>
                <a:close/>
                <a:moveTo>
                  <a:pt x="1459" y="1824"/>
                </a:moveTo>
                <a:lnTo>
                  <a:pt x="1461" y="1826"/>
                </a:lnTo>
                <a:lnTo>
                  <a:pt x="1459" y="1826"/>
                </a:lnTo>
                <a:lnTo>
                  <a:pt x="1461" y="1826"/>
                </a:lnTo>
                <a:lnTo>
                  <a:pt x="1459" y="1829"/>
                </a:lnTo>
                <a:lnTo>
                  <a:pt x="1459" y="1827"/>
                </a:lnTo>
                <a:lnTo>
                  <a:pt x="1457" y="1827"/>
                </a:lnTo>
                <a:lnTo>
                  <a:pt x="1459" y="1824"/>
                </a:lnTo>
                <a:close/>
                <a:moveTo>
                  <a:pt x="1452" y="1639"/>
                </a:moveTo>
                <a:lnTo>
                  <a:pt x="1452" y="1640"/>
                </a:lnTo>
                <a:lnTo>
                  <a:pt x="1452" y="1639"/>
                </a:lnTo>
                <a:lnTo>
                  <a:pt x="1452" y="1640"/>
                </a:lnTo>
                <a:lnTo>
                  <a:pt x="1452" y="1642"/>
                </a:lnTo>
                <a:lnTo>
                  <a:pt x="1452" y="1644"/>
                </a:lnTo>
                <a:lnTo>
                  <a:pt x="1452" y="1642"/>
                </a:lnTo>
                <a:lnTo>
                  <a:pt x="1450" y="1640"/>
                </a:lnTo>
                <a:lnTo>
                  <a:pt x="1452" y="1639"/>
                </a:lnTo>
                <a:close/>
                <a:moveTo>
                  <a:pt x="1522" y="1841"/>
                </a:moveTo>
                <a:lnTo>
                  <a:pt x="1522" y="1843"/>
                </a:lnTo>
                <a:lnTo>
                  <a:pt x="1520" y="1846"/>
                </a:lnTo>
                <a:lnTo>
                  <a:pt x="1520" y="1843"/>
                </a:lnTo>
                <a:lnTo>
                  <a:pt x="1520" y="1841"/>
                </a:lnTo>
                <a:lnTo>
                  <a:pt x="1522" y="1843"/>
                </a:lnTo>
                <a:lnTo>
                  <a:pt x="1522" y="1841"/>
                </a:lnTo>
                <a:close/>
                <a:moveTo>
                  <a:pt x="1513" y="1428"/>
                </a:moveTo>
                <a:lnTo>
                  <a:pt x="1515" y="1431"/>
                </a:lnTo>
                <a:lnTo>
                  <a:pt x="1512" y="1433"/>
                </a:lnTo>
                <a:lnTo>
                  <a:pt x="1512" y="1431"/>
                </a:lnTo>
                <a:lnTo>
                  <a:pt x="1513" y="1431"/>
                </a:lnTo>
                <a:lnTo>
                  <a:pt x="1513" y="1428"/>
                </a:lnTo>
                <a:close/>
                <a:moveTo>
                  <a:pt x="1467" y="1814"/>
                </a:moveTo>
                <a:lnTo>
                  <a:pt x="1469" y="1815"/>
                </a:lnTo>
                <a:lnTo>
                  <a:pt x="1469" y="1817"/>
                </a:lnTo>
                <a:lnTo>
                  <a:pt x="1467" y="1815"/>
                </a:lnTo>
                <a:lnTo>
                  <a:pt x="1467" y="1814"/>
                </a:lnTo>
                <a:close/>
                <a:moveTo>
                  <a:pt x="1454" y="1843"/>
                </a:moveTo>
                <a:lnTo>
                  <a:pt x="1455" y="1844"/>
                </a:lnTo>
                <a:lnTo>
                  <a:pt x="1454" y="1844"/>
                </a:lnTo>
                <a:lnTo>
                  <a:pt x="1455" y="1846"/>
                </a:lnTo>
                <a:lnTo>
                  <a:pt x="1455" y="1844"/>
                </a:lnTo>
                <a:lnTo>
                  <a:pt x="1454" y="1846"/>
                </a:lnTo>
                <a:lnTo>
                  <a:pt x="1454" y="1844"/>
                </a:lnTo>
                <a:lnTo>
                  <a:pt x="1452" y="1844"/>
                </a:lnTo>
                <a:lnTo>
                  <a:pt x="1454" y="1844"/>
                </a:lnTo>
                <a:lnTo>
                  <a:pt x="1452" y="1844"/>
                </a:lnTo>
                <a:lnTo>
                  <a:pt x="1454" y="1843"/>
                </a:lnTo>
                <a:close/>
                <a:moveTo>
                  <a:pt x="1563" y="1838"/>
                </a:moveTo>
                <a:lnTo>
                  <a:pt x="1564" y="1838"/>
                </a:lnTo>
                <a:lnTo>
                  <a:pt x="1563" y="1838"/>
                </a:lnTo>
                <a:lnTo>
                  <a:pt x="1563" y="1839"/>
                </a:lnTo>
                <a:lnTo>
                  <a:pt x="1561" y="1839"/>
                </a:lnTo>
                <a:lnTo>
                  <a:pt x="1559" y="1839"/>
                </a:lnTo>
                <a:lnTo>
                  <a:pt x="1559" y="1838"/>
                </a:lnTo>
                <a:lnTo>
                  <a:pt x="1563" y="1838"/>
                </a:lnTo>
                <a:close/>
                <a:moveTo>
                  <a:pt x="1523" y="1841"/>
                </a:moveTo>
                <a:lnTo>
                  <a:pt x="1525" y="1841"/>
                </a:lnTo>
                <a:lnTo>
                  <a:pt x="1525" y="1843"/>
                </a:lnTo>
                <a:lnTo>
                  <a:pt x="1525" y="1844"/>
                </a:lnTo>
                <a:lnTo>
                  <a:pt x="1523" y="1843"/>
                </a:lnTo>
                <a:lnTo>
                  <a:pt x="1525" y="1843"/>
                </a:lnTo>
                <a:lnTo>
                  <a:pt x="1523" y="1843"/>
                </a:lnTo>
                <a:lnTo>
                  <a:pt x="1523" y="1841"/>
                </a:lnTo>
                <a:close/>
                <a:moveTo>
                  <a:pt x="1527" y="1839"/>
                </a:moveTo>
                <a:lnTo>
                  <a:pt x="1529" y="1841"/>
                </a:lnTo>
                <a:lnTo>
                  <a:pt x="1527" y="1841"/>
                </a:lnTo>
                <a:lnTo>
                  <a:pt x="1527" y="1843"/>
                </a:lnTo>
                <a:lnTo>
                  <a:pt x="1529" y="1843"/>
                </a:lnTo>
                <a:lnTo>
                  <a:pt x="1529" y="1844"/>
                </a:lnTo>
                <a:lnTo>
                  <a:pt x="1527" y="1843"/>
                </a:lnTo>
                <a:lnTo>
                  <a:pt x="1527" y="1841"/>
                </a:lnTo>
                <a:lnTo>
                  <a:pt x="1527" y="1839"/>
                </a:lnTo>
                <a:close/>
                <a:moveTo>
                  <a:pt x="1467" y="1853"/>
                </a:moveTo>
                <a:lnTo>
                  <a:pt x="1469" y="1856"/>
                </a:lnTo>
                <a:lnTo>
                  <a:pt x="1466" y="1855"/>
                </a:lnTo>
                <a:lnTo>
                  <a:pt x="1467" y="1853"/>
                </a:lnTo>
                <a:close/>
                <a:moveTo>
                  <a:pt x="1444" y="1827"/>
                </a:moveTo>
                <a:lnTo>
                  <a:pt x="1445" y="1827"/>
                </a:lnTo>
                <a:lnTo>
                  <a:pt x="1445" y="1829"/>
                </a:lnTo>
                <a:lnTo>
                  <a:pt x="1444" y="1827"/>
                </a:lnTo>
                <a:lnTo>
                  <a:pt x="1444" y="1829"/>
                </a:lnTo>
                <a:lnTo>
                  <a:pt x="1442" y="1827"/>
                </a:lnTo>
                <a:lnTo>
                  <a:pt x="1444" y="1827"/>
                </a:lnTo>
                <a:close/>
                <a:moveTo>
                  <a:pt x="1503" y="1834"/>
                </a:moveTo>
                <a:lnTo>
                  <a:pt x="1505" y="1834"/>
                </a:lnTo>
                <a:lnTo>
                  <a:pt x="1503" y="1836"/>
                </a:lnTo>
                <a:lnTo>
                  <a:pt x="1501" y="1834"/>
                </a:lnTo>
                <a:lnTo>
                  <a:pt x="1501" y="1836"/>
                </a:lnTo>
                <a:lnTo>
                  <a:pt x="1503" y="1834"/>
                </a:lnTo>
                <a:close/>
                <a:moveTo>
                  <a:pt x="1471" y="1761"/>
                </a:moveTo>
                <a:lnTo>
                  <a:pt x="1471" y="1763"/>
                </a:lnTo>
                <a:lnTo>
                  <a:pt x="1472" y="1764"/>
                </a:lnTo>
                <a:lnTo>
                  <a:pt x="1471" y="1764"/>
                </a:lnTo>
                <a:lnTo>
                  <a:pt x="1469" y="1763"/>
                </a:lnTo>
                <a:lnTo>
                  <a:pt x="1471" y="1761"/>
                </a:lnTo>
                <a:close/>
                <a:moveTo>
                  <a:pt x="1478" y="1819"/>
                </a:moveTo>
                <a:lnTo>
                  <a:pt x="1479" y="1821"/>
                </a:lnTo>
                <a:lnTo>
                  <a:pt x="1479" y="1822"/>
                </a:lnTo>
                <a:lnTo>
                  <a:pt x="1479" y="1821"/>
                </a:lnTo>
                <a:lnTo>
                  <a:pt x="1478" y="1821"/>
                </a:lnTo>
                <a:lnTo>
                  <a:pt x="1478" y="1822"/>
                </a:lnTo>
                <a:lnTo>
                  <a:pt x="1476" y="1821"/>
                </a:lnTo>
                <a:lnTo>
                  <a:pt x="1478" y="1819"/>
                </a:lnTo>
                <a:close/>
                <a:moveTo>
                  <a:pt x="1445" y="1667"/>
                </a:moveTo>
                <a:lnTo>
                  <a:pt x="1447" y="1669"/>
                </a:lnTo>
                <a:lnTo>
                  <a:pt x="1445" y="1671"/>
                </a:lnTo>
                <a:lnTo>
                  <a:pt x="1447" y="1671"/>
                </a:lnTo>
                <a:lnTo>
                  <a:pt x="1447" y="1669"/>
                </a:lnTo>
                <a:lnTo>
                  <a:pt x="1447" y="1671"/>
                </a:lnTo>
                <a:lnTo>
                  <a:pt x="1445" y="1671"/>
                </a:lnTo>
                <a:lnTo>
                  <a:pt x="1445" y="1667"/>
                </a:lnTo>
                <a:close/>
                <a:moveTo>
                  <a:pt x="1457" y="1834"/>
                </a:moveTo>
                <a:lnTo>
                  <a:pt x="1459" y="1836"/>
                </a:lnTo>
                <a:lnTo>
                  <a:pt x="1459" y="1838"/>
                </a:lnTo>
                <a:lnTo>
                  <a:pt x="1457" y="1836"/>
                </a:lnTo>
                <a:lnTo>
                  <a:pt x="1457" y="1834"/>
                </a:lnTo>
                <a:close/>
                <a:moveTo>
                  <a:pt x="1450" y="1635"/>
                </a:moveTo>
                <a:lnTo>
                  <a:pt x="1452" y="1637"/>
                </a:lnTo>
                <a:lnTo>
                  <a:pt x="1450" y="1637"/>
                </a:lnTo>
                <a:lnTo>
                  <a:pt x="1449" y="1637"/>
                </a:lnTo>
                <a:lnTo>
                  <a:pt x="1450" y="1637"/>
                </a:lnTo>
                <a:lnTo>
                  <a:pt x="1450" y="1635"/>
                </a:lnTo>
                <a:close/>
                <a:moveTo>
                  <a:pt x="1476" y="1793"/>
                </a:moveTo>
                <a:lnTo>
                  <a:pt x="1478" y="1795"/>
                </a:lnTo>
                <a:lnTo>
                  <a:pt x="1476" y="1797"/>
                </a:lnTo>
                <a:lnTo>
                  <a:pt x="1476" y="1795"/>
                </a:lnTo>
                <a:lnTo>
                  <a:pt x="1476" y="1793"/>
                </a:lnTo>
                <a:close/>
                <a:moveTo>
                  <a:pt x="1500" y="1832"/>
                </a:moveTo>
                <a:lnTo>
                  <a:pt x="1501" y="1832"/>
                </a:lnTo>
                <a:lnTo>
                  <a:pt x="1500" y="1832"/>
                </a:lnTo>
                <a:lnTo>
                  <a:pt x="1500" y="1834"/>
                </a:lnTo>
                <a:lnTo>
                  <a:pt x="1501" y="1834"/>
                </a:lnTo>
                <a:lnTo>
                  <a:pt x="1498" y="1834"/>
                </a:lnTo>
                <a:lnTo>
                  <a:pt x="1498" y="1832"/>
                </a:lnTo>
                <a:lnTo>
                  <a:pt x="1500" y="1832"/>
                </a:lnTo>
                <a:close/>
                <a:moveTo>
                  <a:pt x="1520" y="1814"/>
                </a:moveTo>
                <a:lnTo>
                  <a:pt x="1518" y="1815"/>
                </a:lnTo>
                <a:lnTo>
                  <a:pt x="1517" y="1815"/>
                </a:lnTo>
                <a:lnTo>
                  <a:pt x="1517" y="1814"/>
                </a:lnTo>
                <a:lnTo>
                  <a:pt x="1520" y="1814"/>
                </a:lnTo>
                <a:close/>
                <a:moveTo>
                  <a:pt x="1642" y="1793"/>
                </a:moveTo>
                <a:lnTo>
                  <a:pt x="1644" y="1795"/>
                </a:lnTo>
                <a:lnTo>
                  <a:pt x="1642" y="1795"/>
                </a:lnTo>
                <a:lnTo>
                  <a:pt x="1644" y="1795"/>
                </a:lnTo>
                <a:lnTo>
                  <a:pt x="1642" y="1797"/>
                </a:lnTo>
                <a:lnTo>
                  <a:pt x="1644" y="1795"/>
                </a:lnTo>
                <a:lnTo>
                  <a:pt x="1642" y="1795"/>
                </a:lnTo>
                <a:lnTo>
                  <a:pt x="1642" y="1797"/>
                </a:lnTo>
                <a:lnTo>
                  <a:pt x="1642" y="1795"/>
                </a:lnTo>
                <a:lnTo>
                  <a:pt x="1641" y="1795"/>
                </a:lnTo>
                <a:lnTo>
                  <a:pt x="1642" y="1795"/>
                </a:lnTo>
                <a:lnTo>
                  <a:pt x="1642" y="1793"/>
                </a:lnTo>
                <a:close/>
                <a:moveTo>
                  <a:pt x="1539" y="1834"/>
                </a:moveTo>
                <a:lnTo>
                  <a:pt x="1537" y="1836"/>
                </a:lnTo>
                <a:lnTo>
                  <a:pt x="1537" y="1838"/>
                </a:lnTo>
                <a:lnTo>
                  <a:pt x="1537" y="1836"/>
                </a:lnTo>
                <a:lnTo>
                  <a:pt x="1537" y="1834"/>
                </a:lnTo>
                <a:lnTo>
                  <a:pt x="1539" y="1834"/>
                </a:lnTo>
                <a:close/>
                <a:moveTo>
                  <a:pt x="1508" y="1812"/>
                </a:moveTo>
                <a:lnTo>
                  <a:pt x="1506" y="1812"/>
                </a:lnTo>
                <a:lnTo>
                  <a:pt x="1505" y="1812"/>
                </a:lnTo>
                <a:lnTo>
                  <a:pt x="1505" y="1814"/>
                </a:lnTo>
                <a:lnTo>
                  <a:pt x="1505" y="1812"/>
                </a:lnTo>
                <a:lnTo>
                  <a:pt x="1505" y="1814"/>
                </a:lnTo>
                <a:lnTo>
                  <a:pt x="1505" y="1812"/>
                </a:lnTo>
                <a:lnTo>
                  <a:pt x="1503" y="1814"/>
                </a:lnTo>
                <a:lnTo>
                  <a:pt x="1505" y="1812"/>
                </a:lnTo>
                <a:lnTo>
                  <a:pt x="1508" y="1812"/>
                </a:lnTo>
                <a:close/>
                <a:moveTo>
                  <a:pt x="1444" y="1635"/>
                </a:moveTo>
                <a:lnTo>
                  <a:pt x="1445" y="1637"/>
                </a:lnTo>
                <a:lnTo>
                  <a:pt x="1447" y="1639"/>
                </a:lnTo>
                <a:lnTo>
                  <a:pt x="1445" y="1637"/>
                </a:lnTo>
                <a:lnTo>
                  <a:pt x="1445" y="1639"/>
                </a:lnTo>
                <a:lnTo>
                  <a:pt x="1444" y="1637"/>
                </a:lnTo>
                <a:lnTo>
                  <a:pt x="1444" y="1635"/>
                </a:lnTo>
                <a:close/>
                <a:moveTo>
                  <a:pt x="1457" y="1839"/>
                </a:moveTo>
                <a:lnTo>
                  <a:pt x="1459" y="1839"/>
                </a:lnTo>
                <a:lnTo>
                  <a:pt x="1459" y="1843"/>
                </a:lnTo>
                <a:lnTo>
                  <a:pt x="1457" y="1843"/>
                </a:lnTo>
                <a:lnTo>
                  <a:pt x="1457" y="1839"/>
                </a:lnTo>
                <a:close/>
                <a:moveTo>
                  <a:pt x="1452" y="1679"/>
                </a:moveTo>
                <a:lnTo>
                  <a:pt x="1454" y="1681"/>
                </a:lnTo>
                <a:lnTo>
                  <a:pt x="1454" y="1683"/>
                </a:lnTo>
                <a:lnTo>
                  <a:pt x="1454" y="1684"/>
                </a:lnTo>
                <a:lnTo>
                  <a:pt x="1454" y="1683"/>
                </a:lnTo>
                <a:lnTo>
                  <a:pt x="1452" y="1684"/>
                </a:lnTo>
                <a:lnTo>
                  <a:pt x="1452" y="1681"/>
                </a:lnTo>
                <a:lnTo>
                  <a:pt x="1452" y="1679"/>
                </a:lnTo>
                <a:close/>
                <a:moveTo>
                  <a:pt x="1484" y="1829"/>
                </a:moveTo>
                <a:lnTo>
                  <a:pt x="1483" y="1831"/>
                </a:lnTo>
                <a:lnTo>
                  <a:pt x="1484" y="1829"/>
                </a:lnTo>
                <a:lnTo>
                  <a:pt x="1484" y="1831"/>
                </a:lnTo>
                <a:lnTo>
                  <a:pt x="1483" y="1832"/>
                </a:lnTo>
                <a:lnTo>
                  <a:pt x="1483" y="1829"/>
                </a:lnTo>
                <a:lnTo>
                  <a:pt x="1484" y="1829"/>
                </a:lnTo>
                <a:close/>
                <a:moveTo>
                  <a:pt x="1644" y="1790"/>
                </a:moveTo>
                <a:lnTo>
                  <a:pt x="1646" y="1792"/>
                </a:lnTo>
                <a:lnTo>
                  <a:pt x="1648" y="1792"/>
                </a:lnTo>
                <a:lnTo>
                  <a:pt x="1646" y="1792"/>
                </a:lnTo>
                <a:lnTo>
                  <a:pt x="1644" y="1790"/>
                </a:lnTo>
                <a:close/>
                <a:moveTo>
                  <a:pt x="1556" y="1843"/>
                </a:moveTo>
                <a:lnTo>
                  <a:pt x="1557" y="1843"/>
                </a:lnTo>
                <a:lnTo>
                  <a:pt x="1556" y="1843"/>
                </a:lnTo>
                <a:lnTo>
                  <a:pt x="1557" y="1843"/>
                </a:lnTo>
                <a:lnTo>
                  <a:pt x="1554" y="1844"/>
                </a:lnTo>
                <a:lnTo>
                  <a:pt x="1556" y="1843"/>
                </a:lnTo>
                <a:lnTo>
                  <a:pt x="1554" y="1843"/>
                </a:lnTo>
                <a:lnTo>
                  <a:pt x="1554" y="1844"/>
                </a:lnTo>
                <a:lnTo>
                  <a:pt x="1556" y="1843"/>
                </a:lnTo>
                <a:close/>
                <a:moveTo>
                  <a:pt x="1444" y="1657"/>
                </a:moveTo>
                <a:lnTo>
                  <a:pt x="1444" y="1656"/>
                </a:lnTo>
                <a:lnTo>
                  <a:pt x="1445" y="1659"/>
                </a:lnTo>
                <a:lnTo>
                  <a:pt x="1444" y="1659"/>
                </a:lnTo>
                <a:lnTo>
                  <a:pt x="1444" y="1657"/>
                </a:lnTo>
                <a:close/>
                <a:moveTo>
                  <a:pt x="1671" y="1776"/>
                </a:moveTo>
                <a:lnTo>
                  <a:pt x="1671" y="1778"/>
                </a:lnTo>
                <a:lnTo>
                  <a:pt x="1673" y="1780"/>
                </a:lnTo>
                <a:lnTo>
                  <a:pt x="1671" y="1778"/>
                </a:lnTo>
                <a:lnTo>
                  <a:pt x="1671" y="1776"/>
                </a:lnTo>
                <a:close/>
                <a:moveTo>
                  <a:pt x="1445" y="1836"/>
                </a:moveTo>
                <a:lnTo>
                  <a:pt x="1445" y="1838"/>
                </a:lnTo>
                <a:lnTo>
                  <a:pt x="1444" y="1838"/>
                </a:lnTo>
                <a:lnTo>
                  <a:pt x="1444" y="1841"/>
                </a:lnTo>
                <a:lnTo>
                  <a:pt x="1444" y="1839"/>
                </a:lnTo>
                <a:lnTo>
                  <a:pt x="1444" y="1836"/>
                </a:lnTo>
                <a:lnTo>
                  <a:pt x="1445" y="1836"/>
                </a:lnTo>
                <a:close/>
                <a:moveTo>
                  <a:pt x="1671" y="1780"/>
                </a:moveTo>
                <a:lnTo>
                  <a:pt x="1673" y="1780"/>
                </a:lnTo>
                <a:lnTo>
                  <a:pt x="1675" y="1781"/>
                </a:lnTo>
                <a:lnTo>
                  <a:pt x="1673" y="1781"/>
                </a:lnTo>
                <a:lnTo>
                  <a:pt x="1671" y="1780"/>
                </a:lnTo>
                <a:close/>
                <a:moveTo>
                  <a:pt x="1539" y="1467"/>
                </a:moveTo>
                <a:lnTo>
                  <a:pt x="1542" y="1467"/>
                </a:lnTo>
                <a:lnTo>
                  <a:pt x="1542" y="1468"/>
                </a:lnTo>
                <a:lnTo>
                  <a:pt x="1540" y="1468"/>
                </a:lnTo>
                <a:lnTo>
                  <a:pt x="1540" y="1467"/>
                </a:lnTo>
                <a:lnTo>
                  <a:pt x="1539" y="1468"/>
                </a:lnTo>
                <a:lnTo>
                  <a:pt x="1539" y="1467"/>
                </a:lnTo>
                <a:close/>
                <a:moveTo>
                  <a:pt x="1467" y="1817"/>
                </a:moveTo>
                <a:lnTo>
                  <a:pt x="1467" y="1819"/>
                </a:lnTo>
                <a:lnTo>
                  <a:pt x="1469" y="1821"/>
                </a:lnTo>
                <a:lnTo>
                  <a:pt x="1467" y="1821"/>
                </a:lnTo>
                <a:lnTo>
                  <a:pt x="1467" y="1819"/>
                </a:lnTo>
                <a:lnTo>
                  <a:pt x="1466" y="1817"/>
                </a:lnTo>
                <a:lnTo>
                  <a:pt x="1467" y="1817"/>
                </a:lnTo>
                <a:close/>
                <a:moveTo>
                  <a:pt x="1427" y="1832"/>
                </a:moveTo>
                <a:lnTo>
                  <a:pt x="1428" y="1832"/>
                </a:lnTo>
                <a:lnTo>
                  <a:pt x="1428" y="1836"/>
                </a:lnTo>
                <a:lnTo>
                  <a:pt x="1427" y="1836"/>
                </a:lnTo>
                <a:lnTo>
                  <a:pt x="1427" y="1832"/>
                </a:lnTo>
                <a:close/>
                <a:moveTo>
                  <a:pt x="1479" y="1819"/>
                </a:moveTo>
                <a:lnTo>
                  <a:pt x="1481" y="1819"/>
                </a:lnTo>
                <a:lnTo>
                  <a:pt x="1481" y="1821"/>
                </a:lnTo>
                <a:lnTo>
                  <a:pt x="1479" y="1819"/>
                </a:lnTo>
                <a:close/>
                <a:moveTo>
                  <a:pt x="1488" y="1814"/>
                </a:moveTo>
                <a:lnTo>
                  <a:pt x="1488" y="1815"/>
                </a:lnTo>
                <a:lnTo>
                  <a:pt x="1488" y="1817"/>
                </a:lnTo>
                <a:lnTo>
                  <a:pt x="1488" y="1815"/>
                </a:lnTo>
                <a:lnTo>
                  <a:pt x="1486" y="1815"/>
                </a:lnTo>
                <a:lnTo>
                  <a:pt x="1488" y="1814"/>
                </a:lnTo>
                <a:close/>
                <a:moveTo>
                  <a:pt x="1483" y="1826"/>
                </a:moveTo>
                <a:lnTo>
                  <a:pt x="1483" y="1827"/>
                </a:lnTo>
                <a:lnTo>
                  <a:pt x="1481" y="1827"/>
                </a:lnTo>
                <a:lnTo>
                  <a:pt x="1483" y="1826"/>
                </a:lnTo>
                <a:close/>
                <a:moveTo>
                  <a:pt x="1484" y="1809"/>
                </a:moveTo>
                <a:lnTo>
                  <a:pt x="1484" y="1810"/>
                </a:lnTo>
                <a:lnTo>
                  <a:pt x="1484" y="1812"/>
                </a:lnTo>
                <a:lnTo>
                  <a:pt x="1483" y="1810"/>
                </a:lnTo>
                <a:lnTo>
                  <a:pt x="1484" y="1810"/>
                </a:lnTo>
                <a:lnTo>
                  <a:pt x="1484" y="1809"/>
                </a:lnTo>
                <a:close/>
                <a:moveTo>
                  <a:pt x="1506" y="1538"/>
                </a:moveTo>
                <a:lnTo>
                  <a:pt x="1506" y="1540"/>
                </a:lnTo>
                <a:lnTo>
                  <a:pt x="1508" y="1542"/>
                </a:lnTo>
                <a:lnTo>
                  <a:pt x="1506" y="1540"/>
                </a:lnTo>
                <a:lnTo>
                  <a:pt x="1505" y="1542"/>
                </a:lnTo>
                <a:lnTo>
                  <a:pt x="1506" y="1540"/>
                </a:lnTo>
                <a:lnTo>
                  <a:pt x="1506" y="1538"/>
                </a:lnTo>
                <a:close/>
                <a:moveTo>
                  <a:pt x="1464" y="1814"/>
                </a:moveTo>
                <a:lnTo>
                  <a:pt x="1464" y="1815"/>
                </a:lnTo>
                <a:lnTo>
                  <a:pt x="1464" y="1817"/>
                </a:lnTo>
                <a:lnTo>
                  <a:pt x="1464" y="1819"/>
                </a:lnTo>
                <a:lnTo>
                  <a:pt x="1464" y="1817"/>
                </a:lnTo>
                <a:lnTo>
                  <a:pt x="1464" y="1815"/>
                </a:lnTo>
                <a:lnTo>
                  <a:pt x="1462" y="1815"/>
                </a:lnTo>
                <a:lnTo>
                  <a:pt x="1464" y="1815"/>
                </a:lnTo>
                <a:lnTo>
                  <a:pt x="1464" y="1814"/>
                </a:lnTo>
                <a:close/>
                <a:moveTo>
                  <a:pt x="1513" y="1831"/>
                </a:moveTo>
                <a:lnTo>
                  <a:pt x="1513" y="1832"/>
                </a:lnTo>
                <a:lnTo>
                  <a:pt x="1512" y="1832"/>
                </a:lnTo>
                <a:lnTo>
                  <a:pt x="1513" y="1831"/>
                </a:lnTo>
                <a:close/>
                <a:moveTo>
                  <a:pt x="1423" y="1826"/>
                </a:moveTo>
                <a:lnTo>
                  <a:pt x="1423" y="1827"/>
                </a:lnTo>
                <a:lnTo>
                  <a:pt x="1425" y="1826"/>
                </a:lnTo>
                <a:lnTo>
                  <a:pt x="1425" y="1827"/>
                </a:lnTo>
                <a:lnTo>
                  <a:pt x="1423" y="1826"/>
                </a:lnTo>
                <a:close/>
                <a:moveTo>
                  <a:pt x="1515" y="1826"/>
                </a:moveTo>
                <a:lnTo>
                  <a:pt x="1513" y="1827"/>
                </a:lnTo>
                <a:lnTo>
                  <a:pt x="1513" y="1826"/>
                </a:lnTo>
                <a:lnTo>
                  <a:pt x="1515" y="1826"/>
                </a:lnTo>
                <a:close/>
                <a:moveTo>
                  <a:pt x="1527" y="1836"/>
                </a:moveTo>
                <a:lnTo>
                  <a:pt x="1529" y="1836"/>
                </a:lnTo>
                <a:lnTo>
                  <a:pt x="1530" y="1839"/>
                </a:lnTo>
                <a:lnTo>
                  <a:pt x="1529" y="1839"/>
                </a:lnTo>
                <a:lnTo>
                  <a:pt x="1527" y="1836"/>
                </a:lnTo>
                <a:close/>
                <a:moveTo>
                  <a:pt x="1489" y="1814"/>
                </a:moveTo>
                <a:lnTo>
                  <a:pt x="1491" y="1814"/>
                </a:lnTo>
                <a:lnTo>
                  <a:pt x="1491" y="1817"/>
                </a:lnTo>
                <a:lnTo>
                  <a:pt x="1489" y="1817"/>
                </a:lnTo>
                <a:lnTo>
                  <a:pt x="1489" y="1814"/>
                </a:lnTo>
                <a:close/>
                <a:moveTo>
                  <a:pt x="1489" y="1819"/>
                </a:moveTo>
                <a:lnTo>
                  <a:pt x="1491" y="1821"/>
                </a:lnTo>
                <a:lnTo>
                  <a:pt x="1489" y="1821"/>
                </a:lnTo>
                <a:lnTo>
                  <a:pt x="1489" y="1819"/>
                </a:lnTo>
                <a:close/>
                <a:moveTo>
                  <a:pt x="1486" y="1824"/>
                </a:moveTo>
                <a:lnTo>
                  <a:pt x="1488" y="1826"/>
                </a:lnTo>
                <a:lnTo>
                  <a:pt x="1486" y="1826"/>
                </a:lnTo>
                <a:lnTo>
                  <a:pt x="1488" y="1826"/>
                </a:lnTo>
                <a:lnTo>
                  <a:pt x="1486" y="1826"/>
                </a:lnTo>
                <a:lnTo>
                  <a:pt x="1486" y="1824"/>
                </a:lnTo>
                <a:close/>
                <a:moveTo>
                  <a:pt x="1474" y="1588"/>
                </a:moveTo>
                <a:lnTo>
                  <a:pt x="1476" y="1588"/>
                </a:lnTo>
                <a:lnTo>
                  <a:pt x="1476" y="1589"/>
                </a:lnTo>
                <a:lnTo>
                  <a:pt x="1474" y="1589"/>
                </a:lnTo>
                <a:lnTo>
                  <a:pt x="1474" y="1588"/>
                </a:lnTo>
                <a:close/>
                <a:moveTo>
                  <a:pt x="1433" y="1640"/>
                </a:moveTo>
                <a:lnTo>
                  <a:pt x="1433" y="1642"/>
                </a:lnTo>
                <a:lnTo>
                  <a:pt x="1435" y="1640"/>
                </a:lnTo>
                <a:lnTo>
                  <a:pt x="1433" y="1642"/>
                </a:lnTo>
                <a:lnTo>
                  <a:pt x="1432" y="1640"/>
                </a:lnTo>
                <a:lnTo>
                  <a:pt x="1433" y="1640"/>
                </a:lnTo>
                <a:close/>
                <a:moveTo>
                  <a:pt x="1467" y="1826"/>
                </a:moveTo>
                <a:lnTo>
                  <a:pt x="1467" y="1827"/>
                </a:lnTo>
                <a:lnTo>
                  <a:pt x="1466" y="1827"/>
                </a:lnTo>
                <a:lnTo>
                  <a:pt x="1467" y="1826"/>
                </a:lnTo>
                <a:close/>
                <a:moveTo>
                  <a:pt x="1464" y="1824"/>
                </a:moveTo>
                <a:lnTo>
                  <a:pt x="1466" y="1826"/>
                </a:lnTo>
                <a:lnTo>
                  <a:pt x="1466" y="1827"/>
                </a:lnTo>
                <a:lnTo>
                  <a:pt x="1464" y="1826"/>
                </a:lnTo>
                <a:lnTo>
                  <a:pt x="1464" y="1824"/>
                </a:lnTo>
                <a:close/>
                <a:moveTo>
                  <a:pt x="1450" y="1678"/>
                </a:moveTo>
                <a:lnTo>
                  <a:pt x="1452" y="1679"/>
                </a:lnTo>
                <a:lnTo>
                  <a:pt x="1450" y="1683"/>
                </a:lnTo>
                <a:lnTo>
                  <a:pt x="1452" y="1679"/>
                </a:lnTo>
                <a:lnTo>
                  <a:pt x="1450" y="1679"/>
                </a:lnTo>
                <a:lnTo>
                  <a:pt x="1450" y="1678"/>
                </a:lnTo>
                <a:close/>
                <a:moveTo>
                  <a:pt x="1459" y="1603"/>
                </a:moveTo>
                <a:lnTo>
                  <a:pt x="1461" y="1603"/>
                </a:lnTo>
                <a:lnTo>
                  <a:pt x="1459" y="1605"/>
                </a:lnTo>
                <a:lnTo>
                  <a:pt x="1459" y="1603"/>
                </a:lnTo>
                <a:lnTo>
                  <a:pt x="1457" y="1603"/>
                </a:lnTo>
                <a:lnTo>
                  <a:pt x="1459" y="1603"/>
                </a:lnTo>
                <a:close/>
                <a:moveTo>
                  <a:pt x="1512" y="1829"/>
                </a:moveTo>
                <a:lnTo>
                  <a:pt x="1512" y="1831"/>
                </a:lnTo>
                <a:lnTo>
                  <a:pt x="1510" y="1831"/>
                </a:lnTo>
                <a:lnTo>
                  <a:pt x="1510" y="1829"/>
                </a:lnTo>
                <a:lnTo>
                  <a:pt x="1512" y="1829"/>
                </a:lnTo>
                <a:close/>
                <a:moveTo>
                  <a:pt x="1493" y="1838"/>
                </a:moveTo>
                <a:lnTo>
                  <a:pt x="1491" y="1838"/>
                </a:lnTo>
                <a:lnTo>
                  <a:pt x="1493" y="1838"/>
                </a:lnTo>
                <a:lnTo>
                  <a:pt x="1491" y="1838"/>
                </a:lnTo>
                <a:lnTo>
                  <a:pt x="1491" y="1839"/>
                </a:lnTo>
                <a:lnTo>
                  <a:pt x="1491" y="1838"/>
                </a:lnTo>
                <a:lnTo>
                  <a:pt x="1489" y="1838"/>
                </a:lnTo>
                <a:lnTo>
                  <a:pt x="1493" y="1838"/>
                </a:lnTo>
                <a:close/>
                <a:moveTo>
                  <a:pt x="1420" y="1829"/>
                </a:moveTo>
                <a:lnTo>
                  <a:pt x="1418" y="1831"/>
                </a:lnTo>
                <a:lnTo>
                  <a:pt x="1418" y="1832"/>
                </a:lnTo>
                <a:lnTo>
                  <a:pt x="1416" y="1831"/>
                </a:lnTo>
                <a:lnTo>
                  <a:pt x="1420" y="1829"/>
                </a:lnTo>
                <a:close/>
                <a:moveTo>
                  <a:pt x="1471" y="1805"/>
                </a:moveTo>
                <a:lnTo>
                  <a:pt x="1472" y="1805"/>
                </a:lnTo>
                <a:lnTo>
                  <a:pt x="1472" y="1807"/>
                </a:lnTo>
                <a:lnTo>
                  <a:pt x="1471" y="1805"/>
                </a:lnTo>
                <a:lnTo>
                  <a:pt x="1469" y="1805"/>
                </a:lnTo>
                <a:lnTo>
                  <a:pt x="1471" y="1805"/>
                </a:lnTo>
                <a:close/>
                <a:moveTo>
                  <a:pt x="1491" y="1831"/>
                </a:moveTo>
                <a:lnTo>
                  <a:pt x="1491" y="1832"/>
                </a:lnTo>
                <a:lnTo>
                  <a:pt x="1489" y="1832"/>
                </a:lnTo>
                <a:lnTo>
                  <a:pt x="1491" y="1831"/>
                </a:lnTo>
                <a:close/>
                <a:moveTo>
                  <a:pt x="1481" y="1815"/>
                </a:moveTo>
                <a:lnTo>
                  <a:pt x="1481" y="1817"/>
                </a:lnTo>
                <a:lnTo>
                  <a:pt x="1479" y="1817"/>
                </a:lnTo>
                <a:lnTo>
                  <a:pt x="1479" y="1815"/>
                </a:lnTo>
                <a:lnTo>
                  <a:pt x="1479" y="1817"/>
                </a:lnTo>
                <a:lnTo>
                  <a:pt x="1481" y="1815"/>
                </a:lnTo>
                <a:close/>
                <a:moveTo>
                  <a:pt x="1549" y="1472"/>
                </a:moveTo>
                <a:lnTo>
                  <a:pt x="1547" y="1474"/>
                </a:lnTo>
                <a:lnTo>
                  <a:pt x="1547" y="1470"/>
                </a:lnTo>
                <a:lnTo>
                  <a:pt x="1549" y="1470"/>
                </a:lnTo>
                <a:lnTo>
                  <a:pt x="1549" y="1472"/>
                </a:lnTo>
                <a:close/>
                <a:moveTo>
                  <a:pt x="1518" y="1843"/>
                </a:moveTo>
                <a:lnTo>
                  <a:pt x="1518" y="1846"/>
                </a:lnTo>
                <a:lnTo>
                  <a:pt x="1518" y="1843"/>
                </a:lnTo>
                <a:close/>
                <a:moveTo>
                  <a:pt x="1467" y="1810"/>
                </a:moveTo>
                <a:lnTo>
                  <a:pt x="1469" y="1812"/>
                </a:lnTo>
                <a:lnTo>
                  <a:pt x="1467" y="1812"/>
                </a:lnTo>
                <a:lnTo>
                  <a:pt x="1467" y="1810"/>
                </a:lnTo>
                <a:close/>
                <a:moveTo>
                  <a:pt x="1571" y="1831"/>
                </a:moveTo>
                <a:lnTo>
                  <a:pt x="1573" y="1831"/>
                </a:lnTo>
                <a:lnTo>
                  <a:pt x="1571" y="1831"/>
                </a:lnTo>
                <a:close/>
                <a:moveTo>
                  <a:pt x="1467" y="1732"/>
                </a:moveTo>
                <a:lnTo>
                  <a:pt x="1467" y="1734"/>
                </a:lnTo>
                <a:lnTo>
                  <a:pt x="1469" y="1734"/>
                </a:lnTo>
                <a:lnTo>
                  <a:pt x="1467" y="1732"/>
                </a:lnTo>
                <a:lnTo>
                  <a:pt x="1466" y="1732"/>
                </a:lnTo>
                <a:lnTo>
                  <a:pt x="1467" y="1732"/>
                </a:lnTo>
                <a:close/>
                <a:moveTo>
                  <a:pt x="1546" y="1467"/>
                </a:moveTo>
                <a:lnTo>
                  <a:pt x="1544" y="1468"/>
                </a:lnTo>
                <a:lnTo>
                  <a:pt x="1544" y="1467"/>
                </a:lnTo>
                <a:lnTo>
                  <a:pt x="1546" y="1467"/>
                </a:lnTo>
                <a:close/>
                <a:moveTo>
                  <a:pt x="1478" y="1589"/>
                </a:moveTo>
                <a:lnTo>
                  <a:pt x="1478" y="1591"/>
                </a:lnTo>
                <a:lnTo>
                  <a:pt x="1479" y="1594"/>
                </a:lnTo>
                <a:lnTo>
                  <a:pt x="1478" y="1593"/>
                </a:lnTo>
                <a:lnTo>
                  <a:pt x="1476" y="1591"/>
                </a:lnTo>
                <a:lnTo>
                  <a:pt x="1478" y="1589"/>
                </a:lnTo>
                <a:close/>
                <a:moveTo>
                  <a:pt x="1498" y="1834"/>
                </a:moveTo>
                <a:lnTo>
                  <a:pt x="1501" y="1836"/>
                </a:lnTo>
                <a:lnTo>
                  <a:pt x="1500" y="1836"/>
                </a:lnTo>
                <a:lnTo>
                  <a:pt x="1498" y="1836"/>
                </a:lnTo>
                <a:lnTo>
                  <a:pt x="1498" y="1834"/>
                </a:lnTo>
                <a:close/>
                <a:moveTo>
                  <a:pt x="1498" y="1846"/>
                </a:moveTo>
                <a:lnTo>
                  <a:pt x="1498" y="1848"/>
                </a:lnTo>
                <a:lnTo>
                  <a:pt x="1498" y="1850"/>
                </a:lnTo>
                <a:lnTo>
                  <a:pt x="1496" y="1850"/>
                </a:lnTo>
                <a:lnTo>
                  <a:pt x="1498" y="1848"/>
                </a:lnTo>
                <a:lnTo>
                  <a:pt x="1496" y="1846"/>
                </a:lnTo>
                <a:lnTo>
                  <a:pt x="1498" y="1846"/>
                </a:lnTo>
                <a:close/>
                <a:moveTo>
                  <a:pt x="1544" y="1841"/>
                </a:moveTo>
                <a:lnTo>
                  <a:pt x="1546" y="1841"/>
                </a:lnTo>
                <a:lnTo>
                  <a:pt x="1546" y="1843"/>
                </a:lnTo>
                <a:lnTo>
                  <a:pt x="1544" y="1844"/>
                </a:lnTo>
                <a:lnTo>
                  <a:pt x="1544" y="1841"/>
                </a:lnTo>
                <a:close/>
                <a:moveTo>
                  <a:pt x="1483" y="1807"/>
                </a:moveTo>
                <a:lnTo>
                  <a:pt x="1484" y="1807"/>
                </a:lnTo>
                <a:lnTo>
                  <a:pt x="1484" y="1809"/>
                </a:lnTo>
                <a:lnTo>
                  <a:pt x="1483" y="1809"/>
                </a:lnTo>
                <a:lnTo>
                  <a:pt x="1483" y="1807"/>
                </a:lnTo>
                <a:close/>
                <a:moveTo>
                  <a:pt x="1445" y="1831"/>
                </a:moveTo>
                <a:lnTo>
                  <a:pt x="1447" y="1831"/>
                </a:lnTo>
                <a:lnTo>
                  <a:pt x="1447" y="1832"/>
                </a:lnTo>
                <a:lnTo>
                  <a:pt x="1445" y="1831"/>
                </a:lnTo>
                <a:close/>
                <a:moveTo>
                  <a:pt x="1469" y="1822"/>
                </a:moveTo>
                <a:lnTo>
                  <a:pt x="1469" y="1824"/>
                </a:lnTo>
                <a:lnTo>
                  <a:pt x="1471" y="1824"/>
                </a:lnTo>
                <a:lnTo>
                  <a:pt x="1471" y="1826"/>
                </a:lnTo>
                <a:lnTo>
                  <a:pt x="1469" y="1824"/>
                </a:lnTo>
                <a:lnTo>
                  <a:pt x="1469" y="1822"/>
                </a:lnTo>
                <a:close/>
                <a:moveTo>
                  <a:pt x="1474" y="1793"/>
                </a:moveTo>
                <a:lnTo>
                  <a:pt x="1476" y="1793"/>
                </a:lnTo>
                <a:lnTo>
                  <a:pt x="1476" y="1795"/>
                </a:lnTo>
                <a:lnTo>
                  <a:pt x="1474" y="1795"/>
                </a:lnTo>
                <a:lnTo>
                  <a:pt x="1474" y="1793"/>
                </a:lnTo>
                <a:close/>
                <a:moveTo>
                  <a:pt x="1512" y="1428"/>
                </a:moveTo>
                <a:lnTo>
                  <a:pt x="1512" y="1429"/>
                </a:lnTo>
                <a:lnTo>
                  <a:pt x="1512" y="1431"/>
                </a:lnTo>
                <a:lnTo>
                  <a:pt x="1512" y="1429"/>
                </a:lnTo>
                <a:lnTo>
                  <a:pt x="1512" y="1428"/>
                </a:lnTo>
                <a:close/>
                <a:moveTo>
                  <a:pt x="1452" y="1625"/>
                </a:moveTo>
                <a:lnTo>
                  <a:pt x="1454" y="1625"/>
                </a:lnTo>
                <a:lnTo>
                  <a:pt x="1454" y="1627"/>
                </a:lnTo>
                <a:lnTo>
                  <a:pt x="1454" y="1625"/>
                </a:lnTo>
                <a:lnTo>
                  <a:pt x="1452" y="1627"/>
                </a:lnTo>
                <a:lnTo>
                  <a:pt x="1452" y="1625"/>
                </a:lnTo>
                <a:close/>
                <a:moveTo>
                  <a:pt x="1683" y="1773"/>
                </a:moveTo>
                <a:lnTo>
                  <a:pt x="1685" y="1773"/>
                </a:lnTo>
                <a:lnTo>
                  <a:pt x="1683" y="1775"/>
                </a:lnTo>
                <a:lnTo>
                  <a:pt x="1683" y="1773"/>
                </a:lnTo>
                <a:close/>
                <a:moveTo>
                  <a:pt x="1457" y="1603"/>
                </a:moveTo>
                <a:lnTo>
                  <a:pt x="1457" y="1605"/>
                </a:lnTo>
                <a:lnTo>
                  <a:pt x="1455" y="1605"/>
                </a:lnTo>
                <a:lnTo>
                  <a:pt x="1457" y="1605"/>
                </a:lnTo>
                <a:lnTo>
                  <a:pt x="1457" y="1603"/>
                </a:lnTo>
                <a:lnTo>
                  <a:pt x="1455" y="1603"/>
                </a:lnTo>
                <a:lnTo>
                  <a:pt x="1457" y="1603"/>
                </a:lnTo>
                <a:close/>
                <a:moveTo>
                  <a:pt x="1505" y="1826"/>
                </a:moveTo>
                <a:lnTo>
                  <a:pt x="1506" y="1826"/>
                </a:lnTo>
                <a:lnTo>
                  <a:pt x="1505" y="1827"/>
                </a:lnTo>
                <a:lnTo>
                  <a:pt x="1505" y="1826"/>
                </a:lnTo>
                <a:close/>
                <a:moveTo>
                  <a:pt x="1435" y="1608"/>
                </a:moveTo>
                <a:lnTo>
                  <a:pt x="1437" y="1608"/>
                </a:lnTo>
                <a:lnTo>
                  <a:pt x="1437" y="1610"/>
                </a:lnTo>
                <a:lnTo>
                  <a:pt x="1435" y="1610"/>
                </a:lnTo>
                <a:lnTo>
                  <a:pt x="1435" y="1608"/>
                </a:lnTo>
                <a:close/>
                <a:moveTo>
                  <a:pt x="1472" y="1817"/>
                </a:moveTo>
                <a:lnTo>
                  <a:pt x="1474" y="1817"/>
                </a:lnTo>
                <a:lnTo>
                  <a:pt x="1474" y="1819"/>
                </a:lnTo>
                <a:lnTo>
                  <a:pt x="1474" y="1821"/>
                </a:lnTo>
                <a:lnTo>
                  <a:pt x="1472" y="1817"/>
                </a:lnTo>
                <a:close/>
                <a:moveTo>
                  <a:pt x="1466" y="1821"/>
                </a:moveTo>
                <a:lnTo>
                  <a:pt x="1467" y="1821"/>
                </a:lnTo>
                <a:lnTo>
                  <a:pt x="1467" y="1822"/>
                </a:lnTo>
                <a:lnTo>
                  <a:pt x="1466" y="1821"/>
                </a:lnTo>
                <a:close/>
                <a:moveTo>
                  <a:pt x="1554" y="1841"/>
                </a:moveTo>
                <a:lnTo>
                  <a:pt x="1556" y="1841"/>
                </a:lnTo>
                <a:lnTo>
                  <a:pt x="1556" y="1843"/>
                </a:lnTo>
                <a:lnTo>
                  <a:pt x="1554" y="1841"/>
                </a:lnTo>
                <a:lnTo>
                  <a:pt x="1554" y="1843"/>
                </a:lnTo>
                <a:lnTo>
                  <a:pt x="1552" y="1841"/>
                </a:lnTo>
                <a:lnTo>
                  <a:pt x="1554" y="1841"/>
                </a:lnTo>
                <a:close/>
                <a:moveTo>
                  <a:pt x="1489" y="1824"/>
                </a:moveTo>
                <a:lnTo>
                  <a:pt x="1491" y="1826"/>
                </a:lnTo>
                <a:lnTo>
                  <a:pt x="1489" y="1826"/>
                </a:lnTo>
                <a:lnTo>
                  <a:pt x="1489" y="1824"/>
                </a:lnTo>
                <a:close/>
                <a:moveTo>
                  <a:pt x="1668" y="1776"/>
                </a:moveTo>
                <a:lnTo>
                  <a:pt x="1670" y="1776"/>
                </a:lnTo>
                <a:lnTo>
                  <a:pt x="1668" y="1778"/>
                </a:lnTo>
                <a:lnTo>
                  <a:pt x="1668" y="1776"/>
                </a:lnTo>
                <a:close/>
                <a:moveTo>
                  <a:pt x="1608" y="1812"/>
                </a:moveTo>
                <a:lnTo>
                  <a:pt x="1610" y="1812"/>
                </a:lnTo>
                <a:lnTo>
                  <a:pt x="1608" y="1814"/>
                </a:lnTo>
                <a:lnTo>
                  <a:pt x="1610" y="1814"/>
                </a:lnTo>
                <a:lnTo>
                  <a:pt x="1608" y="1814"/>
                </a:lnTo>
                <a:lnTo>
                  <a:pt x="1608" y="1812"/>
                </a:lnTo>
                <a:close/>
                <a:moveTo>
                  <a:pt x="1447" y="1839"/>
                </a:moveTo>
                <a:lnTo>
                  <a:pt x="1449" y="1839"/>
                </a:lnTo>
                <a:lnTo>
                  <a:pt x="1449" y="1841"/>
                </a:lnTo>
                <a:lnTo>
                  <a:pt x="1447" y="1839"/>
                </a:lnTo>
                <a:close/>
                <a:moveTo>
                  <a:pt x="1595" y="1821"/>
                </a:moveTo>
                <a:lnTo>
                  <a:pt x="1595" y="1822"/>
                </a:lnTo>
                <a:lnTo>
                  <a:pt x="1593" y="1824"/>
                </a:lnTo>
                <a:lnTo>
                  <a:pt x="1595" y="1821"/>
                </a:lnTo>
                <a:close/>
                <a:moveTo>
                  <a:pt x="1469" y="1853"/>
                </a:moveTo>
                <a:lnTo>
                  <a:pt x="1471" y="1855"/>
                </a:lnTo>
                <a:lnTo>
                  <a:pt x="1469" y="1855"/>
                </a:lnTo>
                <a:lnTo>
                  <a:pt x="1469" y="1853"/>
                </a:lnTo>
                <a:close/>
                <a:moveTo>
                  <a:pt x="1450" y="1681"/>
                </a:moveTo>
                <a:lnTo>
                  <a:pt x="1452" y="1679"/>
                </a:lnTo>
                <a:lnTo>
                  <a:pt x="1452" y="1683"/>
                </a:lnTo>
                <a:lnTo>
                  <a:pt x="1450" y="1681"/>
                </a:lnTo>
                <a:close/>
                <a:moveTo>
                  <a:pt x="1435" y="1851"/>
                </a:moveTo>
                <a:lnTo>
                  <a:pt x="1437" y="1851"/>
                </a:lnTo>
                <a:lnTo>
                  <a:pt x="1437" y="1853"/>
                </a:lnTo>
                <a:lnTo>
                  <a:pt x="1435" y="1853"/>
                </a:lnTo>
                <a:lnTo>
                  <a:pt x="1435" y="1851"/>
                </a:lnTo>
                <a:close/>
                <a:moveTo>
                  <a:pt x="1663" y="1785"/>
                </a:moveTo>
                <a:lnTo>
                  <a:pt x="1665" y="1785"/>
                </a:lnTo>
                <a:lnTo>
                  <a:pt x="1665" y="1787"/>
                </a:lnTo>
                <a:lnTo>
                  <a:pt x="1663" y="1785"/>
                </a:lnTo>
                <a:close/>
                <a:moveTo>
                  <a:pt x="1447" y="1839"/>
                </a:moveTo>
                <a:lnTo>
                  <a:pt x="1445" y="1843"/>
                </a:lnTo>
                <a:lnTo>
                  <a:pt x="1444" y="1841"/>
                </a:lnTo>
                <a:lnTo>
                  <a:pt x="1447" y="1839"/>
                </a:lnTo>
                <a:close/>
                <a:moveTo>
                  <a:pt x="1421" y="1827"/>
                </a:moveTo>
                <a:lnTo>
                  <a:pt x="1423" y="1827"/>
                </a:lnTo>
                <a:lnTo>
                  <a:pt x="1423" y="1829"/>
                </a:lnTo>
                <a:lnTo>
                  <a:pt x="1421" y="1827"/>
                </a:lnTo>
                <a:close/>
                <a:moveTo>
                  <a:pt x="1508" y="1829"/>
                </a:moveTo>
                <a:lnTo>
                  <a:pt x="1508" y="1831"/>
                </a:lnTo>
                <a:lnTo>
                  <a:pt x="1506" y="1831"/>
                </a:lnTo>
                <a:lnTo>
                  <a:pt x="1508" y="1829"/>
                </a:lnTo>
                <a:close/>
                <a:moveTo>
                  <a:pt x="1484" y="1832"/>
                </a:moveTo>
                <a:lnTo>
                  <a:pt x="1486" y="1832"/>
                </a:lnTo>
                <a:lnTo>
                  <a:pt x="1486" y="1836"/>
                </a:lnTo>
                <a:lnTo>
                  <a:pt x="1484" y="1832"/>
                </a:lnTo>
                <a:close/>
                <a:moveTo>
                  <a:pt x="1622" y="1807"/>
                </a:moveTo>
                <a:lnTo>
                  <a:pt x="1622" y="1809"/>
                </a:lnTo>
                <a:lnTo>
                  <a:pt x="1620" y="1809"/>
                </a:lnTo>
                <a:lnTo>
                  <a:pt x="1622" y="1807"/>
                </a:lnTo>
                <a:close/>
                <a:moveTo>
                  <a:pt x="1617" y="1804"/>
                </a:moveTo>
                <a:lnTo>
                  <a:pt x="1619" y="1805"/>
                </a:lnTo>
                <a:lnTo>
                  <a:pt x="1617" y="1805"/>
                </a:lnTo>
                <a:lnTo>
                  <a:pt x="1615" y="1804"/>
                </a:lnTo>
                <a:lnTo>
                  <a:pt x="1617" y="1804"/>
                </a:lnTo>
                <a:close/>
                <a:moveTo>
                  <a:pt x="1495" y="1836"/>
                </a:moveTo>
                <a:lnTo>
                  <a:pt x="1496" y="1836"/>
                </a:lnTo>
                <a:lnTo>
                  <a:pt x="1495" y="1838"/>
                </a:lnTo>
                <a:lnTo>
                  <a:pt x="1495" y="1836"/>
                </a:lnTo>
                <a:close/>
                <a:moveTo>
                  <a:pt x="1535" y="1815"/>
                </a:moveTo>
                <a:lnTo>
                  <a:pt x="1537" y="1814"/>
                </a:lnTo>
                <a:lnTo>
                  <a:pt x="1537" y="1815"/>
                </a:lnTo>
                <a:lnTo>
                  <a:pt x="1535" y="1815"/>
                </a:lnTo>
                <a:close/>
                <a:moveTo>
                  <a:pt x="1569" y="1836"/>
                </a:moveTo>
                <a:lnTo>
                  <a:pt x="1568" y="1838"/>
                </a:lnTo>
                <a:lnTo>
                  <a:pt x="1566" y="1836"/>
                </a:lnTo>
                <a:lnTo>
                  <a:pt x="1568" y="1836"/>
                </a:lnTo>
                <a:lnTo>
                  <a:pt x="1569" y="1836"/>
                </a:lnTo>
                <a:close/>
                <a:moveTo>
                  <a:pt x="1467" y="1792"/>
                </a:moveTo>
                <a:lnTo>
                  <a:pt x="1469" y="1793"/>
                </a:lnTo>
                <a:lnTo>
                  <a:pt x="1467" y="1793"/>
                </a:lnTo>
                <a:lnTo>
                  <a:pt x="1467" y="1792"/>
                </a:lnTo>
                <a:close/>
                <a:moveTo>
                  <a:pt x="1566" y="1836"/>
                </a:moveTo>
                <a:lnTo>
                  <a:pt x="1566" y="1838"/>
                </a:lnTo>
                <a:lnTo>
                  <a:pt x="1564" y="1838"/>
                </a:lnTo>
                <a:lnTo>
                  <a:pt x="1566" y="1836"/>
                </a:lnTo>
                <a:close/>
                <a:moveTo>
                  <a:pt x="1452" y="1844"/>
                </a:moveTo>
                <a:lnTo>
                  <a:pt x="1454" y="1844"/>
                </a:lnTo>
                <a:lnTo>
                  <a:pt x="1450" y="1846"/>
                </a:lnTo>
                <a:lnTo>
                  <a:pt x="1452" y="1844"/>
                </a:lnTo>
                <a:close/>
                <a:moveTo>
                  <a:pt x="1435" y="1826"/>
                </a:moveTo>
                <a:lnTo>
                  <a:pt x="1437" y="1826"/>
                </a:lnTo>
                <a:lnTo>
                  <a:pt x="1435" y="1827"/>
                </a:lnTo>
                <a:lnTo>
                  <a:pt x="1435" y="1826"/>
                </a:lnTo>
                <a:close/>
                <a:moveTo>
                  <a:pt x="1479" y="1817"/>
                </a:moveTo>
                <a:lnTo>
                  <a:pt x="1481" y="1817"/>
                </a:lnTo>
                <a:lnTo>
                  <a:pt x="1481" y="1819"/>
                </a:lnTo>
                <a:lnTo>
                  <a:pt x="1479" y="1817"/>
                </a:lnTo>
                <a:close/>
                <a:moveTo>
                  <a:pt x="1479" y="1836"/>
                </a:moveTo>
                <a:lnTo>
                  <a:pt x="1481" y="1836"/>
                </a:lnTo>
                <a:lnTo>
                  <a:pt x="1481" y="1838"/>
                </a:lnTo>
                <a:lnTo>
                  <a:pt x="1479" y="1838"/>
                </a:lnTo>
                <a:lnTo>
                  <a:pt x="1479" y="1836"/>
                </a:lnTo>
                <a:close/>
                <a:moveTo>
                  <a:pt x="1505" y="1832"/>
                </a:moveTo>
                <a:lnTo>
                  <a:pt x="1505" y="1834"/>
                </a:lnTo>
                <a:lnTo>
                  <a:pt x="1503" y="1834"/>
                </a:lnTo>
                <a:lnTo>
                  <a:pt x="1505" y="1832"/>
                </a:lnTo>
                <a:close/>
                <a:moveTo>
                  <a:pt x="1464" y="1613"/>
                </a:moveTo>
                <a:lnTo>
                  <a:pt x="1466" y="1613"/>
                </a:lnTo>
                <a:lnTo>
                  <a:pt x="1466" y="1615"/>
                </a:lnTo>
                <a:lnTo>
                  <a:pt x="1464" y="1615"/>
                </a:lnTo>
                <a:lnTo>
                  <a:pt x="1464" y="1613"/>
                </a:lnTo>
                <a:close/>
                <a:moveTo>
                  <a:pt x="1478" y="1810"/>
                </a:moveTo>
                <a:lnTo>
                  <a:pt x="1479" y="1812"/>
                </a:lnTo>
                <a:lnTo>
                  <a:pt x="1478" y="1812"/>
                </a:lnTo>
                <a:lnTo>
                  <a:pt x="1478" y="1810"/>
                </a:lnTo>
                <a:close/>
                <a:moveTo>
                  <a:pt x="1517" y="1841"/>
                </a:moveTo>
                <a:lnTo>
                  <a:pt x="1518" y="1841"/>
                </a:lnTo>
                <a:lnTo>
                  <a:pt x="1518" y="1843"/>
                </a:lnTo>
                <a:lnTo>
                  <a:pt x="1517" y="1841"/>
                </a:lnTo>
                <a:close/>
                <a:moveTo>
                  <a:pt x="1501" y="1814"/>
                </a:moveTo>
                <a:lnTo>
                  <a:pt x="1503" y="1814"/>
                </a:lnTo>
                <a:lnTo>
                  <a:pt x="1503" y="1815"/>
                </a:lnTo>
                <a:lnTo>
                  <a:pt x="1501" y="1815"/>
                </a:lnTo>
                <a:lnTo>
                  <a:pt x="1501" y="1814"/>
                </a:lnTo>
                <a:close/>
                <a:moveTo>
                  <a:pt x="1495" y="1817"/>
                </a:moveTo>
                <a:lnTo>
                  <a:pt x="1491" y="1819"/>
                </a:lnTo>
                <a:lnTo>
                  <a:pt x="1493" y="1817"/>
                </a:lnTo>
                <a:lnTo>
                  <a:pt x="1495" y="1817"/>
                </a:lnTo>
                <a:close/>
                <a:moveTo>
                  <a:pt x="1471" y="1761"/>
                </a:moveTo>
                <a:lnTo>
                  <a:pt x="1474" y="1763"/>
                </a:lnTo>
                <a:lnTo>
                  <a:pt x="1472" y="1763"/>
                </a:lnTo>
                <a:lnTo>
                  <a:pt x="1471" y="1761"/>
                </a:lnTo>
                <a:close/>
                <a:moveTo>
                  <a:pt x="1454" y="1608"/>
                </a:moveTo>
                <a:lnTo>
                  <a:pt x="1455" y="1608"/>
                </a:lnTo>
                <a:lnTo>
                  <a:pt x="1454" y="1608"/>
                </a:lnTo>
                <a:close/>
                <a:moveTo>
                  <a:pt x="1466" y="1819"/>
                </a:moveTo>
                <a:lnTo>
                  <a:pt x="1467" y="1819"/>
                </a:lnTo>
                <a:lnTo>
                  <a:pt x="1466" y="1819"/>
                </a:lnTo>
                <a:lnTo>
                  <a:pt x="1466" y="1821"/>
                </a:lnTo>
                <a:lnTo>
                  <a:pt x="1466" y="1819"/>
                </a:lnTo>
                <a:close/>
                <a:moveTo>
                  <a:pt x="1484" y="1807"/>
                </a:moveTo>
                <a:lnTo>
                  <a:pt x="1486" y="1809"/>
                </a:lnTo>
                <a:lnTo>
                  <a:pt x="1484" y="1809"/>
                </a:lnTo>
                <a:lnTo>
                  <a:pt x="1484" y="1807"/>
                </a:lnTo>
                <a:close/>
                <a:moveTo>
                  <a:pt x="1523" y="1843"/>
                </a:moveTo>
                <a:lnTo>
                  <a:pt x="1525" y="1846"/>
                </a:lnTo>
                <a:lnTo>
                  <a:pt x="1523" y="1846"/>
                </a:lnTo>
                <a:lnTo>
                  <a:pt x="1523" y="1843"/>
                </a:lnTo>
                <a:close/>
                <a:moveTo>
                  <a:pt x="1488" y="1812"/>
                </a:moveTo>
                <a:lnTo>
                  <a:pt x="1489" y="1812"/>
                </a:lnTo>
                <a:lnTo>
                  <a:pt x="1489" y="1814"/>
                </a:lnTo>
                <a:lnTo>
                  <a:pt x="1488" y="1814"/>
                </a:lnTo>
                <a:lnTo>
                  <a:pt x="1488" y="1812"/>
                </a:lnTo>
                <a:close/>
                <a:moveTo>
                  <a:pt x="1467" y="1821"/>
                </a:moveTo>
                <a:lnTo>
                  <a:pt x="1469" y="1821"/>
                </a:lnTo>
                <a:lnTo>
                  <a:pt x="1471" y="1824"/>
                </a:lnTo>
                <a:lnTo>
                  <a:pt x="1469" y="1824"/>
                </a:lnTo>
                <a:lnTo>
                  <a:pt x="1467" y="1821"/>
                </a:lnTo>
                <a:close/>
                <a:moveTo>
                  <a:pt x="1525" y="1433"/>
                </a:moveTo>
                <a:lnTo>
                  <a:pt x="1527" y="1434"/>
                </a:lnTo>
                <a:lnTo>
                  <a:pt x="1525" y="1434"/>
                </a:lnTo>
                <a:lnTo>
                  <a:pt x="1525" y="1433"/>
                </a:lnTo>
                <a:close/>
                <a:moveTo>
                  <a:pt x="1508" y="1831"/>
                </a:moveTo>
                <a:lnTo>
                  <a:pt x="1508" y="1832"/>
                </a:lnTo>
                <a:lnTo>
                  <a:pt x="1508" y="1831"/>
                </a:lnTo>
                <a:close/>
                <a:moveTo>
                  <a:pt x="1491" y="1821"/>
                </a:moveTo>
                <a:lnTo>
                  <a:pt x="1493" y="1822"/>
                </a:lnTo>
                <a:lnTo>
                  <a:pt x="1489" y="1822"/>
                </a:lnTo>
                <a:lnTo>
                  <a:pt x="1491" y="1821"/>
                </a:lnTo>
                <a:close/>
                <a:moveTo>
                  <a:pt x="1637" y="1800"/>
                </a:moveTo>
                <a:lnTo>
                  <a:pt x="1639" y="1802"/>
                </a:lnTo>
                <a:lnTo>
                  <a:pt x="1637" y="1802"/>
                </a:lnTo>
                <a:lnTo>
                  <a:pt x="1637" y="1800"/>
                </a:lnTo>
                <a:close/>
                <a:moveTo>
                  <a:pt x="1442" y="1838"/>
                </a:moveTo>
                <a:lnTo>
                  <a:pt x="1444" y="1836"/>
                </a:lnTo>
                <a:lnTo>
                  <a:pt x="1444" y="1838"/>
                </a:lnTo>
                <a:lnTo>
                  <a:pt x="1442" y="1838"/>
                </a:lnTo>
                <a:close/>
                <a:moveTo>
                  <a:pt x="1459" y="1832"/>
                </a:moveTo>
                <a:lnTo>
                  <a:pt x="1459" y="1834"/>
                </a:lnTo>
                <a:lnTo>
                  <a:pt x="1459" y="1832"/>
                </a:lnTo>
                <a:close/>
                <a:moveTo>
                  <a:pt x="1520" y="1853"/>
                </a:moveTo>
                <a:lnTo>
                  <a:pt x="1522" y="1853"/>
                </a:lnTo>
                <a:lnTo>
                  <a:pt x="1522" y="1855"/>
                </a:lnTo>
                <a:lnTo>
                  <a:pt x="1520" y="1855"/>
                </a:lnTo>
                <a:lnTo>
                  <a:pt x="1520" y="1853"/>
                </a:lnTo>
                <a:close/>
                <a:moveTo>
                  <a:pt x="1444" y="1834"/>
                </a:moveTo>
                <a:lnTo>
                  <a:pt x="1445" y="1836"/>
                </a:lnTo>
                <a:lnTo>
                  <a:pt x="1444" y="1836"/>
                </a:lnTo>
                <a:lnTo>
                  <a:pt x="1444" y="1834"/>
                </a:lnTo>
                <a:close/>
                <a:moveTo>
                  <a:pt x="1452" y="1822"/>
                </a:moveTo>
                <a:lnTo>
                  <a:pt x="1454" y="1821"/>
                </a:lnTo>
                <a:lnTo>
                  <a:pt x="1454" y="1824"/>
                </a:lnTo>
                <a:lnTo>
                  <a:pt x="1452" y="1822"/>
                </a:lnTo>
                <a:close/>
                <a:moveTo>
                  <a:pt x="1525" y="1450"/>
                </a:moveTo>
                <a:lnTo>
                  <a:pt x="1525" y="1451"/>
                </a:lnTo>
                <a:lnTo>
                  <a:pt x="1525" y="1450"/>
                </a:lnTo>
                <a:close/>
                <a:moveTo>
                  <a:pt x="1466" y="1810"/>
                </a:moveTo>
                <a:lnTo>
                  <a:pt x="1467" y="1809"/>
                </a:lnTo>
                <a:lnTo>
                  <a:pt x="1467" y="1810"/>
                </a:lnTo>
                <a:lnTo>
                  <a:pt x="1466" y="1810"/>
                </a:lnTo>
                <a:close/>
                <a:moveTo>
                  <a:pt x="1457" y="1698"/>
                </a:moveTo>
                <a:lnTo>
                  <a:pt x="1459" y="1698"/>
                </a:lnTo>
                <a:lnTo>
                  <a:pt x="1459" y="1702"/>
                </a:lnTo>
                <a:lnTo>
                  <a:pt x="1457" y="1702"/>
                </a:lnTo>
                <a:lnTo>
                  <a:pt x="1457" y="1698"/>
                </a:lnTo>
                <a:close/>
                <a:moveTo>
                  <a:pt x="1489" y="1805"/>
                </a:moveTo>
                <a:lnTo>
                  <a:pt x="1491" y="1805"/>
                </a:lnTo>
                <a:lnTo>
                  <a:pt x="1489" y="1805"/>
                </a:lnTo>
                <a:close/>
                <a:moveTo>
                  <a:pt x="1455" y="1628"/>
                </a:moveTo>
                <a:lnTo>
                  <a:pt x="1455" y="1630"/>
                </a:lnTo>
                <a:lnTo>
                  <a:pt x="1455" y="1628"/>
                </a:lnTo>
                <a:close/>
                <a:moveTo>
                  <a:pt x="1449" y="1623"/>
                </a:moveTo>
                <a:lnTo>
                  <a:pt x="1450" y="1623"/>
                </a:lnTo>
                <a:lnTo>
                  <a:pt x="1450" y="1625"/>
                </a:lnTo>
                <a:lnTo>
                  <a:pt x="1449" y="1627"/>
                </a:lnTo>
                <a:lnTo>
                  <a:pt x="1449" y="1623"/>
                </a:lnTo>
                <a:close/>
                <a:moveTo>
                  <a:pt x="1495" y="1826"/>
                </a:moveTo>
                <a:lnTo>
                  <a:pt x="1495" y="1827"/>
                </a:lnTo>
                <a:lnTo>
                  <a:pt x="1495" y="1826"/>
                </a:lnTo>
                <a:close/>
                <a:moveTo>
                  <a:pt x="1472" y="1751"/>
                </a:moveTo>
                <a:lnTo>
                  <a:pt x="1474" y="1753"/>
                </a:lnTo>
                <a:lnTo>
                  <a:pt x="1472" y="1753"/>
                </a:lnTo>
                <a:lnTo>
                  <a:pt x="1472" y="1751"/>
                </a:lnTo>
                <a:close/>
                <a:moveTo>
                  <a:pt x="1495" y="1856"/>
                </a:moveTo>
                <a:lnTo>
                  <a:pt x="1493" y="1858"/>
                </a:lnTo>
                <a:lnTo>
                  <a:pt x="1495" y="1856"/>
                </a:lnTo>
                <a:close/>
                <a:moveTo>
                  <a:pt x="1496" y="1560"/>
                </a:moveTo>
                <a:lnTo>
                  <a:pt x="1496" y="1562"/>
                </a:lnTo>
                <a:lnTo>
                  <a:pt x="1496" y="1560"/>
                </a:lnTo>
                <a:close/>
                <a:moveTo>
                  <a:pt x="1454" y="1844"/>
                </a:moveTo>
                <a:lnTo>
                  <a:pt x="1455" y="1843"/>
                </a:lnTo>
                <a:lnTo>
                  <a:pt x="1455" y="1844"/>
                </a:lnTo>
                <a:lnTo>
                  <a:pt x="1454" y="1844"/>
                </a:lnTo>
                <a:close/>
                <a:moveTo>
                  <a:pt x="1500" y="1831"/>
                </a:moveTo>
                <a:lnTo>
                  <a:pt x="1501" y="1831"/>
                </a:lnTo>
                <a:lnTo>
                  <a:pt x="1501" y="1832"/>
                </a:lnTo>
                <a:lnTo>
                  <a:pt x="1500" y="1831"/>
                </a:lnTo>
                <a:close/>
                <a:moveTo>
                  <a:pt x="1449" y="1632"/>
                </a:moveTo>
                <a:lnTo>
                  <a:pt x="1450" y="1632"/>
                </a:lnTo>
                <a:lnTo>
                  <a:pt x="1450" y="1633"/>
                </a:lnTo>
                <a:lnTo>
                  <a:pt x="1449" y="1633"/>
                </a:lnTo>
                <a:lnTo>
                  <a:pt x="1449" y="1632"/>
                </a:lnTo>
                <a:close/>
                <a:moveTo>
                  <a:pt x="1449" y="1848"/>
                </a:moveTo>
                <a:lnTo>
                  <a:pt x="1449" y="1850"/>
                </a:lnTo>
                <a:lnTo>
                  <a:pt x="1449" y="1848"/>
                </a:lnTo>
                <a:close/>
                <a:moveTo>
                  <a:pt x="1624" y="1805"/>
                </a:moveTo>
                <a:lnTo>
                  <a:pt x="1625" y="1805"/>
                </a:lnTo>
                <a:lnTo>
                  <a:pt x="1625" y="1807"/>
                </a:lnTo>
                <a:lnTo>
                  <a:pt x="1624" y="1807"/>
                </a:lnTo>
                <a:lnTo>
                  <a:pt x="1624" y="1805"/>
                </a:lnTo>
                <a:close/>
                <a:moveTo>
                  <a:pt x="1529" y="1446"/>
                </a:moveTo>
                <a:lnTo>
                  <a:pt x="1530" y="1446"/>
                </a:lnTo>
                <a:lnTo>
                  <a:pt x="1530" y="1448"/>
                </a:lnTo>
                <a:lnTo>
                  <a:pt x="1529" y="1446"/>
                </a:lnTo>
                <a:close/>
                <a:moveTo>
                  <a:pt x="1483" y="1567"/>
                </a:moveTo>
                <a:lnTo>
                  <a:pt x="1484" y="1567"/>
                </a:lnTo>
                <a:lnTo>
                  <a:pt x="1484" y="1569"/>
                </a:lnTo>
                <a:lnTo>
                  <a:pt x="1483" y="1569"/>
                </a:lnTo>
                <a:lnTo>
                  <a:pt x="1483" y="1567"/>
                </a:lnTo>
                <a:close/>
                <a:moveTo>
                  <a:pt x="1484" y="1827"/>
                </a:moveTo>
                <a:lnTo>
                  <a:pt x="1486" y="1827"/>
                </a:lnTo>
                <a:lnTo>
                  <a:pt x="1486" y="1829"/>
                </a:lnTo>
                <a:lnTo>
                  <a:pt x="1484" y="1827"/>
                </a:lnTo>
                <a:close/>
                <a:moveTo>
                  <a:pt x="1629" y="1802"/>
                </a:moveTo>
                <a:lnTo>
                  <a:pt x="1631" y="1804"/>
                </a:lnTo>
                <a:lnTo>
                  <a:pt x="1629" y="1804"/>
                </a:lnTo>
                <a:lnTo>
                  <a:pt x="1629" y="1802"/>
                </a:lnTo>
                <a:close/>
                <a:moveTo>
                  <a:pt x="1462" y="1831"/>
                </a:moveTo>
                <a:lnTo>
                  <a:pt x="1464" y="1831"/>
                </a:lnTo>
                <a:lnTo>
                  <a:pt x="1464" y="1832"/>
                </a:lnTo>
                <a:lnTo>
                  <a:pt x="1462" y="1832"/>
                </a:lnTo>
                <a:lnTo>
                  <a:pt x="1462" y="1831"/>
                </a:lnTo>
                <a:close/>
                <a:moveTo>
                  <a:pt x="1423" y="1829"/>
                </a:moveTo>
                <a:lnTo>
                  <a:pt x="1425" y="1829"/>
                </a:lnTo>
                <a:lnTo>
                  <a:pt x="1425" y="1831"/>
                </a:lnTo>
                <a:lnTo>
                  <a:pt x="1423" y="1831"/>
                </a:lnTo>
                <a:lnTo>
                  <a:pt x="1423" y="1829"/>
                </a:lnTo>
                <a:close/>
                <a:moveTo>
                  <a:pt x="1500" y="1829"/>
                </a:moveTo>
                <a:lnTo>
                  <a:pt x="1501" y="1829"/>
                </a:lnTo>
                <a:lnTo>
                  <a:pt x="1500" y="1829"/>
                </a:lnTo>
                <a:close/>
                <a:moveTo>
                  <a:pt x="1641" y="1788"/>
                </a:moveTo>
                <a:lnTo>
                  <a:pt x="1642" y="1788"/>
                </a:lnTo>
                <a:lnTo>
                  <a:pt x="1642" y="1790"/>
                </a:lnTo>
                <a:lnTo>
                  <a:pt x="1641" y="1790"/>
                </a:lnTo>
                <a:lnTo>
                  <a:pt x="1641" y="1788"/>
                </a:lnTo>
                <a:close/>
                <a:moveTo>
                  <a:pt x="1488" y="1809"/>
                </a:moveTo>
                <a:lnTo>
                  <a:pt x="1489" y="1809"/>
                </a:lnTo>
                <a:lnTo>
                  <a:pt x="1489" y="1810"/>
                </a:lnTo>
                <a:lnTo>
                  <a:pt x="1488" y="1810"/>
                </a:lnTo>
                <a:lnTo>
                  <a:pt x="1488" y="1809"/>
                </a:lnTo>
                <a:close/>
                <a:moveTo>
                  <a:pt x="1483" y="1819"/>
                </a:moveTo>
                <a:lnTo>
                  <a:pt x="1484" y="1821"/>
                </a:lnTo>
                <a:lnTo>
                  <a:pt x="1483" y="1821"/>
                </a:lnTo>
                <a:lnTo>
                  <a:pt x="1483" y="1819"/>
                </a:lnTo>
                <a:close/>
                <a:moveTo>
                  <a:pt x="1624" y="1802"/>
                </a:moveTo>
                <a:lnTo>
                  <a:pt x="1624" y="1804"/>
                </a:lnTo>
                <a:lnTo>
                  <a:pt x="1624" y="1802"/>
                </a:lnTo>
                <a:close/>
                <a:moveTo>
                  <a:pt x="1461" y="1613"/>
                </a:moveTo>
                <a:lnTo>
                  <a:pt x="1462" y="1615"/>
                </a:lnTo>
                <a:lnTo>
                  <a:pt x="1461" y="1613"/>
                </a:lnTo>
                <a:lnTo>
                  <a:pt x="1461" y="1615"/>
                </a:lnTo>
                <a:lnTo>
                  <a:pt x="1461" y="1613"/>
                </a:lnTo>
                <a:lnTo>
                  <a:pt x="1461" y="1615"/>
                </a:lnTo>
                <a:lnTo>
                  <a:pt x="1461" y="1613"/>
                </a:lnTo>
                <a:close/>
                <a:moveTo>
                  <a:pt x="1515" y="1831"/>
                </a:moveTo>
                <a:lnTo>
                  <a:pt x="1515" y="1832"/>
                </a:lnTo>
                <a:lnTo>
                  <a:pt x="1515" y="1831"/>
                </a:lnTo>
                <a:close/>
                <a:moveTo>
                  <a:pt x="1501" y="1822"/>
                </a:moveTo>
                <a:lnTo>
                  <a:pt x="1503" y="1822"/>
                </a:lnTo>
                <a:lnTo>
                  <a:pt x="1503" y="1824"/>
                </a:lnTo>
                <a:lnTo>
                  <a:pt x="1501" y="1824"/>
                </a:lnTo>
                <a:lnTo>
                  <a:pt x="1501" y="1822"/>
                </a:lnTo>
                <a:close/>
                <a:moveTo>
                  <a:pt x="1435" y="1826"/>
                </a:moveTo>
                <a:lnTo>
                  <a:pt x="1437" y="1826"/>
                </a:lnTo>
                <a:lnTo>
                  <a:pt x="1437" y="1827"/>
                </a:lnTo>
                <a:lnTo>
                  <a:pt x="1435" y="1827"/>
                </a:lnTo>
                <a:lnTo>
                  <a:pt x="1435" y="1826"/>
                </a:lnTo>
                <a:close/>
                <a:moveTo>
                  <a:pt x="1489" y="1804"/>
                </a:moveTo>
                <a:lnTo>
                  <a:pt x="1491" y="1804"/>
                </a:lnTo>
                <a:lnTo>
                  <a:pt x="1491" y="1805"/>
                </a:lnTo>
                <a:lnTo>
                  <a:pt x="1489" y="1805"/>
                </a:lnTo>
                <a:lnTo>
                  <a:pt x="1489" y="1804"/>
                </a:lnTo>
                <a:close/>
                <a:moveTo>
                  <a:pt x="1447" y="1846"/>
                </a:moveTo>
                <a:lnTo>
                  <a:pt x="1447" y="1848"/>
                </a:lnTo>
                <a:lnTo>
                  <a:pt x="1447" y="1846"/>
                </a:lnTo>
                <a:close/>
                <a:moveTo>
                  <a:pt x="1661" y="1780"/>
                </a:moveTo>
                <a:lnTo>
                  <a:pt x="1663" y="1780"/>
                </a:lnTo>
                <a:lnTo>
                  <a:pt x="1663" y="1781"/>
                </a:lnTo>
                <a:lnTo>
                  <a:pt x="1661" y="1781"/>
                </a:lnTo>
                <a:lnTo>
                  <a:pt x="1661" y="1780"/>
                </a:lnTo>
                <a:close/>
                <a:moveTo>
                  <a:pt x="1501" y="1829"/>
                </a:moveTo>
                <a:lnTo>
                  <a:pt x="1503" y="1827"/>
                </a:lnTo>
                <a:lnTo>
                  <a:pt x="1503" y="1829"/>
                </a:lnTo>
                <a:lnTo>
                  <a:pt x="1501" y="1829"/>
                </a:lnTo>
                <a:close/>
                <a:moveTo>
                  <a:pt x="1433" y="1822"/>
                </a:moveTo>
                <a:lnTo>
                  <a:pt x="1433" y="1824"/>
                </a:lnTo>
                <a:lnTo>
                  <a:pt x="1433" y="1822"/>
                </a:lnTo>
                <a:close/>
                <a:moveTo>
                  <a:pt x="1484" y="1836"/>
                </a:moveTo>
                <a:lnTo>
                  <a:pt x="1486" y="1836"/>
                </a:lnTo>
                <a:lnTo>
                  <a:pt x="1486" y="1838"/>
                </a:lnTo>
                <a:lnTo>
                  <a:pt x="1484" y="1838"/>
                </a:lnTo>
                <a:lnTo>
                  <a:pt x="1484" y="1836"/>
                </a:lnTo>
                <a:close/>
                <a:moveTo>
                  <a:pt x="1498" y="1821"/>
                </a:moveTo>
                <a:lnTo>
                  <a:pt x="1500" y="1821"/>
                </a:lnTo>
                <a:lnTo>
                  <a:pt x="1498" y="1821"/>
                </a:lnTo>
                <a:close/>
                <a:moveTo>
                  <a:pt x="1421" y="1829"/>
                </a:moveTo>
                <a:lnTo>
                  <a:pt x="1421" y="1831"/>
                </a:lnTo>
                <a:lnTo>
                  <a:pt x="1421" y="1829"/>
                </a:lnTo>
                <a:close/>
                <a:moveTo>
                  <a:pt x="1452" y="1627"/>
                </a:moveTo>
                <a:lnTo>
                  <a:pt x="1452" y="1628"/>
                </a:lnTo>
                <a:lnTo>
                  <a:pt x="1452" y="1627"/>
                </a:lnTo>
                <a:close/>
                <a:moveTo>
                  <a:pt x="1648" y="1788"/>
                </a:moveTo>
                <a:lnTo>
                  <a:pt x="1649" y="1788"/>
                </a:lnTo>
                <a:lnTo>
                  <a:pt x="1649" y="1792"/>
                </a:lnTo>
                <a:lnTo>
                  <a:pt x="1648" y="1792"/>
                </a:lnTo>
                <a:lnTo>
                  <a:pt x="1648" y="1788"/>
                </a:lnTo>
                <a:close/>
                <a:moveTo>
                  <a:pt x="1478" y="1593"/>
                </a:moveTo>
                <a:lnTo>
                  <a:pt x="1478" y="1594"/>
                </a:lnTo>
                <a:lnTo>
                  <a:pt x="1478" y="1593"/>
                </a:lnTo>
                <a:close/>
                <a:moveTo>
                  <a:pt x="1459" y="1821"/>
                </a:moveTo>
                <a:lnTo>
                  <a:pt x="1459" y="1824"/>
                </a:lnTo>
                <a:lnTo>
                  <a:pt x="1459" y="1821"/>
                </a:lnTo>
                <a:close/>
                <a:moveTo>
                  <a:pt x="1459" y="1829"/>
                </a:moveTo>
                <a:lnTo>
                  <a:pt x="1459" y="1831"/>
                </a:lnTo>
                <a:lnTo>
                  <a:pt x="1459" y="1829"/>
                </a:lnTo>
                <a:close/>
                <a:moveTo>
                  <a:pt x="1520" y="1851"/>
                </a:moveTo>
                <a:lnTo>
                  <a:pt x="1522" y="1850"/>
                </a:lnTo>
                <a:lnTo>
                  <a:pt x="1522" y="1851"/>
                </a:lnTo>
                <a:lnTo>
                  <a:pt x="1520" y="1851"/>
                </a:lnTo>
                <a:close/>
                <a:moveTo>
                  <a:pt x="1432" y="1635"/>
                </a:moveTo>
                <a:lnTo>
                  <a:pt x="1433" y="1635"/>
                </a:lnTo>
                <a:lnTo>
                  <a:pt x="1432" y="1637"/>
                </a:lnTo>
                <a:lnTo>
                  <a:pt x="1432" y="1635"/>
                </a:lnTo>
                <a:lnTo>
                  <a:pt x="1433" y="1635"/>
                </a:lnTo>
                <a:lnTo>
                  <a:pt x="1432" y="1635"/>
                </a:lnTo>
                <a:close/>
                <a:moveTo>
                  <a:pt x="1472" y="1822"/>
                </a:moveTo>
                <a:lnTo>
                  <a:pt x="1472" y="1824"/>
                </a:lnTo>
                <a:lnTo>
                  <a:pt x="1472" y="1822"/>
                </a:lnTo>
                <a:close/>
                <a:moveTo>
                  <a:pt x="1478" y="1802"/>
                </a:moveTo>
                <a:lnTo>
                  <a:pt x="1478" y="1804"/>
                </a:lnTo>
                <a:lnTo>
                  <a:pt x="1478" y="1802"/>
                </a:lnTo>
                <a:close/>
                <a:moveTo>
                  <a:pt x="1503" y="1548"/>
                </a:moveTo>
                <a:lnTo>
                  <a:pt x="1505" y="1548"/>
                </a:lnTo>
                <a:lnTo>
                  <a:pt x="1505" y="1550"/>
                </a:lnTo>
                <a:lnTo>
                  <a:pt x="1503" y="1548"/>
                </a:lnTo>
                <a:close/>
                <a:moveTo>
                  <a:pt x="1478" y="1576"/>
                </a:moveTo>
                <a:lnTo>
                  <a:pt x="1479" y="1576"/>
                </a:lnTo>
                <a:lnTo>
                  <a:pt x="1479" y="1577"/>
                </a:lnTo>
                <a:lnTo>
                  <a:pt x="1478" y="1576"/>
                </a:lnTo>
                <a:close/>
                <a:moveTo>
                  <a:pt x="1518" y="1853"/>
                </a:moveTo>
                <a:lnTo>
                  <a:pt x="1520" y="1853"/>
                </a:lnTo>
                <a:lnTo>
                  <a:pt x="1520" y="1855"/>
                </a:lnTo>
                <a:lnTo>
                  <a:pt x="1518" y="1855"/>
                </a:lnTo>
                <a:lnTo>
                  <a:pt x="1518" y="1853"/>
                </a:lnTo>
                <a:close/>
                <a:moveTo>
                  <a:pt x="1520" y="1841"/>
                </a:moveTo>
                <a:lnTo>
                  <a:pt x="1520" y="1843"/>
                </a:lnTo>
                <a:lnTo>
                  <a:pt x="1520" y="1841"/>
                </a:lnTo>
                <a:close/>
                <a:moveTo>
                  <a:pt x="1518" y="1846"/>
                </a:moveTo>
                <a:lnTo>
                  <a:pt x="1520" y="1846"/>
                </a:lnTo>
                <a:lnTo>
                  <a:pt x="1520" y="1848"/>
                </a:lnTo>
                <a:lnTo>
                  <a:pt x="1518" y="1848"/>
                </a:lnTo>
                <a:lnTo>
                  <a:pt x="1518" y="1846"/>
                </a:lnTo>
                <a:close/>
                <a:moveTo>
                  <a:pt x="1510" y="1815"/>
                </a:moveTo>
                <a:lnTo>
                  <a:pt x="1510" y="1814"/>
                </a:lnTo>
                <a:lnTo>
                  <a:pt x="1510" y="1815"/>
                </a:lnTo>
                <a:close/>
                <a:moveTo>
                  <a:pt x="1421" y="1831"/>
                </a:moveTo>
                <a:lnTo>
                  <a:pt x="1421" y="1832"/>
                </a:lnTo>
                <a:lnTo>
                  <a:pt x="1421" y="1831"/>
                </a:lnTo>
                <a:close/>
                <a:moveTo>
                  <a:pt x="1486" y="1836"/>
                </a:moveTo>
                <a:lnTo>
                  <a:pt x="1486" y="1838"/>
                </a:lnTo>
                <a:lnTo>
                  <a:pt x="1486" y="1836"/>
                </a:lnTo>
                <a:close/>
                <a:moveTo>
                  <a:pt x="1462" y="1822"/>
                </a:moveTo>
                <a:lnTo>
                  <a:pt x="1462" y="1826"/>
                </a:lnTo>
                <a:lnTo>
                  <a:pt x="1462" y="1822"/>
                </a:lnTo>
                <a:close/>
                <a:moveTo>
                  <a:pt x="1471" y="1747"/>
                </a:moveTo>
                <a:lnTo>
                  <a:pt x="1472" y="1749"/>
                </a:lnTo>
                <a:lnTo>
                  <a:pt x="1471" y="1747"/>
                </a:lnTo>
                <a:close/>
                <a:moveTo>
                  <a:pt x="1447" y="1829"/>
                </a:moveTo>
                <a:lnTo>
                  <a:pt x="1449" y="1829"/>
                </a:lnTo>
                <a:lnTo>
                  <a:pt x="1449" y="1831"/>
                </a:lnTo>
                <a:lnTo>
                  <a:pt x="1447" y="1831"/>
                </a:lnTo>
                <a:lnTo>
                  <a:pt x="1447" y="1829"/>
                </a:lnTo>
                <a:close/>
                <a:moveTo>
                  <a:pt x="1472" y="1761"/>
                </a:moveTo>
                <a:lnTo>
                  <a:pt x="1474" y="1763"/>
                </a:lnTo>
                <a:lnTo>
                  <a:pt x="1472" y="1763"/>
                </a:lnTo>
                <a:lnTo>
                  <a:pt x="1472" y="1761"/>
                </a:lnTo>
                <a:close/>
                <a:moveTo>
                  <a:pt x="1489" y="1815"/>
                </a:moveTo>
                <a:lnTo>
                  <a:pt x="1491" y="1815"/>
                </a:lnTo>
                <a:lnTo>
                  <a:pt x="1491" y="1817"/>
                </a:lnTo>
                <a:lnTo>
                  <a:pt x="1489" y="1817"/>
                </a:lnTo>
                <a:lnTo>
                  <a:pt x="1489" y="1815"/>
                </a:lnTo>
                <a:close/>
                <a:moveTo>
                  <a:pt x="1472" y="1824"/>
                </a:moveTo>
                <a:lnTo>
                  <a:pt x="1472" y="1826"/>
                </a:lnTo>
                <a:lnTo>
                  <a:pt x="1472" y="1824"/>
                </a:lnTo>
                <a:close/>
                <a:moveTo>
                  <a:pt x="1522" y="1844"/>
                </a:moveTo>
                <a:lnTo>
                  <a:pt x="1523" y="1844"/>
                </a:lnTo>
                <a:lnTo>
                  <a:pt x="1523" y="1846"/>
                </a:lnTo>
                <a:lnTo>
                  <a:pt x="1522" y="1846"/>
                </a:lnTo>
                <a:lnTo>
                  <a:pt x="1522" y="1844"/>
                </a:lnTo>
                <a:close/>
                <a:moveTo>
                  <a:pt x="1496" y="1824"/>
                </a:moveTo>
                <a:lnTo>
                  <a:pt x="1498" y="1822"/>
                </a:lnTo>
                <a:lnTo>
                  <a:pt x="1498" y="1824"/>
                </a:lnTo>
                <a:lnTo>
                  <a:pt x="1496" y="1824"/>
                </a:lnTo>
                <a:close/>
                <a:moveTo>
                  <a:pt x="1423" y="1843"/>
                </a:moveTo>
                <a:lnTo>
                  <a:pt x="1423" y="1844"/>
                </a:lnTo>
                <a:lnTo>
                  <a:pt x="1423" y="1843"/>
                </a:lnTo>
                <a:close/>
                <a:moveTo>
                  <a:pt x="1454" y="1839"/>
                </a:moveTo>
                <a:lnTo>
                  <a:pt x="1455" y="1839"/>
                </a:lnTo>
                <a:lnTo>
                  <a:pt x="1454" y="1839"/>
                </a:lnTo>
                <a:close/>
                <a:moveTo>
                  <a:pt x="1454" y="1846"/>
                </a:moveTo>
                <a:lnTo>
                  <a:pt x="1452" y="1846"/>
                </a:lnTo>
                <a:lnTo>
                  <a:pt x="1454" y="1846"/>
                </a:lnTo>
                <a:close/>
                <a:moveTo>
                  <a:pt x="1432" y="1826"/>
                </a:moveTo>
                <a:lnTo>
                  <a:pt x="1432" y="1827"/>
                </a:lnTo>
                <a:lnTo>
                  <a:pt x="1432" y="1826"/>
                </a:lnTo>
                <a:close/>
                <a:moveTo>
                  <a:pt x="1518" y="1846"/>
                </a:moveTo>
                <a:lnTo>
                  <a:pt x="1518" y="1844"/>
                </a:lnTo>
                <a:lnTo>
                  <a:pt x="1520" y="1846"/>
                </a:lnTo>
                <a:lnTo>
                  <a:pt x="1518" y="1846"/>
                </a:lnTo>
                <a:close/>
                <a:moveTo>
                  <a:pt x="1432" y="1822"/>
                </a:moveTo>
                <a:lnTo>
                  <a:pt x="1433" y="1822"/>
                </a:lnTo>
                <a:lnTo>
                  <a:pt x="1433" y="1824"/>
                </a:lnTo>
                <a:lnTo>
                  <a:pt x="1432" y="1824"/>
                </a:lnTo>
                <a:lnTo>
                  <a:pt x="1432" y="1822"/>
                </a:lnTo>
                <a:close/>
                <a:moveTo>
                  <a:pt x="1421" y="1832"/>
                </a:moveTo>
                <a:lnTo>
                  <a:pt x="1423" y="1832"/>
                </a:lnTo>
                <a:lnTo>
                  <a:pt x="1421" y="1832"/>
                </a:lnTo>
                <a:close/>
                <a:moveTo>
                  <a:pt x="1498" y="1850"/>
                </a:moveTo>
                <a:lnTo>
                  <a:pt x="1500" y="1851"/>
                </a:lnTo>
                <a:lnTo>
                  <a:pt x="1498" y="1851"/>
                </a:lnTo>
                <a:lnTo>
                  <a:pt x="1498" y="1850"/>
                </a:lnTo>
                <a:close/>
                <a:moveTo>
                  <a:pt x="1532" y="1834"/>
                </a:moveTo>
                <a:lnTo>
                  <a:pt x="1534" y="1834"/>
                </a:lnTo>
                <a:lnTo>
                  <a:pt x="1534" y="1836"/>
                </a:lnTo>
                <a:lnTo>
                  <a:pt x="1532" y="1834"/>
                </a:lnTo>
                <a:close/>
                <a:moveTo>
                  <a:pt x="1498" y="1819"/>
                </a:moveTo>
                <a:lnTo>
                  <a:pt x="1501" y="1819"/>
                </a:lnTo>
                <a:lnTo>
                  <a:pt x="1500" y="1821"/>
                </a:lnTo>
                <a:lnTo>
                  <a:pt x="1498" y="1819"/>
                </a:lnTo>
                <a:close/>
                <a:moveTo>
                  <a:pt x="1462" y="1798"/>
                </a:moveTo>
                <a:lnTo>
                  <a:pt x="1464" y="1797"/>
                </a:lnTo>
                <a:lnTo>
                  <a:pt x="1464" y="1798"/>
                </a:lnTo>
                <a:lnTo>
                  <a:pt x="1462" y="1798"/>
                </a:lnTo>
                <a:close/>
                <a:moveTo>
                  <a:pt x="1452" y="1683"/>
                </a:moveTo>
                <a:lnTo>
                  <a:pt x="1452" y="1684"/>
                </a:lnTo>
                <a:lnTo>
                  <a:pt x="1452" y="1683"/>
                </a:lnTo>
                <a:close/>
                <a:moveTo>
                  <a:pt x="1471" y="1807"/>
                </a:moveTo>
                <a:lnTo>
                  <a:pt x="1471" y="1809"/>
                </a:lnTo>
                <a:lnTo>
                  <a:pt x="1471" y="1807"/>
                </a:lnTo>
                <a:close/>
                <a:moveTo>
                  <a:pt x="1430" y="1632"/>
                </a:moveTo>
                <a:lnTo>
                  <a:pt x="1432" y="1632"/>
                </a:lnTo>
                <a:lnTo>
                  <a:pt x="1430" y="1632"/>
                </a:lnTo>
                <a:close/>
                <a:moveTo>
                  <a:pt x="1501" y="1826"/>
                </a:moveTo>
                <a:lnTo>
                  <a:pt x="1501" y="1827"/>
                </a:lnTo>
                <a:lnTo>
                  <a:pt x="1501" y="1826"/>
                </a:lnTo>
                <a:close/>
                <a:moveTo>
                  <a:pt x="1447" y="1630"/>
                </a:moveTo>
                <a:lnTo>
                  <a:pt x="1449" y="1630"/>
                </a:lnTo>
                <a:lnTo>
                  <a:pt x="1447" y="1630"/>
                </a:lnTo>
                <a:close/>
                <a:moveTo>
                  <a:pt x="1581" y="1827"/>
                </a:moveTo>
                <a:lnTo>
                  <a:pt x="1583" y="1827"/>
                </a:lnTo>
                <a:lnTo>
                  <a:pt x="1583" y="1829"/>
                </a:lnTo>
                <a:lnTo>
                  <a:pt x="1581" y="1829"/>
                </a:lnTo>
                <a:lnTo>
                  <a:pt x="1581" y="1827"/>
                </a:lnTo>
                <a:close/>
                <a:moveTo>
                  <a:pt x="1642" y="1790"/>
                </a:moveTo>
                <a:lnTo>
                  <a:pt x="1642" y="1792"/>
                </a:lnTo>
                <a:lnTo>
                  <a:pt x="1642" y="1790"/>
                </a:lnTo>
                <a:close/>
                <a:moveTo>
                  <a:pt x="1537" y="1465"/>
                </a:moveTo>
                <a:lnTo>
                  <a:pt x="1539" y="1465"/>
                </a:lnTo>
                <a:lnTo>
                  <a:pt x="1537" y="1467"/>
                </a:lnTo>
                <a:lnTo>
                  <a:pt x="1537" y="1465"/>
                </a:lnTo>
                <a:close/>
                <a:moveTo>
                  <a:pt x="1501" y="1832"/>
                </a:moveTo>
                <a:lnTo>
                  <a:pt x="1503" y="1832"/>
                </a:lnTo>
                <a:lnTo>
                  <a:pt x="1503" y="1834"/>
                </a:lnTo>
                <a:lnTo>
                  <a:pt x="1501" y="1834"/>
                </a:lnTo>
                <a:lnTo>
                  <a:pt x="1501" y="1832"/>
                </a:lnTo>
                <a:close/>
                <a:moveTo>
                  <a:pt x="1501" y="1827"/>
                </a:moveTo>
                <a:lnTo>
                  <a:pt x="1503" y="1827"/>
                </a:lnTo>
                <a:lnTo>
                  <a:pt x="1501" y="1827"/>
                </a:lnTo>
                <a:close/>
                <a:moveTo>
                  <a:pt x="1520" y="1822"/>
                </a:moveTo>
                <a:lnTo>
                  <a:pt x="1522" y="1822"/>
                </a:lnTo>
                <a:lnTo>
                  <a:pt x="1522" y="1824"/>
                </a:lnTo>
                <a:lnTo>
                  <a:pt x="1520" y="1824"/>
                </a:lnTo>
                <a:lnTo>
                  <a:pt x="1520" y="1822"/>
                </a:lnTo>
                <a:close/>
                <a:moveTo>
                  <a:pt x="1522" y="1839"/>
                </a:moveTo>
                <a:lnTo>
                  <a:pt x="1523" y="1839"/>
                </a:lnTo>
                <a:lnTo>
                  <a:pt x="1522" y="1839"/>
                </a:lnTo>
                <a:close/>
                <a:moveTo>
                  <a:pt x="1421" y="1824"/>
                </a:moveTo>
                <a:lnTo>
                  <a:pt x="1423" y="1824"/>
                </a:lnTo>
                <a:lnTo>
                  <a:pt x="1423" y="1827"/>
                </a:lnTo>
                <a:lnTo>
                  <a:pt x="1421" y="1827"/>
                </a:lnTo>
                <a:lnTo>
                  <a:pt x="1421" y="1824"/>
                </a:lnTo>
                <a:close/>
                <a:moveTo>
                  <a:pt x="1685" y="1776"/>
                </a:moveTo>
                <a:lnTo>
                  <a:pt x="1687" y="1776"/>
                </a:lnTo>
                <a:lnTo>
                  <a:pt x="1685" y="1778"/>
                </a:lnTo>
                <a:lnTo>
                  <a:pt x="1685" y="1776"/>
                </a:lnTo>
                <a:close/>
                <a:moveTo>
                  <a:pt x="1442" y="1822"/>
                </a:moveTo>
                <a:lnTo>
                  <a:pt x="1444" y="1822"/>
                </a:lnTo>
                <a:lnTo>
                  <a:pt x="1444" y="1824"/>
                </a:lnTo>
                <a:lnTo>
                  <a:pt x="1442" y="1824"/>
                </a:lnTo>
                <a:lnTo>
                  <a:pt x="1442" y="1822"/>
                </a:lnTo>
                <a:close/>
                <a:moveTo>
                  <a:pt x="1496" y="1850"/>
                </a:moveTo>
                <a:lnTo>
                  <a:pt x="1498" y="1850"/>
                </a:lnTo>
                <a:lnTo>
                  <a:pt x="1498" y="1851"/>
                </a:lnTo>
                <a:lnTo>
                  <a:pt x="1496" y="1851"/>
                </a:lnTo>
                <a:lnTo>
                  <a:pt x="1496" y="1850"/>
                </a:lnTo>
                <a:close/>
                <a:moveTo>
                  <a:pt x="1614" y="1807"/>
                </a:moveTo>
                <a:lnTo>
                  <a:pt x="1615" y="1807"/>
                </a:lnTo>
                <a:lnTo>
                  <a:pt x="1614" y="1807"/>
                </a:lnTo>
                <a:close/>
                <a:moveTo>
                  <a:pt x="1522" y="1431"/>
                </a:moveTo>
                <a:lnTo>
                  <a:pt x="1523" y="1431"/>
                </a:lnTo>
                <a:lnTo>
                  <a:pt x="1523" y="1433"/>
                </a:lnTo>
                <a:lnTo>
                  <a:pt x="1522" y="1433"/>
                </a:lnTo>
                <a:lnTo>
                  <a:pt x="1522" y="1431"/>
                </a:lnTo>
                <a:close/>
                <a:moveTo>
                  <a:pt x="1491" y="1827"/>
                </a:moveTo>
                <a:lnTo>
                  <a:pt x="1493" y="1826"/>
                </a:lnTo>
                <a:lnTo>
                  <a:pt x="1493" y="1827"/>
                </a:lnTo>
                <a:lnTo>
                  <a:pt x="1491" y="1827"/>
                </a:lnTo>
                <a:close/>
                <a:moveTo>
                  <a:pt x="1544" y="1843"/>
                </a:moveTo>
                <a:lnTo>
                  <a:pt x="1546" y="1843"/>
                </a:lnTo>
                <a:lnTo>
                  <a:pt x="1546" y="1844"/>
                </a:lnTo>
                <a:lnTo>
                  <a:pt x="1544" y="1844"/>
                </a:lnTo>
                <a:lnTo>
                  <a:pt x="1544" y="1843"/>
                </a:lnTo>
                <a:close/>
                <a:moveTo>
                  <a:pt x="1462" y="1790"/>
                </a:moveTo>
                <a:lnTo>
                  <a:pt x="1464" y="1790"/>
                </a:lnTo>
                <a:lnTo>
                  <a:pt x="1462" y="1790"/>
                </a:lnTo>
                <a:close/>
                <a:moveTo>
                  <a:pt x="1483" y="1826"/>
                </a:moveTo>
                <a:lnTo>
                  <a:pt x="1484" y="1826"/>
                </a:lnTo>
                <a:lnTo>
                  <a:pt x="1483" y="1826"/>
                </a:lnTo>
                <a:close/>
                <a:moveTo>
                  <a:pt x="1469" y="1827"/>
                </a:moveTo>
                <a:lnTo>
                  <a:pt x="1471" y="1827"/>
                </a:lnTo>
                <a:lnTo>
                  <a:pt x="1471" y="1829"/>
                </a:lnTo>
                <a:lnTo>
                  <a:pt x="1469" y="1829"/>
                </a:lnTo>
                <a:lnTo>
                  <a:pt x="1469" y="1827"/>
                </a:lnTo>
                <a:close/>
                <a:moveTo>
                  <a:pt x="1595" y="1819"/>
                </a:moveTo>
                <a:lnTo>
                  <a:pt x="1597" y="1819"/>
                </a:lnTo>
                <a:lnTo>
                  <a:pt x="1595" y="1819"/>
                </a:lnTo>
                <a:close/>
                <a:moveTo>
                  <a:pt x="1670" y="1778"/>
                </a:moveTo>
                <a:lnTo>
                  <a:pt x="1671" y="1778"/>
                </a:lnTo>
                <a:lnTo>
                  <a:pt x="1671" y="1780"/>
                </a:lnTo>
                <a:lnTo>
                  <a:pt x="1670" y="1778"/>
                </a:lnTo>
                <a:close/>
                <a:moveTo>
                  <a:pt x="1459" y="1605"/>
                </a:moveTo>
                <a:lnTo>
                  <a:pt x="1459" y="1606"/>
                </a:lnTo>
                <a:lnTo>
                  <a:pt x="1459" y="1605"/>
                </a:lnTo>
                <a:close/>
                <a:moveTo>
                  <a:pt x="1573" y="1831"/>
                </a:moveTo>
                <a:lnTo>
                  <a:pt x="1574" y="1831"/>
                </a:lnTo>
                <a:lnTo>
                  <a:pt x="1573" y="1831"/>
                </a:lnTo>
                <a:close/>
                <a:moveTo>
                  <a:pt x="1478" y="1832"/>
                </a:moveTo>
                <a:lnTo>
                  <a:pt x="1479" y="1832"/>
                </a:lnTo>
                <a:lnTo>
                  <a:pt x="1479" y="1834"/>
                </a:lnTo>
                <a:lnTo>
                  <a:pt x="1478" y="1834"/>
                </a:lnTo>
                <a:lnTo>
                  <a:pt x="1478" y="1832"/>
                </a:lnTo>
                <a:close/>
                <a:moveTo>
                  <a:pt x="1508" y="1831"/>
                </a:moveTo>
                <a:lnTo>
                  <a:pt x="1510" y="1831"/>
                </a:lnTo>
                <a:lnTo>
                  <a:pt x="1510" y="1832"/>
                </a:lnTo>
                <a:lnTo>
                  <a:pt x="1508" y="1832"/>
                </a:lnTo>
                <a:lnTo>
                  <a:pt x="1508" y="1831"/>
                </a:lnTo>
                <a:close/>
                <a:moveTo>
                  <a:pt x="1527" y="1846"/>
                </a:moveTo>
                <a:lnTo>
                  <a:pt x="1529" y="1846"/>
                </a:lnTo>
                <a:lnTo>
                  <a:pt x="1527" y="1846"/>
                </a:lnTo>
                <a:close/>
                <a:moveTo>
                  <a:pt x="1498" y="1821"/>
                </a:moveTo>
                <a:lnTo>
                  <a:pt x="1500" y="1821"/>
                </a:lnTo>
                <a:lnTo>
                  <a:pt x="1498" y="1821"/>
                </a:lnTo>
                <a:close/>
                <a:moveTo>
                  <a:pt x="1450" y="1839"/>
                </a:moveTo>
                <a:lnTo>
                  <a:pt x="1452" y="1839"/>
                </a:lnTo>
                <a:lnTo>
                  <a:pt x="1452" y="1841"/>
                </a:lnTo>
                <a:lnTo>
                  <a:pt x="1450" y="1841"/>
                </a:lnTo>
                <a:lnTo>
                  <a:pt x="1450" y="1839"/>
                </a:lnTo>
                <a:close/>
                <a:moveTo>
                  <a:pt x="1464" y="1824"/>
                </a:moveTo>
                <a:lnTo>
                  <a:pt x="1466" y="1824"/>
                </a:lnTo>
                <a:lnTo>
                  <a:pt x="1466" y="1826"/>
                </a:lnTo>
                <a:lnTo>
                  <a:pt x="1464" y="1826"/>
                </a:lnTo>
                <a:lnTo>
                  <a:pt x="1464" y="1824"/>
                </a:lnTo>
                <a:close/>
                <a:moveTo>
                  <a:pt x="1661" y="1776"/>
                </a:moveTo>
                <a:lnTo>
                  <a:pt x="1663" y="1776"/>
                </a:lnTo>
                <a:lnTo>
                  <a:pt x="1663" y="1778"/>
                </a:lnTo>
                <a:lnTo>
                  <a:pt x="1661" y="1776"/>
                </a:lnTo>
                <a:close/>
                <a:moveTo>
                  <a:pt x="1457" y="1695"/>
                </a:moveTo>
                <a:lnTo>
                  <a:pt x="1457" y="1696"/>
                </a:lnTo>
                <a:lnTo>
                  <a:pt x="1457" y="1695"/>
                </a:lnTo>
                <a:close/>
                <a:moveTo>
                  <a:pt x="1472" y="1749"/>
                </a:moveTo>
                <a:lnTo>
                  <a:pt x="1474" y="1747"/>
                </a:lnTo>
                <a:lnTo>
                  <a:pt x="1474" y="1749"/>
                </a:lnTo>
                <a:lnTo>
                  <a:pt x="1472" y="1749"/>
                </a:lnTo>
                <a:close/>
                <a:moveTo>
                  <a:pt x="1427" y="1834"/>
                </a:moveTo>
                <a:lnTo>
                  <a:pt x="1428" y="1834"/>
                </a:lnTo>
                <a:lnTo>
                  <a:pt x="1428" y="1836"/>
                </a:lnTo>
                <a:lnTo>
                  <a:pt x="1427" y="1834"/>
                </a:lnTo>
                <a:close/>
                <a:moveTo>
                  <a:pt x="1571" y="1836"/>
                </a:moveTo>
                <a:lnTo>
                  <a:pt x="1573" y="1836"/>
                </a:lnTo>
                <a:lnTo>
                  <a:pt x="1571" y="1838"/>
                </a:lnTo>
                <a:lnTo>
                  <a:pt x="1571" y="1836"/>
                </a:lnTo>
                <a:close/>
                <a:moveTo>
                  <a:pt x="1588" y="1827"/>
                </a:moveTo>
                <a:lnTo>
                  <a:pt x="1588" y="1826"/>
                </a:lnTo>
                <a:lnTo>
                  <a:pt x="1590" y="1827"/>
                </a:lnTo>
                <a:lnTo>
                  <a:pt x="1588" y="1827"/>
                </a:lnTo>
                <a:close/>
                <a:moveTo>
                  <a:pt x="1442" y="1824"/>
                </a:moveTo>
                <a:lnTo>
                  <a:pt x="1442" y="1826"/>
                </a:lnTo>
                <a:lnTo>
                  <a:pt x="1442" y="1824"/>
                </a:lnTo>
                <a:close/>
                <a:moveTo>
                  <a:pt x="1670" y="1775"/>
                </a:moveTo>
                <a:lnTo>
                  <a:pt x="1670" y="1776"/>
                </a:lnTo>
                <a:lnTo>
                  <a:pt x="1670" y="1775"/>
                </a:lnTo>
                <a:close/>
                <a:moveTo>
                  <a:pt x="1495" y="1838"/>
                </a:moveTo>
                <a:lnTo>
                  <a:pt x="1496" y="1838"/>
                </a:lnTo>
                <a:lnTo>
                  <a:pt x="1495" y="1838"/>
                </a:lnTo>
                <a:close/>
                <a:moveTo>
                  <a:pt x="1495" y="1817"/>
                </a:moveTo>
                <a:lnTo>
                  <a:pt x="1496" y="1817"/>
                </a:lnTo>
                <a:lnTo>
                  <a:pt x="1496" y="1819"/>
                </a:lnTo>
                <a:lnTo>
                  <a:pt x="1495" y="1819"/>
                </a:lnTo>
                <a:lnTo>
                  <a:pt x="1495" y="1817"/>
                </a:lnTo>
                <a:close/>
                <a:moveTo>
                  <a:pt x="1498" y="1846"/>
                </a:moveTo>
                <a:lnTo>
                  <a:pt x="1498" y="1848"/>
                </a:lnTo>
                <a:lnTo>
                  <a:pt x="1498" y="1846"/>
                </a:lnTo>
                <a:close/>
                <a:moveTo>
                  <a:pt x="1474" y="1610"/>
                </a:moveTo>
                <a:lnTo>
                  <a:pt x="1474" y="1611"/>
                </a:lnTo>
                <a:lnTo>
                  <a:pt x="1474" y="1610"/>
                </a:lnTo>
                <a:close/>
                <a:moveTo>
                  <a:pt x="1444" y="1832"/>
                </a:moveTo>
                <a:lnTo>
                  <a:pt x="1445" y="1834"/>
                </a:lnTo>
                <a:lnTo>
                  <a:pt x="1444" y="1834"/>
                </a:lnTo>
                <a:lnTo>
                  <a:pt x="1444" y="1832"/>
                </a:lnTo>
                <a:close/>
                <a:moveTo>
                  <a:pt x="1488" y="1581"/>
                </a:moveTo>
                <a:lnTo>
                  <a:pt x="1488" y="1582"/>
                </a:lnTo>
                <a:lnTo>
                  <a:pt x="1488" y="1581"/>
                </a:lnTo>
                <a:close/>
                <a:moveTo>
                  <a:pt x="1467" y="1832"/>
                </a:moveTo>
                <a:lnTo>
                  <a:pt x="1469" y="1832"/>
                </a:lnTo>
                <a:lnTo>
                  <a:pt x="1469" y="1834"/>
                </a:lnTo>
                <a:lnTo>
                  <a:pt x="1467" y="1832"/>
                </a:lnTo>
                <a:close/>
                <a:moveTo>
                  <a:pt x="1564" y="1839"/>
                </a:moveTo>
                <a:lnTo>
                  <a:pt x="1566" y="1839"/>
                </a:lnTo>
                <a:lnTo>
                  <a:pt x="1566" y="1841"/>
                </a:lnTo>
                <a:lnTo>
                  <a:pt x="1564" y="1839"/>
                </a:lnTo>
                <a:close/>
                <a:moveTo>
                  <a:pt x="1510" y="1851"/>
                </a:moveTo>
                <a:lnTo>
                  <a:pt x="1512" y="1851"/>
                </a:lnTo>
                <a:lnTo>
                  <a:pt x="1512" y="1853"/>
                </a:lnTo>
                <a:lnTo>
                  <a:pt x="1510" y="1853"/>
                </a:lnTo>
                <a:lnTo>
                  <a:pt x="1510" y="1851"/>
                </a:lnTo>
                <a:close/>
                <a:moveTo>
                  <a:pt x="1496" y="1810"/>
                </a:moveTo>
                <a:lnTo>
                  <a:pt x="1498" y="1810"/>
                </a:lnTo>
                <a:lnTo>
                  <a:pt x="1496" y="1810"/>
                </a:lnTo>
                <a:close/>
                <a:moveTo>
                  <a:pt x="1585" y="1824"/>
                </a:moveTo>
                <a:lnTo>
                  <a:pt x="1586" y="1824"/>
                </a:lnTo>
                <a:lnTo>
                  <a:pt x="1585" y="1824"/>
                </a:lnTo>
                <a:close/>
                <a:moveTo>
                  <a:pt x="1476" y="1593"/>
                </a:moveTo>
                <a:lnTo>
                  <a:pt x="1476" y="1594"/>
                </a:lnTo>
                <a:lnTo>
                  <a:pt x="1476" y="1593"/>
                </a:lnTo>
                <a:close/>
                <a:moveTo>
                  <a:pt x="1513" y="1822"/>
                </a:moveTo>
                <a:lnTo>
                  <a:pt x="1515" y="1821"/>
                </a:lnTo>
                <a:lnTo>
                  <a:pt x="1515" y="1822"/>
                </a:lnTo>
                <a:lnTo>
                  <a:pt x="1513" y="1822"/>
                </a:lnTo>
                <a:close/>
                <a:moveTo>
                  <a:pt x="1505" y="1819"/>
                </a:moveTo>
                <a:lnTo>
                  <a:pt x="1506" y="1819"/>
                </a:lnTo>
                <a:lnTo>
                  <a:pt x="1505" y="1819"/>
                </a:lnTo>
                <a:close/>
                <a:moveTo>
                  <a:pt x="1454" y="1684"/>
                </a:moveTo>
                <a:lnTo>
                  <a:pt x="1455" y="1684"/>
                </a:lnTo>
                <a:lnTo>
                  <a:pt x="1455" y="1686"/>
                </a:lnTo>
                <a:lnTo>
                  <a:pt x="1454" y="1686"/>
                </a:lnTo>
                <a:lnTo>
                  <a:pt x="1454" y="1684"/>
                </a:lnTo>
                <a:close/>
                <a:moveTo>
                  <a:pt x="1450" y="1843"/>
                </a:moveTo>
                <a:lnTo>
                  <a:pt x="1452" y="1843"/>
                </a:lnTo>
                <a:lnTo>
                  <a:pt x="1450" y="1843"/>
                </a:lnTo>
                <a:close/>
                <a:moveTo>
                  <a:pt x="1564" y="1839"/>
                </a:moveTo>
                <a:lnTo>
                  <a:pt x="1566" y="1839"/>
                </a:lnTo>
                <a:lnTo>
                  <a:pt x="1564" y="1839"/>
                </a:lnTo>
                <a:close/>
                <a:moveTo>
                  <a:pt x="1416" y="1836"/>
                </a:moveTo>
                <a:lnTo>
                  <a:pt x="1416" y="1838"/>
                </a:lnTo>
                <a:lnTo>
                  <a:pt x="1416" y="1836"/>
                </a:lnTo>
                <a:close/>
                <a:moveTo>
                  <a:pt x="1352" y="2050"/>
                </a:moveTo>
                <a:lnTo>
                  <a:pt x="1352" y="2052"/>
                </a:lnTo>
                <a:lnTo>
                  <a:pt x="1353" y="2052"/>
                </a:lnTo>
                <a:lnTo>
                  <a:pt x="1353" y="2050"/>
                </a:lnTo>
                <a:lnTo>
                  <a:pt x="1353" y="2052"/>
                </a:lnTo>
                <a:lnTo>
                  <a:pt x="1355" y="2054"/>
                </a:lnTo>
                <a:lnTo>
                  <a:pt x="1353" y="2055"/>
                </a:lnTo>
                <a:lnTo>
                  <a:pt x="1352" y="2057"/>
                </a:lnTo>
                <a:lnTo>
                  <a:pt x="1353" y="2059"/>
                </a:lnTo>
                <a:lnTo>
                  <a:pt x="1353" y="2062"/>
                </a:lnTo>
                <a:lnTo>
                  <a:pt x="1352" y="2062"/>
                </a:lnTo>
                <a:lnTo>
                  <a:pt x="1353" y="2064"/>
                </a:lnTo>
                <a:lnTo>
                  <a:pt x="1352" y="2064"/>
                </a:lnTo>
                <a:lnTo>
                  <a:pt x="1352" y="2066"/>
                </a:lnTo>
                <a:lnTo>
                  <a:pt x="1350" y="2069"/>
                </a:lnTo>
                <a:lnTo>
                  <a:pt x="1350" y="2071"/>
                </a:lnTo>
                <a:lnTo>
                  <a:pt x="1350" y="2072"/>
                </a:lnTo>
                <a:lnTo>
                  <a:pt x="1350" y="2074"/>
                </a:lnTo>
                <a:lnTo>
                  <a:pt x="1348" y="2074"/>
                </a:lnTo>
                <a:lnTo>
                  <a:pt x="1348" y="2076"/>
                </a:lnTo>
                <a:lnTo>
                  <a:pt x="1348" y="2077"/>
                </a:lnTo>
                <a:lnTo>
                  <a:pt x="1347" y="2079"/>
                </a:lnTo>
                <a:lnTo>
                  <a:pt x="1348" y="2081"/>
                </a:lnTo>
                <a:lnTo>
                  <a:pt x="1348" y="2083"/>
                </a:lnTo>
                <a:lnTo>
                  <a:pt x="1347" y="2084"/>
                </a:lnTo>
                <a:lnTo>
                  <a:pt x="1347" y="2088"/>
                </a:lnTo>
                <a:lnTo>
                  <a:pt x="1347" y="2089"/>
                </a:lnTo>
                <a:lnTo>
                  <a:pt x="1345" y="2089"/>
                </a:lnTo>
                <a:lnTo>
                  <a:pt x="1347" y="2089"/>
                </a:lnTo>
                <a:lnTo>
                  <a:pt x="1345" y="2089"/>
                </a:lnTo>
                <a:lnTo>
                  <a:pt x="1345" y="2091"/>
                </a:lnTo>
                <a:lnTo>
                  <a:pt x="1345" y="2093"/>
                </a:lnTo>
                <a:lnTo>
                  <a:pt x="1343" y="2096"/>
                </a:lnTo>
                <a:lnTo>
                  <a:pt x="1343" y="2098"/>
                </a:lnTo>
                <a:lnTo>
                  <a:pt x="1343" y="2100"/>
                </a:lnTo>
                <a:lnTo>
                  <a:pt x="1343" y="2101"/>
                </a:lnTo>
                <a:lnTo>
                  <a:pt x="1343" y="2103"/>
                </a:lnTo>
                <a:lnTo>
                  <a:pt x="1343" y="2106"/>
                </a:lnTo>
                <a:lnTo>
                  <a:pt x="1342" y="2108"/>
                </a:lnTo>
                <a:lnTo>
                  <a:pt x="1340" y="2110"/>
                </a:lnTo>
                <a:lnTo>
                  <a:pt x="1342" y="2111"/>
                </a:lnTo>
                <a:lnTo>
                  <a:pt x="1340" y="2113"/>
                </a:lnTo>
                <a:lnTo>
                  <a:pt x="1340" y="2115"/>
                </a:lnTo>
                <a:lnTo>
                  <a:pt x="1340" y="2117"/>
                </a:lnTo>
                <a:lnTo>
                  <a:pt x="1338" y="2120"/>
                </a:lnTo>
                <a:lnTo>
                  <a:pt x="1338" y="2122"/>
                </a:lnTo>
                <a:lnTo>
                  <a:pt x="1338" y="2125"/>
                </a:lnTo>
                <a:lnTo>
                  <a:pt x="1336" y="2128"/>
                </a:lnTo>
                <a:lnTo>
                  <a:pt x="1336" y="2132"/>
                </a:lnTo>
                <a:lnTo>
                  <a:pt x="1335" y="2134"/>
                </a:lnTo>
                <a:lnTo>
                  <a:pt x="1336" y="2132"/>
                </a:lnTo>
                <a:lnTo>
                  <a:pt x="1335" y="2134"/>
                </a:lnTo>
                <a:lnTo>
                  <a:pt x="1333" y="2134"/>
                </a:lnTo>
                <a:lnTo>
                  <a:pt x="1333" y="2130"/>
                </a:lnTo>
                <a:lnTo>
                  <a:pt x="1333" y="2128"/>
                </a:lnTo>
                <a:lnTo>
                  <a:pt x="1333" y="2125"/>
                </a:lnTo>
                <a:lnTo>
                  <a:pt x="1333" y="2123"/>
                </a:lnTo>
                <a:lnTo>
                  <a:pt x="1333" y="2122"/>
                </a:lnTo>
                <a:lnTo>
                  <a:pt x="1333" y="2120"/>
                </a:lnTo>
                <a:lnTo>
                  <a:pt x="1331" y="2118"/>
                </a:lnTo>
                <a:lnTo>
                  <a:pt x="1331" y="2117"/>
                </a:lnTo>
                <a:lnTo>
                  <a:pt x="1331" y="2113"/>
                </a:lnTo>
                <a:lnTo>
                  <a:pt x="1330" y="2113"/>
                </a:lnTo>
                <a:lnTo>
                  <a:pt x="1331" y="2111"/>
                </a:lnTo>
                <a:lnTo>
                  <a:pt x="1330" y="2111"/>
                </a:lnTo>
                <a:lnTo>
                  <a:pt x="1331" y="2110"/>
                </a:lnTo>
                <a:lnTo>
                  <a:pt x="1331" y="2106"/>
                </a:lnTo>
                <a:lnTo>
                  <a:pt x="1333" y="2105"/>
                </a:lnTo>
                <a:lnTo>
                  <a:pt x="1333" y="2101"/>
                </a:lnTo>
                <a:lnTo>
                  <a:pt x="1333" y="2100"/>
                </a:lnTo>
                <a:lnTo>
                  <a:pt x="1335" y="2096"/>
                </a:lnTo>
                <a:lnTo>
                  <a:pt x="1335" y="2094"/>
                </a:lnTo>
                <a:lnTo>
                  <a:pt x="1336" y="2091"/>
                </a:lnTo>
                <a:lnTo>
                  <a:pt x="1336" y="2089"/>
                </a:lnTo>
                <a:lnTo>
                  <a:pt x="1338" y="2086"/>
                </a:lnTo>
                <a:lnTo>
                  <a:pt x="1342" y="2086"/>
                </a:lnTo>
                <a:lnTo>
                  <a:pt x="1342" y="2083"/>
                </a:lnTo>
                <a:lnTo>
                  <a:pt x="1342" y="2081"/>
                </a:lnTo>
                <a:lnTo>
                  <a:pt x="1343" y="2079"/>
                </a:lnTo>
                <a:lnTo>
                  <a:pt x="1343" y="2077"/>
                </a:lnTo>
                <a:lnTo>
                  <a:pt x="1345" y="2076"/>
                </a:lnTo>
                <a:lnTo>
                  <a:pt x="1345" y="2072"/>
                </a:lnTo>
                <a:lnTo>
                  <a:pt x="1345" y="2071"/>
                </a:lnTo>
                <a:lnTo>
                  <a:pt x="1347" y="2069"/>
                </a:lnTo>
                <a:lnTo>
                  <a:pt x="1347" y="2067"/>
                </a:lnTo>
                <a:lnTo>
                  <a:pt x="1347" y="2066"/>
                </a:lnTo>
                <a:lnTo>
                  <a:pt x="1347" y="2062"/>
                </a:lnTo>
                <a:lnTo>
                  <a:pt x="1348" y="2060"/>
                </a:lnTo>
                <a:lnTo>
                  <a:pt x="1348" y="2059"/>
                </a:lnTo>
                <a:lnTo>
                  <a:pt x="1348" y="2055"/>
                </a:lnTo>
                <a:lnTo>
                  <a:pt x="1350" y="2054"/>
                </a:lnTo>
                <a:lnTo>
                  <a:pt x="1350" y="2052"/>
                </a:lnTo>
                <a:lnTo>
                  <a:pt x="1352" y="2050"/>
                </a:lnTo>
                <a:close/>
                <a:moveTo>
                  <a:pt x="1148" y="1997"/>
                </a:moveTo>
                <a:lnTo>
                  <a:pt x="1149" y="1997"/>
                </a:lnTo>
                <a:lnTo>
                  <a:pt x="1149" y="1999"/>
                </a:lnTo>
                <a:lnTo>
                  <a:pt x="1151" y="1999"/>
                </a:lnTo>
                <a:lnTo>
                  <a:pt x="1153" y="2001"/>
                </a:lnTo>
                <a:lnTo>
                  <a:pt x="1153" y="2003"/>
                </a:lnTo>
                <a:lnTo>
                  <a:pt x="1153" y="2006"/>
                </a:lnTo>
                <a:lnTo>
                  <a:pt x="1153" y="2008"/>
                </a:lnTo>
                <a:lnTo>
                  <a:pt x="1153" y="2009"/>
                </a:lnTo>
                <a:lnTo>
                  <a:pt x="1151" y="2009"/>
                </a:lnTo>
                <a:lnTo>
                  <a:pt x="1149" y="2009"/>
                </a:lnTo>
                <a:lnTo>
                  <a:pt x="1148" y="2013"/>
                </a:lnTo>
                <a:lnTo>
                  <a:pt x="1148" y="2009"/>
                </a:lnTo>
                <a:lnTo>
                  <a:pt x="1146" y="2011"/>
                </a:lnTo>
                <a:lnTo>
                  <a:pt x="1146" y="2009"/>
                </a:lnTo>
                <a:lnTo>
                  <a:pt x="1146" y="2011"/>
                </a:lnTo>
                <a:lnTo>
                  <a:pt x="1146" y="2009"/>
                </a:lnTo>
                <a:lnTo>
                  <a:pt x="1144" y="2009"/>
                </a:lnTo>
                <a:lnTo>
                  <a:pt x="1143" y="2009"/>
                </a:lnTo>
                <a:lnTo>
                  <a:pt x="1143" y="2013"/>
                </a:lnTo>
                <a:lnTo>
                  <a:pt x="1141" y="2011"/>
                </a:lnTo>
                <a:lnTo>
                  <a:pt x="1139" y="2009"/>
                </a:lnTo>
                <a:lnTo>
                  <a:pt x="1141" y="2011"/>
                </a:lnTo>
                <a:lnTo>
                  <a:pt x="1139" y="2013"/>
                </a:lnTo>
                <a:lnTo>
                  <a:pt x="1139" y="2011"/>
                </a:lnTo>
                <a:lnTo>
                  <a:pt x="1138" y="2009"/>
                </a:lnTo>
                <a:lnTo>
                  <a:pt x="1136" y="2008"/>
                </a:lnTo>
                <a:lnTo>
                  <a:pt x="1138" y="2008"/>
                </a:lnTo>
                <a:lnTo>
                  <a:pt x="1138" y="2006"/>
                </a:lnTo>
                <a:lnTo>
                  <a:pt x="1139" y="2006"/>
                </a:lnTo>
                <a:lnTo>
                  <a:pt x="1139" y="2004"/>
                </a:lnTo>
                <a:lnTo>
                  <a:pt x="1141" y="2004"/>
                </a:lnTo>
                <a:lnTo>
                  <a:pt x="1143" y="2003"/>
                </a:lnTo>
                <a:lnTo>
                  <a:pt x="1144" y="2001"/>
                </a:lnTo>
                <a:lnTo>
                  <a:pt x="1146" y="2001"/>
                </a:lnTo>
                <a:lnTo>
                  <a:pt x="1146" y="1999"/>
                </a:lnTo>
                <a:lnTo>
                  <a:pt x="1148" y="1997"/>
                </a:lnTo>
                <a:close/>
                <a:moveTo>
                  <a:pt x="1386" y="1901"/>
                </a:moveTo>
                <a:lnTo>
                  <a:pt x="1387" y="1901"/>
                </a:lnTo>
                <a:lnTo>
                  <a:pt x="1389" y="1902"/>
                </a:lnTo>
                <a:lnTo>
                  <a:pt x="1389" y="1904"/>
                </a:lnTo>
                <a:lnTo>
                  <a:pt x="1389" y="1902"/>
                </a:lnTo>
                <a:lnTo>
                  <a:pt x="1389" y="1904"/>
                </a:lnTo>
                <a:lnTo>
                  <a:pt x="1393" y="1904"/>
                </a:lnTo>
                <a:lnTo>
                  <a:pt x="1391" y="1906"/>
                </a:lnTo>
                <a:lnTo>
                  <a:pt x="1393" y="1904"/>
                </a:lnTo>
                <a:lnTo>
                  <a:pt x="1394" y="1906"/>
                </a:lnTo>
                <a:lnTo>
                  <a:pt x="1393" y="1906"/>
                </a:lnTo>
                <a:lnTo>
                  <a:pt x="1389" y="1906"/>
                </a:lnTo>
                <a:lnTo>
                  <a:pt x="1391" y="1906"/>
                </a:lnTo>
                <a:lnTo>
                  <a:pt x="1393" y="1906"/>
                </a:lnTo>
                <a:lnTo>
                  <a:pt x="1394" y="1907"/>
                </a:lnTo>
                <a:lnTo>
                  <a:pt x="1394" y="1906"/>
                </a:lnTo>
                <a:lnTo>
                  <a:pt x="1394" y="1909"/>
                </a:lnTo>
                <a:lnTo>
                  <a:pt x="1394" y="1907"/>
                </a:lnTo>
                <a:lnTo>
                  <a:pt x="1394" y="1909"/>
                </a:lnTo>
                <a:lnTo>
                  <a:pt x="1391" y="1911"/>
                </a:lnTo>
                <a:lnTo>
                  <a:pt x="1394" y="1911"/>
                </a:lnTo>
                <a:lnTo>
                  <a:pt x="1396" y="1909"/>
                </a:lnTo>
                <a:lnTo>
                  <a:pt x="1396" y="1911"/>
                </a:lnTo>
                <a:lnTo>
                  <a:pt x="1398" y="1911"/>
                </a:lnTo>
                <a:lnTo>
                  <a:pt x="1394" y="1911"/>
                </a:lnTo>
                <a:lnTo>
                  <a:pt x="1396" y="1912"/>
                </a:lnTo>
                <a:lnTo>
                  <a:pt x="1394" y="1912"/>
                </a:lnTo>
                <a:lnTo>
                  <a:pt x="1391" y="1911"/>
                </a:lnTo>
                <a:lnTo>
                  <a:pt x="1393" y="1911"/>
                </a:lnTo>
                <a:lnTo>
                  <a:pt x="1391" y="1911"/>
                </a:lnTo>
                <a:lnTo>
                  <a:pt x="1389" y="1911"/>
                </a:lnTo>
                <a:lnTo>
                  <a:pt x="1387" y="1909"/>
                </a:lnTo>
                <a:lnTo>
                  <a:pt x="1386" y="1911"/>
                </a:lnTo>
                <a:lnTo>
                  <a:pt x="1389" y="1911"/>
                </a:lnTo>
                <a:lnTo>
                  <a:pt x="1393" y="1912"/>
                </a:lnTo>
                <a:lnTo>
                  <a:pt x="1394" y="1912"/>
                </a:lnTo>
                <a:lnTo>
                  <a:pt x="1391" y="1914"/>
                </a:lnTo>
                <a:lnTo>
                  <a:pt x="1393" y="1914"/>
                </a:lnTo>
                <a:lnTo>
                  <a:pt x="1391" y="1916"/>
                </a:lnTo>
                <a:lnTo>
                  <a:pt x="1387" y="1914"/>
                </a:lnTo>
                <a:lnTo>
                  <a:pt x="1386" y="1912"/>
                </a:lnTo>
                <a:lnTo>
                  <a:pt x="1384" y="1911"/>
                </a:lnTo>
                <a:lnTo>
                  <a:pt x="1386" y="1911"/>
                </a:lnTo>
                <a:lnTo>
                  <a:pt x="1384" y="1911"/>
                </a:lnTo>
                <a:lnTo>
                  <a:pt x="1384" y="1909"/>
                </a:lnTo>
                <a:lnTo>
                  <a:pt x="1382" y="1909"/>
                </a:lnTo>
                <a:lnTo>
                  <a:pt x="1381" y="1911"/>
                </a:lnTo>
                <a:lnTo>
                  <a:pt x="1379" y="1911"/>
                </a:lnTo>
                <a:lnTo>
                  <a:pt x="1379" y="1907"/>
                </a:lnTo>
                <a:lnTo>
                  <a:pt x="1382" y="1906"/>
                </a:lnTo>
                <a:lnTo>
                  <a:pt x="1382" y="1907"/>
                </a:lnTo>
                <a:lnTo>
                  <a:pt x="1384" y="1906"/>
                </a:lnTo>
                <a:lnTo>
                  <a:pt x="1382" y="1906"/>
                </a:lnTo>
                <a:lnTo>
                  <a:pt x="1384" y="1906"/>
                </a:lnTo>
                <a:lnTo>
                  <a:pt x="1386" y="1906"/>
                </a:lnTo>
                <a:lnTo>
                  <a:pt x="1387" y="1907"/>
                </a:lnTo>
                <a:lnTo>
                  <a:pt x="1387" y="1909"/>
                </a:lnTo>
                <a:lnTo>
                  <a:pt x="1389" y="1907"/>
                </a:lnTo>
                <a:lnTo>
                  <a:pt x="1387" y="1906"/>
                </a:lnTo>
                <a:lnTo>
                  <a:pt x="1387" y="1904"/>
                </a:lnTo>
                <a:lnTo>
                  <a:pt x="1386" y="1902"/>
                </a:lnTo>
                <a:lnTo>
                  <a:pt x="1386" y="1901"/>
                </a:lnTo>
                <a:close/>
                <a:moveTo>
                  <a:pt x="1148" y="2011"/>
                </a:moveTo>
                <a:lnTo>
                  <a:pt x="1148" y="2013"/>
                </a:lnTo>
                <a:lnTo>
                  <a:pt x="1149" y="2013"/>
                </a:lnTo>
                <a:lnTo>
                  <a:pt x="1151" y="2013"/>
                </a:lnTo>
                <a:lnTo>
                  <a:pt x="1149" y="2015"/>
                </a:lnTo>
                <a:lnTo>
                  <a:pt x="1149" y="2018"/>
                </a:lnTo>
                <a:lnTo>
                  <a:pt x="1148" y="2016"/>
                </a:lnTo>
                <a:lnTo>
                  <a:pt x="1148" y="2018"/>
                </a:lnTo>
                <a:lnTo>
                  <a:pt x="1146" y="2020"/>
                </a:lnTo>
                <a:lnTo>
                  <a:pt x="1148" y="2020"/>
                </a:lnTo>
                <a:lnTo>
                  <a:pt x="1146" y="2021"/>
                </a:lnTo>
                <a:lnTo>
                  <a:pt x="1144" y="2023"/>
                </a:lnTo>
                <a:lnTo>
                  <a:pt x="1143" y="2023"/>
                </a:lnTo>
                <a:lnTo>
                  <a:pt x="1143" y="2021"/>
                </a:lnTo>
                <a:lnTo>
                  <a:pt x="1141" y="2021"/>
                </a:lnTo>
                <a:lnTo>
                  <a:pt x="1143" y="2020"/>
                </a:lnTo>
                <a:lnTo>
                  <a:pt x="1141" y="2020"/>
                </a:lnTo>
                <a:lnTo>
                  <a:pt x="1143" y="2020"/>
                </a:lnTo>
                <a:lnTo>
                  <a:pt x="1141" y="2018"/>
                </a:lnTo>
                <a:lnTo>
                  <a:pt x="1144" y="2018"/>
                </a:lnTo>
                <a:lnTo>
                  <a:pt x="1143" y="2018"/>
                </a:lnTo>
                <a:lnTo>
                  <a:pt x="1144" y="2016"/>
                </a:lnTo>
                <a:lnTo>
                  <a:pt x="1141" y="2018"/>
                </a:lnTo>
                <a:lnTo>
                  <a:pt x="1141" y="2016"/>
                </a:lnTo>
                <a:lnTo>
                  <a:pt x="1141" y="2015"/>
                </a:lnTo>
                <a:lnTo>
                  <a:pt x="1143" y="2015"/>
                </a:lnTo>
                <a:lnTo>
                  <a:pt x="1144" y="2015"/>
                </a:lnTo>
                <a:lnTo>
                  <a:pt x="1146" y="2015"/>
                </a:lnTo>
                <a:lnTo>
                  <a:pt x="1148" y="2015"/>
                </a:lnTo>
                <a:lnTo>
                  <a:pt x="1146" y="2015"/>
                </a:lnTo>
                <a:lnTo>
                  <a:pt x="1146" y="2013"/>
                </a:lnTo>
                <a:lnTo>
                  <a:pt x="1148" y="2011"/>
                </a:lnTo>
                <a:close/>
                <a:moveTo>
                  <a:pt x="1428" y="1997"/>
                </a:moveTo>
                <a:lnTo>
                  <a:pt x="1427" y="1997"/>
                </a:lnTo>
                <a:lnTo>
                  <a:pt x="1428" y="1999"/>
                </a:lnTo>
                <a:lnTo>
                  <a:pt x="1430" y="1997"/>
                </a:lnTo>
                <a:lnTo>
                  <a:pt x="1432" y="1997"/>
                </a:lnTo>
                <a:lnTo>
                  <a:pt x="1432" y="1999"/>
                </a:lnTo>
                <a:lnTo>
                  <a:pt x="1430" y="2001"/>
                </a:lnTo>
                <a:lnTo>
                  <a:pt x="1428" y="2001"/>
                </a:lnTo>
                <a:lnTo>
                  <a:pt x="1427" y="2003"/>
                </a:lnTo>
                <a:lnTo>
                  <a:pt x="1425" y="2003"/>
                </a:lnTo>
                <a:lnTo>
                  <a:pt x="1427" y="2004"/>
                </a:lnTo>
                <a:lnTo>
                  <a:pt x="1425" y="2006"/>
                </a:lnTo>
                <a:lnTo>
                  <a:pt x="1425" y="2008"/>
                </a:lnTo>
                <a:lnTo>
                  <a:pt x="1423" y="2006"/>
                </a:lnTo>
                <a:lnTo>
                  <a:pt x="1421" y="2004"/>
                </a:lnTo>
                <a:lnTo>
                  <a:pt x="1421" y="2003"/>
                </a:lnTo>
                <a:lnTo>
                  <a:pt x="1423" y="2003"/>
                </a:lnTo>
                <a:lnTo>
                  <a:pt x="1423" y="2001"/>
                </a:lnTo>
                <a:lnTo>
                  <a:pt x="1421" y="2001"/>
                </a:lnTo>
                <a:lnTo>
                  <a:pt x="1423" y="1999"/>
                </a:lnTo>
                <a:lnTo>
                  <a:pt x="1425" y="1997"/>
                </a:lnTo>
                <a:lnTo>
                  <a:pt x="1427" y="1999"/>
                </a:lnTo>
                <a:lnTo>
                  <a:pt x="1428" y="1997"/>
                </a:lnTo>
                <a:close/>
                <a:moveTo>
                  <a:pt x="1376" y="1826"/>
                </a:moveTo>
                <a:lnTo>
                  <a:pt x="1377" y="1827"/>
                </a:lnTo>
                <a:lnTo>
                  <a:pt x="1377" y="1826"/>
                </a:lnTo>
                <a:lnTo>
                  <a:pt x="1379" y="1827"/>
                </a:lnTo>
                <a:lnTo>
                  <a:pt x="1377" y="1827"/>
                </a:lnTo>
                <a:lnTo>
                  <a:pt x="1379" y="1829"/>
                </a:lnTo>
                <a:lnTo>
                  <a:pt x="1379" y="1831"/>
                </a:lnTo>
                <a:lnTo>
                  <a:pt x="1379" y="1832"/>
                </a:lnTo>
                <a:lnTo>
                  <a:pt x="1381" y="1834"/>
                </a:lnTo>
                <a:lnTo>
                  <a:pt x="1379" y="1836"/>
                </a:lnTo>
                <a:lnTo>
                  <a:pt x="1381" y="1834"/>
                </a:lnTo>
                <a:lnTo>
                  <a:pt x="1381" y="1836"/>
                </a:lnTo>
                <a:lnTo>
                  <a:pt x="1382" y="1834"/>
                </a:lnTo>
                <a:lnTo>
                  <a:pt x="1382" y="1836"/>
                </a:lnTo>
                <a:lnTo>
                  <a:pt x="1384" y="1836"/>
                </a:lnTo>
                <a:lnTo>
                  <a:pt x="1382" y="1838"/>
                </a:lnTo>
                <a:lnTo>
                  <a:pt x="1384" y="1839"/>
                </a:lnTo>
                <a:lnTo>
                  <a:pt x="1382" y="1839"/>
                </a:lnTo>
                <a:lnTo>
                  <a:pt x="1379" y="1838"/>
                </a:lnTo>
                <a:lnTo>
                  <a:pt x="1381" y="1838"/>
                </a:lnTo>
                <a:lnTo>
                  <a:pt x="1377" y="1836"/>
                </a:lnTo>
                <a:lnTo>
                  <a:pt x="1377" y="1834"/>
                </a:lnTo>
                <a:lnTo>
                  <a:pt x="1377" y="1832"/>
                </a:lnTo>
                <a:lnTo>
                  <a:pt x="1376" y="1832"/>
                </a:lnTo>
                <a:lnTo>
                  <a:pt x="1376" y="1831"/>
                </a:lnTo>
                <a:lnTo>
                  <a:pt x="1376" y="1829"/>
                </a:lnTo>
                <a:lnTo>
                  <a:pt x="1376" y="1827"/>
                </a:lnTo>
                <a:lnTo>
                  <a:pt x="1374" y="1826"/>
                </a:lnTo>
                <a:lnTo>
                  <a:pt x="1376" y="1826"/>
                </a:lnTo>
                <a:close/>
                <a:moveTo>
                  <a:pt x="1326" y="1690"/>
                </a:moveTo>
                <a:lnTo>
                  <a:pt x="1328" y="1691"/>
                </a:lnTo>
                <a:lnTo>
                  <a:pt x="1330" y="1691"/>
                </a:lnTo>
                <a:lnTo>
                  <a:pt x="1331" y="1691"/>
                </a:lnTo>
                <a:lnTo>
                  <a:pt x="1330" y="1693"/>
                </a:lnTo>
                <a:lnTo>
                  <a:pt x="1331" y="1695"/>
                </a:lnTo>
                <a:lnTo>
                  <a:pt x="1331" y="1696"/>
                </a:lnTo>
                <a:lnTo>
                  <a:pt x="1331" y="1698"/>
                </a:lnTo>
                <a:lnTo>
                  <a:pt x="1330" y="1698"/>
                </a:lnTo>
                <a:lnTo>
                  <a:pt x="1330" y="1700"/>
                </a:lnTo>
                <a:lnTo>
                  <a:pt x="1328" y="1698"/>
                </a:lnTo>
                <a:lnTo>
                  <a:pt x="1328" y="1695"/>
                </a:lnTo>
                <a:lnTo>
                  <a:pt x="1328" y="1693"/>
                </a:lnTo>
                <a:lnTo>
                  <a:pt x="1326" y="1691"/>
                </a:lnTo>
                <a:lnTo>
                  <a:pt x="1326" y="1690"/>
                </a:lnTo>
                <a:close/>
                <a:moveTo>
                  <a:pt x="1393" y="1890"/>
                </a:moveTo>
                <a:lnTo>
                  <a:pt x="1394" y="1892"/>
                </a:lnTo>
                <a:lnTo>
                  <a:pt x="1396" y="1892"/>
                </a:lnTo>
                <a:lnTo>
                  <a:pt x="1398" y="1890"/>
                </a:lnTo>
                <a:lnTo>
                  <a:pt x="1399" y="1890"/>
                </a:lnTo>
                <a:lnTo>
                  <a:pt x="1398" y="1892"/>
                </a:lnTo>
                <a:lnTo>
                  <a:pt x="1396" y="1892"/>
                </a:lnTo>
                <a:lnTo>
                  <a:pt x="1393" y="1894"/>
                </a:lnTo>
                <a:lnTo>
                  <a:pt x="1394" y="1894"/>
                </a:lnTo>
                <a:lnTo>
                  <a:pt x="1393" y="1895"/>
                </a:lnTo>
                <a:lnTo>
                  <a:pt x="1391" y="1895"/>
                </a:lnTo>
                <a:lnTo>
                  <a:pt x="1393" y="1897"/>
                </a:lnTo>
                <a:lnTo>
                  <a:pt x="1391" y="1899"/>
                </a:lnTo>
                <a:lnTo>
                  <a:pt x="1391" y="1897"/>
                </a:lnTo>
                <a:lnTo>
                  <a:pt x="1391" y="1901"/>
                </a:lnTo>
                <a:lnTo>
                  <a:pt x="1389" y="1899"/>
                </a:lnTo>
                <a:lnTo>
                  <a:pt x="1387" y="1895"/>
                </a:lnTo>
                <a:lnTo>
                  <a:pt x="1389" y="1895"/>
                </a:lnTo>
                <a:lnTo>
                  <a:pt x="1391" y="1894"/>
                </a:lnTo>
                <a:lnTo>
                  <a:pt x="1391" y="1892"/>
                </a:lnTo>
                <a:lnTo>
                  <a:pt x="1393" y="1890"/>
                </a:lnTo>
                <a:close/>
                <a:moveTo>
                  <a:pt x="1347" y="1667"/>
                </a:moveTo>
                <a:lnTo>
                  <a:pt x="1348" y="1669"/>
                </a:lnTo>
                <a:lnTo>
                  <a:pt x="1350" y="1669"/>
                </a:lnTo>
                <a:lnTo>
                  <a:pt x="1350" y="1671"/>
                </a:lnTo>
                <a:lnTo>
                  <a:pt x="1348" y="1671"/>
                </a:lnTo>
                <a:lnTo>
                  <a:pt x="1350" y="1671"/>
                </a:lnTo>
                <a:lnTo>
                  <a:pt x="1350" y="1673"/>
                </a:lnTo>
                <a:lnTo>
                  <a:pt x="1348" y="1671"/>
                </a:lnTo>
                <a:lnTo>
                  <a:pt x="1348" y="1673"/>
                </a:lnTo>
                <a:lnTo>
                  <a:pt x="1348" y="1674"/>
                </a:lnTo>
                <a:lnTo>
                  <a:pt x="1347" y="1674"/>
                </a:lnTo>
                <a:lnTo>
                  <a:pt x="1345" y="1674"/>
                </a:lnTo>
                <a:lnTo>
                  <a:pt x="1345" y="1671"/>
                </a:lnTo>
                <a:lnTo>
                  <a:pt x="1345" y="1669"/>
                </a:lnTo>
                <a:lnTo>
                  <a:pt x="1347" y="1667"/>
                </a:lnTo>
                <a:close/>
                <a:moveTo>
                  <a:pt x="1362" y="1928"/>
                </a:moveTo>
                <a:lnTo>
                  <a:pt x="1362" y="1931"/>
                </a:lnTo>
                <a:lnTo>
                  <a:pt x="1362" y="1929"/>
                </a:lnTo>
                <a:lnTo>
                  <a:pt x="1364" y="1933"/>
                </a:lnTo>
                <a:lnTo>
                  <a:pt x="1364" y="1935"/>
                </a:lnTo>
                <a:lnTo>
                  <a:pt x="1364" y="1936"/>
                </a:lnTo>
                <a:lnTo>
                  <a:pt x="1364" y="1940"/>
                </a:lnTo>
                <a:lnTo>
                  <a:pt x="1362" y="1940"/>
                </a:lnTo>
                <a:lnTo>
                  <a:pt x="1364" y="1941"/>
                </a:lnTo>
                <a:lnTo>
                  <a:pt x="1362" y="1938"/>
                </a:lnTo>
                <a:lnTo>
                  <a:pt x="1362" y="1940"/>
                </a:lnTo>
                <a:lnTo>
                  <a:pt x="1362" y="1936"/>
                </a:lnTo>
                <a:lnTo>
                  <a:pt x="1360" y="1936"/>
                </a:lnTo>
                <a:lnTo>
                  <a:pt x="1362" y="1933"/>
                </a:lnTo>
                <a:lnTo>
                  <a:pt x="1360" y="1931"/>
                </a:lnTo>
                <a:lnTo>
                  <a:pt x="1360" y="1933"/>
                </a:lnTo>
                <a:lnTo>
                  <a:pt x="1360" y="1929"/>
                </a:lnTo>
                <a:lnTo>
                  <a:pt x="1362" y="1928"/>
                </a:lnTo>
                <a:close/>
                <a:moveTo>
                  <a:pt x="1427" y="1582"/>
                </a:moveTo>
                <a:lnTo>
                  <a:pt x="1428" y="1584"/>
                </a:lnTo>
                <a:lnTo>
                  <a:pt x="1428" y="1582"/>
                </a:lnTo>
                <a:lnTo>
                  <a:pt x="1428" y="1584"/>
                </a:lnTo>
                <a:lnTo>
                  <a:pt x="1428" y="1586"/>
                </a:lnTo>
                <a:lnTo>
                  <a:pt x="1428" y="1588"/>
                </a:lnTo>
                <a:lnTo>
                  <a:pt x="1428" y="1591"/>
                </a:lnTo>
                <a:lnTo>
                  <a:pt x="1427" y="1591"/>
                </a:lnTo>
                <a:lnTo>
                  <a:pt x="1427" y="1589"/>
                </a:lnTo>
                <a:lnTo>
                  <a:pt x="1427" y="1591"/>
                </a:lnTo>
                <a:lnTo>
                  <a:pt x="1427" y="1588"/>
                </a:lnTo>
                <a:lnTo>
                  <a:pt x="1427" y="1586"/>
                </a:lnTo>
                <a:lnTo>
                  <a:pt x="1428" y="1586"/>
                </a:lnTo>
                <a:lnTo>
                  <a:pt x="1427" y="1586"/>
                </a:lnTo>
                <a:lnTo>
                  <a:pt x="1427" y="1588"/>
                </a:lnTo>
                <a:lnTo>
                  <a:pt x="1427" y="1586"/>
                </a:lnTo>
                <a:lnTo>
                  <a:pt x="1425" y="1586"/>
                </a:lnTo>
                <a:lnTo>
                  <a:pt x="1425" y="1584"/>
                </a:lnTo>
                <a:lnTo>
                  <a:pt x="1425" y="1582"/>
                </a:lnTo>
                <a:lnTo>
                  <a:pt x="1427" y="1582"/>
                </a:lnTo>
                <a:close/>
                <a:moveTo>
                  <a:pt x="1391" y="1923"/>
                </a:moveTo>
                <a:lnTo>
                  <a:pt x="1389" y="1923"/>
                </a:lnTo>
                <a:lnTo>
                  <a:pt x="1391" y="1924"/>
                </a:lnTo>
                <a:lnTo>
                  <a:pt x="1389" y="1926"/>
                </a:lnTo>
                <a:lnTo>
                  <a:pt x="1389" y="1928"/>
                </a:lnTo>
                <a:lnTo>
                  <a:pt x="1389" y="1926"/>
                </a:lnTo>
                <a:lnTo>
                  <a:pt x="1389" y="1929"/>
                </a:lnTo>
                <a:lnTo>
                  <a:pt x="1387" y="1931"/>
                </a:lnTo>
                <a:lnTo>
                  <a:pt x="1386" y="1929"/>
                </a:lnTo>
                <a:lnTo>
                  <a:pt x="1387" y="1928"/>
                </a:lnTo>
                <a:lnTo>
                  <a:pt x="1386" y="1928"/>
                </a:lnTo>
                <a:lnTo>
                  <a:pt x="1387" y="1926"/>
                </a:lnTo>
                <a:lnTo>
                  <a:pt x="1386" y="1926"/>
                </a:lnTo>
                <a:lnTo>
                  <a:pt x="1387" y="1926"/>
                </a:lnTo>
                <a:lnTo>
                  <a:pt x="1389" y="1923"/>
                </a:lnTo>
                <a:lnTo>
                  <a:pt x="1391" y="1923"/>
                </a:lnTo>
                <a:close/>
                <a:moveTo>
                  <a:pt x="1401" y="1868"/>
                </a:moveTo>
                <a:lnTo>
                  <a:pt x="1403" y="1870"/>
                </a:lnTo>
                <a:lnTo>
                  <a:pt x="1401" y="1872"/>
                </a:lnTo>
                <a:lnTo>
                  <a:pt x="1403" y="1873"/>
                </a:lnTo>
                <a:lnTo>
                  <a:pt x="1401" y="1873"/>
                </a:lnTo>
                <a:lnTo>
                  <a:pt x="1399" y="1875"/>
                </a:lnTo>
                <a:lnTo>
                  <a:pt x="1398" y="1873"/>
                </a:lnTo>
                <a:lnTo>
                  <a:pt x="1399" y="1872"/>
                </a:lnTo>
                <a:lnTo>
                  <a:pt x="1401" y="1870"/>
                </a:lnTo>
                <a:lnTo>
                  <a:pt x="1401" y="1868"/>
                </a:lnTo>
                <a:close/>
                <a:moveTo>
                  <a:pt x="1421" y="1969"/>
                </a:moveTo>
                <a:lnTo>
                  <a:pt x="1425" y="1970"/>
                </a:lnTo>
                <a:lnTo>
                  <a:pt x="1427" y="1970"/>
                </a:lnTo>
                <a:lnTo>
                  <a:pt x="1427" y="1974"/>
                </a:lnTo>
                <a:lnTo>
                  <a:pt x="1423" y="1974"/>
                </a:lnTo>
                <a:lnTo>
                  <a:pt x="1423" y="1972"/>
                </a:lnTo>
                <a:lnTo>
                  <a:pt x="1421" y="1970"/>
                </a:lnTo>
                <a:lnTo>
                  <a:pt x="1421" y="1969"/>
                </a:lnTo>
                <a:close/>
                <a:moveTo>
                  <a:pt x="1447" y="1453"/>
                </a:moveTo>
                <a:lnTo>
                  <a:pt x="1450" y="1453"/>
                </a:lnTo>
                <a:lnTo>
                  <a:pt x="1452" y="1457"/>
                </a:lnTo>
                <a:lnTo>
                  <a:pt x="1450" y="1457"/>
                </a:lnTo>
                <a:lnTo>
                  <a:pt x="1449" y="1455"/>
                </a:lnTo>
                <a:lnTo>
                  <a:pt x="1449" y="1457"/>
                </a:lnTo>
                <a:lnTo>
                  <a:pt x="1450" y="1457"/>
                </a:lnTo>
                <a:lnTo>
                  <a:pt x="1449" y="1458"/>
                </a:lnTo>
                <a:lnTo>
                  <a:pt x="1449" y="1457"/>
                </a:lnTo>
                <a:lnTo>
                  <a:pt x="1447" y="1457"/>
                </a:lnTo>
                <a:lnTo>
                  <a:pt x="1445" y="1453"/>
                </a:lnTo>
                <a:lnTo>
                  <a:pt x="1447" y="1453"/>
                </a:lnTo>
                <a:close/>
                <a:moveTo>
                  <a:pt x="1379" y="1929"/>
                </a:moveTo>
                <a:lnTo>
                  <a:pt x="1381" y="1929"/>
                </a:lnTo>
                <a:lnTo>
                  <a:pt x="1382" y="1929"/>
                </a:lnTo>
                <a:lnTo>
                  <a:pt x="1379" y="1931"/>
                </a:lnTo>
                <a:lnTo>
                  <a:pt x="1381" y="1931"/>
                </a:lnTo>
                <a:lnTo>
                  <a:pt x="1381" y="1933"/>
                </a:lnTo>
                <a:lnTo>
                  <a:pt x="1381" y="1931"/>
                </a:lnTo>
                <a:lnTo>
                  <a:pt x="1379" y="1933"/>
                </a:lnTo>
                <a:lnTo>
                  <a:pt x="1379" y="1931"/>
                </a:lnTo>
                <a:lnTo>
                  <a:pt x="1379" y="1935"/>
                </a:lnTo>
                <a:lnTo>
                  <a:pt x="1377" y="1933"/>
                </a:lnTo>
                <a:lnTo>
                  <a:pt x="1376" y="1935"/>
                </a:lnTo>
                <a:lnTo>
                  <a:pt x="1376" y="1933"/>
                </a:lnTo>
                <a:lnTo>
                  <a:pt x="1377" y="1933"/>
                </a:lnTo>
                <a:lnTo>
                  <a:pt x="1377" y="1931"/>
                </a:lnTo>
                <a:lnTo>
                  <a:pt x="1379" y="1931"/>
                </a:lnTo>
                <a:lnTo>
                  <a:pt x="1379" y="1929"/>
                </a:lnTo>
                <a:close/>
                <a:moveTo>
                  <a:pt x="1464" y="1434"/>
                </a:moveTo>
                <a:lnTo>
                  <a:pt x="1466" y="1436"/>
                </a:lnTo>
                <a:lnTo>
                  <a:pt x="1467" y="1438"/>
                </a:lnTo>
                <a:lnTo>
                  <a:pt x="1466" y="1438"/>
                </a:lnTo>
                <a:lnTo>
                  <a:pt x="1467" y="1441"/>
                </a:lnTo>
                <a:lnTo>
                  <a:pt x="1466" y="1440"/>
                </a:lnTo>
                <a:lnTo>
                  <a:pt x="1464" y="1438"/>
                </a:lnTo>
                <a:lnTo>
                  <a:pt x="1462" y="1436"/>
                </a:lnTo>
                <a:lnTo>
                  <a:pt x="1464" y="1436"/>
                </a:lnTo>
                <a:lnTo>
                  <a:pt x="1464" y="1434"/>
                </a:lnTo>
                <a:close/>
                <a:moveTo>
                  <a:pt x="1376" y="1904"/>
                </a:moveTo>
                <a:lnTo>
                  <a:pt x="1377" y="1906"/>
                </a:lnTo>
                <a:lnTo>
                  <a:pt x="1379" y="1906"/>
                </a:lnTo>
                <a:lnTo>
                  <a:pt x="1381" y="1906"/>
                </a:lnTo>
                <a:lnTo>
                  <a:pt x="1377" y="1906"/>
                </a:lnTo>
                <a:lnTo>
                  <a:pt x="1379" y="1907"/>
                </a:lnTo>
                <a:lnTo>
                  <a:pt x="1377" y="1907"/>
                </a:lnTo>
                <a:lnTo>
                  <a:pt x="1376" y="1907"/>
                </a:lnTo>
                <a:lnTo>
                  <a:pt x="1374" y="1906"/>
                </a:lnTo>
                <a:lnTo>
                  <a:pt x="1376" y="1904"/>
                </a:lnTo>
                <a:close/>
                <a:moveTo>
                  <a:pt x="1335" y="1977"/>
                </a:moveTo>
                <a:lnTo>
                  <a:pt x="1335" y="1979"/>
                </a:lnTo>
                <a:lnTo>
                  <a:pt x="1336" y="1979"/>
                </a:lnTo>
                <a:lnTo>
                  <a:pt x="1336" y="1980"/>
                </a:lnTo>
                <a:lnTo>
                  <a:pt x="1335" y="1980"/>
                </a:lnTo>
                <a:lnTo>
                  <a:pt x="1336" y="1980"/>
                </a:lnTo>
                <a:lnTo>
                  <a:pt x="1335" y="1982"/>
                </a:lnTo>
                <a:lnTo>
                  <a:pt x="1336" y="1984"/>
                </a:lnTo>
                <a:lnTo>
                  <a:pt x="1338" y="1984"/>
                </a:lnTo>
                <a:lnTo>
                  <a:pt x="1338" y="1982"/>
                </a:lnTo>
                <a:lnTo>
                  <a:pt x="1340" y="1982"/>
                </a:lnTo>
                <a:lnTo>
                  <a:pt x="1340" y="1984"/>
                </a:lnTo>
                <a:lnTo>
                  <a:pt x="1338" y="1984"/>
                </a:lnTo>
                <a:lnTo>
                  <a:pt x="1335" y="1984"/>
                </a:lnTo>
                <a:lnTo>
                  <a:pt x="1335" y="1980"/>
                </a:lnTo>
                <a:lnTo>
                  <a:pt x="1333" y="1980"/>
                </a:lnTo>
                <a:lnTo>
                  <a:pt x="1335" y="1979"/>
                </a:lnTo>
                <a:lnTo>
                  <a:pt x="1333" y="1979"/>
                </a:lnTo>
                <a:lnTo>
                  <a:pt x="1335" y="1977"/>
                </a:lnTo>
                <a:close/>
                <a:moveTo>
                  <a:pt x="1387" y="1933"/>
                </a:moveTo>
                <a:lnTo>
                  <a:pt x="1386" y="1935"/>
                </a:lnTo>
                <a:lnTo>
                  <a:pt x="1384" y="1935"/>
                </a:lnTo>
                <a:lnTo>
                  <a:pt x="1384" y="1936"/>
                </a:lnTo>
                <a:lnTo>
                  <a:pt x="1386" y="1935"/>
                </a:lnTo>
                <a:lnTo>
                  <a:pt x="1386" y="1936"/>
                </a:lnTo>
                <a:lnTo>
                  <a:pt x="1384" y="1936"/>
                </a:lnTo>
                <a:lnTo>
                  <a:pt x="1386" y="1936"/>
                </a:lnTo>
                <a:lnTo>
                  <a:pt x="1382" y="1938"/>
                </a:lnTo>
                <a:lnTo>
                  <a:pt x="1382" y="1936"/>
                </a:lnTo>
                <a:lnTo>
                  <a:pt x="1382" y="1938"/>
                </a:lnTo>
                <a:lnTo>
                  <a:pt x="1381" y="1938"/>
                </a:lnTo>
                <a:lnTo>
                  <a:pt x="1382" y="1936"/>
                </a:lnTo>
                <a:lnTo>
                  <a:pt x="1384" y="1935"/>
                </a:lnTo>
                <a:lnTo>
                  <a:pt x="1387" y="1933"/>
                </a:lnTo>
                <a:close/>
                <a:moveTo>
                  <a:pt x="1389" y="1844"/>
                </a:moveTo>
                <a:lnTo>
                  <a:pt x="1393" y="1846"/>
                </a:lnTo>
                <a:lnTo>
                  <a:pt x="1391" y="1848"/>
                </a:lnTo>
                <a:lnTo>
                  <a:pt x="1393" y="1848"/>
                </a:lnTo>
                <a:lnTo>
                  <a:pt x="1393" y="1851"/>
                </a:lnTo>
                <a:lnTo>
                  <a:pt x="1391" y="1851"/>
                </a:lnTo>
                <a:lnTo>
                  <a:pt x="1393" y="1850"/>
                </a:lnTo>
                <a:lnTo>
                  <a:pt x="1389" y="1848"/>
                </a:lnTo>
                <a:lnTo>
                  <a:pt x="1389" y="1846"/>
                </a:lnTo>
                <a:lnTo>
                  <a:pt x="1391" y="1844"/>
                </a:lnTo>
                <a:lnTo>
                  <a:pt x="1389" y="1844"/>
                </a:lnTo>
                <a:close/>
                <a:moveTo>
                  <a:pt x="1394" y="1904"/>
                </a:moveTo>
                <a:lnTo>
                  <a:pt x="1396" y="1904"/>
                </a:lnTo>
                <a:lnTo>
                  <a:pt x="1398" y="1906"/>
                </a:lnTo>
                <a:lnTo>
                  <a:pt x="1398" y="1907"/>
                </a:lnTo>
                <a:lnTo>
                  <a:pt x="1396" y="1909"/>
                </a:lnTo>
                <a:lnTo>
                  <a:pt x="1396" y="1906"/>
                </a:lnTo>
                <a:lnTo>
                  <a:pt x="1394" y="1906"/>
                </a:lnTo>
                <a:lnTo>
                  <a:pt x="1394" y="1904"/>
                </a:lnTo>
                <a:lnTo>
                  <a:pt x="1393" y="1904"/>
                </a:lnTo>
                <a:lnTo>
                  <a:pt x="1394" y="1904"/>
                </a:lnTo>
                <a:close/>
                <a:moveTo>
                  <a:pt x="1403" y="1882"/>
                </a:moveTo>
                <a:lnTo>
                  <a:pt x="1404" y="1885"/>
                </a:lnTo>
                <a:lnTo>
                  <a:pt x="1401" y="1885"/>
                </a:lnTo>
                <a:lnTo>
                  <a:pt x="1401" y="1887"/>
                </a:lnTo>
                <a:lnTo>
                  <a:pt x="1401" y="1889"/>
                </a:lnTo>
                <a:lnTo>
                  <a:pt x="1399" y="1889"/>
                </a:lnTo>
                <a:lnTo>
                  <a:pt x="1399" y="1887"/>
                </a:lnTo>
                <a:lnTo>
                  <a:pt x="1401" y="1887"/>
                </a:lnTo>
                <a:lnTo>
                  <a:pt x="1399" y="1885"/>
                </a:lnTo>
                <a:lnTo>
                  <a:pt x="1401" y="1884"/>
                </a:lnTo>
                <a:lnTo>
                  <a:pt x="1403" y="1882"/>
                </a:lnTo>
                <a:close/>
                <a:moveTo>
                  <a:pt x="1459" y="1434"/>
                </a:moveTo>
                <a:lnTo>
                  <a:pt x="1461" y="1436"/>
                </a:lnTo>
                <a:lnTo>
                  <a:pt x="1462" y="1438"/>
                </a:lnTo>
                <a:lnTo>
                  <a:pt x="1461" y="1440"/>
                </a:lnTo>
                <a:lnTo>
                  <a:pt x="1459" y="1438"/>
                </a:lnTo>
                <a:lnTo>
                  <a:pt x="1459" y="1434"/>
                </a:lnTo>
                <a:close/>
                <a:moveTo>
                  <a:pt x="1197" y="2197"/>
                </a:moveTo>
                <a:lnTo>
                  <a:pt x="1199" y="2197"/>
                </a:lnTo>
                <a:lnTo>
                  <a:pt x="1199" y="2198"/>
                </a:lnTo>
                <a:lnTo>
                  <a:pt x="1200" y="2198"/>
                </a:lnTo>
                <a:lnTo>
                  <a:pt x="1202" y="2200"/>
                </a:lnTo>
                <a:lnTo>
                  <a:pt x="1200" y="2200"/>
                </a:lnTo>
                <a:lnTo>
                  <a:pt x="1199" y="2198"/>
                </a:lnTo>
                <a:lnTo>
                  <a:pt x="1197" y="2200"/>
                </a:lnTo>
                <a:lnTo>
                  <a:pt x="1197" y="2202"/>
                </a:lnTo>
                <a:lnTo>
                  <a:pt x="1195" y="2200"/>
                </a:lnTo>
                <a:lnTo>
                  <a:pt x="1197" y="2198"/>
                </a:lnTo>
                <a:lnTo>
                  <a:pt x="1197" y="2197"/>
                </a:lnTo>
                <a:close/>
                <a:moveTo>
                  <a:pt x="1445" y="1458"/>
                </a:moveTo>
                <a:lnTo>
                  <a:pt x="1447" y="1458"/>
                </a:lnTo>
                <a:lnTo>
                  <a:pt x="1447" y="1460"/>
                </a:lnTo>
                <a:lnTo>
                  <a:pt x="1449" y="1462"/>
                </a:lnTo>
                <a:lnTo>
                  <a:pt x="1445" y="1462"/>
                </a:lnTo>
                <a:lnTo>
                  <a:pt x="1445" y="1460"/>
                </a:lnTo>
                <a:lnTo>
                  <a:pt x="1445" y="1458"/>
                </a:lnTo>
                <a:close/>
                <a:moveTo>
                  <a:pt x="1139" y="1999"/>
                </a:moveTo>
                <a:lnTo>
                  <a:pt x="1141" y="2001"/>
                </a:lnTo>
                <a:lnTo>
                  <a:pt x="1139" y="2003"/>
                </a:lnTo>
                <a:lnTo>
                  <a:pt x="1139" y="2004"/>
                </a:lnTo>
                <a:lnTo>
                  <a:pt x="1138" y="2004"/>
                </a:lnTo>
                <a:lnTo>
                  <a:pt x="1138" y="2003"/>
                </a:lnTo>
                <a:lnTo>
                  <a:pt x="1138" y="2001"/>
                </a:lnTo>
                <a:lnTo>
                  <a:pt x="1139" y="2001"/>
                </a:lnTo>
                <a:lnTo>
                  <a:pt x="1139" y="1999"/>
                </a:lnTo>
                <a:close/>
                <a:moveTo>
                  <a:pt x="1433" y="1465"/>
                </a:moveTo>
                <a:lnTo>
                  <a:pt x="1435" y="1467"/>
                </a:lnTo>
                <a:lnTo>
                  <a:pt x="1437" y="1468"/>
                </a:lnTo>
                <a:lnTo>
                  <a:pt x="1435" y="1468"/>
                </a:lnTo>
                <a:lnTo>
                  <a:pt x="1433" y="1467"/>
                </a:lnTo>
                <a:lnTo>
                  <a:pt x="1432" y="1467"/>
                </a:lnTo>
                <a:lnTo>
                  <a:pt x="1433" y="1467"/>
                </a:lnTo>
                <a:lnTo>
                  <a:pt x="1433" y="1465"/>
                </a:lnTo>
                <a:close/>
                <a:moveTo>
                  <a:pt x="1472" y="1433"/>
                </a:moveTo>
                <a:lnTo>
                  <a:pt x="1474" y="1433"/>
                </a:lnTo>
                <a:lnTo>
                  <a:pt x="1476" y="1434"/>
                </a:lnTo>
                <a:lnTo>
                  <a:pt x="1474" y="1433"/>
                </a:lnTo>
                <a:lnTo>
                  <a:pt x="1474" y="1436"/>
                </a:lnTo>
                <a:lnTo>
                  <a:pt x="1472" y="1433"/>
                </a:lnTo>
                <a:close/>
                <a:moveTo>
                  <a:pt x="1459" y="1448"/>
                </a:moveTo>
                <a:lnTo>
                  <a:pt x="1457" y="1448"/>
                </a:lnTo>
                <a:lnTo>
                  <a:pt x="1457" y="1450"/>
                </a:lnTo>
                <a:lnTo>
                  <a:pt x="1455" y="1450"/>
                </a:lnTo>
                <a:lnTo>
                  <a:pt x="1455" y="1448"/>
                </a:lnTo>
                <a:lnTo>
                  <a:pt x="1457" y="1448"/>
                </a:lnTo>
                <a:lnTo>
                  <a:pt x="1457" y="1446"/>
                </a:lnTo>
                <a:lnTo>
                  <a:pt x="1459" y="1448"/>
                </a:lnTo>
                <a:close/>
                <a:moveTo>
                  <a:pt x="1364" y="1644"/>
                </a:moveTo>
                <a:lnTo>
                  <a:pt x="1364" y="1647"/>
                </a:lnTo>
                <a:lnTo>
                  <a:pt x="1362" y="1649"/>
                </a:lnTo>
                <a:lnTo>
                  <a:pt x="1362" y="1647"/>
                </a:lnTo>
                <a:lnTo>
                  <a:pt x="1362" y="1645"/>
                </a:lnTo>
                <a:lnTo>
                  <a:pt x="1364" y="1644"/>
                </a:lnTo>
                <a:close/>
                <a:moveTo>
                  <a:pt x="1401" y="1882"/>
                </a:moveTo>
                <a:lnTo>
                  <a:pt x="1401" y="1884"/>
                </a:lnTo>
                <a:lnTo>
                  <a:pt x="1399" y="1885"/>
                </a:lnTo>
                <a:lnTo>
                  <a:pt x="1399" y="1887"/>
                </a:lnTo>
                <a:lnTo>
                  <a:pt x="1398" y="1887"/>
                </a:lnTo>
                <a:lnTo>
                  <a:pt x="1398" y="1889"/>
                </a:lnTo>
                <a:lnTo>
                  <a:pt x="1396" y="1890"/>
                </a:lnTo>
                <a:lnTo>
                  <a:pt x="1398" y="1889"/>
                </a:lnTo>
                <a:lnTo>
                  <a:pt x="1398" y="1887"/>
                </a:lnTo>
                <a:lnTo>
                  <a:pt x="1399" y="1885"/>
                </a:lnTo>
                <a:lnTo>
                  <a:pt x="1401" y="1884"/>
                </a:lnTo>
                <a:lnTo>
                  <a:pt x="1401" y="1882"/>
                </a:lnTo>
                <a:close/>
                <a:moveTo>
                  <a:pt x="1452" y="1458"/>
                </a:moveTo>
                <a:lnTo>
                  <a:pt x="1454" y="1458"/>
                </a:lnTo>
                <a:lnTo>
                  <a:pt x="1452" y="1460"/>
                </a:lnTo>
                <a:lnTo>
                  <a:pt x="1450" y="1460"/>
                </a:lnTo>
                <a:lnTo>
                  <a:pt x="1450" y="1462"/>
                </a:lnTo>
                <a:lnTo>
                  <a:pt x="1450" y="1458"/>
                </a:lnTo>
                <a:lnTo>
                  <a:pt x="1452" y="1460"/>
                </a:lnTo>
                <a:lnTo>
                  <a:pt x="1452" y="1458"/>
                </a:lnTo>
                <a:close/>
                <a:moveTo>
                  <a:pt x="1306" y="2142"/>
                </a:moveTo>
                <a:lnTo>
                  <a:pt x="1308" y="2142"/>
                </a:lnTo>
                <a:lnTo>
                  <a:pt x="1308" y="2144"/>
                </a:lnTo>
                <a:lnTo>
                  <a:pt x="1306" y="2144"/>
                </a:lnTo>
                <a:lnTo>
                  <a:pt x="1308" y="2144"/>
                </a:lnTo>
                <a:lnTo>
                  <a:pt x="1308" y="2145"/>
                </a:lnTo>
                <a:lnTo>
                  <a:pt x="1304" y="2144"/>
                </a:lnTo>
                <a:lnTo>
                  <a:pt x="1306" y="2142"/>
                </a:lnTo>
                <a:close/>
                <a:moveTo>
                  <a:pt x="1399" y="1909"/>
                </a:moveTo>
                <a:lnTo>
                  <a:pt x="1401" y="1909"/>
                </a:lnTo>
                <a:lnTo>
                  <a:pt x="1399" y="1911"/>
                </a:lnTo>
                <a:lnTo>
                  <a:pt x="1398" y="1911"/>
                </a:lnTo>
                <a:lnTo>
                  <a:pt x="1398" y="1912"/>
                </a:lnTo>
                <a:lnTo>
                  <a:pt x="1398" y="1909"/>
                </a:lnTo>
                <a:lnTo>
                  <a:pt x="1399" y="1909"/>
                </a:lnTo>
                <a:close/>
                <a:moveTo>
                  <a:pt x="1437" y="1474"/>
                </a:moveTo>
                <a:lnTo>
                  <a:pt x="1440" y="1475"/>
                </a:lnTo>
                <a:lnTo>
                  <a:pt x="1440" y="1477"/>
                </a:lnTo>
                <a:lnTo>
                  <a:pt x="1438" y="1475"/>
                </a:lnTo>
                <a:lnTo>
                  <a:pt x="1438" y="1477"/>
                </a:lnTo>
                <a:lnTo>
                  <a:pt x="1437" y="1475"/>
                </a:lnTo>
                <a:lnTo>
                  <a:pt x="1437" y="1474"/>
                </a:lnTo>
                <a:close/>
                <a:moveTo>
                  <a:pt x="1455" y="1453"/>
                </a:moveTo>
                <a:lnTo>
                  <a:pt x="1459" y="1457"/>
                </a:lnTo>
                <a:lnTo>
                  <a:pt x="1455" y="1457"/>
                </a:lnTo>
                <a:lnTo>
                  <a:pt x="1455" y="1455"/>
                </a:lnTo>
                <a:lnTo>
                  <a:pt x="1455" y="1453"/>
                </a:lnTo>
                <a:close/>
                <a:moveTo>
                  <a:pt x="1403" y="1897"/>
                </a:moveTo>
                <a:lnTo>
                  <a:pt x="1403" y="1899"/>
                </a:lnTo>
                <a:lnTo>
                  <a:pt x="1401" y="1901"/>
                </a:lnTo>
                <a:lnTo>
                  <a:pt x="1401" y="1899"/>
                </a:lnTo>
                <a:lnTo>
                  <a:pt x="1403" y="1897"/>
                </a:lnTo>
                <a:close/>
                <a:moveTo>
                  <a:pt x="1338" y="1707"/>
                </a:moveTo>
                <a:lnTo>
                  <a:pt x="1340" y="1708"/>
                </a:lnTo>
                <a:lnTo>
                  <a:pt x="1338" y="1710"/>
                </a:lnTo>
                <a:lnTo>
                  <a:pt x="1338" y="1707"/>
                </a:lnTo>
                <a:close/>
                <a:moveTo>
                  <a:pt x="1437" y="1477"/>
                </a:moveTo>
                <a:lnTo>
                  <a:pt x="1440" y="1479"/>
                </a:lnTo>
                <a:lnTo>
                  <a:pt x="1440" y="1480"/>
                </a:lnTo>
                <a:lnTo>
                  <a:pt x="1438" y="1479"/>
                </a:lnTo>
                <a:lnTo>
                  <a:pt x="1437" y="1479"/>
                </a:lnTo>
                <a:lnTo>
                  <a:pt x="1437" y="1477"/>
                </a:lnTo>
                <a:close/>
                <a:moveTo>
                  <a:pt x="1144" y="2025"/>
                </a:moveTo>
                <a:lnTo>
                  <a:pt x="1146" y="2026"/>
                </a:lnTo>
                <a:lnTo>
                  <a:pt x="1144" y="2028"/>
                </a:lnTo>
                <a:lnTo>
                  <a:pt x="1143" y="2026"/>
                </a:lnTo>
                <a:lnTo>
                  <a:pt x="1146" y="2026"/>
                </a:lnTo>
                <a:lnTo>
                  <a:pt x="1144" y="2026"/>
                </a:lnTo>
                <a:lnTo>
                  <a:pt x="1143" y="2026"/>
                </a:lnTo>
                <a:lnTo>
                  <a:pt x="1144" y="2025"/>
                </a:lnTo>
                <a:close/>
                <a:moveTo>
                  <a:pt x="1359" y="1645"/>
                </a:moveTo>
                <a:lnTo>
                  <a:pt x="1360" y="1645"/>
                </a:lnTo>
                <a:lnTo>
                  <a:pt x="1359" y="1645"/>
                </a:lnTo>
                <a:lnTo>
                  <a:pt x="1359" y="1649"/>
                </a:lnTo>
                <a:lnTo>
                  <a:pt x="1359" y="1645"/>
                </a:lnTo>
                <a:close/>
                <a:moveTo>
                  <a:pt x="1333" y="2018"/>
                </a:moveTo>
                <a:lnTo>
                  <a:pt x="1335" y="2020"/>
                </a:lnTo>
                <a:lnTo>
                  <a:pt x="1333" y="2020"/>
                </a:lnTo>
                <a:lnTo>
                  <a:pt x="1336" y="2021"/>
                </a:lnTo>
                <a:lnTo>
                  <a:pt x="1335" y="2023"/>
                </a:lnTo>
                <a:lnTo>
                  <a:pt x="1333" y="2021"/>
                </a:lnTo>
                <a:lnTo>
                  <a:pt x="1333" y="2018"/>
                </a:lnTo>
                <a:close/>
                <a:moveTo>
                  <a:pt x="1333" y="1754"/>
                </a:moveTo>
                <a:lnTo>
                  <a:pt x="1335" y="1756"/>
                </a:lnTo>
                <a:lnTo>
                  <a:pt x="1336" y="1756"/>
                </a:lnTo>
                <a:lnTo>
                  <a:pt x="1333" y="1758"/>
                </a:lnTo>
                <a:lnTo>
                  <a:pt x="1333" y="1756"/>
                </a:lnTo>
                <a:lnTo>
                  <a:pt x="1333" y="1758"/>
                </a:lnTo>
                <a:lnTo>
                  <a:pt x="1333" y="1754"/>
                </a:lnTo>
                <a:close/>
                <a:moveTo>
                  <a:pt x="1336" y="2033"/>
                </a:moveTo>
                <a:lnTo>
                  <a:pt x="1336" y="2035"/>
                </a:lnTo>
                <a:lnTo>
                  <a:pt x="1336" y="2037"/>
                </a:lnTo>
                <a:lnTo>
                  <a:pt x="1335" y="2037"/>
                </a:lnTo>
                <a:lnTo>
                  <a:pt x="1335" y="2035"/>
                </a:lnTo>
                <a:lnTo>
                  <a:pt x="1336" y="2035"/>
                </a:lnTo>
                <a:lnTo>
                  <a:pt x="1336" y="2033"/>
                </a:lnTo>
                <a:close/>
                <a:moveTo>
                  <a:pt x="1398" y="1914"/>
                </a:moveTo>
                <a:lnTo>
                  <a:pt x="1398" y="1916"/>
                </a:lnTo>
                <a:lnTo>
                  <a:pt x="1399" y="1916"/>
                </a:lnTo>
                <a:lnTo>
                  <a:pt x="1398" y="1916"/>
                </a:lnTo>
                <a:lnTo>
                  <a:pt x="1396" y="1918"/>
                </a:lnTo>
                <a:lnTo>
                  <a:pt x="1396" y="1916"/>
                </a:lnTo>
                <a:lnTo>
                  <a:pt x="1398" y="1914"/>
                </a:lnTo>
                <a:close/>
                <a:moveTo>
                  <a:pt x="1348" y="1674"/>
                </a:moveTo>
                <a:lnTo>
                  <a:pt x="1347" y="1674"/>
                </a:lnTo>
                <a:lnTo>
                  <a:pt x="1348" y="1674"/>
                </a:lnTo>
                <a:lnTo>
                  <a:pt x="1348" y="1676"/>
                </a:lnTo>
                <a:lnTo>
                  <a:pt x="1345" y="1676"/>
                </a:lnTo>
                <a:lnTo>
                  <a:pt x="1348" y="1674"/>
                </a:lnTo>
                <a:close/>
                <a:moveTo>
                  <a:pt x="1357" y="1952"/>
                </a:moveTo>
                <a:lnTo>
                  <a:pt x="1357" y="1953"/>
                </a:lnTo>
                <a:lnTo>
                  <a:pt x="1357" y="1955"/>
                </a:lnTo>
                <a:lnTo>
                  <a:pt x="1357" y="1953"/>
                </a:lnTo>
                <a:lnTo>
                  <a:pt x="1357" y="1955"/>
                </a:lnTo>
                <a:lnTo>
                  <a:pt x="1355" y="1953"/>
                </a:lnTo>
                <a:lnTo>
                  <a:pt x="1357" y="1953"/>
                </a:lnTo>
                <a:lnTo>
                  <a:pt x="1355" y="1952"/>
                </a:lnTo>
                <a:lnTo>
                  <a:pt x="1357" y="1952"/>
                </a:lnTo>
                <a:close/>
                <a:moveTo>
                  <a:pt x="1129" y="1958"/>
                </a:moveTo>
                <a:lnTo>
                  <a:pt x="1129" y="1960"/>
                </a:lnTo>
                <a:lnTo>
                  <a:pt x="1129" y="1958"/>
                </a:lnTo>
                <a:lnTo>
                  <a:pt x="1127" y="1960"/>
                </a:lnTo>
                <a:lnTo>
                  <a:pt x="1129" y="1960"/>
                </a:lnTo>
                <a:lnTo>
                  <a:pt x="1127" y="1960"/>
                </a:lnTo>
                <a:lnTo>
                  <a:pt x="1126" y="1960"/>
                </a:lnTo>
                <a:lnTo>
                  <a:pt x="1127" y="1960"/>
                </a:lnTo>
                <a:lnTo>
                  <a:pt x="1126" y="1958"/>
                </a:lnTo>
                <a:lnTo>
                  <a:pt x="1129" y="1958"/>
                </a:lnTo>
                <a:lnTo>
                  <a:pt x="1127" y="1958"/>
                </a:lnTo>
                <a:lnTo>
                  <a:pt x="1129" y="1958"/>
                </a:lnTo>
                <a:close/>
                <a:moveTo>
                  <a:pt x="1127" y="1955"/>
                </a:moveTo>
                <a:lnTo>
                  <a:pt x="1127" y="1957"/>
                </a:lnTo>
                <a:lnTo>
                  <a:pt x="1126" y="1958"/>
                </a:lnTo>
                <a:lnTo>
                  <a:pt x="1126" y="1957"/>
                </a:lnTo>
                <a:lnTo>
                  <a:pt x="1127" y="1957"/>
                </a:lnTo>
                <a:lnTo>
                  <a:pt x="1127" y="1955"/>
                </a:lnTo>
                <a:close/>
                <a:moveTo>
                  <a:pt x="1141" y="2001"/>
                </a:moveTo>
                <a:lnTo>
                  <a:pt x="1143" y="2003"/>
                </a:lnTo>
                <a:lnTo>
                  <a:pt x="1141" y="2003"/>
                </a:lnTo>
                <a:lnTo>
                  <a:pt x="1139" y="2004"/>
                </a:lnTo>
                <a:lnTo>
                  <a:pt x="1139" y="2003"/>
                </a:lnTo>
                <a:lnTo>
                  <a:pt x="1141" y="2001"/>
                </a:lnTo>
                <a:close/>
                <a:moveTo>
                  <a:pt x="1343" y="1666"/>
                </a:moveTo>
                <a:lnTo>
                  <a:pt x="1345" y="1666"/>
                </a:lnTo>
                <a:lnTo>
                  <a:pt x="1345" y="1667"/>
                </a:lnTo>
                <a:lnTo>
                  <a:pt x="1343" y="1669"/>
                </a:lnTo>
                <a:lnTo>
                  <a:pt x="1343" y="1666"/>
                </a:lnTo>
                <a:close/>
                <a:moveTo>
                  <a:pt x="1338" y="1970"/>
                </a:moveTo>
                <a:lnTo>
                  <a:pt x="1340" y="1972"/>
                </a:lnTo>
                <a:lnTo>
                  <a:pt x="1342" y="1972"/>
                </a:lnTo>
                <a:lnTo>
                  <a:pt x="1340" y="1972"/>
                </a:lnTo>
                <a:lnTo>
                  <a:pt x="1338" y="1970"/>
                </a:lnTo>
                <a:close/>
                <a:moveTo>
                  <a:pt x="1335" y="2018"/>
                </a:moveTo>
                <a:lnTo>
                  <a:pt x="1338" y="2018"/>
                </a:lnTo>
                <a:lnTo>
                  <a:pt x="1336" y="2020"/>
                </a:lnTo>
                <a:lnTo>
                  <a:pt x="1338" y="2021"/>
                </a:lnTo>
                <a:lnTo>
                  <a:pt x="1336" y="2020"/>
                </a:lnTo>
                <a:lnTo>
                  <a:pt x="1335" y="2018"/>
                </a:lnTo>
                <a:close/>
                <a:moveTo>
                  <a:pt x="1396" y="1897"/>
                </a:moveTo>
                <a:lnTo>
                  <a:pt x="1394" y="1899"/>
                </a:lnTo>
                <a:lnTo>
                  <a:pt x="1396" y="1899"/>
                </a:lnTo>
                <a:lnTo>
                  <a:pt x="1393" y="1899"/>
                </a:lnTo>
                <a:lnTo>
                  <a:pt x="1394" y="1897"/>
                </a:lnTo>
                <a:lnTo>
                  <a:pt x="1396" y="1897"/>
                </a:lnTo>
                <a:close/>
                <a:moveTo>
                  <a:pt x="1454" y="1463"/>
                </a:moveTo>
                <a:lnTo>
                  <a:pt x="1455" y="1465"/>
                </a:lnTo>
                <a:lnTo>
                  <a:pt x="1457" y="1465"/>
                </a:lnTo>
                <a:lnTo>
                  <a:pt x="1455" y="1465"/>
                </a:lnTo>
                <a:lnTo>
                  <a:pt x="1454" y="1463"/>
                </a:lnTo>
                <a:lnTo>
                  <a:pt x="1452" y="1463"/>
                </a:lnTo>
                <a:lnTo>
                  <a:pt x="1454" y="1463"/>
                </a:lnTo>
                <a:close/>
                <a:moveTo>
                  <a:pt x="1403" y="1901"/>
                </a:moveTo>
                <a:lnTo>
                  <a:pt x="1404" y="1902"/>
                </a:lnTo>
                <a:lnTo>
                  <a:pt x="1404" y="1904"/>
                </a:lnTo>
                <a:lnTo>
                  <a:pt x="1404" y="1902"/>
                </a:lnTo>
                <a:lnTo>
                  <a:pt x="1403" y="1901"/>
                </a:lnTo>
                <a:lnTo>
                  <a:pt x="1403" y="1902"/>
                </a:lnTo>
                <a:lnTo>
                  <a:pt x="1403" y="1901"/>
                </a:lnTo>
                <a:close/>
                <a:moveTo>
                  <a:pt x="1430" y="1492"/>
                </a:moveTo>
                <a:lnTo>
                  <a:pt x="1433" y="1492"/>
                </a:lnTo>
                <a:lnTo>
                  <a:pt x="1432" y="1494"/>
                </a:lnTo>
                <a:lnTo>
                  <a:pt x="1430" y="1494"/>
                </a:lnTo>
                <a:lnTo>
                  <a:pt x="1430" y="1492"/>
                </a:lnTo>
                <a:close/>
                <a:moveTo>
                  <a:pt x="1141" y="2011"/>
                </a:moveTo>
                <a:lnTo>
                  <a:pt x="1143" y="2013"/>
                </a:lnTo>
                <a:lnTo>
                  <a:pt x="1141" y="2015"/>
                </a:lnTo>
                <a:lnTo>
                  <a:pt x="1141" y="2013"/>
                </a:lnTo>
                <a:lnTo>
                  <a:pt x="1141" y="2011"/>
                </a:lnTo>
                <a:close/>
                <a:moveTo>
                  <a:pt x="1122" y="1955"/>
                </a:moveTo>
                <a:lnTo>
                  <a:pt x="1122" y="1958"/>
                </a:lnTo>
                <a:lnTo>
                  <a:pt x="1121" y="1957"/>
                </a:lnTo>
                <a:lnTo>
                  <a:pt x="1122" y="1955"/>
                </a:lnTo>
                <a:close/>
                <a:moveTo>
                  <a:pt x="1362" y="1647"/>
                </a:moveTo>
                <a:lnTo>
                  <a:pt x="1364" y="1647"/>
                </a:lnTo>
                <a:lnTo>
                  <a:pt x="1364" y="1650"/>
                </a:lnTo>
                <a:lnTo>
                  <a:pt x="1362" y="1650"/>
                </a:lnTo>
                <a:lnTo>
                  <a:pt x="1362" y="1647"/>
                </a:lnTo>
                <a:close/>
                <a:moveTo>
                  <a:pt x="1399" y="1895"/>
                </a:moveTo>
                <a:lnTo>
                  <a:pt x="1398" y="1897"/>
                </a:lnTo>
                <a:lnTo>
                  <a:pt x="1396" y="1897"/>
                </a:lnTo>
                <a:lnTo>
                  <a:pt x="1396" y="1895"/>
                </a:lnTo>
                <a:lnTo>
                  <a:pt x="1398" y="1895"/>
                </a:lnTo>
                <a:lnTo>
                  <a:pt x="1399" y="1895"/>
                </a:lnTo>
                <a:close/>
                <a:moveTo>
                  <a:pt x="1455" y="1446"/>
                </a:moveTo>
                <a:lnTo>
                  <a:pt x="1457" y="1446"/>
                </a:lnTo>
                <a:lnTo>
                  <a:pt x="1457" y="1448"/>
                </a:lnTo>
                <a:lnTo>
                  <a:pt x="1455" y="1446"/>
                </a:lnTo>
                <a:close/>
                <a:moveTo>
                  <a:pt x="1126" y="1953"/>
                </a:moveTo>
                <a:lnTo>
                  <a:pt x="1127" y="1955"/>
                </a:lnTo>
                <a:lnTo>
                  <a:pt x="1126" y="1955"/>
                </a:lnTo>
                <a:lnTo>
                  <a:pt x="1126" y="1953"/>
                </a:lnTo>
                <a:close/>
                <a:moveTo>
                  <a:pt x="1455" y="1451"/>
                </a:moveTo>
                <a:lnTo>
                  <a:pt x="1459" y="1453"/>
                </a:lnTo>
                <a:lnTo>
                  <a:pt x="1457" y="1453"/>
                </a:lnTo>
                <a:lnTo>
                  <a:pt x="1455" y="1451"/>
                </a:lnTo>
                <a:close/>
                <a:moveTo>
                  <a:pt x="1301" y="2142"/>
                </a:moveTo>
                <a:lnTo>
                  <a:pt x="1302" y="2142"/>
                </a:lnTo>
                <a:lnTo>
                  <a:pt x="1301" y="2144"/>
                </a:lnTo>
                <a:lnTo>
                  <a:pt x="1299" y="2144"/>
                </a:lnTo>
                <a:lnTo>
                  <a:pt x="1301" y="2142"/>
                </a:lnTo>
                <a:close/>
                <a:moveTo>
                  <a:pt x="1376" y="1933"/>
                </a:moveTo>
                <a:lnTo>
                  <a:pt x="1374" y="1935"/>
                </a:lnTo>
                <a:lnTo>
                  <a:pt x="1374" y="1936"/>
                </a:lnTo>
                <a:lnTo>
                  <a:pt x="1374" y="1935"/>
                </a:lnTo>
                <a:lnTo>
                  <a:pt x="1372" y="1936"/>
                </a:lnTo>
                <a:lnTo>
                  <a:pt x="1374" y="1935"/>
                </a:lnTo>
                <a:lnTo>
                  <a:pt x="1376" y="1933"/>
                </a:lnTo>
                <a:close/>
                <a:moveTo>
                  <a:pt x="1403" y="1904"/>
                </a:moveTo>
                <a:lnTo>
                  <a:pt x="1404" y="1906"/>
                </a:lnTo>
                <a:lnTo>
                  <a:pt x="1403" y="1904"/>
                </a:lnTo>
                <a:lnTo>
                  <a:pt x="1403" y="1906"/>
                </a:lnTo>
                <a:lnTo>
                  <a:pt x="1401" y="1907"/>
                </a:lnTo>
                <a:lnTo>
                  <a:pt x="1403" y="1906"/>
                </a:lnTo>
                <a:lnTo>
                  <a:pt x="1403" y="1904"/>
                </a:lnTo>
                <a:close/>
                <a:moveTo>
                  <a:pt x="1442" y="1465"/>
                </a:moveTo>
                <a:lnTo>
                  <a:pt x="1442" y="1463"/>
                </a:lnTo>
                <a:lnTo>
                  <a:pt x="1444" y="1467"/>
                </a:lnTo>
                <a:lnTo>
                  <a:pt x="1442" y="1467"/>
                </a:lnTo>
                <a:lnTo>
                  <a:pt x="1442" y="1465"/>
                </a:lnTo>
                <a:close/>
                <a:moveTo>
                  <a:pt x="1399" y="1882"/>
                </a:moveTo>
                <a:lnTo>
                  <a:pt x="1401" y="1882"/>
                </a:lnTo>
                <a:lnTo>
                  <a:pt x="1401" y="1884"/>
                </a:lnTo>
                <a:lnTo>
                  <a:pt x="1398" y="1884"/>
                </a:lnTo>
                <a:lnTo>
                  <a:pt x="1399" y="1882"/>
                </a:lnTo>
                <a:close/>
                <a:moveTo>
                  <a:pt x="1190" y="2163"/>
                </a:moveTo>
                <a:lnTo>
                  <a:pt x="1192" y="2164"/>
                </a:lnTo>
                <a:lnTo>
                  <a:pt x="1189" y="2163"/>
                </a:lnTo>
                <a:lnTo>
                  <a:pt x="1190" y="2163"/>
                </a:lnTo>
                <a:close/>
                <a:moveTo>
                  <a:pt x="1136" y="2006"/>
                </a:moveTo>
                <a:lnTo>
                  <a:pt x="1136" y="2008"/>
                </a:lnTo>
                <a:lnTo>
                  <a:pt x="1134" y="2009"/>
                </a:lnTo>
                <a:lnTo>
                  <a:pt x="1134" y="2008"/>
                </a:lnTo>
                <a:lnTo>
                  <a:pt x="1136" y="2006"/>
                </a:lnTo>
                <a:close/>
                <a:moveTo>
                  <a:pt x="1374" y="1935"/>
                </a:moveTo>
                <a:lnTo>
                  <a:pt x="1376" y="1935"/>
                </a:lnTo>
                <a:lnTo>
                  <a:pt x="1376" y="1938"/>
                </a:lnTo>
                <a:lnTo>
                  <a:pt x="1374" y="1938"/>
                </a:lnTo>
                <a:lnTo>
                  <a:pt x="1374" y="1935"/>
                </a:lnTo>
                <a:close/>
                <a:moveTo>
                  <a:pt x="1360" y="1945"/>
                </a:moveTo>
                <a:lnTo>
                  <a:pt x="1362" y="1946"/>
                </a:lnTo>
                <a:lnTo>
                  <a:pt x="1365" y="1948"/>
                </a:lnTo>
                <a:lnTo>
                  <a:pt x="1364" y="1948"/>
                </a:lnTo>
                <a:lnTo>
                  <a:pt x="1364" y="1946"/>
                </a:lnTo>
                <a:lnTo>
                  <a:pt x="1364" y="1948"/>
                </a:lnTo>
                <a:lnTo>
                  <a:pt x="1362" y="1946"/>
                </a:lnTo>
                <a:lnTo>
                  <a:pt x="1362" y="1948"/>
                </a:lnTo>
                <a:lnTo>
                  <a:pt x="1362" y="1946"/>
                </a:lnTo>
                <a:lnTo>
                  <a:pt x="1360" y="1945"/>
                </a:lnTo>
                <a:close/>
                <a:moveTo>
                  <a:pt x="1336" y="1999"/>
                </a:moveTo>
                <a:lnTo>
                  <a:pt x="1336" y="2001"/>
                </a:lnTo>
                <a:lnTo>
                  <a:pt x="1338" y="1999"/>
                </a:lnTo>
                <a:lnTo>
                  <a:pt x="1336" y="2001"/>
                </a:lnTo>
                <a:lnTo>
                  <a:pt x="1336" y="1999"/>
                </a:lnTo>
                <a:close/>
                <a:moveTo>
                  <a:pt x="1489" y="1441"/>
                </a:moveTo>
                <a:lnTo>
                  <a:pt x="1491" y="1441"/>
                </a:lnTo>
                <a:lnTo>
                  <a:pt x="1491" y="1443"/>
                </a:lnTo>
                <a:lnTo>
                  <a:pt x="1489" y="1445"/>
                </a:lnTo>
                <a:lnTo>
                  <a:pt x="1489" y="1441"/>
                </a:lnTo>
                <a:close/>
                <a:moveTo>
                  <a:pt x="1297" y="2142"/>
                </a:moveTo>
                <a:lnTo>
                  <a:pt x="1299" y="2142"/>
                </a:lnTo>
                <a:lnTo>
                  <a:pt x="1297" y="2144"/>
                </a:lnTo>
                <a:lnTo>
                  <a:pt x="1297" y="2142"/>
                </a:lnTo>
                <a:close/>
                <a:moveTo>
                  <a:pt x="1340" y="1987"/>
                </a:moveTo>
                <a:lnTo>
                  <a:pt x="1340" y="1989"/>
                </a:lnTo>
                <a:lnTo>
                  <a:pt x="1338" y="1989"/>
                </a:lnTo>
                <a:lnTo>
                  <a:pt x="1338" y="1987"/>
                </a:lnTo>
                <a:lnTo>
                  <a:pt x="1338" y="1989"/>
                </a:lnTo>
                <a:lnTo>
                  <a:pt x="1340" y="1987"/>
                </a:lnTo>
                <a:close/>
                <a:moveTo>
                  <a:pt x="1393" y="1901"/>
                </a:moveTo>
                <a:lnTo>
                  <a:pt x="1394" y="1901"/>
                </a:lnTo>
                <a:lnTo>
                  <a:pt x="1394" y="1902"/>
                </a:lnTo>
                <a:lnTo>
                  <a:pt x="1396" y="1902"/>
                </a:lnTo>
                <a:lnTo>
                  <a:pt x="1394" y="1902"/>
                </a:lnTo>
                <a:lnTo>
                  <a:pt x="1393" y="1902"/>
                </a:lnTo>
                <a:lnTo>
                  <a:pt x="1394" y="1902"/>
                </a:lnTo>
                <a:lnTo>
                  <a:pt x="1393" y="1902"/>
                </a:lnTo>
                <a:lnTo>
                  <a:pt x="1394" y="1901"/>
                </a:lnTo>
                <a:lnTo>
                  <a:pt x="1393" y="1901"/>
                </a:lnTo>
                <a:close/>
                <a:moveTo>
                  <a:pt x="1427" y="1593"/>
                </a:moveTo>
                <a:lnTo>
                  <a:pt x="1425" y="1594"/>
                </a:lnTo>
                <a:lnTo>
                  <a:pt x="1425" y="1596"/>
                </a:lnTo>
                <a:lnTo>
                  <a:pt x="1425" y="1594"/>
                </a:lnTo>
                <a:lnTo>
                  <a:pt x="1427" y="1594"/>
                </a:lnTo>
                <a:lnTo>
                  <a:pt x="1427" y="1593"/>
                </a:lnTo>
                <a:close/>
                <a:moveTo>
                  <a:pt x="1384" y="1844"/>
                </a:moveTo>
                <a:lnTo>
                  <a:pt x="1386" y="1846"/>
                </a:lnTo>
                <a:lnTo>
                  <a:pt x="1384" y="1846"/>
                </a:lnTo>
                <a:lnTo>
                  <a:pt x="1384" y="1844"/>
                </a:lnTo>
                <a:close/>
                <a:moveTo>
                  <a:pt x="1379" y="1940"/>
                </a:moveTo>
                <a:lnTo>
                  <a:pt x="1381" y="1941"/>
                </a:lnTo>
                <a:lnTo>
                  <a:pt x="1379" y="1943"/>
                </a:lnTo>
                <a:lnTo>
                  <a:pt x="1379" y="1940"/>
                </a:lnTo>
                <a:close/>
                <a:moveTo>
                  <a:pt x="1331" y="1792"/>
                </a:moveTo>
                <a:lnTo>
                  <a:pt x="1333" y="1792"/>
                </a:lnTo>
                <a:lnTo>
                  <a:pt x="1333" y="1793"/>
                </a:lnTo>
                <a:lnTo>
                  <a:pt x="1331" y="1793"/>
                </a:lnTo>
                <a:lnTo>
                  <a:pt x="1331" y="1792"/>
                </a:lnTo>
                <a:close/>
                <a:moveTo>
                  <a:pt x="1302" y="2142"/>
                </a:moveTo>
                <a:lnTo>
                  <a:pt x="1304" y="2140"/>
                </a:lnTo>
                <a:lnTo>
                  <a:pt x="1304" y="2144"/>
                </a:lnTo>
                <a:lnTo>
                  <a:pt x="1302" y="2144"/>
                </a:lnTo>
                <a:lnTo>
                  <a:pt x="1302" y="2142"/>
                </a:lnTo>
                <a:close/>
                <a:moveTo>
                  <a:pt x="1406" y="1867"/>
                </a:moveTo>
                <a:lnTo>
                  <a:pt x="1408" y="1867"/>
                </a:lnTo>
                <a:lnTo>
                  <a:pt x="1408" y="1870"/>
                </a:lnTo>
                <a:lnTo>
                  <a:pt x="1406" y="1870"/>
                </a:lnTo>
                <a:lnTo>
                  <a:pt x="1406" y="1867"/>
                </a:lnTo>
                <a:close/>
                <a:moveTo>
                  <a:pt x="1331" y="2066"/>
                </a:moveTo>
                <a:lnTo>
                  <a:pt x="1335" y="2066"/>
                </a:lnTo>
                <a:lnTo>
                  <a:pt x="1335" y="2067"/>
                </a:lnTo>
                <a:lnTo>
                  <a:pt x="1333" y="2067"/>
                </a:lnTo>
                <a:lnTo>
                  <a:pt x="1331" y="2066"/>
                </a:lnTo>
                <a:close/>
                <a:moveTo>
                  <a:pt x="1132" y="1994"/>
                </a:moveTo>
                <a:lnTo>
                  <a:pt x="1134" y="1992"/>
                </a:lnTo>
                <a:lnTo>
                  <a:pt x="1134" y="1996"/>
                </a:lnTo>
                <a:lnTo>
                  <a:pt x="1132" y="1996"/>
                </a:lnTo>
                <a:lnTo>
                  <a:pt x="1132" y="1994"/>
                </a:lnTo>
                <a:close/>
                <a:moveTo>
                  <a:pt x="1382" y="1936"/>
                </a:moveTo>
                <a:lnTo>
                  <a:pt x="1381" y="1938"/>
                </a:lnTo>
                <a:lnTo>
                  <a:pt x="1379" y="1940"/>
                </a:lnTo>
                <a:lnTo>
                  <a:pt x="1381" y="1938"/>
                </a:lnTo>
                <a:lnTo>
                  <a:pt x="1381" y="1936"/>
                </a:lnTo>
                <a:lnTo>
                  <a:pt x="1382" y="1936"/>
                </a:lnTo>
                <a:close/>
                <a:moveTo>
                  <a:pt x="1461" y="1450"/>
                </a:moveTo>
                <a:lnTo>
                  <a:pt x="1459" y="1451"/>
                </a:lnTo>
                <a:lnTo>
                  <a:pt x="1459" y="1450"/>
                </a:lnTo>
                <a:lnTo>
                  <a:pt x="1461" y="1450"/>
                </a:lnTo>
                <a:close/>
                <a:moveTo>
                  <a:pt x="1382" y="1846"/>
                </a:moveTo>
                <a:lnTo>
                  <a:pt x="1384" y="1848"/>
                </a:lnTo>
                <a:lnTo>
                  <a:pt x="1382" y="1848"/>
                </a:lnTo>
                <a:lnTo>
                  <a:pt x="1381" y="1848"/>
                </a:lnTo>
                <a:lnTo>
                  <a:pt x="1382" y="1846"/>
                </a:lnTo>
                <a:close/>
                <a:moveTo>
                  <a:pt x="1357" y="1952"/>
                </a:moveTo>
                <a:lnTo>
                  <a:pt x="1359" y="1953"/>
                </a:lnTo>
                <a:lnTo>
                  <a:pt x="1359" y="1952"/>
                </a:lnTo>
                <a:lnTo>
                  <a:pt x="1357" y="1952"/>
                </a:lnTo>
                <a:close/>
                <a:moveTo>
                  <a:pt x="1462" y="1450"/>
                </a:moveTo>
                <a:lnTo>
                  <a:pt x="1464" y="1450"/>
                </a:lnTo>
                <a:lnTo>
                  <a:pt x="1464" y="1451"/>
                </a:lnTo>
                <a:lnTo>
                  <a:pt x="1462" y="1450"/>
                </a:lnTo>
                <a:close/>
                <a:moveTo>
                  <a:pt x="1455" y="1441"/>
                </a:moveTo>
                <a:lnTo>
                  <a:pt x="1457" y="1441"/>
                </a:lnTo>
                <a:lnTo>
                  <a:pt x="1457" y="1443"/>
                </a:lnTo>
                <a:lnTo>
                  <a:pt x="1455" y="1441"/>
                </a:lnTo>
                <a:close/>
                <a:moveTo>
                  <a:pt x="1437" y="1470"/>
                </a:moveTo>
                <a:lnTo>
                  <a:pt x="1437" y="1472"/>
                </a:lnTo>
                <a:lnTo>
                  <a:pt x="1435" y="1472"/>
                </a:lnTo>
                <a:lnTo>
                  <a:pt x="1435" y="1470"/>
                </a:lnTo>
                <a:lnTo>
                  <a:pt x="1437" y="1470"/>
                </a:lnTo>
                <a:close/>
                <a:moveTo>
                  <a:pt x="1146" y="2038"/>
                </a:moveTo>
                <a:lnTo>
                  <a:pt x="1146" y="2040"/>
                </a:lnTo>
                <a:lnTo>
                  <a:pt x="1148" y="2040"/>
                </a:lnTo>
                <a:lnTo>
                  <a:pt x="1146" y="2040"/>
                </a:lnTo>
                <a:lnTo>
                  <a:pt x="1144" y="2040"/>
                </a:lnTo>
                <a:lnTo>
                  <a:pt x="1146" y="2038"/>
                </a:lnTo>
                <a:close/>
                <a:moveTo>
                  <a:pt x="1148" y="2035"/>
                </a:moveTo>
                <a:lnTo>
                  <a:pt x="1148" y="2038"/>
                </a:lnTo>
                <a:lnTo>
                  <a:pt x="1148" y="2035"/>
                </a:lnTo>
                <a:close/>
                <a:moveTo>
                  <a:pt x="1333" y="1695"/>
                </a:moveTo>
                <a:lnTo>
                  <a:pt x="1335" y="1696"/>
                </a:lnTo>
                <a:lnTo>
                  <a:pt x="1333" y="1696"/>
                </a:lnTo>
                <a:lnTo>
                  <a:pt x="1333" y="1695"/>
                </a:lnTo>
                <a:close/>
                <a:moveTo>
                  <a:pt x="1428" y="1470"/>
                </a:moveTo>
                <a:lnTo>
                  <a:pt x="1428" y="1472"/>
                </a:lnTo>
                <a:lnTo>
                  <a:pt x="1427" y="1470"/>
                </a:lnTo>
                <a:lnTo>
                  <a:pt x="1428" y="1470"/>
                </a:lnTo>
                <a:close/>
                <a:moveTo>
                  <a:pt x="1384" y="1904"/>
                </a:moveTo>
                <a:lnTo>
                  <a:pt x="1386" y="1906"/>
                </a:lnTo>
                <a:lnTo>
                  <a:pt x="1384" y="1904"/>
                </a:lnTo>
                <a:lnTo>
                  <a:pt x="1382" y="1904"/>
                </a:lnTo>
                <a:lnTo>
                  <a:pt x="1384" y="1904"/>
                </a:lnTo>
                <a:close/>
                <a:moveTo>
                  <a:pt x="1427" y="1502"/>
                </a:moveTo>
                <a:lnTo>
                  <a:pt x="1427" y="1504"/>
                </a:lnTo>
                <a:lnTo>
                  <a:pt x="1425" y="1506"/>
                </a:lnTo>
                <a:lnTo>
                  <a:pt x="1425" y="1504"/>
                </a:lnTo>
                <a:lnTo>
                  <a:pt x="1427" y="1504"/>
                </a:lnTo>
                <a:lnTo>
                  <a:pt x="1425" y="1502"/>
                </a:lnTo>
                <a:lnTo>
                  <a:pt x="1427" y="1502"/>
                </a:lnTo>
                <a:close/>
                <a:moveTo>
                  <a:pt x="1404" y="1899"/>
                </a:moveTo>
                <a:lnTo>
                  <a:pt x="1406" y="1899"/>
                </a:lnTo>
                <a:lnTo>
                  <a:pt x="1406" y="1901"/>
                </a:lnTo>
                <a:lnTo>
                  <a:pt x="1404" y="1901"/>
                </a:lnTo>
                <a:lnTo>
                  <a:pt x="1404" y="1899"/>
                </a:lnTo>
                <a:close/>
                <a:moveTo>
                  <a:pt x="1384" y="1902"/>
                </a:moveTo>
                <a:lnTo>
                  <a:pt x="1386" y="1904"/>
                </a:lnTo>
                <a:lnTo>
                  <a:pt x="1384" y="1904"/>
                </a:lnTo>
                <a:lnTo>
                  <a:pt x="1384" y="1902"/>
                </a:lnTo>
                <a:close/>
                <a:moveTo>
                  <a:pt x="1444" y="1457"/>
                </a:moveTo>
                <a:lnTo>
                  <a:pt x="1444" y="1455"/>
                </a:lnTo>
                <a:lnTo>
                  <a:pt x="1445" y="1457"/>
                </a:lnTo>
                <a:lnTo>
                  <a:pt x="1444" y="1458"/>
                </a:lnTo>
                <a:lnTo>
                  <a:pt x="1444" y="1457"/>
                </a:lnTo>
                <a:close/>
                <a:moveTo>
                  <a:pt x="1376" y="1824"/>
                </a:moveTo>
                <a:lnTo>
                  <a:pt x="1377" y="1826"/>
                </a:lnTo>
                <a:lnTo>
                  <a:pt x="1374" y="1826"/>
                </a:lnTo>
                <a:lnTo>
                  <a:pt x="1376" y="1824"/>
                </a:lnTo>
                <a:close/>
                <a:moveTo>
                  <a:pt x="1126" y="1963"/>
                </a:moveTo>
                <a:lnTo>
                  <a:pt x="1127" y="1963"/>
                </a:lnTo>
                <a:lnTo>
                  <a:pt x="1127" y="1965"/>
                </a:lnTo>
                <a:lnTo>
                  <a:pt x="1126" y="1965"/>
                </a:lnTo>
                <a:lnTo>
                  <a:pt x="1126" y="1963"/>
                </a:lnTo>
                <a:close/>
                <a:moveTo>
                  <a:pt x="1399" y="1918"/>
                </a:moveTo>
                <a:lnTo>
                  <a:pt x="1398" y="1919"/>
                </a:lnTo>
                <a:lnTo>
                  <a:pt x="1398" y="1921"/>
                </a:lnTo>
                <a:lnTo>
                  <a:pt x="1396" y="1921"/>
                </a:lnTo>
                <a:lnTo>
                  <a:pt x="1398" y="1918"/>
                </a:lnTo>
                <a:lnTo>
                  <a:pt x="1399" y="1918"/>
                </a:lnTo>
                <a:close/>
                <a:moveTo>
                  <a:pt x="1335" y="1727"/>
                </a:moveTo>
                <a:lnTo>
                  <a:pt x="1333" y="1727"/>
                </a:lnTo>
                <a:lnTo>
                  <a:pt x="1335" y="1727"/>
                </a:lnTo>
                <a:close/>
                <a:moveTo>
                  <a:pt x="1330" y="1754"/>
                </a:moveTo>
                <a:lnTo>
                  <a:pt x="1331" y="1756"/>
                </a:lnTo>
                <a:lnTo>
                  <a:pt x="1330" y="1756"/>
                </a:lnTo>
                <a:lnTo>
                  <a:pt x="1330" y="1754"/>
                </a:lnTo>
                <a:close/>
                <a:moveTo>
                  <a:pt x="1462" y="1448"/>
                </a:moveTo>
                <a:lnTo>
                  <a:pt x="1464" y="1448"/>
                </a:lnTo>
                <a:lnTo>
                  <a:pt x="1464" y="1450"/>
                </a:lnTo>
                <a:lnTo>
                  <a:pt x="1462" y="1450"/>
                </a:lnTo>
                <a:lnTo>
                  <a:pt x="1462" y="1448"/>
                </a:lnTo>
                <a:close/>
                <a:moveTo>
                  <a:pt x="1408" y="1873"/>
                </a:moveTo>
                <a:lnTo>
                  <a:pt x="1410" y="1872"/>
                </a:lnTo>
                <a:lnTo>
                  <a:pt x="1410" y="1875"/>
                </a:lnTo>
                <a:lnTo>
                  <a:pt x="1408" y="1875"/>
                </a:lnTo>
                <a:lnTo>
                  <a:pt x="1408" y="1873"/>
                </a:lnTo>
                <a:close/>
                <a:moveTo>
                  <a:pt x="1367" y="1630"/>
                </a:moveTo>
                <a:lnTo>
                  <a:pt x="1369" y="1630"/>
                </a:lnTo>
                <a:lnTo>
                  <a:pt x="1369" y="1632"/>
                </a:lnTo>
                <a:lnTo>
                  <a:pt x="1367" y="1632"/>
                </a:lnTo>
                <a:lnTo>
                  <a:pt x="1367" y="1630"/>
                </a:lnTo>
                <a:close/>
                <a:moveTo>
                  <a:pt x="1408" y="1887"/>
                </a:moveTo>
                <a:lnTo>
                  <a:pt x="1404" y="1889"/>
                </a:lnTo>
                <a:lnTo>
                  <a:pt x="1408" y="1887"/>
                </a:lnTo>
                <a:close/>
                <a:moveTo>
                  <a:pt x="1340" y="1992"/>
                </a:moveTo>
                <a:lnTo>
                  <a:pt x="1342" y="1992"/>
                </a:lnTo>
                <a:lnTo>
                  <a:pt x="1342" y="1994"/>
                </a:lnTo>
                <a:lnTo>
                  <a:pt x="1340" y="1994"/>
                </a:lnTo>
                <a:lnTo>
                  <a:pt x="1340" y="1992"/>
                </a:lnTo>
                <a:close/>
                <a:moveTo>
                  <a:pt x="1151" y="2042"/>
                </a:moveTo>
                <a:lnTo>
                  <a:pt x="1151" y="2043"/>
                </a:lnTo>
                <a:lnTo>
                  <a:pt x="1149" y="2043"/>
                </a:lnTo>
                <a:lnTo>
                  <a:pt x="1149" y="2042"/>
                </a:lnTo>
                <a:lnTo>
                  <a:pt x="1151" y="2043"/>
                </a:lnTo>
                <a:lnTo>
                  <a:pt x="1151" y="2042"/>
                </a:lnTo>
                <a:close/>
                <a:moveTo>
                  <a:pt x="1384" y="1839"/>
                </a:moveTo>
                <a:lnTo>
                  <a:pt x="1386" y="1839"/>
                </a:lnTo>
                <a:lnTo>
                  <a:pt x="1386" y="1841"/>
                </a:lnTo>
                <a:lnTo>
                  <a:pt x="1384" y="1841"/>
                </a:lnTo>
                <a:lnTo>
                  <a:pt x="1384" y="1839"/>
                </a:lnTo>
                <a:close/>
                <a:moveTo>
                  <a:pt x="1121" y="1955"/>
                </a:moveTo>
                <a:lnTo>
                  <a:pt x="1122" y="1955"/>
                </a:lnTo>
                <a:lnTo>
                  <a:pt x="1122" y="1957"/>
                </a:lnTo>
                <a:lnTo>
                  <a:pt x="1121" y="1957"/>
                </a:lnTo>
                <a:lnTo>
                  <a:pt x="1121" y="1955"/>
                </a:lnTo>
                <a:close/>
                <a:moveTo>
                  <a:pt x="1328" y="1686"/>
                </a:moveTo>
                <a:lnTo>
                  <a:pt x="1328" y="1688"/>
                </a:lnTo>
                <a:lnTo>
                  <a:pt x="1328" y="1686"/>
                </a:lnTo>
                <a:close/>
                <a:moveTo>
                  <a:pt x="1127" y="1962"/>
                </a:moveTo>
                <a:lnTo>
                  <a:pt x="1129" y="1962"/>
                </a:lnTo>
                <a:lnTo>
                  <a:pt x="1129" y="1963"/>
                </a:lnTo>
                <a:lnTo>
                  <a:pt x="1127" y="1963"/>
                </a:lnTo>
                <a:lnTo>
                  <a:pt x="1127" y="1962"/>
                </a:lnTo>
                <a:close/>
                <a:moveTo>
                  <a:pt x="1433" y="1487"/>
                </a:moveTo>
                <a:lnTo>
                  <a:pt x="1433" y="1489"/>
                </a:lnTo>
                <a:lnTo>
                  <a:pt x="1433" y="1487"/>
                </a:lnTo>
                <a:close/>
                <a:moveTo>
                  <a:pt x="1149" y="2011"/>
                </a:moveTo>
                <a:lnTo>
                  <a:pt x="1151" y="2011"/>
                </a:lnTo>
                <a:lnTo>
                  <a:pt x="1151" y="2013"/>
                </a:lnTo>
                <a:lnTo>
                  <a:pt x="1149" y="2013"/>
                </a:lnTo>
                <a:lnTo>
                  <a:pt x="1149" y="2011"/>
                </a:lnTo>
                <a:close/>
                <a:moveTo>
                  <a:pt x="1481" y="1433"/>
                </a:moveTo>
                <a:lnTo>
                  <a:pt x="1483" y="1433"/>
                </a:lnTo>
                <a:lnTo>
                  <a:pt x="1483" y="1434"/>
                </a:lnTo>
                <a:lnTo>
                  <a:pt x="1481" y="1434"/>
                </a:lnTo>
                <a:lnTo>
                  <a:pt x="1481" y="1433"/>
                </a:lnTo>
                <a:close/>
                <a:moveTo>
                  <a:pt x="1394" y="1887"/>
                </a:moveTo>
                <a:lnTo>
                  <a:pt x="1394" y="1889"/>
                </a:lnTo>
                <a:lnTo>
                  <a:pt x="1394" y="1887"/>
                </a:lnTo>
                <a:close/>
                <a:moveTo>
                  <a:pt x="1129" y="1972"/>
                </a:moveTo>
                <a:lnTo>
                  <a:pt x="1131" y="1972"/>
                </a:lnTo>
                <a:lnTo>
                  <a:pt x="1131" y="1974"/>
                </a:lnTo>
                <a:lnTo>
                  <a:pt x="1129" y="1974"/>
                </a:lnTo>
                <a:lnTo>
                  <a:pt x="1129" y="1972"/>
                </a:lnTo>
                <a:close/>
                <a:moveTo>
                  <a:pt x="1146" y="2037"/>
                </a:moveTo>
                <a:lnTo>
                  <a:pt x="1148" y="2037"/>
                </a:lnTo>
                <a:lnTo>
                  <a:pt x="1148" y="2040"/>
                </a:lnTo>
                <a:lnTo>
                  <a:pt x="1146" y="2040"/>
                </a:lnTo>
                <a:lnTo>
                  <a:pt x="1146" y="2037"/>
                </a:lnTo>
                <a:close/>
                <a:moveTo>
                  <a:pt x="1151" y="2045"/>
                </a:moveTo>
                <a:lnTo>
                  <a:pt x="1153" y="2045"/>
                </a:lnTo>
                <a:lnTo>
                  <a:pt x="1153" y="2047"/>
                </a:lnTo>
                <a:lnTo>
                  <a:pt x="1151" y="2047"/>
                </a:lnTo>
                <a:lnTo>
                  <a:pt x="1151" y="2045"/>
                </a:lnTo>
                <a:close/>
                <a:moveTo>
                  <a:pt x="1333" y="1783"/>
                </a:moveTo>
                <a:lnTo>
                  <a:pt x="1335" y="1783"/>
                </a:lnTo>
                <a:lnTo>
                  <a:pt x="1335" y="1785"/>
                </a:lnTo>
                <a:lnTo>
                  <a:pt x="1333" y="1785"/>
                </a:lnTo>
                <a:lnTo>
                  <a:pt x="1333" y="1783"/>
                </a:lnTo>
                <a:close/>
                <a:moveTo>
                  <a:pt x="1423" y="1596"/>
                </a:moveTo>
                <a:lnTo>
                  <a:pt x="1425" y="1596"/>
                </a:lnTo>
                <a:lnTo>
                  <a:pt x="1425" y="1598"/>
                </a:lnTo>
                <a:lnTo>
                  <a:pt x="1423" y="1596"/>
                </a:lnTo>
                <a:close/>
                <a:moveTo>
                  <a:pt x="1462" y="1436"/>
                </a:moveTo>
                <a:lnTo>
                  <a:pt x="1462" y="1438"/>
                </a:lnTo>
                <a:lnTo>
                  <a:pt x="1462" y="1436"/>
                </a:lnTo>
                <a:close/>
                <a:moveTo>
                  <a:pt x="1309" y="2144"/>
                </a:moveTo>
                <a:lnTo>
                  <a:pt x="1311" y="2145"/>
                </a:lnTo>
                <a:lnTo>
                  <a:pt x="1309" y="2145"/>
                </a:lnTo>
                <a:lnTo>
                  <a:pt x="1309" y="2144"/>
                </a:lnTo>
                <a:close/>
                <a:moveTo>
                  <a:pt x="1391" y="1926"/>
                </a:moveTo>
                <a:lnTo>
                  <a:pt x="1393" y="1926"/>
                </a:lnTo>
                <a:lnTo>
                  <a:pt x="1393" y="1928"/>
                </a:lnTo>
                <a:lnTo>
                  <a:pt x="1391" y="1926"/>
                </a:lnTo>
                <a:close/>
                <a:moveTo>
                  <a:pt x="1440" y="1479"/>
                </a:moveTo>
                <a:lnTo>
                  <a:pt x="1444" y="1480"/>
                </a:lnTo>
                <a:lnTo>
                  <a:pt x="1442" y="1480"/>
                </a:lnTo>
                <a:lnTo>
                  <a:pt x="1440" y="1479"/>
                </a:lnTo>
                <a:close/>
                <a:moveTo>
                  <a:pt x="1398" y="1882"/>
                </a:moveTo>
                <a:lnTo>
                  <a:pt x="1399" y="1880"/>
                </a:lnTo>
                <a:lnTo>
                  <a:pt x="1399" y="1882"/>
                </a:lnTo>
                <a:lnTo>
                  <a:pt x="1398" y="1884"/>
                </a:lnTo>
                <a:lnTo>
                  <a:pt x="1398" y="1882"/>
                </a:lnTo>
                <a:close/>
                <a:moveTo>
                  <a:pt x="1449" y="1440"/>
                </a:moveTo>
                <a:lnTo>
                  <a:pt x="1450" y="1440"/>
                </a:lnTo>
                <a:lnTo>
                  <a:pt x="1450" y="1441"/>
                </a:lnTo>
                <a:lnTo>
                  <a:pt x="1449" y="1440"/>
                </a:lnTo>
                <a:close/>
                <a:moveTo>
                  <a:pt x="1335" y="2069"/>
                </a:moveTo>
                <a:lnTo>
                  <a:pt x="1336" y="2071"/>
                </a:lnTo>
                <a:lnTo>
                  <a:pt x="1335" y="2071"/>
                </a:lnTo>
                <a:lnTo>
                  <a:pt x="1335" y="2069"/>
                </a:lnTo>
                <a:close/>
                <a:moveTo>
                  <a:pt x="1386" y="1613"/>
                </a:moveTo>
                <a:lnTo>
                  <a:pt x="1387" y="1613"/>
                </a:lnTo>
                <a:lnTo>
                  <a:pt x="1387" y="1615"/>
                </a:lnTo>
                <a:lnTo>
                  <a:pt x="1386" y="1615"/>
                </a:lnTo>
                <a:lnTo>
                  <a:pt x="1386" y="1613"/>
                </a:lnTo>
                <a:close/>
                <a:moveTo>
                  <a:pt x="1370" y="1632"/>
                </a:moveTo>
                <a:lnTo>
                  <a:pt x="1370" y="1633"/>
                </a:lnTo>
                <a:lnTo>
                  <a:pt x="1370" y="1632"/>
                </a:lnTo>
                <a:close/>
                <a:moveTo>
                  <a:pt x="1350" y="1666"/>
                </a:moveTo>
                <a:lnTo>
                  <a:pt x="1352" y="1666"/>
                </a:lnTo>
                <a:lnTo>
                  <a:pt x="1352" y="1667"/>
                </a:lnTo>
                <a:lnTo>
                  <a:pt x="1350" y="1667"/>
                </a:lnTo>
                <a:lnTo>
                  <a:pt x="1350" y="1666"/>
                </a:lnTo>
                <a:close/>
                <a:moveTo>
                  <a:pt x="1336" y="1742"/>
                </a:moveTo>
                <a:lnTo>
                  <a:pt x="1338" y="1742"/>
                </a:lnTo>
                <a:lnTo>
                  <a:pt x="1338" y="1744"/>
                </a:lnTo>
                <a:lnTo>
                  <a:pt x="1336" y="1744"/>
                </a:lnTo>
                <a:lnTo>
                  <a:pt x="1336" y="1742"/>
                </a:lnTo>
                <a:close/>
                <a:moveTo>
                  <a:pt x="1362" y="1639"/>
                </a:moveTo>
                <a:lnTo>
                  <a:pt x="1364" y="1639"/>
                </a:lnTo>
                <a:lnTo>
                  <a:pt x="1364" y="1640"/>
                </a:lnTo>
                <a:lnTo>
                  <a:pt x="1362" y="1640"/>
                </a:lnTo>
                <a:lnTo>
                  <a:pt x="1362" y="1639"/>
                </a:lnTo>
                <a:close/>
                <a:moveTo>
                  <a:pt x="1469" y="1440"/>
                </a:moveTo>
                <a:lnTo>
                  <a:pt x="1471" y="1440"/>
                </a:lnTo>
                <a:lnTo>
                  <a:pt x="1469" y="1440"/>
                </a:lnTo>
                <a:close/>
                <a:moveTo>
                  <a:pt x="1462" y="1453"/>
                </a:moveTo>
                <a:lnTo>
                  <a:pt x="1461" y="1455"/>
                </a:lnTo>
                <a:lnTo>
                  <a:pt x="1461" y="1453"/>
                </a:lnTo>
                <a:lnTo>
                  <a:pt x="1462" y="1453"/>
                </a:lnTo>
                <a:close/>
                <a:moveTo>
                  <a:pt x="1435" y="1484"/>
                </a:moveTo>
                <a:lnTo>
                  <a:pt x="1435" y="1485"/>
                </a:lnTo>
                <a:lnTo>
                  <a:pt x="1435" y="1484"/>
                </a:lnTo>
                <a:close/>
                <a:moveTo>
                  <a:pt x="1408" y="1875"/>
                </a:moveTo>
                <a:lnTo>
                  <a:pt x="1408" y="1877"/>
                </a:lnTo>
                <a:lnTo>
                  <a:pt x="1408" y="1875"/>
                </a:lnTo>
                <a:close/>
                <a:moveTo>
                  <a:pt x="1139" y="2016"/>
                </a:moveTo>
                <a:lnTo>
                  <a:pt x="1141" y="2016"/>
                </a:lnTo>
                <a:lnTo>
                  <a:pt x="1141" y="2018"/>
                </a:lnTo>
                <a:lnTo>
                  <a:pt x="1139" y="2018"/>
                </a:lnTo>
                <a:lnTo>
                  <a:pt x="1139" y="2016"/>
                </a:lnTo>
                <a:close/>
                <a:moveTo>
                  <a:pt x="1462" y="1455"/>
                </a:moveTo>
                <a:lnTo>
                  <a:pt x="1462" y="1453"/>
                </a:lnTo>
                <a:lnTo>
                  <a:pt x="1462" y="1455"/>
                </a:lnTo>
                <a:lnTo>
                  <a:pt x="1462" y="1457"/>
                </a:lnTo>
                <a:lnTo>
                  <a:pt x="1462" y="1455"/>
                </a:lnTo>
                <a:close/>
                <a:moveTo>
                  <a:pt x="1386" y="1839"/>
                </a:moveTo>
                <a:lnTo>
                  <a:pt x="1387" y="1839"/>
                </a:lnTo>
                <a:lnTo>
                  <a:pt x="1387" y="1841"/>
                </a:lnTo>
                <a:lnTo>
                  <a:pt x="1386" y="1841"/>
                </a:lnTo>
                <a:lnTo>
                  <a:pt x="1386" y="1839"/>
                </a:lnTo>
                <a:close/>
                <a:moveTo>
                  <a:pt x="1401" y="1901"/>
                </a:moveTo>
                <a:lnTo>
                  <a:pt x="1401" y="1902"/>
                </a:lnTo>
                <a:lnTo>
                  <a:pt x="1401" y="1901"/>
                </a:lnTo>
                <a:close/>
                <a:moveTo>
                  <a:pt x="1457" y="1443"/>
                </a:moveTo>
                <a:lnTo>
                  <a:pt x="1459" y="1445"/>
                </a:lnTo>
                <a:lnTo>
                  <a:pt x="1457" y="1445"/>
                </a:lnTo>
                <a:lnTo>
                  <a:pt x="1457" y="1443"/>
                </a:lnTo>
                <a:close/>
                <a:moveTo>
                  <a:pt x="1450" y="1453"/>
                </a:moveTo>
                <a:lnTo>
                  <a:pt x="1452" y="1453"/>
                </a:lnTo>
                <a:lnTo>
                  <a:pt x="1452" y="1455"/>
                </a:lnTo>
                <a:lnTo>
                  <a:pt x="1450" y="1453"/>
                </a:lnTo>
                <a:close/>
                <a:moveTo>
                  <a:pt x="1367" y="1639"/>
                </a:moveTo>
                <a:lnTo>
                  <a:pt x="1365" y="1639"/>
                </a:lnTo>
                <a:lnTo>
                  <a:pt x="1367" y="1639"/>
                </a:lnTo>
                <a:close/>
                <a:moveTo>
                  <a:pt x="1336" y="1980"/>
                </a:moveTo>
                <a:lnTo>
                  <a:pt x="1338" y="1980"/>
                </a:lnTo>
                <a:lnTo>
                  <a:pt x="1338" y="1982"/>
                </a:lnTo>
                <a:lnTo>
                  <a:pt x="1336" y="1982"/>
                </a:lnTo>
                <a:lnTo>
                  <a:pt x="1336" y="1980"/>
                </a:lnTo>
                <a:close/>
                <a:moveTo>
                  <a:pt x="1386" y="1843"/>
                </a:moveTo>
                <a:lnTo>
                  <a:pt x="1387" y="1843"/>
                </a:lnTo>
                <a:lnTo>
                  <a:pt x="1387" y="1846"/>
                </a:lnTo>
                <a:lnTo>
                  <a:pt x="1386" y="1846"/>
                </a:lnTo>
                <a:lnTo>
                  <a:pt x="1386" y="1843"/>
                </a:lnTo>
                <a:close/>
                <a:moveTo>
                  <a:pt x="1146" y="2025"/>
                </a:moveTo>
                <a:lnTo>
                  <a:pt x="1146" y="2026"/>
                </a:lnTo>
                <a:lnTo>
                  <a:pt x="1146" y="2025"/>
                </a:lnTo>
                <a:close/>
                <a:moveTo>
                  <a:pt x="1360" y="1644"/>
                </a:moveTo>
                <a:lnTo>
                  <a:pt x="1362" y="1644"/>
                </a:lnTo>
                <a:lnTo>
                  <a:pt x="1362" y="1645"/>
                </a:lnTo>
                <a:lnTo>
                  <a:pt x="1360" y="1644"/>
                </a:lnTo>
                <a:close/>
                <a:moveTo>
                  <a:pt x="1457" y="1462"/>
                </a:moveTo>
                <a:lnTo>
                  <a:pt x="1457" y="1460"/>
                </a:lnTo>
                <a:lnTo>
                  <a:pt x="1457" y="1462"/>
                </a:lnTo>
                <a:close/>
                <a:moveTo>
                  <a:pt x="1404" y="1873"/>
                </a:moveTo>
                <a:lnTo>
                  <a:pt x="1406" y="1873"/>
                </a:lnTo>
                <a:lnTo>
                  <a:pt x="1404" y="1875"/>
                </a:lnTo>
                <a:lnTo>
                  <a:pt x="1404" y="1873"/>
                </a:lnTo>
                <a:close/>
                <a:moveTo>
                  <a:pt x="1183" y="2125"/>
                </a:moveTo>
                <a:lnTo>
                  <a:pt x="1185" y="2125"/>
                </a:lnTo>
                <a:lnTo>
                  <a:pt x="1185" y="2127"/>
                </a:lnTo>
                <a:lnTo>
                  <a:pt x="1183" y="2127"/>
                </a:lnTo>
                <a:lnTo>
                  <a:pt x="1183" y="2125"/>
                </a:lnTo>
                <a:close/>
                <a:moveTo>
                  <a:pt x="1331" y="2016"/>
                </a:moveTo>
                <a:lnTo>
                  <a:pt x="1333" y="2016"/>
                </a:lnTo>
                <a:lnTo>
                  <a:pt x="1333" y="2018"/>
                </a:lnTo>
                <a:lnTo>
                  <a:pt x="1331" y="2016"/>
                </a:lnTo>
                <a:close/>
                <a:moveTo>
                  <a:pt x="1421" y="2011"/>
                </a:moveTo>
                <a:lnTo>
                  <a:pt x="1423" y="2011"/>
                </a:lnTo>
                <a:lnTo>
                  <a:pt x="1423" y="2013"/>
                </a:lnTo>
                <a:lnTo>
                  <a:pt x="1421" y="2013"/>
                </a:lnTo>
                <a:lnTo>
                  <a:pt x="1421" y="2011"/>
                </a:lnTo>
                <a:close/>
                <a:moveTo>
                  <a:pt x="1331" y="1749"/>
                </a:moveTo>
                <a:lnTo>
                  <a:pt x="1333" y="1749"/>
                </a:lnTo>
                <a:lnTo>
                  <a:pt x="1333" y="1751"/>
                </a:lnTo>
                <a:lnTo>
                  <a:pt x="1331" y="1751"/>
                </a:lnTo>
                <a:lnTo>
                  <a:pt x="1331" y="1749"/>
                </a:lnTo>
                <a:close/>
                <a:moveTo>
                  <a:pt x="1129" y="1992"/>
                </a:moveTo>
                <a:lnTo>
                  <a:pt x="1131" y="1992"/>
                </a:lnTo>
                <a:lnTo>
                  <a:pt x="1131" y="1994"/>
                </a:lnTo>
                <a:lnTo>
                  <a:pt x="1129" y="1994"/>
                </a:lnTo>
                <a:lnTo>
                  <a:pt x="1129" y="1992"/>
                </a:lnTo>
                <a:close/>
                <a:moveTo>
                  <a:pt x="1430" y="1441"/>
                </a:moveTo>
                <a:lnTo>
                  <a:pt x="1432" y="1441"/>
                </a:lnTo>
                <a:lnTo>
                  <a:pt x="1433" y="1445"/>
                </a:lnTo>
                <a:lnTo>
                  <a:pt x="1432" y="1445"/>
                </a:lnTo>
                <a:lnTo>
                  <a:pt x="1430" y="1441"/>
                </a:lnTo>
                <a:close/>
                <a:moveTo>
                  <a:pt x="1336" y="2038"/>
                </a:moveTo>
                <a:lnTo>
                  <a:pt x="1336" y="2040"/>
                </a:lnTo>
                <a:lnTo>
                  <a:pt x="1336" y="2038"/>
                </a:lnTo>
                <a:close/>
                <a:moveTo>
                  <a:pt x="1406" y="1872"/>
                </a:moveTo>
                <a:lnTo>
                  <a:pt x="1408" y="1872"/>
                </a:lnTo>
                <a:lnTo>
                  <a:pt x="1406" y="1872"/>
                </a:lnTo>
                <a:close/>
                <a:moveTo>
                  <a:pt x="1379" y="1928"/>
                </a:moveTo>
                <a:lnTo>
                  <a:pt x="1381" y="1929"/>
                </a:lnTo>
                <a:lnTo>
                  <a:pt x="1379" y="1928"/>
                </a:lnTo>
                <a:close/>
                <a:moveTo>
                  <a:pt x="1398" y="1889"/>
                </a:moveTo>
                <a:lnTo>
                  <a:pt x="1398" y="1890"/>
                </a:lnTo>
                <a:lnTo>
                  <a:pt x="1396" y="1890"/>
                </a:lnTo>
                <a:lnTo>
                  <a:pt x="1398" y="1889"/>
                </a:lnTo>
                <a:close/>
                <a:moveTo>
                  <a:pt x="1399" y="1901"/>
                </a:moveTo>
                <a:lnTo>
                  <a:pt x="1401" y="1902"/>
                </a:lnTo>
                <a:lnTo>
                  <a:pt x="1399" y="1902"/>
                </a:lnTo>
                <a:lnTo>
                  <a:pt x="1399" y="1901"/>
                </a:lnTo>
                <a:close/>
                <a:moveTo>
                  <a:pt x="1438" y="1457"/>
                </a:moveTo>
                <a:lnTo>
                  <a:pt x="1440" y="1457"/>
                </a:lnTo>
                <a:lnTo>
                  <a:pt x="1438" y="1457"/>
                </a:lnTo>
                <a:close/>
                <a:moveTo>
                  <a:pt x="1396" y="1884"/>
                </a:moveTo>
                <a:lnTo>
                  <a:pt x="1396" y="1885"/>
                </a:lnTo>
                <a:lnTo>
                  <a:pt x="1396" y="1884"/>
                </a:lnTo>
                <a:close/>
                <a:moveTo>
                  <a:pt x="1394" y="1895"/>
                </a:moveTo>
                <a:lnTo>
                  <a:pt x="1394" y="1897"/>
                </a:lnTo>
                <a:lnTo>
                  <a:pt x="1393" y="1897"/>
                </a:lnTo>
                <a:lnTo>
                  <a:pt x="1394" y="1895"/>
                </a:lnTo>
                <a:close/>
                <a:moveTo>
                  <a:pt x="1440" y="1457"/>
                </a:moveTo>
                <a:lnTo>
                  <a:pt x="1442" y="1457"/>
                </a:lnTo>
                <a:lnTo>
                  <a:pt x="1442" y="1458"/>
                </a:lnTo>
                <a:lnTo>
                  <a:pt x="1440" y="1458"/>
                </a:lnTo>
                <a:lnTo>
                  <a:pt x="1440" y="1457"/>
                </a:lnTo>
                <a:close/>
                <a:moveTo>
                  <a:pt x="1338" y="1659"/>
                </a:moveTo>
                <a:lnTo>
                  <a:pt x="1340" y="1659"/>
                </a:lnTo>
                <a:lnTo>
                  <a:pt x="1340" y="1661"/>
                </a:lnTo>
                <a:lnTo>
                  <a:pt x="1338" y="1661"/>
                </a:lnTo>
                <a:lnTo>
                  <a:pt x="1338" y="1659"/>
                </a:lnTo>
                <a:close/>
                <a:moveTo>
                  <a:pt x="1328" y="1977"/>
                </a:moveTo>
                <a:lnTo>
                  <a:pt x="1330" y="1977"/>
                </a:lnTo>
                <a:lnTo>
                  <a:pt x="1330" y="1979"/>
                </a:lnTo>
                <a:lnTo>
                  <a:pt x="1328" y="1979"/>
                </a:lnTo>
                <a:lnTo>
                  <a:pt x="1328" y="1977"/>
                </a:lnTo>
                <a:close/>
                <a:moveTo>
                  <a:pt x="1343" y="1987"/>
                </a:moveTo>
                <a:lnTo>
                  <a:pt x="1345" y="1987"/>
                </a:lnTo>
                <a:lnTo>
                  <a:pt x="1342" y="1989"/>
                </a:lnTo>
                <a:lnTo>
                  <a:pt x="1343" y="1987"/>
                </a:lnTo>
                <a:close/>
                <a:moveTo>
                  <a:pt x="1377" y="1627"/>
                </a:moveTo>
                <a:lnTo>
                  <a:pt x="1377" y="1628"/>
                </a:lnTo>
                <a:lnTo>
                  <a:pt x="1377" y="1627"/>
                </a:lnTo>
                <a:close/>
                <a:moveTo>
                  <a:pt x="1311" y="2147"/>
                </a:moveTo>
                <a:lnTo>
                  <a:pt x="1311" y="2149"/>
                </a:lnTo>
                <a:lnTo>
                  <a:pt x="1311" y="2147"/>
                </a:lnTo>
                <a:close/>
                <a:moveTo>
                  <a:pt x="1428" y="1468"/>
                </a:moveTo>
                <a:lnTo>
                  <a:pt x="1430" y="1468"/>
                </a:lnTo>
                <a:lnTo>
                  <a:pt x="1428" y="1468"/>
                </a:lnTo>
                <a:close/>
                <a:moveTo>
                  <a:pt x="1149" y="2011"/>
                </a:moveTo>
                <a:lnTo>
                  <a:pt x="1149" y="2013"/>
                </a:lnTo>
                <a:lnTo>
                  <a:pt x="1149" y="2011"/>
                </a:lnTo>
                <a:close/>
                <a:moveTo>
                  <a:pt x="1331" y="1693"/>
                </a:moveTo>
                <a:lnTo>
                  <a:pt x="1333" y="1693"/>
                </a:lnTo>
                <a:lnTo>
                  <a:pt x="1331" y="1693"/>
                </a:lnTo>
                <a:close/>
                <a:moveTo>
                  <a:pt x="1359" y="1941"/>
                </a:moveTo>
                <a:lnTo>
                  <a:pt x="1360" y="1941"/>
                </a:lnTo>
                <a:lnTo>
                  <a:pt x="1360" y="1943"/>
                </a:lnTo>
                <a:lnTo>
                  <a:pt x="1359" y="1943"/>
                </a:lnTo>
                <a:lnTo>
                  <a:pt x="1359" y="1941"/>
                </a:lnTo>
                <a:close/>
                <a:moveTo>
                  <a:pt x="1136" y="2001"/>
                </a:moveTo>
                <a:lnTo>
                  <a:pt x="1138" y="2001"/>
                </a:lnTo>
                <a:lnTo>
                  <a:pt x="1138" y="2003"/>
                </a:lnTo>
                <a:lnTo>
                  <a:pt x="1136" y="2003"/>
                </a:lnTo>
                <a:lnTo>
                  <a:pt x="1136" y="2001"/>
                </a:lnTo>
                <a:close/>
                <a:moveTo>
                  <a:pt x="1384" y="1839"/>
                </a:moveTo>
                <a:lnTo>
                  <a:pt x="1386" y="1839"/>
                </a:lnTo>
                <a:lnTo>
                  <a:pt x="1386" y="1841"/>
                </a:lnTo>
                <a:lnTo>
                  <a:pt x="1384" y="1839"/>
                </a:lnTo>
                <a:close/>
                <a:moveTo>
                  <a:pt x="1386" y="2052"/>
                </a:moveTo>
                <a:lnTo>
                  <a:pt x="1387" y="2052"/>
                </a:lnTo>
                <a:lnTo>
                  <a:pt x="1386" y="2052"/>
                </a:lnTo>
                <a:close/>
                <a:moveTo>
                  <a:pt x="1151" y="2047"/>
                </a:moveTo>
                <a:lnTo>
                  <a:pt x="1153" y="2047"/>
                </a:lnTo>
                <a:lnTo>
                  <a:pt x="1153" y="2049"/>
                </a:lnTo>
                <a:lnTo>
                  <a:pt x="1151" y="2049"/>
                </a:lnTo>
                <a:lnTo>
                  <a:pt x="1151" y="2047"/>
                </a:lnTo>
                <a:close/>
                <a:moveTo>
                  <a:pt x="1340" y="1975"/>
                </a:moveTo>
                <a:lnTo>
                  <a:pt x="1342" y="1977"/>
                </a:lnTo>
                <a:lnTo>
                  <a:pt x="1340" y="1977"/>
                </a:lnTo>
                <a:lnTo>
                  <a:pt x="1340" y="1975"/>
                </a:lnTo>
                <a:close/>
                <a:moveTo>
                  <a:pt x="1386" y="1846"/>
                </a:moveTo>
                <a:lnTo>
                  <a:pt x="1387" y="1846"/>
                </a:lnTo>
                <a:lnTo>
                  <a:pt x="1387" y="1848"/>
                </a:lnTo>
                <a:lnTo>
                  <a:pt x="1386" y="1846"/>
                </a:lnTo>
                <a:close/>
                <a:moveTo>
                  <a:pt x="1391" y="1899"/>
                </a:moveTo>
                <a:lnTo>
                  <a:pt x="1393" y="1899"/>
                </a:lnTo>
                <a:lnTo>
                  <a:pt x="1393" y="1901"/>
                </a:lnTo>
                <a:lnTo>
                  <a:pt x="1391" y="1901"/>
                </a:lnTo>
                <a:lnTo>
                  <a:pt x="1391" y="1899"/>
                </a:lnTo>
                <a:close/>
                <a:moveTo>
                  <a:pt x="1369" y="1635"/>
                </a:moveTo>
                <a:lnTo>
                  <a:pt x="1369" y="1637"/>
                </a:lnTo>
                <a:lnTo>
                  <a:pt x="1369" y="1635"/>
                </a:lnTo>
                <a:close/>
                <a:moveTo>
                  <a:pt x="1498" y="1424"/>
                </a:moveTo>
                <a:lnTo>
                  <a:pt x="1500" y="1424"/>
                </a:lnTo>
                <a:lnTo>
                  <a:pt x="1500" y="1426"/>
                </a:lnTo>
                <a:lnTo>
                  <a:pt x="1498" y="1426"/>
                </a:lnTo>
                <a:lnTo>
                  <a:pt x="1498" y="1424"/>
                </a:lnTo>
                <a:close/>
                <a:moveTo>
                  <a:pt x="1143" y="1991"/>
                </a:moveTo>
                <a:lnTo>
                  <a:pt x="1143" y="1992"/>
                </a:lnTo>
                <a:lnTo>
                  <a:pt x="1143" y="1991"/>
                </a:lnTo>
                <a:close/>
                <a:moveTo>
                  <a:pt x="1472" y="1429"/>
                </a:moveTo>
                <a:lnTo>
                  <a:pt x="1474" y="1431"/>
                </a:lnTo>
                <a:lnTo>
                  <a:pt x="1472" y="1431"/>
                </a:lnTo>
                <a:lnTo>
                  <a:pt x="1472" y="1429"/>
                </a:lnTo>
                <a:close/>
                <a:moveTo>
                  <a:pt x="1143" y="2011"/>
                </a:moveTo>
                <a:lnTo>
                  <a:pt x="1144" y="2011"/>
                </a:lnTo>
                <a:lnTo>
                  <a:pt x="1144" y="2013"/>
                </a:lnTo>
                <a:lnTo>
                  <a:pt x="1143" y="2013"/>
                </a:lnTo>
                <a:lnTo>
                  <a:pt x="1143" y="2011"/>
                </a:lnTo>
                <a:close/>
                <a:moveTo>
                  <a:pt x="1387" y="1841"/>
                </a:moveTo>
                <a:lnTo>
                  <a:pt x="1389" y="1841"/>
                </a:lnTo>
                <a:lnTo>
                  <a:pt x="1389" y="1843"/>
                </a:lnTo>
                <a:lnTo>
                  <a:pt x="1387" y="1843"/>
                </a:lnTo>
                <a:lnTo>
                  <a:pt x="1387" y="1841"/>
                </a:lnTo>
                <a:close/>
                <a:moveTo>
                  <a:pt x="1326" y="1753"/>
                </a:moveTo>
                <a:lnTo>
                  <a:pt x="1328" y="1753"/>
                </a:lnTo>
                <a:lnTo>
                  <a:pt x="1328" y="1754"/>
                </a:lnTo>
                <a:lnTo>
                  <a:pt x="1326" y="1754"/>
                </a:lnTo>
                <a:lnTo>
                  <a:pt x="1326" y="1753"/>
                </a:lnTo>
                <a:close/>
                <a:moveTo>
                  <a:pt x="1365" y="1630"/>
                </a:moveTo>
                <a:lnTo>
                  <a:pt x="1367" y="1630"/>
                </a:lnTo>
                <a:lnTo>
                  <a:pt x="1365" y="1630"/>
                </a:lnTo>
                <a:close/>
                <a:moveTo>
                  <a:pt x="1333" y="2038"/>
                </a:moveTo>
                <a:lnTo>
                  <a:pt x="1335" y="2038"/>
                </a:lnTo>
                <a:lnTo>
                  <a:pt x="1333" y="2038"/>
                </a:lnTo>
                <a:close/>
                <a:moveTo>
                  <a:pt x="1379" y="1844"/>
                </a:moveTo>
                <a:lnTo>
                  <a:pt x="1381" y="1844"/>
                </a:lnTo>
                <a:lnTo>
                  <a:pt x="1379" y="1844"/>
                </a:lnTo>
                <a:close/>
                <a:moveTo>
                  <a:pt x="1126" y="1952"/>
                </a:moveTo>
                <a:lnTo>
                  <a:pt x="1126" y="1953"/>
                </a:lnTo>
                <a:lnTo>
                  <a:pt x="1126" y="1952"/>
                </a:lnTo>
                <a:close/>
                <a:moveTo>
                  <a:pt x="1331" y="1754"/>
                </a:moveTo>
                <a:lnTo>
                  <a:pt x="1331" y="1756"/>
                </a:lnTo>
                <a:lnTo>
                  <a:pt x="1331" y="1754"/>
                </a:lnTo>
                <a:close/>
                <a:moveTo>
                  <a:pt x="1382" y="1902"/>
                </a:moveTo>
                <a:lnTo>
                  <a:pt x="1384" y="1902"/>
                </a:lnTo>
                <a:lnTo>
                  <a:pt x="1381" y="1902"/>
                </a:lnTo>
                <a:lnTo>
                  <a:pt x="1382" y="1902"/>
                </a:lnTo>
                <a:close/>
                <a:moveTo>
                  <a:pt x="1144" y="2033"/>
                </a:moveTo>
                <a:lnTo>
                  <a:pt x="1146" y="2033"/>
                </a:lnTo>
                <a:lnTo>
                  <a:pt x="1146" y="2035"/>
                </a:lnTo>
                <a:lnTo>
                  <a:pt x="1144" y="2035"/>
                </a:lnTo>
                <a:lnTo>
                  <a:pt x="1144" y="2033"/>
                </a:lnTo>
                <a:close/>
                <a:moveTo>
                  <a:pt x="1452" y="1446"/>
                </a:moveTo>
                <a:lnTo>
                  <a:pt x="1454" y="1448"/>
                </a:lnTo>
                <a:lnTo>
                  <a:pt x="1450" y="1446"/>
                </a:lnTo>
                <a:lnTo>
                  <a:pt x="1452" y="1446"/>
                </a:lnTo>
                <a:close/>
                <a:moveTo>
                  <a:pt x="1404" y="1882"/>
                </a:moveTo>
                <a:lnTo>
                  <a:pt x="1406" y="1882"/>
                </a:lnTo>
                <a:lnTo>
                  <a:pt x="1406" y="1884"/>
                </a:lnTo>
                <a:lnTo>
                  <a:pt x="1404" y="1884"/>
                </a:lnTo>
                <a:lnTo>
                  <a:pt x="1404" y="1882"/>
                </a:lnTo>
                <a:close/>
                <a:moveTo>
                  <a:pt x="1483" y="1433"/>
                </a:moveTo>
                <a:lnTo>
                  <a:pt x="1483" y="1434"/>
                </a:lnTo>
                <a:lnTo>
                  <a:pt x="1483" y="1433"/>
                </a:lnTo>
                <a:close/>
                <a:moveTo>
                  <a:pt x="1336" y="2040"/>
                </a:moveTo>
                <a:lnTo>
                  <a:pt x="1338" y="2042"/>
                </a:lnTo>
                <a:lnTo>
                  <a:pt x="1336" y="2042"/>
                </a:lnTo>
                <a:lnTo>
                  <a:pt x="1336" y="2040"/>
                </a:lnTo>
                <a:close/>
                <a:moveTo>
                  <a:pt x="1398" y="1897"/>
                </a:moveTo>
                <a:lnTo>
                  <a:pt x="1399" y="1897"/>
                </a:lnTo>
                <a:lnTo>
                  <a:pt x="1399" y="1899"/>
                </a:lnTo>
                <a:lnTo>
                  <a:pt x="1398" y="1899"/>
                </a:lnTo>
                <a:lnTo>
                  <a:pt x="1398" y="1897"/>
                </a:lnTo>
                <a:close/>
                <a:moveTo>
                  <a:pt x="1394" y="1916"/>
                </a:moveTo>
                <a:lnTo>
                  <a:pt x="1396" y="1916"/>
                </a:lnTo>
                <a:lnTo>
                  <a:pt x="1396" y="1918"/>
                </a:lnTo>
                <a:lnTo>
                  <a:pt x="1394" y="1918"/>
                </a:lnTo>
                <a:lnTo>
                  <a:pt x="1394" y="1916"/>
                </a:lnTo>
                <a:close/>
                <a:moveTo>
                  <a:pt x="1403" y="1907"/>
                </a:moveTo>
                <a:lnTo>
                  <a:pt x="1401" y="1907"/>
                </a:lnTo>
                <a:lnTo>
                  <a:pt x="1403" y="1907"/>
                </a:lnTo>
                <a:close/>
                <a:moveTo>
                  <a:pt x="1148" y="2023"/>
                </a:moveTo>
                <a:lnTo>
                  <a:pt x="1148" y="2025"/>
                </a:lnTo>
                <a:lnTo>
                  <a:pt x="1146" y="2023"/>
                </a:lnTo>
                <a:lnTo>
                  <a:pt x="1148" y="2023"/>
                </a:lnTo>
                <a:close/>
                <a:moveTo>
                  <a:pt x="1350" y="1953"/>
                </a:moveTo>
                <a:lnTo>
                  <a:pt x="1352" y="1955"/>
                </a:lnTo>
                <a:lnTo>
                  <a:pt x="1350" y="1955"/>
                </a:lnTo>
                <a:lnTo>
                  <a:pt x="1350" y="1953"/>
                </a:lnTo>
                <a:close/>
                <a:moveTo>
                  <a:pt x="1404" y="1902"/>
                </a:moveTo>
                <a:lnTo>
                  <a:pt x="1404" y="1904"/>
                </a:lnTo>
                <a:lnTo>
                  <a:pt x="1404" y="1902"/>
                </a:lnTo>
                <a:close/>
                <a:moveTo>
                  <a:pt x="1274" y="2151"/>
                </a:moveTo>
                <a:lnTo>
                  <a:pt x="1275" y="2151"/>
                </a:lnTo>
                <a:lnTo>
                  <a:pt x="1275" y="2152"/>
                </a:lnTo>
                <a:lnTo>
                  <a:pt x="1274" y="2152"/>
                </a:lnTo>
                <a:lnTo>
                  <a:pt x="1274" y="2151"/>
                </a:lnTo>
                <a:close/>
                <a:moveTo>
                  <a:pt x="1340" y="1987"/>
                </a:moveTo>
                <a:lnTo>
                  <a:pt x="1340" y="1989"/>
                </a:lnTo>
                <a:lnTo>
                  <a:pt x="1340" y="1987"/>
                </a:lnTo>
                <a:close/>
                <a:moveTo>
                  <a:pt x="1333" y="2032"/>
                </a:moveTo>
                <a:lnTo>
                  <a:pt x="1335" y="2032"/>
                </a:lnTo>
                <a:lnTo>
                  <a:pt x="1335" y="2033"/>
                </a:lnTo>
                <a:lnTo>
                  <a:pt x="1333" y="2033"/>
                </a:lnTo>
                <a:lnTo>
                  <a:pt x="1333" y="2032"/>
                </a:lnTo>
                <a:close/>
                <a:moveTo>
                  <a:pt x="1421" y="2037"/>
                </a:moveTo>
                <a:lnTo>
                  <a:pt x="1423" y="2037"/>
                </a:lnTo>
                <a:lnTo>
                  <a:pt x="1423" y="2038"/>
                </a:lnTo>
                <a:lnTo>
                  <a:pt x="1421" y="2038"/>
                </a:lnTo>
                <a:lnTo>
                  <a:pt x="1421" y="2037"/>
                </a:lnTo>
                <a:close/>
                <a:moveTo>
                  <a:pt x="1394" y="1918"/>
                </a:moveTo>
                <a:lnTo>
                  <a:pt x="1396" y="1918"/>
                </a:lnTo>
                <a:lnTo>
                  <a:pt x="1396" y="1919"/>
                </a:lnTo>
                <a:lnTo>
                  <a:pt x="1394" y="1919"/>
                </a:lnTo>
                <a:lnTo>
                  <a:pt x="1394" y="1918"/>
                </a:lnTo>
                <a:close/>
                <a:moveTo>
                  <a:pt x="1401" y="1907"/>
                </a:moveTo>
                <a:lnTo>
                  <a:pt x="1403" y="1907"/>
                </a:lnTo>
                <a:lnTo>
                  <a:pt x="1403" y="1909"/>
                </a:lnTo>
                <a:lnTo>
                  <a:pt x="1401" y="1909"/>
                </a:lnTo>
                <a:lnTo>
                  <a:pt x="1401" y="1907"/>
                </a:lnTo>
                <a:close/>
                <a:moveTo>
                  <a:pt x="1336" y="1977"/>
                </a:moveTo>
                <a:lnTo>
                  <a:pt x="1338" y="1977"/>
                </a:lnTo>
                <a:lnTo>
                  <a:pt x="1338" y="1979"/>
                </a:lnTo>
                <a:lnTo>
                  <a:pt x="1336" y="1979"/>
                </a:lnTo>
                <a:lnTo>
                  <a:pt x="1336" y="1977"/>
                </a:lnTo>
                <a:close/>
                <a:moveTo>
                  <a:pt x="1372" y="1940"/>
                </a:moveTo>
                <a:lnTo>
                  <a:pt x="1374" y="1940"/>
                </a:lnTo>
                <a:lnTo>
                  <a:pt x="1374" y="1941"/>
                </a:lnTo>
                <a:lnTo>
                  <a:pt x="1372" y="1940"/>
                </a:lnTo>
                <a:close/>
                <a:moveTo>
                  <a:pt x="1394" y="1899"/>
                </a:moveTo>
                <a:lnTo>
                  <a:pt x="1396" y="1899"/>
                </a:lnTo>
                <a:lnTo>
                  <a:pt x="1394" y="1901"/>
                </a:lnTo>
                <a:lnTo>
                  <a:pt x="1394" y="1899"/>
                </a:lnTo>
                <a:close/>
                <a:moveTo>
                  <a:pt x="1151" y="2045"/>
                </a:moveTo>
                <a:lnTo>
                  <a:pt x="1153" y="2045"/>
                </a:lnTo>
                <a:lnTo>
                  <a:pt x="1153" y="2047"/>
                </a:lnTo>
                <a:lnTo>
                  <a:pt x="1151" y="2045"/>
                </a:lnTo>
                <a:close/>
                <a:moveTo>
                  <a:pt x="1364" y="1943"/>
                </a:moveTo>
                <a:lnTo>
                  <a:pt x="1365" y="1943"/>
                </a:lnTo>
                <a:lnTo>
                  <a:pt x="1365" y="1945"/>
                </a:lnTo>
                <a:lnTo>
                  <a:pt x="1364" y="1945"/>
                </a:lnTo>
                <a:lnTo>
                  <a:pt x="1364" y="1943"/>
                </a:lnTo>
                <a:close/>
                <a:moveTo>
                  <a:pt x="1342" y="1991"/>
                </a:moveTo>
                <a:lnTo>
                  <a:pt x="1340" y="1991"/>
                </a:lnTo>
                <a:lnTo>
                  <a:pt x="1342" y="1991"/>
                </a:lnTo>
                <a:close/>
                <a:moveTo>
                  <a:pt x="1129" y="1974"/>
                </a:moveTo>
                <a:lnTo>
                  <a:pt x="1131" y="1974"/>
                </a:lnTo>
                <a:lnTo>
                  <a:pt x="1131" y="1975"/>
                </a:lnTo>
                <a:lnTo>
                  <a:pt x="1129" y="1975"/>
                </a:lnTo>
                <a:lnTo>
                  <a:pt x="1129" y="1974"/>
                </a:lnTo>
                <a:close/>
                <a:moveTo>
                  <a:pt x="1330" y="2016"/>
                </a:moveTo>
                <a:lnTo>
                  <a:pt x="1331" y="2016"/>
                </a:lnTo>
                <a:lnTo>
                  <a:pt x="1331" y="2018"/>
                </a:lnTo>
                <a:lnTo>
                  <a:pt x="1330" y="2018"/>
                </a:lnTo>
                <a:lnTo>
                  <a:pt x="1330" y="2016"/>
                </a:lnTo>
                <a:close/>
                <a:moveTo>
                  <a:pt x="1151" y="2013"/>
                </a:moveTo>
                <a:lnTo>
                  <a:pt x="1151" y="2015"/>
                </a:lnTo>
                <a:lnTo>
                  <a:pt x="1151" y="2013"/>
                </a:lnTo>
                <a:close/>
                <a:moveTo>
                  <a:pt x="1410" y="1885"/>
                </a:moveTo>
                <a:lnTo>
                  <a:pt x="1411" y="1885"/>
                </a:lnTo>
                <a:lnTo>
                  <a:pt x="1411" y="1887"/>
                </a:lnTo>
                <a:lnTo>
                  <a:pt x="1410" y="1887"/>
                </a:lnTo>
                <a:lnTo>
                  <a:pt x="1410" y="1885"/>
                </a:lnTo>
                <a:close/>
                <a:moveTo>
                  <a:pt x="1501" y="1431"/>
                </a:moveTo>
                <a:lnTo>
                  <a:pt x="1500" y="1431"/>
                </a:lnTo>
                <a:lnTo>
                  <a:pt x="1501" y="1431"/>
                </a:lnTo>
                <a:close/>
                <a:moveTo>
                  <a:pt x="1299" y="2144"/>
                </a:moveTo>
                <a:lnTo>
                  <a:pt x="1299" y="2145"/>
                </a:lnTo>
                <a:lnTo>
                  <a:pt x="1299" y="2144"/>
                </a:lnTo>
                <a:close/>
                <a:moveTo>
                  <a:pt x="1384" y="1902"/>
                </a:moveTo>
                <a:lnTo>
                  <a:pt x="1386" y="1902"/>
                </a:lnTo>
                <a:lnTo>
                  <a:pt x="1384" y="1902"/>
                </a:lnTo>
                <a:close/>
                <a:moveTo>
                  <a:pt x="1467" y="1441"/>
                </a:moveTo>
                <a:lnTo>
                  <a:pt x="1467" y="1443"/>
                </a:lnTo>
                <a:lnTo>
                  <a:pt x="1467" y="1441"/>
                </a:lnTo>
                <a:close/>
                <a:moveTo>
                  <a:pt x="1370" y="1948"/>
                </a:moveTo>
                <a:lnTo>
                  <a:pt x="1370" y="1952"/>
                </a:lnTo>
                <a:lnTo>
                  <a:pt x="1370" y="1948"/>
                </a:lnTo>
                <a:close/>
                <a:moveTo>
                  <a:pt x="1399" y="1894"/>
                </a:moveTo>
                <a:lnTo>
                  <a:pt x="1401" y="1894"/>
                </a:lnTo>
                <a:lnTo>
                  <a:pt x="1399" y="1894"/>
                </a:lnTo>
                <a:close/>
                <a:moveTo>
                  <a:pt x="1394" y="1923"/>
                </a:moveTo>
                <a:lnTo>
                  <a:pt x="1396" y="1923"/>
                </a:lnTo>
                <a:lnTo>
                  <a:pt x="1396" y="1924"/>
                </a:lnTo>
                <a:lnTo>
                  <a:pt x="1394" y="1923"/>
                </a:lnTo>
                <a:close/>
                <a:moveTo>
                  <a:pt x="1398" y="1912"/>
                </a:moveTo>
                <a:lnTo>
                  <a:pt x="1399" y="1912"/>
                </a:lnTo>
                <a:lnTo>
                  <a:pt x="1399" y="1914"/>
                </a:lnTo>
                <a:lnTo>
                  <a:pt x="1398" y="1912"/>
                </a:lnTo>
                <a:close/>
                <a:moveTo>
                  <a:pt x="1326" y="1754"/>
                </a:moveTo>
                <a:lnTo>
                  <a:pt x="1328" y="1754"/>
                </a:lnTo>
                <a:lnTo>
                  <a:pt x="1326" y="1754"/>
                </a:lnTo>
                <a:close/>
                <a:moveTo>
                  <a:pt x="1459" y="1431"/>
                </a:moveTo>
                <a:lnTo>
                  <a:pt x="1459" y="1433"/>
                </a:lnTo>
                <a:lnTo>
                  <a:pt x="1459" y="1431"/>
                </a:lnTo>
                <a:close/>
                <a:moveTo>
                  <a:pt x="1336" y="2009"/>
                </a:moveTo>
                <a:lnTo>
                  <a:pt x="1338" y="2009"/>
                </a:lnTo>
                <a:lnTo>
                  <a:pt x="1338" y="2011"/>
                </a:lnTo>
                <a:lnTo>
                  <a:pt x="1336" y="2011"/>
                </a:lnTo>
                <a:lnTo>
                  <a:pt x="1336" y="2009"/>
                </a:lnTo>
                <a:close/>
                <a:moveTo>
                  <a:pt x="1129" y="1970"/>
                </a:moveTo>
                <a:lnTo>
                  <a:pt x="1129" y="1972"/>
                </a:lnTo>
                <a:lnTo>
                  <a:pt x="1129" y="1970"/>
                </a:lnTo>
                <a:close/>
                <a:moveTo>
                  <a:pt x="1396" y="1605"/>
                </a:moveTo>
                <a:lnTo>
                  <a:pt x="1398" y="1605"/>
                </a:lnTo>
                <a:lnTo>
                  <a:pt x="1398" y="1606"/>
                </a:lnTo>
                <a:lnTo>
                  <a:pt x="1396" y="1605"/>
                </a:lnTo>
                <a:close/>
                <a:moveTo>
                  <a:pt x="1396" y="1901"/>
                </a:moveTo>
                <a:lnTo>
                  <a:pt x="1398" y="1901"/>
                </a:lnTo>
                <a:lnTo>
                  <a:pt x="1396" y="1901"/>
                </a:lnTo>
                <a:close/>
                <a:moveTo>
                  <a:pt x="1393" y="1928"/>
                </a:moveTo>
                <a:lnTo>
                  <a:pt x="1394" y="1928"/>
                </a:lnTo>
                <a:lnTo>
                  <a:pt x="1394" y="1929"/>
                </a:lnTo>
                <a:lnTo>
                  <a:pt x="1393" y="1929"/>
                </a:lnTo>
                <a:lnTo>
                  <a:pt x="1393" y="1928"/>
                </a:lnTo>
                <a:close/>
                <a:moveTo>
                  <a:pt x="1338" y="2038"/>
                </a:moveTo>
                <a:lnTo>
                  <a:pt x="1338" y="2040"/>
                </a:lnTo>
                <a:lnTo>
                  <a:pt x="1338" y="2038"/>
                </a:lnTo>
                <a:close/>
                <a:moveTo>
                  <a:pt x="1386" y="1914"/>
                </a:moveTo>
                <a:lnTo>
                  <a:pt x="1387" y="1916"/>
                </a:lnTo>
                <a:lnTo>
                  <a:pt x="1386" y="1916"/>
                </a:lnTo>
                <a:lnTo>
                  <a:pt x="1386" y="1914"/>
                </a:lnTo>
                <a:close/>
                <a:moveTo>
                  <a:pt x="1379" y="1929"/>
                </a:moveTo>
                <a:lnTo>
                  <a:pt x="1381" y="1929"/>
                </a:lnTo>
                <a:lnTo>
                  <a:pt x="1379" y="1929"/>
                </a:lnTo>
                <a:close/>
                <a:moveTo>
                  <a:pt x="1459" y="1431"/>
                </a:moveTo>
                <a:lnTo>
                  <a:pt x="1461" y="1433"/>
                </a:lnTo>
                <a:lnTo>
                  <a:pt x="1459" y="1433"/>
                </a:lnTo>
                <a:lnTo>
                  <a:pt x="1459" y="1431"/>
                </a:lnTo>
                <a:close/>
                <a:moveTo>
                  <a:pt x="1398" y="1610"/>
                </a:moveTo>
                <a:lnTo>
                  <a:pt x="1399" y="1610"/>
                </a:lnTo>
                <a:lnTo>
                  <a:pt x="1398" y="1610"/>
                </a:lnTo>
                <a:close/>
                <a:moveTo>
                  <a:pt x="1309" y="2145"/>
                </a:moveTo>
                <a:lnTo>
                  <a:pt x="1311" y="2147"/>
                </a:lnTo>
                <a:lnTo>
                  <a:pt x="1309" y="2147"/>
                </a:lnTo>
                <a:lnTo>
                  <a:pt x="1309" y="2145"/>
                </a:lnTo>
                <a:close/>
                <a:moveTo>
                  <a:pt x="1386" y="1848"/>
                </a:moveTo>
                <a:lnTo>
                  <a:pt x="1387" y="1848"/>
                </a:lnTo>
                <a:lnTo>
                  <a:pt x="1386" y="1848"/>
                </a:lnTo>
                <a:close/>
                <a:moveTo>
                  <a:pt x="1399" y="1894"/>
                </a:moveTo>
                <a:lnTo>
                  <a:pt x="1401" y="1894"/>
                </a:lnTo>
                <a:lnTo>
                  <a:pt x="1401" y="1895"/>
                </a:lnTo>
                <a:lnTo>
                  <a:pt x="1399" y="1895"/>
                </a:lnTo>
                <a:lnTo>
                  <a:pt x="1399" y="1894"/>
                </a:lnTo>
                <a:close/>
                <a:moveTo>
                  <a:pt x="1394" y="1923"/>
                </a:moveTo>
                <a:lnTo>
                  <a:pt x="1396" y="1923"/>
                </a:lnTo>
                <a:lnTo>
                  <a:pt x="1396" y="1924"/>
                </a:lnTo>
                <a:lnTo>
                  <a:pt x="1394" y="1924"/>
                </a:lnTo>
                <a:lnTo>
                  <a:pt x="1394" y="1923"/>
                </a:lnTo>
                <a:close/>
                <a:moveTo>
                  <a:pt x="1437" y="1484"/>
                </a:moveTo>
                <a:lnTo>
                  <a:pt x="1437" y="1485"/>
                </a:lnTo>
                <a:lnTo>
                  <a:pt x="1437" y="1484"/>
                </a:lnTo>
                <a:close/>
                <a:moveTo>
                  <a:pt x="1479" y="1428"/>
                </a:moveTo>
                <a:lnTo>
                  <a:pt x="1479" y="1429"/>
                </a:lnTo>
                <a:lnTo>
                  <a:pt x="1479" y="1428"/>
                </a:lnTo>
                <a:close/>
                <a:moveTo>
                  <a:pt x="1386" y="1923"/>
                </a:moveTo>
                <a:lnTo>
                  <a:pt x="1387" y="1923"/>
                </a:lnTo>
                <a:lnTo>
                  <a:pt x="1387" y="1924"/>
                </a:lnTo>
                <a:lnTo>
                  <a:pt x="1386" y="1924"/>
                </a:lnTo>
                <a:lnTo>
                  <a:pt x="1386" y="1923"/>
                </a:lnTo>
                <a:close/>
                <a:moveTo>
                  <a:pt x="1396" y="1918"/>
                </a:moveTo>
                <a:lnTo>
                  <a:pt x="1398" y="1918"/>
                </a:lnTo>
                <a:lnTo>
                  <a:pt x="1396" y="1918"/>
                </a:lnTo>
                <a:close/>
                <a:moveTo>
                  <a:pt x="1338" y="1992"/>
                </a:moveTo>
                <a:lnTo>
                  <a:pt x="1340" y="1992"/>
                </a:lnTo>
                <a:lnTo>
                  <a:pt x="1340" y="1994"/>
                </a:lnTo>
                <a:lnTo>
                  <a:pt x="1338" y="1994"/>
                </a:lnTo>
                <a:lnTo>
                  <a:pt x="1338" y="1992"/>
                </a:lnTo>
                <a:close/>
                <a:moveTo>
                  <a:pt x="1404" y="1880"/>
                </a:moveTo>
                <a:lnTo>
                  <a:pt x="1404" y="1882"/>
                </a:lnTo>
                <a:lnTo>
                  <a:pt x="1404" y="1880"/>
                </a:lnTo>
                <a:close/>
                <a:moveTo>
                  <a:pt x="1357" y="1946"/>
                </a:moveTo>
                <a:lnTo>
                  <a:pt x="1359" y="1948"/>
                </a:lnTo>
                <a:lnTo>
                  <a:pt x="1357" y="1950"/>
                </a:lnTo>
                <a:lnTo>
                  <a:pt x="1357" y="1946"/>
                </a:lnTo>
                <a:close/>
                <a:moveTo>
                  <a:pt x="1398" y="1895"/>
                </a:moveTo>
                <a:lnTo>
                  <a:pt x="1396" y="1895"/>
                </a:lnTo>
                <a:lnTo>
                  <a:pt x="1398" y="1895"/>
                </a:lnTo>
                <a:close/>
                <a:moveTo>
                  <a:pt x="1127" y="1958"/>
                </a:moveTo>
                <a:lnTo>
                  <a:pt x="1129" y="1958"/>
                </a:lnTo>
                <a:lnTo>
                  <a:pt x="1127" y="1958"/>
                </a:lnTo>
                <a:close/>
                <a:moveTo>
                  <a:pt x="1144" y="1999"/>
                </a:moveTo>
                <a:lnTo>
                  <a:pt x="1144" y="2001"/>
                </a:lnTo>
                <a:lnTo>
                  <a:pt x="1144" y="1999"/>
                </a:lnTo>
                <a:close/>
                <a:moveTo>
                  <a:pt x="1399" y="1921"/>
                </a:moveTo>
                <a:lnTo>
                  <a:pt x="1401" y="1923"/>
                </a:lnTo>
                <a:lnTo>
                  <a:pt x="1399" y="1923"/>
                </a:lnTo>
                <a:lnTo>
                  <a:pt x="1399" y="1921"/>
                </a:lnTo>
                <a:close/>
                <a:moveTo>
                  <a:pt x="1404" y="1907"/>
                </a:moveTo>
                <a:lnTo>
                  <a:pt x="1406" y="1907"/>
                </a:lnTo>
                <a:lnTo>
                  <a:pt x="1406" y="1909"/>
                </a:lnTo>
                <a:lnTo>
                  <a:pt x="1404" y="1909"/>
                </a:lnTo>
                <a:lnTo>
                  <a:pt x="1404" y="1907"/>
                </a:lnTo>
                <a:close/>
                <a:moveTo>
                  <a:pt x="1336" y="1989"/>
                </a:moveTo>
                <a:lnTo>
                  <a:pt x="1338" y="1989"/>
                </a:lnTo>
                <a:lnTo>
                  <a:pt x="1338" y="1991"/>
                </a:lnTo>
                <a:lnTo>
                  <a:pt x="1336" y="1991"/>
                </a:lnTo>
                <a:lnTo>
                  <a:pt x="1336" y="1989"/>
                </a:lnTo>
                <a:close/>
                <a:moveTo>
                  <a:pt x="1335" y="2016"/>
                </a:moveTo>
                <a:lnTo>
                  <a:pt x="1336" y="2016"/>
                </a:lnTo>
                <a:lnTo>
                  <a:pt x="1336" y="2018"/>
                </a:lnTo>
                <a:lnTo>
                  <a:pt x="1335" y="2018"/>
                </a:lnTo>
                <a:lnTo>
                  <a:pt x="1335" y="2016"/>
                </a:lnTo>
                <a:close/>
                <a:moveTo>
                  <a:pt x="1387" y="1909"/>
                </a:moveTo>
                <a:lnTo>
                  <a:pt x="1389" y="1909"/>
                </a:lnTo>
                <a:lnTo>
                  <a:pt x="1389" y="1911"/>
                </a:lnTo>
                <a:lnTo>
                  <a:pt x="1387" y="1911"/>
                </a:lnTo>
                <a:lnTo>
                  <a:pt x="1387" y="1909"/>
                </a:lnTo>
                <a:close/>
                <a:moveTo>
                  <a:pt x="1340" y="1984"/>
                </a:moveTo>
                <a:lnTo>
                  <a:pt x="1340" y="1986"/>
                </a:lnTo>
                <a:lnTo>
                  <a:pt x="1340" y="1984"/>
                </a:lnTo>
                <a:close/>
                <a:moveTo>
                  <a:pt x="1342" y="1987"/>
                </a:moveTo>
                <a:lnTo>
                  <a:pt x="1342" y="1989"/>
                </a:lnTo>
                <a:lnTo>
                  <a:pt x="1342" y="1987"/>
                </a:lnTo>
                <a:close/>
                <a:moveTo>
                  <a:pt x="1146" y="2023"/>
                </a:moveTo>
                <a:lnTo>
                  <a:pt x="1146" y="2021"/>
                </a:lnTo>
                <a:lnTo>
                  <a:pt x="1146" y="2023"/>
                </a:lnTo>
                <a:close/>
                <a:moveTo>
                  <a:pt x="1331" y="1979"/>
                </a:moveTo>
                <a:lnTo>
                  <a:pt x="1333" y="1979"/>
                </a:lnTo>
                <a:lnTo>
                  <a:pt x="1333" y="1980"/>
                </a:lnTo>
                <a:lnTo>
                  <a:pt x="1331" y="1980"/>
                </a:lnTo>
                <a:lnTo>
                  <a:pt x="1331" y="1979"/>
                </a:lnTo>
                <a:close/>
                <a:moveTo>
                  <a:pt x="1308" y="2144"/>
                </a:moveTo>
                <a:lnTo>
                  <a:pt x="1308" y="2145"/>
                </a:lnTo>
                <a:lnTo>
                  <a:pt x="1308" y="2144"/>
                </a:lnTo>
                <a:close/>
                <a:moveTo>
                  <a:pt x="1382" y="1926"/>
                </a:moveTo>
                <a:lnTo>
                  <a:pt x="1384" y="1926"/>
                </a:lnTo>
                <a:lnTo>
                  <a:pt x="1382" y="1926"/>
                </a:lnTo>
                <a:close/>
                <a:moveTo>
                  <a:pt x="1365" y="1642"/>
                </a:moveTo>
                <a:lnTo>
                  <a:pt x="1365" y="1644"/>
                </a:lnTo>
                <a:lnTo>
                  <a:pt x="1365" y="1642"/>
                </a:lnTo>
                <a:close/>
                <a:moveTo>
                  <a:pt x="1408" y="1588"/>
                </a:moveTo>
                <a:lnTo>
                  <a:pt x="1410" y="1588"/>
                </a:lnTo>
                <a:lnTo>
                  <a:pt x="1410" y="1589"/>
                </a:lnTo>
                <a:lnTo>
                  <a:pt x="1408" y="1588"/>
                </a:lnTo>
                <a:close/>
                <a:moveTo>
                  <a:pt x="1391" y="1926"/>
                </a:moveTo>
                <a:lnTo>
                  <a:pt x="1391" y="1928"/>
                </a:lnTo>
                <a:lnTo>
                  <a:pt x="1391" y="1926"/>
                </a:lnTo>
                <a:close/>
                <a:moveTo>
                  <a:pt x="1340" y="1975"/>
                </a:moveTo>
                <a:lnTo>
                  <a:pt x="1342" y="1975"/>
                </a:lnTo>
                <a:lnTo>
                  <a:pt x="1342" y="1977"/>
                </a:lnTo>
                <a:lnTo>
                  <a:pt x="1340" y="1975"/>
                </a:lnTo>
                <a:close/>
                <a:moveTo>
                  <a:pt x="1393" y="1928"/>
                </a:moveTo>
                <a:lnTo>
                  <a:pt x="1393" y="1929"/>
                </a:lnTo>
                <a:lnTo>
                  <a:pt x="1393" y="1928"/>
                </a:lnTo>
                <a:close/>
                <a:moveTo>
                  <a:pt x="1389" y="1916"/>
                </a:moveTo>
                <a:lnTo>
                  <a:pt x="1391" y="1918"/>
                </a:lnTo>
                <a:lnTo>
                  <a:pt x="1389" y="1918"/>
                </a:lnTo>
                <a:lnTo>
                  <a:pt x="1389" y="1916"/>
                </a:lnTo>
                <a:close/>
                <a:moveTo>
                  <a:pt x="1393" y="1921"/>
                </a:moveTo>
                <a:lnTo>
                  <a:pt x="1393" y="1923"/>
                </a:lnTo>
                <a:lnTo>
                  <a:pt x="1393" y="1921"/>
                </a:lnTo>
                <a:close/>
                <a:moveTo>
                  <a:pt x="1376" y="1933"/>
                </a:moveTo>
                <a:lnTo>
                  <a:pt x="1376" y="1935"/>
                </a:lnTo>
                <a:lnTo>
                  <a:pt x="1376" y="1933"/>
                </a:lnTo>
                <a:close/>
                <a:moveTo>
                  <a:pt x="1408" y="1065"/>
                </a:moveTo>
                <a:lnTo>
                  <a:pt x="1410" y="1067"/>
                </a:lnTo>
                <a:lnTo>
                  <a:pt x="1411" y="1067"/>
                </a:lnTo>
                <a:lnTo>
                  <a:pt x="1411" y="1069"/>
                </a:lnTo>
                <a:lnTo>
                  <a:pt x="1413" y="1069"/>
                </a:lnTo>
                <a:lnTo>
                  <a:pt x="1413" y="1070"/>
                </a:lnTo>
                <a:lnTo>
                  <a:pt x="1411" y="1070"/>
                </a:lnTo>
                <a:lnTo>
                  <a:pt x="1410" y="1070"/>
                </a:lnTo>
                <a:lnTo>
                  <a:pt x="1411" y="1072"/>
                </a:lnTo>
                <a:lnTo>
                  <a:pt x="1410" y="1076"/>
                </a:lnTo>
                <a:lnTo>
                  <a:pt x="1410" y="1074"/>
                </a:lnTo>
                <a:lnTo>
                  <a:pt x="1410" y="1076"/>
                </a:lnTo>
                <a:lnTo>
                  <a:pt x="1408" y="1077"/>
                </a:lnTo>
                <a:lnTo>
                  <a:pt x="1408" y="1079"/>
                </a:lnTo>
                <a:lnTo>
                  <a:pt x="1406" y="1077"/>
                </a:lnTo>
                <a:lnTo>
                  <a:pt x="1406" y="1079"/>
                </a:lnTo>
                <a:lnTo>
                  <a:pt x="1406" y="1081"/>
                </a:lnTo>
                <a:lnTo>
                  <a:pt x="1408" y="1081"/>
                </a:lnTo>
                <a:lnTo>
                  <a:pt x="1406" y="1084"/>
                </a:lnTo>
                <a:lnTo>
                  <a:pt x="1404" y="1084"/>
                </a:lnTo>
                <a:lnTo>
                  <a:pt x="1406" y="1084"/>
                </a:lnTo>
                <a:lnTo>
                  <a:pt x="1406" y="1086"/>
                </a:lnTo>
                <a:lnTo>
                  <a:pt x="1404" y="1087"/>
                </a:lnTo>
                <a:lnTo>
                  <a:pt x="1403" y="1086"/>
                </a:lnTo>
                <a:lnTo>
                  <a:pt x="1404" y="1089"/>
                </a:lnTo>
                <a:lnTo>
                  <a:pt x="1401" y="1089"/>
                </a:lnTo>
                <a:lnTo>
                  <a:pt x="1401" y="1087"/>
                </a:lnTo>
                <a:lnTo>
                  <a:pt x="1401" y="1089"/>
                </a:lnTo>
                <a:lnTo>
                  <a:pt x="1403" y="1089"/>
                </a:lnTo>
                <a:lnTo>
                  <a:pt x="1403" y="1091"/>
                </a:lnTo>
                <a:lnTo>
                  <a:pt x="1401" y="1093"/>
                </a:lnTo>
                <a:lnTo>
                  <a:pt x="1401" y="1091"/>
                </a:lnTo>
                <a:lnTo>
                  <a:pt x="1399" y="1093"/>
                </a:lnTo>
                <a:lnTo>
                  <a:pt x="1399" y="1091"/>
                </a:lnTo>
                <a:lnTo>
                  <a:pt x="1398" y="1094"/>
                </a:lnTo>
                <a:lnTo>
                  <a:pt x="1398" y="1091"/>
                </a:lnTo>
                <a:lnTo>
                  <a:pt x="1398" y="1094"/>
                </a:lnTo>
                <a:lnTo>
                  <a:pt x="1396" y="1093"/>
                </a:lnTo>
                <a:lnTo>
                  <a:pt x="1398" y="1091"/>
                </a:lnTo>
                <a:lnTo>
                  <a:pt x="1396" y="1091"/>
                </a:lnTo>
                <a:lnTo>
                  <a:pt x="1394" y="1091"/>
                </a:lnTo>
                <a:lnTo>
                  <a:pt x="1396" y="1093"/>
                </a:lnTo>
                <a:lnTo>
                  <a:pt x="1394" y="1091"/>
                </a:lnTo>
                <a:lnTo>
                  <a:pt x="1394" y="1093"/>
                </a:lnTo>
                <a:lnTo>
                  <a:pt x="1394" y="1094"/>
                </a:lnTo>
                <a:lnTo>
                  <a:pt x="1396" y="1094"/>
                </a:lnTo>
                <a:lnTo>
                  <a:pt x="1394" y="1093"/>
                </a:lnTo>
                <a:lnTo>
                  <a:pt x="1394" y="1096"/>
                </a:lnTo>
                <a:lnTo>
                  <a:pt x="1393" y="1094"/>
                </a:lnTo>
                <a:lnTo>
                  <a:pt x="1393" y="1096"/>
                </a:lnTo>
                <a:lnTo>
                  <a:pt x="1391" y="1093"/>
                </a:lnTo>
                <a:lnTo>
                  <a:pt x="1391" y="1094"/>
                </a:lnTo>
                <a:lnTo>
                  <a:pt x="1391" y="1096"/>
                </a:lnTo>
                <a:lnTo>
                  <a:pt x="1391" y="1098"/>
                </a:lnTo>
                <a:lnTo>
                  <a:pt x="1389" y="1096"/>
                </a:lnTo>
                <a:lnTo>
                  <a:pt x="1389" y="1094"/>
                </a:lnTo>
                <a:lnTo>
                  <a:pt x="1389" y="1098"/>
                </a:lnTo>
                <a:lnTo>
                  <a:pt x="1387" y="1098"/>
                </a:lnTo>
                <a:lnTo>
                  <a:pt x="1387" y="1094"/>
                </a:lnTo>
                <a:lnTo>
                  <a:pt x="1386" y="1096"/>
                </a:lnTo>
                <a:lnTo>
                  <a:pt x="1386" y="1098"/>
                </a:lnTo>
                <a:lnTo>
                  <a:pt x="1384" y="1098"/>
                </a:lnTo>
                <a:lnTo>
                  <a:pt x="1384" y="1099"/>
                </a:lnTo>
                <a:lnTo>
                  <a:pt x="1382" y="1099"/>
                </a:lnTo>
                <a:lnTo>
                  <a:pt x="1384" y="1098"/>
                </a:lnTo>
                <a:lnTo>
                  <a:pt x="1382" y="1096"/>
                </a:lnTo>
                <a:lnTo>
                  <a:pt x="1386" y="1094"/>
                </a:lnTo>
                <a:lnTo>
                  <a:pt x="1386" y="1093"/>
                </a:lnTo>
                <a:lnTo>
                  <a:pt x="1384" y="1091"/>
                </a:lnTo>
                <a:lnTo>
                  <a:pt x="1386" y="1089"/>
                </a:lnTo>
                <a:lnTo>
                  <a:pt x="1382" y="1089"/>
                </a:lnTo>
                <a:lnTo>
                  <a:pt x="1382" y="1091"/>
                </a:lnTo>
                <a:lnTo>
                  <a:pt x="1381" y="1091"/>
                </a:lnTo>
                <a:lnTo>
                  <a:pt x="1379" y="1091"/>
                </a:lnTo>
                <a:lnTo>
                  <a:pt x="1379" y="1089"/>
                </a:lnTo>
                <a:lnTo>
                  <a:pt x="1379" y="1087"/>
                </a:lnTo>
                <a:lnTo>
                  <a:pt x="1377" y="1089"/>
                </a:lnTo>
                <a:lnTo>
                  <a:pt x="1379" y="1087"/>
                </a:lnTo>
                <a:lnTo>
                  <a:pt x="1377" y="1087"/>
                </a:lnTo>
                <a:lnTo>
                  <a:pt x="1377" y="1086"/>
                </a:lnTo>
                <a:lnTo>
                  <a:pt x="1379" y="1087"/>
                </a:lnTo>
                <a:lnTo>
                  <a:pt x="1381" y="1086"/>
                </a:lnTo>
                <a:lnTo>
                  <a:pt x="1382" y="1087"/>
                </a:lnTo>
                <a:lnTo>
                  <a:pt x="1384" y="1086"/>
                </a:lnTo>
                <a:lnTo>
                  <a:pt x="1382" y="1084"/>
                </a:lnTo>
                <a:lnTo>
                  <a:pt x="1384" y="1084"/>
                </a:lnTo>
                <a:lnTo>
                  <a:pt x="1387" y="1086"/>
                </a:lnTo>
                <a:lnTo>
                  <a:pt x="1387" y="1087"/>
                </a:lnTo>
                <a:lnTo>
                  <a:pt x="1387" y="1084"/>
                </a:lnTo>
                <a:lnTo>
                  <a:pt x="1386" y="1082"/>
                </a:lnTo>
                <a:lnTo>
                  <a:pt x="1387" y="1081"/>
                </a:lnTo>
                <a:lnTo>
                  <a:pt x="1386" y="1081"/>
                </a:lnTo>
                <a:lnTo>
                  <a:pt x="1387" y="1081"/>
                </a:lnTo>
                <a:lnTo>
                  <a:pt x="1387" y="1082"/>
                </a:lnTo>
                <a:lnTo>
                  <a:pt x="1389" y="1084"/>
                </a:lnTo>
                <a:lnTo>
                  <a:pt x="1391" y="1082"/>
                </a:lnTo>
                <a:lnTo>
                  <a:pt x="1389" y="1081"/>
                </a:lnTo>
                <a:lnTo>
                  <a:pt x="1391" y="1079"/>
                </a:lnTo>
                <a:lnTo>
                  <a:pt x="1391" y="1081"/>
                </a:lnTo>
                <a:lnTo>
                  <a:pt x="1393" y="1081"/>
                </a:lnTo>
                <a:lnTo>
                  <a:pt x="1394" y="1081"/>
                </a:lnTo>
                <a:lnTo>
                  <a:pt x="1391" y="1084"/>
                </a:lnTo>
                <a:lnTo>
                  <a:pt x="1393" y="1086"/>
                </a:lnTo>
                <a:lnTo>
                  <a:pt x="1394" y="1084"/>
                </a:lnTo>
                <a:lnTo>
                  <a:pt x="1393" y="1084"/>
                </a:lnTo>
                <a:lnTo>
                  <a:pt x="1394" y="1084"/>
                </a:lnTo>
                <a:lnTo>
                  <a:pt x="1394" y="1082"/>
                </a:lnTo>
                <a:lnTo>
                  <a:pt x="1396" y="1086"/>
                </a:lnTo>
                <a:lnTo>
                  <a:pt x="1396" y="1084"/>
                </a:lnTo>
                <a:lnTo>
                  <a:pt x="1399" y="1082"/>
                </a:lnTo>
                <a:lnTo>
                  <a:pt x="1396" y="1081"/>
                </a:lnTo>
                <a:lnTo>
                  <a:pt x="1396" y="1079"/>
                </a:lnTo>
                <a:lnTo>
                  <a:pt x="1396" y="1077"/>
                </a:lnTo>
                <a:lnTo>
                  <a:pt x="1394" y="1079"/>
                </a:lnTo>
                <a:lnTo>
                  <a:pt x="1394" y="1077"/>
                </a:lnTo>
                <a:lnTo>
                  <a:pt x="1394" y="1076"/>
                </a:lnTo>
                <a:lnTo>
                  <a:pt x="1396" y="1074"/>
                </a:lnTo>
                <a:lnTo>
                  <a:pt x="1396" y="1076"/>
                </a:lnTo>
                <a:lnTo>
                  <a:pt x="1396" y="1077"/>
                </a:lnTo>
                <a:lnTo>
                  <a:pt x="1398" y="1076"/>
                </a:lnTo>
                <a:lnTo>
                  <a:pt x="1398" y="1077"/>
                </a:lnTo>
                <a:lnTo>
                  <a:pt x="1399" y="1077"/>
                </a:lnTo>
                <a:lnTo>
                  <a:pt x="1399" y="1081"/>
                </a:lnTo>
                <a:lnTo>
                  <a:pt x="1401" y="1079"/>
                </a:lnTo>
                <a:lnTo>
                  <a:pt x="1401" y="1081"/>
                </a:lnTo>
                <a:lnTo>
                  <a:pt x="1403" y="1081"/>
                </a:lnTo>
                <a:lnTo>
                  <a:pt x="1403" y="1082"/>
                </a:lnTo>
                <a:lnTo>
                  <a:pt x="1401" y="1079"/>
                </a:lnTo>
                <a:lnTo>
                  <a:pt x="1403" y="1079"/>
                </a:lnTo>
                <a:lnTo>
                  <a:pt x="1403" y="1077"/>
                </a:lnTo>
                <a:lnTo>
                  <a:pt x="1404" y="1077"/>
                </a:lnTo>
                <a:lnTo>
                  <a:pt x="1404" y="1076"/>
                </a:lnTo>
                <a:lnTo>
                  <a:pt x="1406" y="1076"/>
                </a:lnTo>
                <a:lnTo>
                  <a:pt x="1404" y="1074"/>
                </a:lnTo>
                <a:lnTo>
                  <a:pt x="1403" y="1074"/>
                </a:lnTo>
                <a:lnTo>
                  <a:pt x="1401" y="1072"/>
                </a:lnTo>
                <a:lnTo>
                  <a:pt x="1401" y="1070"/>
                </a:lnTo>
                <a:lnTo>
                  <a:pt x="1403" y="1072"/>
                </a:lnTo>
                <a:lnTo>
                  <a:pt x="1403" y="1070"/>
                </a:lnTo>
                <a:lnTo>
                  <a:pt x="1404" y="1070"/>
                </a:lnTo>
                <a:lnTo>
                  <a:pt x="1406" y="1072"/>
                </a:lnTo>
                <a:lnTo>
                  <a:pt x="1404" y="1069"/>
                </a:lnTo>
                <a:lnTo>
                  <a:pt x="1406" y="1070"/>
                </a:lnTo>
                <a:lnTo>
                  <a:pt x="1408" y="1072"/>
                </a:lnTo>
                <a:lnTo>
                  <a:pt x="1408" y="1070"/>
                </a:lnTo>
                <a:lnTo>
                  <a:pt x="1408" y="1069"/>
                </a:lnTo>
                <a:lnTo>
                  <a:pt x="1408" y="1067"/>
                </a:lnTo>
                <a:lnTo>
                  <a:pt x="1408" y="1065"/>
                </a:lnTo>
                <a:close/>
                <a:moveTo>
                  <a:pt x="1219" y="1227"/>
                </a:moveTo>
                <a:lnTo>
                  <a:pt x="1221" y="1227"/>
                </a:lnTo>
                <a:lnTo>
                  <a:pt x="1221" y="1230"/>
                </a:lnTo>
                <a:lnTo>
                  <a:pt x="1221" y="1229"/>
                </a:lnTo>
                <a:lnTo>
                  <a:pt x="1221" y="1230"/>
                </a:lnTo>
                <a:lnTo>
                  <a:pt x="1219" y="1232"/>
                </a:lnTo>
                <a:lnTo>
                  <a:pt x="1221" y="1230"/>
                </a:lnTo>
                <a:lnTo>
                  <a:pt x="1221" y="1232"/>
                </a:lnTo>
                <a:lnTo>
                  <a:pt x="1223" y="1232"/>
                </a:lnTo>
                <a:lnTo>
                  <a:pt x="1224" y="1230"/>
                </a:lnTo>
                <a:lnTo>
                  <a:pt x="1224" y="1232"/>
                </a:lnTo>
                <a:lnTo>
                  <a:pt x="1223" y="1232"/>
                </a:lnTo>
                <a:lnTo>
                  <a:pt x="1221" y="1234"/>
                </a:lnTo>
                <a:lnTo>
                  <a:pt x="1224" y="1235"/>
                </a:lnTo>
                <a:lnTo>
                  <a:pt x="1223" y="1234"/>
                </a:lnTo>
                <a:lnTo>
                  <a:pt x="1224" y="1234"/>
                </a:lnTo>
                <a:lnTo>
                  <a:pt x="1224" y="1235"/>
                </a:lnTo>
                <a:lnTo>
                  <a:pt x="1224" y="1239"/>
                </a:lnTo>
                <a:lnTo>
                  <a:pt x="1223" y="1241"/>
                </a:lnTo>
                <a:lnTo>
                  <a:pt x="1224" y="1241"/>
                </a:lnTo>
                <a:lnTo>
                  <a:pt x="1226" y="1237"/>
                </a:lnTo>
                <a:lnTo>
                  <a:pt x="1226" y="1239"/>
                </a:lnTo>
                <a:lnTo>
                  <a:pt x="1228" y="1239"/>
                </a:lnTo>
                <a:lnTo>
                  <a:pt x="1226" y="1242"/>
                </a:lnTo>
                <a:lnTo>
                  <a:pt x="1224" y="1242"/>
                </a:lnTo>
                <a:lnTo>
                  <a:pt x="1226" y="1244"/>
                </a:lnTo>
                <a:lnTo>
                  <a:pt x="1224" y="1246"/>
                </a:lnTo>
                <a:lnTo>
                  <a:pt x="1228" y="1246"/>
                </a:lnTo>
                <a:lnTo>
                  <a:pt x="1228" y="1247"/>
                </a:lnTo>
                <a:lnTo>
                  <a:pt x="1229" y="1249"/>
                </a:lnTo>
                <a:lnTo>
                  <a:pt x="1229" y="1251"/>
                </a:lnTo>
                <a:lnTo>
                  <a:pt x="1228" y="1252"/>
                </a:lnTo>
                <a:lnTo>
                  <a:pt x="1226" y="1254"/>
                </a:lnTo>
                <a:lnTo>
                  <a:pt x="1224" y="1254"/>
                </a:lnTo>
                <a:lnTo>
                  <a:pt x="1223" y="1256"/>
                </a:lnTo>
                <a:lnTo>
                  <a:pt x="1221" y="1256"/>
                </a:lnTo>
                <a:lnTo>
                  <a:pt x="1219" y="1258"/>
                </a:lnTo>
                <a:lnTo>
                  <a:pt x="1219" y="1259"/>
                </a:lnTo>
                <a:lnTo>
                  <a:pt x="1217" y="1259"/>
                </a:lnTo>
                <a:lnTo>
                  <a:pt x="1214" y="1259"/>
                </a:lnTo>
                <a:lnTo>
                  <a:pt x="1214" y="1258"/>
                </a:lnTo>
                <a:lnTo>
                  <a:pt x="1212" y="1258"/>
                </a:lnTo>
                <a:lnTo>
                  <a:pt x="1212" y="1256"/>
                </a:lnTo>
                <a:lnTo>
                  <a:pt x="1212" y="1254"/>
                </a:lnTo>
                <a:lnTo>
                  <a:pt x="1216" y="1254"/>
                </a:lnTo>
                <a:lnTo>
                  <a:pt x="1216" y="1252"/>
                </a:lnTo>
                <a:lnTo>
                  <a:pt x="1217" y="1254"/>
                </a:lnTo>
                <a:lnTo>
                  <a:pt x="1217" y="1252"/>
                </a:lnTo>
                <a:lnTo>
                  <a:pt x="1219" y="1252"/>
                </a:lnTo>
                <a:lnTo>
                  <a:pt x="1219" y="1251"/>
                </a:lnTo>
                <a:lnTo>
                  <a:pt x="1221" y="1249"/>
                </a:lnTo>
                <a:lnTo>
                  <a:pt x="1223" y="1251"/>
                </a:lnTo>
                <a:lnTo>
                  <a:pt x="1221" y="1249"/>
                </a:lnTo>
                <a:lnTo>
                  <a:pt x="1221" y="1246"/>
                </a:lnTo>
                <a:lnTo>
                  <a:pt x="1219" y="1246"/>
                </a:lnTo>
                <a:lnTo>
                  <a:pt x="1217" y="1246"/>
                </a:lnTo>
                <a:lnTo>
                  <a:pt x="1219" y="1247"/>
                </a:lnTo>
                <a:lnTo>
                  <a:pt x="1217" y="1251"/>
                </a:lnTo>
                <a:lnTo>
                  <a:pt x="1217" y="1249"/>
                </a:lnTo>
                <a:lnTo>
                  <a:pt x="1216" y="1249"/>
                </a:lnTo>
                <a:lnTo>
                  <a:pt x="1217" y="1249"/>
                </a:lnTo>
                <a:lnTo>
                  <a:pt x="1216" y="1247"/>
                </a:lnTo>
                <a:lnTo>
                  <a:pt x="1216" y="1251"/>
                </a:lnTo>
                <a:lnTo>
                  <a:pt x="1214" y="1252"/>
                </a:lnTo>
                <a:lnTo>
                  <a:pt x="1214" y="1251"/>
                </a:lnTo>
                <a:lnTo>
                  <a:pt x="1212" y="1252"/>
                </a:lnTo>
                <a:lnTo>
                  <a:pt x="1212" y="1251"/>
                </a:lnTo>
                <a:lnTo>
                  <a:pt x="1212" y="1249"/>
                </a:lnTo>
                <a:lnTo>
                  <a:pt x="1212" y="1251"/>
                </a:lnTo>
                <a:lnTo>
                  <a:pt x="1212" y="1252"/>
                </a:lnTo>
                <a:lnTo>
                  <a:pt x="1212" y="1254"/>
                </a:lnTo>
                <a:lnTo>
                  <a:pt x="1211" y="1254"/>
                </a:lnTo>
                <a:lnTo>
                  <a:pt x="1211" y="1252"/>
                </a:lnTo>
                <a:lnTo>
                  <a:pt x="1209" y="1252"/>
                </a:lnTo>
                <a:lnTo>
                  <a:pt x="1211" y="1251"/>
                </a:lnTo>
                <a:lnTo>
                  <a:pt x="1209" y="1251"/>
                </a:lnTo>
                <a:lnTo>
                  <a:pt x="1209" y="1249"/>
                </a:lnTo>
                <a:lnTo>
                  <a:pt x="1209" y="1251"/>
                </a:lnTo>
                <a:lnTo>
                  <a:pt x="1209" y="1252"/>
                </a:lnTo>
                <a:lnTo>
                  <a:pt x="1209" y="1254"/>
                </a:lnTo>
                <a:lnTo>
                  <a:pt x="1207" y="1254"/>
                </a:lnTo>
                <a:lnTo>
                  <a:pt x="1209" y="1254"/>
                </a:lnTo>
                <a:lnTo>
                  <a:pt x="1207" y="1256"/>
                </a:lnTo>
                <a:lnTo>
                  <a:pt x="1209" y="1254"/>
                </a:lnTo>
                <a:lnTo>
                  <a:pt x="1207" y="1256"/>
                </a:lnTo>
                <a:lnTo>
                  <a:pt x="1209" y="1256"/>
                </a:lnTo>
                <a:lnTo>
                  <a:pt x="1207" y="1256"/>
                </a:lnTo>
                <a:lnTo>
                  <a:pt x="1207" y="1258"/>
                </a:lnTo>
                <a:lnTo>
                  <a:pt x="1207" y="1256"/>
                </a:lnTo>
                <a:lnTo>
                  <a:pt x="1207" y="1258"/>
                </a:lnTo>
                <a:lnTo>
                  <a:pt x="1206" y="1258"/>
                </a:lnTo>
                <a:lnTo>
                  <a:pt x="1204" y="1259"/>
                </a:lnTo>
                <a:lnTo>
                  <a:pt x="1204" y="1258"/>
                </a:lnTo>
                <a:lnTo>
                  <a:pt x="1202" y="1258"/>
                </a:lnTo>
                <a:lnTo>
                  <a:pt x="1204" y="1258"/>
                </a:lnTo>
                <a:lnTo>
                  <a:pt x="1202" y="1254"/>
                </a:lnTo>
                <a:lnTo>
                  <a:pt x="1204" y="1254"/>
                </a:lnTo>
                <a:lnTo>
                  <a:pt x="1204" y="1252"/>
                </a:lnTo>
                <a:lnTo>
                  <a:pt x="1202" y="1254"/>
                </a:lnTo>
                <a:lnTo>
                  <a:pt x="1202" y="1252"/>
                </a:lnTo>
                <a:lnTo>
                  <a:pt x="1200" y="1252"/>
                </a:lnTo>
                <a:lnTo>
                  <a:pt x="1202" y="1251"/>
                </a:lnTo>
                <a:lnTo>
                  <a:pt x="1204" y="1251"/>
                </a:lnTo>
                <a:lnTo>
                  <a:pt x="1202" y="1251"/>
                </a:lnTo>
                <a:lnTo>
                  <a:pt x="1204" y="1249"/>
                </a:lnTo>
                <a:lnTo>
                  <a:pt x="1206" y="1249"/>
                </a:lnTo>
                <a:lnTo>
                  <a:pt x="1204" y="1247"/>
                </a:lnTo>
                <a:lnTo>
                  <a:pt x="1202" y="1247"/>
                </a:lnTo>
                <a:lnTo>
                  <a:pt x="1202" y="1246"/>
                </a:lnTo>
                <a:lnTo>
                  <a:pt x="1204" y="1246"/>
                </a:lnTo>
                <a:lnTo>
                  <a:pt x="1206" y="1242"/>
                </a:lnTo>
                <a:lnTo>
                  <a:pt x="1206" y="1244"/>
                </a:lnTo>
                <a:lnTo>
                  <a:pt x="1206" y="1246"/>
                </a:lnTo>
                <a:lnTo>
                  <a:pt x="1207" y="1247"/>
                </a:lnTo>
                <a:lnTo>
                  <a:pt x="1206" y="1247"/>
                </a:lnTo>
                <a:lnTo>
                  <a:pt x="1207" y="1249"/>
                </a:lnTo>
                <a:lnTo>
                  <a:pt x="1207" y="1247"/>
                </a:lnTo>
                <a:lnTo>
                  <a:pt x="1207" y="1246"/>
                </a:lnTo>
                <a:lnTo>
                  <a:pt x="1207" y="1244"/>
                </a:lnTo>
                <a:lnTo>
                  <a:pt x="1207" y="1241"/>
                </a:lnTo>
                <a:lnTo>
                  <a:pt x="1209" y="1241"/>
                </a:lnTo>
                <a:lnTo>
                  <a:pt x="1209" y="1242"/>
                </a:lnTo>
                <a:lnTo>
                  <a:pt x="1209" y="1246"/>
                </a:lnTo>
                <a:lnTo>
                  <a:pt x="1209" y="1247"/>
                </a:lnTo>
                <a:lnTo>
                  <a:pt x="1211" y="1246"/>
                </a:lnTo>
                <a:lnTo>
                  <a:pt x="1214" y="1244"/>
                </a:lnTo>
                <a:lnTo>
                  <a:pt x="1214" y="1246"/>
                </a:lnTo>
                <a:lnTo>
                  <a:pt x="1214" y="1247"/>
                </a:lnTo>
                <a:lnTo>
                  <a:pt x="1214" y="1246"/>
                </a:lnTo>
                <a:lnTo>
                  <a:pt x="1216" y="1244"/>
                </a:lnTo>
                <a:lnTo>
                  <a:pt x="1217" y="1246"/>
                </a:lnTo>
                <a:lnTo>
                  <a:pt x="1216" y="1244"/>
                </a:lnTo>
                <a:lnTo>
                  <a:pt x="1216" y="1242"/>
                </a:lnTo>
                <a:lnTo>
                  <a:pt x="1214" y="1241"/>
                </a:lnTo>
                <a:lnTo>
                  <a:pt x="1214" y="1239"/>
                </a:lnTo>
                <a:lnTo>
                  <a:pt x="1216" y="1239"/>
                </a:lnTo>
                <a:lnTo>
                  <a:pt x="1217" y="1241"/>
                </a:lnTo>
                <a:lnTo>
                  <a:pt x="1217" y="1242"/>
                </a:lnTo>
                <a:lnTo>
                  <a:pt x="1217" y="1244"/>
                </a:lnTo>
                <a:lnTo>
                  <a:pt x="1217" y="1241"/>
                </a:lnTo>
                <a:lnTo>
                  <a:pt x="1217" y="1239"/>
                </a:lnTo>
                <a:lnTo>
                  <a:pt x="1219" y="1239"/>
                </a:lnTo>
                <a:lnTo>
                  <a:pt x="1221" y="1241"/>
                </a:lnTo>
                <a:lnTo>
                  <a:pt x="1221" y="1242"/>
                </a:lnTo>
                <a:lnTo>
                  <a:pt x="1221" y="1239"/>
                </a:lnTo>
                <a:lnTo>
                  <a:pt x="1217" y="1237"/>
                </a:lnTo>
                <a:lnTo>
                  <a:pt x="1219" y="1237"/>
                </a:lnTo>
                <a:lnTo>
                  <a:pt x="1219" y="1235"/>
                </a:lnTo>
                <a:lnTo>
                  <a:pt x="1217" y="1237"/>
                </a:lnTo>
                <a:lnTo>
                  <a:pt x="1217" y="1235"/>
                </a:lnTo>
                <a:lnTo>
                  <a:pt x="1219" y="1235"/>
                </a:lnTo>
                <a:lnTo>
                  <a:pt x="1217" y="1234"/>
                </a:lnTo>
                <a:lnTo>
                  <a:pt x="1216" y="1232"/>
                </a:lnTo>
                <a:lnTo>
                  <a:pt x="1217" y="1229"/>
                </a:lnTo>
                <a:lnTo>
                  <a:pt x="1216" y="1229"/>
                </a:lnTo>
                <a:lnTo>
                  <a:pt x="1217" y="1229"/>
                </a:lnTo>
                <a:lnTo>
                  <a:pt x="1219" y="1227"/>
                </a:lnTo>
                <a:close/>
                <a:moveTo>
                  <a:pt x="1306" y="1154"/>
                </a:moveTo>
                <a:lnTo>
                  <a:pt x="1308" y="1155"/>
                </a:lnTo>
                <a:lnTo>
                  <a:pt x="1308" y="1157"/>
                </a:lnTo>
                <a:lnTo>
                  <a:pt x="1309" y="1157"/>
                </a:lnTo>
                <a:lnTo>
                  <a:pt x="1311" y="1159"/>
                </a:lnTo>
                <a:lnTo>
                  <a:pt x="1313" y="1157"/>
                </a:lnTo>
                <a:lnTo>
                  <a:pt x="1313" y="1159"/>
                </a:lnTo>
                <a:lnTo>
                  <a:pt x="1314" y="1161"/>
                </a:lnTo>
                <a:lnTo>
                  <a:pt x="1314" y="1162"/>
                </a:lnTo>
                <a:lnTo>
                  <a:pt x="1314" y="1164"/>
                </a:lnTo>
                <a:lnTo>
                  <a:pt x="1313" y="1166"/>
                </a:lnTo>
                <a:lnTo>
                  <a:pt x="1313" y="1167"/>
                </a:lnTo>
                <a:lnTo>
                  <a:pt x="1311" y="1169"/>
                </a:lnTo>
                <a:lnTo>
                  <a:pt x="1308" y="1169"/>
                </a:lnTo>
                <a:lnTo>
                  <a:pt x="1308" y="1171"/>
                </a:lnTo>
                <a:lnTo>
                  <a:pt x="1308" y="1172"/>
                </a:lnTo>
                <a:lnTo>
                  <a:pt x="1309" y="1172"/>
                </a:lnTo>
                <a:lnTo>
                  <a:pt x="1311" y="1174"/>
                </a:lnTo>
                <a:lnTo>
                  <a:pt x="1309" y="1178"/>
                </a:lnTo>
                <a:lnTo>
                  <a:pt x="1308" y="1178"/>
                </a:lnTo>
                <a:lnTo>
                  <a:pt x="1306" y="1178"/>
                </a:lnTo>
                <a:lnTo>
                  <a:pt x="1304" y="1179"/>
                </a:lnTo>
                <a:lnTo>
                  <a:pt x="1302" y="1179"/>
                </a:lnTo>
                <a:lnTo>
                  <a:pt x="1299" y="1181"/>
                </a:lnTo>
                <a:lnTo>
                  <a:pt x="1297" y="1181"/>
                </a:lnTo>
                <a:lnTo>
                  <a:pt x="1296" y="1183"/>
                </a:lnTo>
                <a:lnTo>
                  <a:pt x="1294" y="1183"/>
                </a:lnTo>
                <a:lnTo>
                  <a:pt x="1292" y="1181"/>
                </a:lnTo>
                <a:lnTo>
                  <a:pt x="1291" y="1181"/>
                </a:lnTo>
                <a:lnTo>
                  <a:pt x="1291" y="1179"/>
                </a:lnTo>
                <a:lnTo>
                  <a:pt x="1291" y="1178"/>
                </a:lnTo>
                <a:lnTo>
                  <a:pt x="1291" y="1176"/>
                </a:lnTo>
                <a:lnTo>
                  <a:pt x="1292" y="1176"/>
                </a:lnTo>
                <a:lnTo>
                  <a:pt x="1294" y="1174"/>
                </a:lnTo>
                <a:lnTo>
                  <a:pt x="1294" y="1176"/>
                </a:lnTo>
                <a:lnTo>
                  <a:pt x="1296" y="1174"/>
                </a:lnTo>
                <a:lnTo>
                  <a:pt x="1297" y="1176"/>
                </a:lnTo>
                <a:lnTo>
                  <a:pt x="1297" y="1178"/>
                </a:lnTo>
                <a:lnTo>
                  <a:pt x="1297" y="1176"/>
                </a:lnTo>
                <a:lnTo>
                  <a:pt x="1299" y="1174"/>
                </a:lnTo>
                <a:lnTo>
                  <a:pt x="1297" y="1176"/>
                </a:lnTo>
                <a:lnTo>
                  <a:pt x="1296" y="1174"/>
                </a:lnTo>
                <a:lnTo>
                  <a:pt x="1294" y="1172"/>
                </a:lnTo>
                <a:lnTo>
                  <a:pt x="1294" y="1169"/>
                </a:lnTo>
                <a:lnTo>
                  <a:pt x="1296" y="1169"/>
                </a:lnTo>
                <a:lnTo>
                  <a:pt x="1297" y="1171"/>
                </a:lnTo>
                <a:lnTo>
                  <a:pt x="1299" y="1169"/>
                </a:lnTo>
                <a:lnTo>
                  <a:pt x="1302" y="1169"/>
                </a:lnTo>
                <a:lnTo>
                  <a:pt x="1304" y="1169"/>
                </a:lnTo>
                <a:lnTo>
                  <a:pt x="1302" y="1167"/>
                </a:lnTo>
                <a:lnTo>
                  <a:pt x="1301" y="1167"/>
                </a:lnTo>
                <a:lnTo>
                  <a:pt x="1297" y="1167"/>
                </a:lnTo>
                <a:lnTo>
                  <a:pt x="1297" y="1169"/>
                </a:lnTo>
                <a:lnTo>
                  <a:pt x="1297" y="1167"/>
                </a:lnTo>
                <a:lnTo>
                  <a:pt x="1297" y="1166"/>
                </a:lnTo>
                <a:lnTo>
                  <a:pt x="1296" y="1164"/>
                </a:lnTo>
                <a:lnTo>
                  <a:pt x="1297" y="1162"/>
                </a:lnTo>
                <a:lnTo>
                  <a:pt x="1297" y="1164"/>
                </a:lnTo>
                <a:lnTo>
                  <a:pt x="1301" y="1162"/>
                </a:lnTo>
                <a:lnTo>
                  <a:pt x="1301" y="1166"/>
                </a:lnTo>
                <a:lnTo>
                  <a:pt x="1302" y="1162"/>
                </a:lnTo>
                <a:lnTo>
                  <a:pt x="1301" y="1162"/>
                </a:lnTo>
                <a:lnTo>
                  <a:pt x="1304" y="1161"/>
                </a:lnTo>
                <a:lnTo>
                  <a:pt x="1304" y="1164"/>
                </a:lnTo>
                <a:lnTo>
                  <a:pt x="1304" y="1166"/>
                </a:lnTo>
                <a:lnTo>
                  <a:pt x="1306" y="1167"/>
                </a:lnTo>
                <a:lnTo>
                  <a:pt x="1306" y="1169"/>
                </a:lnTo>
                <a:lnTo>
                  <a:pt x="1308" y="1169"/>
                </a:lnTo>
                <a:lnTo>
                  <a:pt x="1306" y="1167"/>
                </a:lnTo>
                <a:lnTo>
                  <a:pt x="1306" y="1166"/>
                </a:lnTo>
                <a:lnTo>
                  <a:pt x="1306" y="1162"/>
                </a:lnTo>
                <a:lnTo>
                  <a:pt x="1308" y="1162"/>
                </a:lnTo>
                <a:lnTo>
                  <a:pt x="1306" y="1162"/>
                </a:lnTo>
                <a:lnTo>
                  <a:pt x="1308" y="1162"/>
                </a:lnTo>
                <a:lnTo>
                  <a:pt x="1308" y="1161"/>
                </a:lnTo>
                <a:lnTo>
                  <a:pt x="1306" y="1161"/>
                </a:lnTo>
                <a:lnTo>
                  <a:pt x="1304" y="1159"/>
                </a:lnTo>
                <a:lnTo>
                  <a:pt x="1306" y="1159"/>
                </a:lnTo>
                <a:lnTo>
                  <a:pt x="1304" y="1155"/>
                </a:lnTo>
                <a:lnTo>
                  <a:pt x="1304" y="1154"/>
                </a:lnTo>
                <a:lnTo>
                  <a:pt x="1306" y="1155"/>
                </a:lnTo>
                <a:lnTo>
                  <a:pt x="1306" y="1154"/>
                </a:lnTo>
                <a:close/>
                <a:moveTo>
                  <a:pt x="1314" y="1138"/>
                </a:moveTo>
                <a:lnTo>
                  <a:pt x="1316" y="1138"/>
                </a:lnTo>
                <a:lnTo>
                  <a:pt x="1316" y="1140"/>
                </a:lnTo>
                <a:lnTo>
                  <a:pt x="1318" y="1138"/>
                </a:lnTo>
                <a:lnTo>
                  <a:pt x="1318" y="1142"/>
                </a:lnTo>
                <a:lnTo>
                  <a:pt x="1319" y="1144"/>
                </a:lnTo>
                <a:lnTo>
                  <a:pt x="1321" y="1145"/>
                </a:lnTo>
                <a:lnTo>
                  <a:pt x="1321" y="1142"/>
                </a:lnTo>
                <a:lnTo>
                  <a:pt x="1323" y="1140"/>
                </a:lnTo>
                <a:lnTo>
                  <a:pt x="1325" y="1140"/>
                </a:lnTo>
                <a:lnTo>
                  <a:pt x="1325" y="1144"/>
                </a:lnTo>
                <a:lnTo>
                  <a:pt x="1325" y="1145"/>
                </a:lnTo>
                <a:lnTo>
                  <a:pt x="1326" y="1144"/>
                </a:lnTo>
                <a:lnTo>
                  <a:pt x="1326" y="1142"/>
                </a:lnTo>
                <a:lnTo>
                  <a:pt x="1328" y="1144"/>
                </a:lnTo>
                <a:lnTo>
                  <a:pt x="1328" y="1145"/>
                </a:lnTo>
                <a:lnTo>
                  <a:pt x="1325" y="1147"/>
                </a:lnTo>
                <a:lnTo>
                  <a:pt x="1323" y="1147"/>
                </a:lnTo>
                <a:lnTo>
                  <a:pt x="1325" y="1150"/>
                </a:lnTo>
                <a:lnTo>
                  <a:pt x="1323" y="1152"/>
                </a:lnTo>
                <a:lnTo>
                  <a:pt x="1323" y="1154"/>
                </a:lnTo>
                <a:lnTo>
                  <a:pt x="1321" y="1157"/>
                </a:lnTo>
                <a:lnTo>
                  <a:pt x="1321" y="1159"/>
                </a:lnTo>
                <a:lnTo>
                  <a:pt x="1319" y="1159"/>
                </a:lnTo>
                <a:lnTo>
                  <a:pt x="1318" y="1159"/>
                </a:lnTo>
                <a:lnTo>
                  <a:pt x="1316" y="1161"/>
                </a:lnTo>
                <a:lnTo>
                  <a:pt x="1314" y="1161"/>
                </a:lnTo>
                <a:lnTo>
                  <a:pt x="1314" y="1159"/>
                </a:lnTo>
                <a:lnTo>
                  <a:pt x="1313" y="1157"/>
                </a:lnTo>
                <a:lnTo>
                  <a:pt x="1311" y="1155"/>
                </a:lnTo>
                <a:lnTo>
                  <a:pt x="1309" y="1155"/>
                </a:lnTo>
                <a:lnTo>
                  <a:pt x="1309" y="1154"/>
                </a:lnTo>
                <a:lnTo>
                  <a:pt x="1308" y="1154"/>
                </a:lnTo>
                <a:lnTo>
                  <a:pt x="1306" y="1152"/>
                </a:lnTo>
                <a:lnTo>
                  <a:pt x="1304" y="1150"/>
                </a:lnTo>
                <a:lnTo>
                  <a:pt x="1306" y="1149"/>
                </a:lnTo>
                <a:lnTo>
                  <a:pt x="1308" y="1150"/>
                </a:lnTo>
                <a:lnTo>
                  <a:pt x="1308" y="1149"/>
                </a:lnTo>
                <a:lnTo>
                  <a:pt x="1308" y="1150"/>
                </a:lnTo>
                <a:lnTo>
                  <a:pt x="1309" y="1149"/>
                </a:lnTo>
                <a:lnTo>
                  <a:pt x="1308" y="1147"/>
                </a:lnTo>
                <a:lnTo>
                  <a:pt x="1308" y="1144"/>
                </a:lnTo>
                <a:lnTo>
                  <a:pt x="1309" y="1144"/>
                </a:lnTo>
                <a:lnTo>
                  <a:pt x="1311" y="1142"/>
                </a:lnTo>
                <a:lnTo>
                  <a:pt x="1313" y="1144"/>
                </a:lnTo>
                <a:lnTo>
                  <a:pt x="1313" y="1142"/>
                </a:lnTo>
                <a:lnTo>
                  <a:pt x="1311" y="1140"/>
                </a:lnTo>
                <a:lnTo>
                  <a:pt x="1313" y="1138"/>
                </a:lnTo>
                <a:lnTo>
                  <a:pt x="1313" y="1140"/>
                </a:lnTo>
                <a:lnTo>
                  <a:pt x="1313" y="1138"/>
                </a:lnTo>
                <a:lnTo>
                  <a:pt x="1314" y="1138"/>
                </a:lnTo>
                <a:close/>
                <a:moveTo>
                  <a:pt x="1413" y="1082"/>
                </a:moveTo>
                <a:lnTo>
                  <a:pt x="1415" y="1082"/>
                </a:lnTo>
                <a:lnTo>
                  <a:pt x="1416" y="1082"/>
                </a:lnTo>
                <a:lnTo>
                  <a:pt x="1416" y="1084"/>
                </a:lnTo>
                <a:lnTo>
                  <a:pt x="1418" y="1084"/>
                </a:lnTo>
                <a:lnTo>
                  <a:pt x="1416" y="1087"/>
                </a:lnTo>
                <a:lnTo>
                  <a:pt x="1416" y="1089"/>
                </a:lnTo>
                <a:lnTo>
                  <a:pt x="1420" y="1091"/>
                </a:lnTo>
                <a:lnTo>
                  <a:pt x="1420" y="1093"/>
                </a:lnTo>
                <a:lnTo>
                  <a:pt x="1421" y="1094"/>
                </a:lnTo>
                <a:lnTo>
                  <a:pt x="1420" y="1098"/>
                </a:lnTo>
                <a:lnTo>
                  <a:pt x="1418" y="1099"/>
                </a:lnTo>
                <a:lnTo>
                  <a:pt x="1416" y="1099"/>
                </a:lnTo>
                <a:lnTo>
                  <a:pt x="1418" y="1099"/>
                </a:lnTo>
                <a:lnTo>
                  <a:pt x="1416" y="1103"/>
                </a:lnTo>
                <a:lnTo>
                  <a:pt x="1415" y="1103"/>
                </a:lnTo>
                <a:lnTo>
                  <a:pt x="1413" y="1103"/>
                </a:lnTo>
                <a:lnTo>
                  <a:pt x="1413" y="1104"/>
                </a:lnTo>
                <a:lnTo>
                  <a:pt x="1416" y="1104"/>
                </a:lnTo>
                <a:lnTo>
                  <a:pt x="1415" y="1106"/>
                </a:lnTo>
                <a:lnTo>
                  <a:pt x="1413" y="1106"/>
                </a:lnTo>
                <a:lnTo>
                  <a:pt x="1413" y="1108"/>
                </a:lnTo>
                <a:lnTo>
                  <a:pt x="1411" y="1110"/>
                </a:lnTo>
                <a:lnTo>
                  <a:pt x="1408" y="1108"/>
                </a:lnTo>
                <a:lnTo>
                  <a:pt x="1408" y="1106"/>
                </a:lnTo>
                <a:lnTo>
                  <a:pt x="1410" y="1103"/>
                </a:lnTo>
                <a:lnTo>
                  <a:pt x="1410" y="1101"/>
                </a:lnTo>
                <a:lnTo>
                  <a:pt x="1410" y="1099"/>
                </a:lnTo>
                <a:lnTo>
                  <a:pt x="1408" y="1101"/>
                </a:lnTo>
                <a:lnTo>
                  <a:pt x="1408" y="1103"/>
                </a:lnTo>
                <a:lnTo>
                  <a:pt x="1406" y="1106"/>
                </a:lnTo>
                <a:lnTo>
                  <a:pt x="1406" y="1103"/>
                </a:lnTo>
                <a:lnTo>
                  <a:pt x="1406" y="1104"/>
                </a:lnTo>
                <a:lnTo>
                  <a:pt x="1404" y="1104"/>
                </a:lnTo>
                <a:lnTo>
                  <a:pt x="1403" y="1101"/>
                </a:lnTo>
                <a:lnTo>
                  <a:pt x="1401" y="1101"/>
                </a:lnTo>
                <a:lnTo>
                  <a:pt x="1403" y="1101"/>
                </a:lnTo>
                <a:lnTo>
                  <a:pt x="1404" y="1101"/>
                </a:lnTo>
                <a:lnTo>
                  <a:pt x="1404" y="1099"/>
                </a:lnTo>
                <a:lnTo>
                  <a:pt x="1403" y="1099"/>
                </a:lnTo>
                <a:lnTo>
                  <a:pt x="1403" y="1098"/>
                </a:lnTo>
                <a:lnTo>
                  <a:pt x="1404" y="1096"/>
                </a:lnTo>
                <a:lnTo>
                  <a:pt x="1404" y="1094"/>
                </a:lnTo>
                <a:lnTo>
                  <a:pt x="1406" y="1093"/>
                </a:lnTo>
                <a:lnTo>
                  <a:pt x="1408" y="1093"/>
                </a:lnTo>
                <a:lnTo>
                  <a:pt x="1408" y="1094"/>
                </a:lnTo>
                <a:lnTo>
                  <a:pt x="1408" y="1091"/>
                </a:lnTo>
                <a:lnTo>
                  <a:pt x="1410" y="1091"/>
                </a:lnTo>
                <a:lnTo>
                  <a:pt x="1408" y="1091"/>
                </a:lnTo>
                <a:lnTo>
                  <a:pt x="1408" y="1089"/>
                </a:lnTo>
                <a:lnTo>
                  <a:pt x="1410" y="1089"/>
                </a:lnTo>
                <a:lnTo>
                  <a:pt x="1411" y="1091"/>
                </a:lnTo>
                <a:lnTo>
                  <a:pt x="1411" y="1094"/>
                </a:lnTo>
                <a:lnTo>
                  <a:pt x="1410" y="1094"/>
                </a:lnTo>
                <a:lnTo>
                  <a:pt x="1410" y="1096"/>
                </a:lnTo>
                <a:lnTo>
                  <a:pt x="1411" y="1094"/>
                </a:lnTo>
                <a:lnTo>
                  <a:pt x="1411" y="1093"/>
                </a:lnTo>
                <a:lnTo>
                  <a:pt x="1411" y="1091"/>
                </a:lnTo>
                <a:lnTo>
                  <a:pt x="1410" y="1089"/>
                </a:lnTo>
                <a:lnTo>
                  <a:pt x="1411" y="1089"/>
                </a:lnTo>
                <a:lnTo>
                  <a:pt x="1415" y="1089"/>
                </a:lnTo>
                <a:lnTo>
                  <a:pt x="1413" y="1087"/>
                </a:lnTo>
                <a:lnTo>
                  <a:pt x="1415" y="1087"/>
                </a:lnTo>
                <a:lnTo>
                  <a:pt x="1416" y="1089"/>
                </a:lnTo>
                <a:lnTo>
                  <a:pt x="1415" y="1086"/>
                </a:lnTo>
                <a:lnTo>
                  <a:pt x="1415" y="1082"/>
                </a:lnTo>
                <a:lnTo>
                  <a:pt x="1413" y="1084"/>
                </a:lnTo>
                <a:lnTo>
                  <a:pt x="1411" y="1082"/>
                </a:lnTo>
                <a:lnTo>
                  <a:pt x="1413" y="1082"/>
                </a:lnTo>
                <a:close/>
                <a:moveTo>
                  <a:pt x="1224" y="1266"/>
                </a:moveTo>
                <a:lnTo>
                  <a:pt x="1224" y="1268"/>
                </a:lnTo>
                <a:lnTo>
                  <a:pt x="1223" y="1269"/>
                </a:lnTo>
                <a:lnTo>
                  <a:pt x="1223" y="1271"/>
                </a:lnTo>
                <a:lnTo>
                  <a:pt x="1221" y="1273"/>
                </a:lnTo>
                <a:lnTo>
                  <a:pt x="1219" y="1275"/>
                </a:lnTo>
                <a:lnTo>
                  <a:pt x="1219" y="1273"/>
                </a:lnTo>
                <a:lnTo>
                  <a:pt x="1219" y="1275"/>
                </a:lnTo>
                <a:lnTo>
                  <a:pt x="1217" y="1275"/>
                </a:lnTo>
                <a:lnTo>
                  <a:pt x="1219" y="1275"/>
                </a:lnTo>
                <a:lnTo>
                  <a:pt x="1219" y="1276"/>
                </a:lnTo>
                <a:lnTo>
                  <a:pt x="1217" y="1278"/>
                </a:lnTo>
                <a:lnTo>
                  <a:pt x="1216" y="1280"/>
                </a:lnTo>
                <a:lnTo>
                  <a:pt x="1214" y="1280"/>
                </a:lnTo>
                <a:lnTo>
                  <a:pt x="1214" y="1281"/>
                </a:lnTo>
                <a:lnTo>
                  <a:pt x="1212" y="1281"/>
                </a:lnTo>
                <a:lnTo>
                  <a:pt x="1212" y="1283"/>
                </a:lnTo>
                <a:lnTo>
                  <a:pt x="1212" y="1281"/>
                </a:lnTo>
                <a:lnTo>
                  <a:pt x="1212" y="1280"/>
                </a:lnTo>
                <a:lnTo>
                  <a:pt x="1214" y="1278"/>
                </a:lnTo>
                <a:lnTo>
                  <a:pt x="1212" y="1278"/>
                </a:lnTo>
                <a:lnTo>
                  <a:pt x="1211" y="1276"/>
                </a:lnTo>
                <a:lnTo>
                  <a:pt x="1212" y="1276"/>
                </a:lnTo>
                <a:lnTo>
                  <a:pt x="1212" y="1278"/>
                </a:lnTo>
                <a:lnTo>
                  <a:pt x="1211" y="1278"/>
                </a:lnTo>
                <a:lnTo>
                  <a:pt x="1212" y="1278"/>
                </a:lnTo>
                <a:lnTo>
                  <a:pt x="1211" y="1278"/>
                </a:lnTo>
                <a:lnTo>
                  <a:pt x="1212" y="1278"/>
                </a:lnTo>
                <a:lnTo>
                  <a:pt x="1212" y="1280"/>
                </a:lnTo>
                <a:lnTo>
                  <a:pt x="1211" y="1281"/>
                </a:lnTo>
                <a:lnTo>
                  <a:pt x="1209" y="1281"/>
                </a:lnTo>
                <a:lnTo>
                  <a:pt x="1211" y="1281"/>
                </a:lnTo>
                <a:lnTo>
                  <a:pt x="1211" y="1283"/>
                </a:lnTo>
                <a:lnTo>
                  <a:pt x="1209" y="1283"/>
                </a:lnTo>
                <a:lnTo>
                  <a:pt x="1211" y="1285"/>
                </a:lnTo>
                <a:lnTo>
                  <a:pt x="1209" y="1285"/>
                </a:lnTo>
                <a:lnTo>
                  <a:pt x="1207" y="1286"/>
                </a:lnTo>
                <a:lnTo>
                  <a:pt x="1207" y="1285"/>
                </a:lnTo>
                <a:lnTo>
                  <a:pt x="1207" y="1286"/>
                </a:lnTo>
                <a:lnTo>
                  <a:pt x="1206" y="1286"/>
                </a:lnTo>
                <a:lnTo>
                  <a:pt x="1206" y="1288"/>
                </a:lnTo>
                <a:lnTo>
                  <a:pt x="1206" y="1286"/>
                </a:lnTo>
                <a:lnTo>
                  <a:pt x="1204" y="1288"/>
                </a:lnTo>
                <a:lnTo>
                  <a:pt x="1204" y="1286"/>
                </a:lnTo>
                <a:lnTo>
                  <a:pt x="1204" y="1288"/>
                </a:lnTo>
                <a:lnTo>
                  <a:pt x="1202" y="1288"/>
                </a:lnTo>
                <a:lnTo>
                  <a:pt x="1202" y="1290"/>
                </a:lnTo>
                <a:lnTo>
                  <a:pt x="1200" y="1290"/>
                </a:lnTo>
                <a:lnTo>
                  <a:pt x="1199" y="1290"/>
                </a:lnTo>
                <a:lnTo>
                  <a:pt x="1199" y="1288"/>
                </a:lnTo>
                <a:lnTo>
                  <a:pt x="1199" y="1285"/>
                </a:lnTo>
                <a:lnTo>
                  <a:pt x="1202" y="1285"/>
                </a:lnTo>
                <a:lnTo>
                  <a:pt x="1204" y="1283"/>
                </a:lnTo>
                <a:lnTo>
                  <a:pt x="1200" y="1285"/>
                </a:lnTo>
                <a:lnTo>
                  <a:pt x="1200" y="1283"/>
                </a:lnTo>
                <a:lnTo>
                  <a:pt x="1202" y="1283"/>
                </a:lnTo>
                <a:lnTo>
                  <a:pt x="1202" y="1281"/>
                </a:lnTo>
                <a:lnTo>
                  <a:pt x="1200" y="1281"/>
                </a:lnTo>
                <a:lnTo>
                  <a:pt x="1200" y="1280"/>
                </a:lnTo>
                <a:lnTo>
                  <a:pt x="1200" y="1278"/>
                </a:lnTo>
                <a:lnTo>
                  <a:pt x="1202" y="1278"/>
                </a:lnTo>
                <a:lnTo>
                  <a:pt x="1204" y="1280"/>
                </a:lnTo>
                <a:lnTo>
                  <a:pt x="1204" y="1278"/>
                </a:lnTo>
                <a:lnTo>
                  <a:pt x="1204" y="1276"/>
                </a:lnTo>
                <a:lnTo>
                  <a:pt x="1206" y="1280"/>
                </a:lnTo>
                <a:lnTo>
                  <a:pt x="1206" y="1278"/>
                </a:lnTo>
                <a:lnTo>
                  <a:pt x="1206" y="1276"/>
                </a:lnTo>
                <a:lnTo>
                  <a:pt x="1204" y="1276"/>
                </a:lnTo>
                <a:lnTo>
                  <a:pt x="1204" y="1275"/>
                </a:lnTo>
                <a:lnTo>
                  <a:pt x="1206" y="1273"/>
                </a:lnTo>
                <a:lnTo>
                  <a:pt x="1207" y="1275"/>
                </a:lnTo>
                <a:lnTo>
                  <a:pt x="1207" y="1273"/>
                </a:lnTo>
                <a:lnTo>
                  <a:pt x="1206" y="1271"/>
                </a:lnTo>
                <a:lnTo>
                  <a:pt x="1209" y="1269"/>
                </a:lnTo>
                <a:lnTo>
                  <a:pt x="1211" y="1271"/>
                </a:lnTo>
                <a:lnTo>
                  <a:pt x="1211" y="1273"/>
                </a:lnTo>
                <a:lnTo>
                  <a:pt x="1211" y="1271"/>
                </a:lnTo>
                <a:lnTo>
                  <a:pt x="1211" y="1269"/>
                </a:lnTo>
                <a:lnTo>
                  <a:pt x="1214" y="1269"/>
                </a:lnTo>
                <a:lnTo>
                  <a:pt x="1214" y="1271"/>
                </a:lnTo>
                <a:lnTo>
                  <a:pt x="1214" y="1273"/>
                </a:lnTo>
                <a:lnTo>
                  <a:pt x="1212" y="1275"/>
                </a:lnTo>
                <a:lnTo>
                  <a:pt x="1214" y="1273"/>
                </a:lnTo>
                <a:lnTo>
                  <a:pt x="1216" y="1273"/>
                </a:lnTo>
                <a:lnTo>
                  <a:pt x="1216" y="1271"/>
                </a:lnTo>
                <a:lnTo>
                  <a:pt x="1216" y="1269"/>
                </a:lnTo>
                <a:lnTo>
                  <a:pt x="1216" y="1268"/>
                </a:lnTo>
                <a:lnTo>
                  <a:pt x="1217" y="1269"/>
                </a:lnTo>
                <a:lnTo>
                  <a:pt x="1219" y="1269"/>
                </a:lnTo>
                <a:lnTo>
                  <a:pt x="1219" y="1268"/>
                </a:lnTo>
                <a:lnTo>
                  <a:pt x="1219" y="1269"/>
                </a:lnTo>
                <a:lnTo>
                  <a:pt x="1219" y="1268"/>
                </a:lnTo>
                <a:lnTo>
                  <a:pt x="1223" y="1268"/>
                </a:lnTo>
                <a:lnTo>
                  <a:pt x="1224" y="1266"/>
                </a:lnTo>
                <a:close/>
                <a:moveTo>
                  <a:pt x="1243" y="1203"/>
                </a:moveTo>
                <a:lnTo>
                  <a:pt x="1245" y="1205"/>
                </a:lnTo>
                <a:lnTo>
                  <a:pt x="1245" y="1206"/>
                </a:lnTo>
                <a:lnTo>
                  <a:pt x="1243" y="1208"/>
                </a:lnTo>
                <a:lnTo>
                  <a:pt x="1243" y="1210"/>
                </a:lnTo>
                <a:lnTo>
                  <a:pt x="1243" y="1213"/>
                </a:lnTo>
                <a:lnTo>
                  <a:pt x="1243" y="1215"/>
                </a:lnTo>
                <a:lnTo>
                  <a:pt x="1243" y="1217"/>
                </a:lnTo>
                <a:lnTo>
                  <a:pt x="1241" y="1217"/>
                </a:lnTo>
                <a:lnTo>
                  <a:pt x="1241" y="1218"/>
                </a:lnTo>
                <a:lnTo>
                  <a:pt x="1240" y="1222"/>
                </a:lnTo>
                <a:lnTo>
                  <a:pt x="1238" y="1224"/>
                </a:lnTo>
                <a:lnTo>
                  <a:pt x="1238" y="1225"/>
                </a:lnTo>
                <a:lnTo>
                  <a:pt x="1236" y="1225"/>
                </a:lnTo>
                <a:lnTo>
                  <a:pt x="1234" y="1227"/>
                </a:lnTo>
                <a:lnTo>
                  <a:pt x="1233" y="1229"/>
                </a:lnTo>
                <a:lnTo>
                  <a:pt x="1233" y="1230"/>
                </a:lnTo>
                <a:lnTo>
                  <a:pt x="1233" y="1227"/>
                </a:lnTo>
                <a:lnTo>
                  <a:pt x="1231" y="1227"/>
                </a:lnTo>
                <a:lnTo>
                  <a:pt x="1229" y="1227"/>
                </a:lnTo>
                <a:lnTo>
                  <a:pt x="1231" y="1229"/>
                </a:lnTo>
                <a:lnTo>
                  <a:pt x="1231" y="1230"/>
                </a:lnTo>
                <a:lnTo>
                  <a:pt x="1231" y="1232"/>
                </a:lnTo>
                <a:lnTo>
                  <a:pt x="1231" y="1235"/>
                </a:lnTo>
                <a:lnTo>
                  <a:pt x="1229" y="1237"/>
                </a:lnTo>
                <a:lnTo>
                  <a:pt x="1228" y="1235"/>
                </a:lnTo>
                <a:lnTo>
                  <a:pt x="1228" y="1234"/>
                </a:lnTo>
                <a:lnTo>
                  <a:pt x="1228" y="1230"/>
                </a:lnTo>
                <a:lnTo>
                  <a:pt x="1228" y="1229"/>
                </a:lnTo>
                <a:lnTo>
                  <a:pt x="1228" y="1227"/>
                </a:lnTo>
                <a:lnTo>
                  <a:pt x="1229" y="1225"/>
                </a:lnTo>
                <a:lnTo>
                  <a:pt x="1229" y="1222"/>
                </a:lnTo>
                <a:lnTo>
                  <a:pt x="1231" y="1222"/>
                </a:lnTo>
                <a:lnTo>
                  <a:pt x="1229" y="1220"/>
                </a:lnTo>
                <a:lnTo>
                  <a:pt x="1231" y="1220"/>
                </a:lnTo>
                <a:lnTo>
                  <a:pt x="1231" y="1218"/>
                </a:lnTo>
                <a:lnTo>
                  <a:pt x="1233" y="1217"/>
                </a:lnTo>
                <a:lnTo>
                  <a:pt x="1234" y="1217"/>
                </a:lnTo>
                <a:lnTo>
                  <a:pt x="1236" y="1215"/>
                </a:lnTo>
                <a:lnTo>
                  <a:pt x="1236" y="1213"/>
                </a:lnTo>
                <a:lnTo>
                  <a:pt x="1236" y="1212"/>
                </a:lnTo>
                <a:lnTo>
                  <a:pt x="1238" y="1212"/>
                </a:lnTo>
                <a:lnTo>
                  <a:pt x="1236" y="1210"/>
                </a:lnTo>
                <a:lnTo>
                  <a:pt x="1238" y="1210"/>
                </a:lnTo>
                <a:lnTo>
                  <a:pt x="1236" y="1208"/>
                </a:lnTo>
                <a:lnTo>
                  <a:pt x="1238" y="1208"/>
                </a:lnTo>
                <a:lnTo>
                  <a:pt x="1240" y="1206"/>
                </a:lnTo>
                <a:lnTo>
                  <a:pt x="1240" y="1205"/>
                </a:lnTo>
                <a:lnTo>
                  <a:pt x="1241" y="1205"/>
                </a:lnTo>
                <a:lnTo>
                  <a:pt x="1243" y="1203"/>
                </a:lnTo>
                <a:close/>
                <a:moveTo>
                  <a:pt x="1459" y="1030"/>
                </a:moveTo>
                <a:lnTo>
                  <a:pt x="1459" y="1033"/>
                </a:lnTo>
                <a:lnTo>
                  <a:pt x="1461" y="1031"/>
                </a:lnTo>
                <a:lnTo>
                  <a:pt x="1462" y="1031"/>
                </a:lnTo>
                <a:lnTo>
                  <a:pt x="1462" y="1035"/>
                </a:lnTo>
                <a:lnTo>
                  <a:pt x="1464" y="1033"/>
                </a:lnTo>
                <a:lnTo>
                  <a:pt x="1462" y="1035"/>
                </a:lnTo>
                <a:lnTo>
                  <a:pt x="1464" y="1035"/>
                </a:lnTo>
                <a:lnTo>
                  <a:pt x="1466" y="1033"/>
                </a:lnTo>
                <a:lnTo>
                  <a:pt x="1466" y="1035"/>
                </a:lnTo>
                <a:lnTo>
                  <a:pt x="1466" y="1031"/>
                </a:lnTo>
                <a:lnTo>
                  <a:pt x="1467" y="1033"/>
                </a:lnTo>
                <a:lnTo>
                  <a:pt x="1469" y="1035"/>
                </a:lnTo>
                <a:lnTo>
                  <a:pt x="1467" y="1036"/>
                </a:lnTo>
                <a:lnTo>
                  <a:pt x="1466" y="1036"/>
                </a:lnTo>
                <a:lnTo>
                  <a:pt x="1464" y="1038"/>
                </a:lnTo>
                <a:lnTo>
                  <a:pt x="1466" y="1038"/>
                </a:lnTo>
                <a:lnTo>
                  <a:pt x="1466" y="1040"/>
                </a:lnTo>
                <a:lnTo>
                  <a:pt x="1467" y="1040"/>
                </a:lnTo>
                <a:lnTo>
                  <a:pt x="1466" y="1041"/>
                </a:lnTo>
                <a:lnTo>
                  <a:pt x="1469" y="1041"/>
                </a:lnTo>
                <a:lnTo>
                  <a:pt x="1469" y="1040"/>
                </a:lnTo>
                <a:lnTo>
                  <a:pt x="1471" y="1041"/>
                </a:lnTo>
                <a:lnTo>
                  <a:pt x="1471" y="1038"/>
                </a:lnTo>
                <a:lnTo>
                  <a:pt x="1472" y="1036"/>
                </a:lnTo>
                <a:lnTo>
                  <a:pt x="1474" y="1038"/>
                </a:lnTo>
                <a:lnTo>
                  <a:pt x="1472" y="1040"/>
                </a:lnTo>
                <a:lnTo>
                  <a:pt x="1472" y="1041"/>
                </a:lnTo>
                <a:lnTo>
                  <a:pt x="1471" y="1043"/>
                </a:lnTo>
                <a:lnTo>
                  <a:pt x="1469" y="1043"/>
                </a:lnTo>
                <a:lnTo>
                  <a:pt x="1469" y="1045"/>
                </a:lnTo>
                <a:lnTo>
                  <a:pt x="1469" y="1043"/>
                </a:lnTo>
                <a:lnTo>
                  <a:pt x="1467" y="1045"/>
                </a:lnTo>
                <a:lnTo>
                  <a:pt x="1464" y="1045"/>
                </a:lnTo>
                <a:lnTo>
                  <a:pt x="1462" y="1047"/>
                </a:lnTo>
                <a:lnTo>
                  <a:pt x="1464" y="1048"/>
                </a:lnTo>
                <a:lnTo>
                  <a:pt x="1461" y="1048"/>
                </a:lnTo>
                <a:lnTo>
                  <a:pt x="1461" y="1050"/>
                </a:lnTo>
                <a:lnTo>
                  <a:pt x="1457" y="1048"/>
                </a:lnTo>
                <a:lnTo>
                  <a:pt x="1457" y="1047"/>
                </a:lnTo>
                <a:lnTo>
                  <a:pt x="1455" y="1047"/>
                </a:lnTo>
                <a:lnTo>
                  <a:pt x="1457" y="1043"/>
                </a:lnTo>
                <a:lnTo>
                  <a:pt x="1459" y="1043"/>
                </a:lnTo>
                <a:lnTo>
                  <a:pt x="1457" y="1041"/>
                </a:lnTo>
                <a:lnTo>
                  <a:pt x="1455" y="1043"/>
                </a:lnTo>
                <a:lnTo>
                  <a:pt x="1452" y="1045"/>
                </a:lnTo>
                <a:lnTo>
                  <a:pt x="1450" y="1043"/>
                </a:lnTo>
                <a:lnTo>
                  <a:pt x="1452" y="1043"/>
                </a:lnTo>
                <a:lnTo>
                  <a:pt x="1450" y="1043"/>
                </a:lnTo>
                <a:lnTo>
                  <a:pt x="1452" y="1040"/>
                </a:lnTo>
                <a:lnTo>
                  <a:pt x="1450" y="1040"/>
                </a:lnTo>
                <a:lnTo>
                  <a:pt x="1450" y="1038"/>
                </a:lnTo>
                <a:lnTo>
                  <a:pt x="1452" y="1040"/>
                </a:lnTo>
                <a:lnTo>
                  <a:pt x="1452" y="1038"/>
                </a:lnTo>
                <a:lnTo>
                  <a:pt x="1455" y="1038"/>
                </a:lnTo>
                <a:lnTo>
                  <a:pt x="1454" y="1036"/>
                </a:lnTo>
                <a:lnTo>
                  <a:pt x="1455" y="1038"/>
                </a:lnTo>
                <a:lnTo>
                  <a:pt x="1457" y="1036"/>
                </a:lnTo>
                <a:lnTo>
                  <a:pt x="1457" y="1038"/>
                </a:lnTo>
                <a:lnTo>
                  <a:pt x="1459" y="1036"/>
                </a:lnTo>
                <a:lnTo>
                  <a:pt x="1461" y="1038"/>
                </a:lnTo>
                <a:lnTo>
                  <a:pt x="1461" y="1040"/>
                </a:lnTo>
                <a:lnTo>
                  <a:pt x="1462" y="1038"/>
                </a:lnTo>
                <a:lnTo>
                  <a:pt x="1459" y="1036"/>
                </a:lnTo>
                <a:lnTo>
                  <a:pt x="1457" y="1035"/>
                </a:lnTo>
                <a:lnTo>
                  <a:pt x="1455" y="1033"/>
                </a:lnTo>
                <a:lnTo>
                  <a:pt x="1457" y="1033"/>
                </a:lnTo>
                <a:lnTo>
                  <a:pt x="1459" y="1031"/>
                </a:lnTo>
                <a:lnTo>
                  <a:pt x="1459" y="1030"/>
                </a:lnTo>
                <a:close/>
                <a:moveTo>
                  <a:pt x="1053" y="1618"/>
                </a:moveTo>
                <a:lnTo>
                  <a:pt x="1053" y="1620"/>
                </a:lnTo>
                <a:lnTo>
                  <a:pt x="1051" y="1622"/>
                </a:lnTo>
                <a:lnTo>
                  <a:pt x="1053" y="1622"/>
                </a:lnTo>
                <a:lnTo>
                  <a:pt x="1053" y="1625"/>
                </a:lnTo>
                <a:lnTo>
                  <a:pt x="1054" y="1623"/>
                </a:lnTo>
                <a:lnTo>
                  <a:pt x="1056" y="1623"/>
                </a:lnTo>
                <a:lnTo>
                  <a:pt x="1058" y="1625"/>
                </a:lnTo>
                <a:lnTo>
                  <a:pt x="1058" y="1627"/>
                </a:lnTo>
                <a:lnTo>
                  <a:pt x="1058" y="1625"/>
                </a:lnTo>
                <a:lnTo>
                  <a:pt x="1059" y="1625"/>
                </a:lnTo>
                <a:lnTo>
                  <a:pt x="1059" y="1627"/>
                </a:lnTo>
                <a:lnTo>
                  <a:pt x="1058" y="1627"/>
                </a:lnTo>
                <a:lnTo>
                  <a:pt x="1056" y="1628"/>
                </a:lnTo>
                <a:lnTo>
                  <a:pt x="1053" y="1630"/>
                </a:lnTo>
                <a:lnTo>
                  <a:pt x="1051" y="1630"/>
                </a:lnTo>
                <a:lnTo>
                  <a:pt x="1049" y="1632"/>
                </a:lnTo>
                <a:lnTo>
                  <a:pt x="1047" y="1632"/>
                </a:lnTo>
                <a:lnTo>
                  <a:pt x="1046" y="1632"/>
                </a:lnTo>
                <a:lnTo>
                  <a:pt x="1042" y="1632"/>
                </a:lnTo>
                <a:lnTo>
                  <a:pt x="1041" y="1633"/>
                </a:lnTo>
                <a:lnTo>
                  <a:pt x="1039" y="1633"/>
                </a:lnTo>
                <a:lnTo>
                  <a:pt x="1037" y="1635"/>
                </a:lnTo>
                <a:lnTo>
                  <a:pt x="1034" y="1635"/>
                </a:lnTo>
                <a:lnTo>
                  <a:pt x="1034" y="1633"/>
                </a:lnTo>
                <a:lnTo>
                  <a:pt x="1032" y="1633"/>
                </a:lnTo>
                <a:lnTo>
                  <a:pt x="1034" y="1633"/>
                </a:lnTo>
                <a:lnTo>
                  <a:pt x="1032" y="1633"/>
                </a:lnTo>
                <a:lnTo>
                  <a:pt x="1030" y="1633"/>
                </a:lnTo>
                <a:lnTo>
                  <a:pt x="1032" y="1632"/>
                </a:lnTo>
                <a:lnTo>
                  <a:pt x="1032" y="1630"/>
                </a:lnTo>
                <a:lnTo>
                  <a:pt x="1030" y="1632"/>
                </a:lnTo>
                <a:lnTo>
                  <a:pt x="1034" y="1630"/>
                </a:lnTo>
                <a:lnTo>
                  <a:pt x="1034" y="1628"/>
                </a:lnTo>
                <a:lnTo>
                  <a:pt x="1036" y="1627"/>
                </a:lnTo>
                <a:lnTo>
                  <a:pt x="1034" y="1627"/>
                </a:lnTo>
                <a:lnTo>
                  <a:pt x="1034" y="1628"/>
                </a:lnTo>
                <a:lnTo>
                  <a:pt x="1032" y="1628"/>
                </a:lnTo>
                <a:lnTo>
                  <a:pt x="1030" y="1632"/>
                </a:lnTo>
                <a:lnTo>
                  <a:pt x="1030" y="1630"/>
                </a:lnTo>
                <a:lnTo>
                  <a:pt x="1034" y="1628"/>
                </a:lnTo>
                <a:lnTo>
                  <a:pt x="1032" y="1628"/>
                </a:lnTo>
                <a:lnTo>
                  <a:pt x="1034" y="1627"/>
                </a:lnTo>
                <a:lnTo>
                  <a:pt x="1036" y="1627"/>
                </a:lnTo>
                <a:lnTo>
                  <a:pt x="1037" y="1625"/>
                </a:lnTo>
                <a:lnTo>
                  <a:pt x="1039" y="1627"/>
                </a:lnTo>
                <a:lnTo>
                  <a:pt x="1041" y="1625"/>
                </a:lnTo>
                <a:lnTo>
                  <a:pt x="1042" y="1625"/>
                </a:lnTo>
                <a:lnTo>
                  <a:pt x="1044" y="1625"/>
                </a:lnTo>
                <a:lnTo>
                  <a:pt x="1046" y="1625"/>
                </a:lnTo>
                <a:lnTo>
                  <a:pt x="1044" y="1625"/>
                </a:lnTo>
                <a:lnTo>
                  <a:pt x="1042" y="1625"/>
                </a:lnTo>
                <a:lnTo>
                  <a:pt x="1042" y="1623"/>
                </a:lnTo>
                <a:lnTo>
                  <a:pt x="1039" y="1623"/>
                </a:lnTo>
                <a:lnTo>
                  <a:pt x="1041" y="1622"/>
                </a:lnTo>
                <a:lnTo>
                  <a:pt x="1042" y="1622"/>
                </a:lnTo>
                <a:lnTo>
                  <a:pt x="1041" y="1622"/>
                </a:lnTo>
                <a:lnTo>
                  <a:pt x="1042" y="1623"/>
                </a:lnTo>
                <a:lnTo>
                  <a:pt x="1042" y="1622"/>
                </a:lnTo>
                <a:lnTo>
                  <a:pt x="1044" y="1622"/>
                </a:lnTo>
                <a:lnTo>
                  <a:pt x="1044" y="1620"/>
                </a:lnTo>
                <a:lnTo>
                  <a:pt x="1047" y="1620"/>
                </a:lnTo>
                <a:lnTo>
                  <a:pt x="1049" y="1620"/>
                </a:lnTo>
                <a:lnTo>
                  <a:pt x="1047" y="1620"/>
                </a:lnTo>
                <a:lnTo>
                  <a:pt x="1049" y="1622"/>
                </a:lnTo>
                <a:lnTo>
                  <a:pt x="1047" y="1622"/>
                </a:lnTo>
                <a:lnTo>
                  <a:pt x="1049" y="1623"/>
                </a:lnTo>
                <a:lnTo>
                  <a:pt x="1051" y="1622"/>
                </a:lnTo>
                <a:lnTo>
                  <a:pt x="1049" y="1620"/>
                </a:lnTo>
                <a:lnTo>
                  <a:pt x="1051" y="1620"/>
                </a:lnTo>
                <a:lnTo>
                  <a:pt x="1049" y="1620"/>
                </a:lnTo>
                <a:lnTo>
                  <a:pt x="1051" y="1620"/>
                </a:lnTo>
                <a:lnTo>
                  <a:pt x="1051" y="1618"/>
                </a:lnTo>
                <a:lnTo>
                  <a:pt x="1053" y="1620"/>
                </a:lnTo>
                <a:lnTo>
                  <a:pt x="1053" y="1618"/>
                </a:lnTo>
                <a:close/>
                <a:moveTo>
                  <a:pt x="1190" y="1278"/>
                </a:moveTo>
                <a:lnTo>
                  <a:pt x="1192" y="1278"/>
                </a:lnTo>
                <a:lnTo>
                  <a:pt x="1194" y="1280"/>
                </a:lnTo>
                <a:lnTo>
                  <a:pt x="1194" y="1281"/>
                </a:lnTo>
                <a:lnTo>
                  <a:pt x="1194" y="1283"/>
                </a:lnTo>
                <a:lnTo>
                  <a:pt x="1192" y="1283"/>
                </a:lnTo>
                <a:lnTo>
                  <a:pt x="1190" y="1281"/>
                </a:lnTo>
                <a:lnTo>
                  <a:pt x="1190" y="1283"/>
                </a:lnTo>
                <a:lnTo>
                  <a:pt x="1192" y="1285"/>
                </a:lnTo>
                <a:lnTo>
                  <a:pt x="1192" y="1283"/>
                </a:lnTo>
                <a:lnTo>
                  <a:pt x="1194" y="1285"/>
                </a:lnTo>
                <a:lnTo>
                  <a:pt x="1194" y="1283"/>
                </a:lnTo>
                <a:lnTo>
                  <a:pt x="1195" y="1281"/>
                </a:lnTo>
                <a:lnTo>
                  <a:pt x="1197" y="1283"/>
                </a:lnTo>
                <a:lnTo>
                  <a:pt x="1195" y="1285"/>
                </a:lnTo>
                <a:lnTo>
                  <a:pt x="1197" y="1286"/>
                </a:lnTo>
                <a:lnTo>
                  <a:pt x="1195" y="1288"/>
                </a:lnTo>
                <a:lnTo>
                  <a:pt x="1195" y="1286"/>
                </a:lnTo>
                <a:lnTo>
                  <a:pt x="1194" y="1288"/>
                </a:lnTo>
                <a:lnTo>
                  <a:pt x="1194" y="1290"/>
                </a:lnTo>
                <a:lnTo>
                  <a:pt x="1192" y="1288"/>
                </a:lnTo>
                <a:lnTo>
                  <a:pt x="1194" y="1288"/>
                </a:lnTo>
                <a:lnTo>
                  <a:pt x="1192" y="1288"/>
                </a:lnTo>
                <a:lnTo>
                  <a:pt x="1192" y="1290"/>
                </a:lnTo>
                <a:lnTo>
                  <a:pt x="1192" y="1288"/>
                </a:lnTo>
                <a:lnTo>
                  <a:pt x="1190" y="1290"/>
                </a:lnTo>
                <a:lnTo>
                  <a:pt x="1190" y="1288"/>
                </a:lnTo>
                <a:lnTo>
                  <a:pt x="1190" y="1290"/>
                </a:lnTo>
                <a:lnTo>
                  <a:pt x="1189" y="1290"/>
                </a:lnTo>
                <a:lnTo>
                  <a:pt x="1190" y="1290"/>
                </a:lnTo>
                <a:lnTo>
                  <a:pt x="1189" y="1292"/>
                </a:lnTo>
                <a:lnTo>
                  <a:pt x="1187" y="1292"/>
                </a:lnTo>
                <a:lnTo>
                  <a:pt x="1189" y="1292"/>
                </a:lnTo>
                <a:lnTo>
                  <a:pt x="1190" y="1292"/>
                </a:lnTo>
                <a:lnTo>
                  <a:pt x="1189" y="1293"/>
                </a:lnTo>
                <a:lnTo>
                  <a:pt x="1190" y="1295"/>
                </a:lnTo>
                <a:lnTo>
                  <a:pt x="1189" y="1293"/>
                </a:lnTo>
                <a:lnTo>
                  <a:pt x="1189" y="1295"/>
                </a:lnTo>
                <a:lnTo>
                  <a:pt x="1187" y="1295"/>
                </a:lnTo>
                <a:lnTo>
                  <a:pt x="1187" y="1293"/>
                </a:lnTo>
                <a:lnTo>
                  <a:pt x="1187" y="1292"/>
                </a:lnTo>
                <a:lnTo>
                  <a:pt x="1187" y="1295"/>
                </a:lnTo>
                <a:lnTo>
                  <a:pt x="1185" y="1295"/>
                </a:lnTo>
                <a:lnTo>
                  <a:pt x="1187" y="1297"/>
                </a:lnTo>
                <a:lnTo>
                  <a:pt x="1185" y="1298"/>
                </a:lnTo>
                <a:lnTo>
                  <a:pt x="1185" y="1297"/>
                </a:lnTo>
                <a:lnTo>
                  <a:pt x="1183" y="1298"/>
                </a:lnTo>
                <a:lnTo>
                  <a:pt x="1183" y="1297"/>
                </a:lnTo>
                <a:lnTo>
                  <a:pt x="1183" y="1295"/>
                </a:lnTo>
                <a:lnTo>
                  <a:pt x="1183" y="1293"/>
                </a:lnTo>
                <a:lnTo>
                  <a:pt x="1183" y="1295"/>
                </a:lnTo>
                <a:lnTo>
                  <a:pt x="1182" y="1295"/>
                </a:lnTo>
                <a:lnTo>
                  <a:pt x="1183" y="1293"/>
                </a:lnTo>
                <a:lnTo>
                  <a:pt x="1182" y="1293"/>
                </a:lnTo>
                <a:lnTo>
                  <a:pt x="1182" y="1295"/>
                </a:lnTo>
                <a:lnTo>
                  <a:pt x="1182" y="1297"/>
                </a:lnTo>
                <a:lnTo>
                  <a:pt x="1182" y="1298"/>
                </a:lnTo>
                <a:lnTo>
                  <a:pt x="1180" y="1300"/>
                </a:lnTo>
                <a:lnTo>
                  <a:pt x="1178" y="1298"/>
                </a:lnTo>
                <a:lnTo>
                  <a:pt x="1180" y="1295"/>
                </a:lnTo>
                <a:lnTo>
                  <a:pt x="1178" y="1295"/>
                </a:lnTo>
                <a:lnTo>
                  <a:pt x="1180" y="1293"/>
                </a:lnTo>
                <a:lnTo>
                  <a:pt x="1182" y="1292"/>
                </a:lnTo>
                <a:lnTo>
                  <a:pt x="1183" y="1292"/>
                </a:lnTo>
                <a:lnTo>
                  <a:pt x="1182" y="1290"/>
                </a:lnTo>
                <a:lnTo>
                  <a:pt x="1182" y="1292"/>
                </a:lnTo>
                <a:lnTo>
                  <a:pt x="1182" y="1290"/>
                </a:lnTo>
                <a:lnTo>
                  <a:pt x="1180" y="1292"/>
                </a:lnTo>
                <a:lnTo>
                  <a:pt x="1180" y="1293"/>
                </a:lnTo>
                <a:lnTo>
                  <a:pt x="1182" y="1292"/>
                </a:lnTo>
                <a:lnTo>
                  <a:pt x="1178" y="1292"/>
                </a:lnTo>
                <a:lnTo>
                  <a:pt x="1180" y="1290"/>
                </a:lnTo>
                <a:lnTo>
                  <a:pt x="1178" y="1288"/>
                </a:lnTo>
                <a:lnTo>
                  <a:pt x="1182" y="1286"/>
                </a:lnTo>
                <a:lnTo>
                  <a:pt x="1183" y="1286"/>
                </a:lnTo>
                <a:lnTo>
                  <a:pt x="1182" y="1286"/>
                </a:lnTo>
                <a:lnTo>
                  <a:pt x="1183" y="1285"/>
                </a:lnTo>
                <a:lnTo>
                  <a:pt x="1182" y="1286"/>
                </a:lnTo>
                <a:lnTo>
                  <a:pt x="1180" y="1286"/>
                </a:lnTo>
                <a:lnTo>
                  <a:pt x="1182" y="1285"/>
                </a:lnTo>
                <a:lnTo>
                  <a:pt x="1182" y="1283"/>
                </a:lnTo>
                <a:lnTo>
                  <a:pt x="1183" y="1281"/>
                </a:lnTo>
                <a:lnTo>
                  <a:pt x="1185" y="1283"/>
                </a:lnTo>
                <a:lnTo>
                  <a:pt x="1189" y="1285"/>
                </a:lnTo>
                <a:lnTo>
                  <a:pt x="1187" y="1285"/>
                </a:lnTo>
                <a:lnTo>
                  <a:pt x="1187" y="1286"/>
                </a:lnTo>
                <a:lnTo>
                  <a:pt x="1189" y="1285"/>
                </a:lnTo>
                <a:lnTo>
                  <a:pt x="1187" y="1283"/>
                </a:lnTo>
                <a:lnTo>
                  <a:pt x="1185" y="1283"/>
                </a:lnTo>
                <a:lnTo>
                  <a:pt x="1187" y="1281"/>
                </a:lnTo>
                <a:lnTo>
                  <a:pt x="1187" y="1283"/>
                </a:lnTo>
                <a:lnTo>
                  <a:pt x="1189" y="1283"/>
                </a:lnTo>
                <a:lnTo>
                  <a:pt x="1189" y="1281"/>
                </a:lnTo>
                <a:lnTo>
                  <a:pt x="1190" y="1280"/>
                </a:lnTo>
                <a:lnTo>
                  <a:pt x="1189" y="1278"/>
                </a:lnTo>
                <a:lnTo>
                  <a:pt x="1190" y="1278"/>
                </a:lnTo>
                <a:lnTo>
                  <a:pt x="1190" y="1280"/>
                </a:lnTo>
                <a:lnTo>
                  <a:pt x="1190" y="1278"/>
                </a:lnTo>
                <a:close/>
                <a:moveTo>
                  <a:pt x="1418" y="1072"/>
                </a:moveTo>
                <a:lnTo>
                  <a:pt x="1420" y="1072"/>
                </a:lnTo>
                <a:lnTo>
                  <a:pt x="1421" y="1074"/>
                </a:lnTo>
                <a:lnTo>
                  <a:pt x="1421" y="1072"/>
                </a:lnTo>
                <a:lnTo>
                  <a:pt x="1421" y="1076"/>
                </a:lnTo>
                <a:lnTo>
                  <a:pt x="1423" y="1074"/>
                </a:lnTo>
                <a:lnTo>
                  <a:pt x="1427" y="1074"/>
                </a:lnTo>
                <a:lnTo>
                  <a:pt x="1427" y="1076"/>
                </a:lnTo>
                <a:lnTo>
                  <a:pt x="1428" y="1077"/>
                </a:lnTo>
                <a:lnTo>
                  <a:pt x="1430" y="1077"/>
                </a:lnTo>
                <a:lnTo>
                  <a:pt x="1430" y="1081"/>
                </a:lnTo>
                <a:lnTo>
                  <a:pt x="1430" y="1082"/>
                </a:lnTo>
                <a:lnTo>
                  <a:pt x="1428" y="1084"/>
                </a:lnTo>
                <a:lnTo>
                  <a:pt x="1428" y="1086"/>
                </a:lnTo>
                <a:lnTo>
                  <a:pt x="1428" y="1087"/>
                </a:lnTo>
                <a:lnTo>
                  <a:pt x="1427" y="1089"/>
                </a:lnTo>
                <a:lnTo>
                  <a:pt x="1423" y="1089"/>
                </a:lnTo>
                <a:lnTo>
                  <a:pt x="1421" y="1087"/>
                </a:lnTo>
                <a:lnTo>
                  <a:pt x="1421" y="1086"/>
                </a:lnTo>
                <a:lnTo>
                  <a:pt x="1420" y="1086"/>
                </a:lnTo>
                <a:lnTo>
                  <a:pt x="1420" y="1082"/>
                </a:lnTo>
                <a:lnTo>
                  <a:pt x="1418" y="1082"/>
                </a:lnTo>
                <a:lnTo>
                  <a:pt x="1418" y="1084"/>
                </a:lnTo>
                <a:lnTo>
                  <a:pt x="1420" y="1081"/>
                </a:lnTo>
                <a:lnTo>
                  <a:pt x="1418" y="1079"/>
                </a:lnTo>
                <a:lnTo>
                  <a:pt x="1418" y="1081"/>
                </a:lnTo>
                <a:lnTo>
                  <a:pt x="1420" y="1077"/>
                </a:lnTo>
                <a:lnTo>
                  <a:pt x="1418" y="1079"/>
                </a:lnTo>
                <a:lnTo>
                  <a:pt x="1416" y="1076"/>
                </a:lnTo>
                <a:lnTo>
                  <a:pt x="1418" y="1074"/>
                </a:lnTo>
                <a:lnTo>
                  <a:pt x="1418" y="1072"/>
                </a:lnTo>
                <a:close/>
                <a:moveTo>
                  <a:pt x="1352" y="1121"/>
                </a:moveTo>
                <a:lnTo>
                  <a:pt x="1353" y="1121"/>
                </a:lnTo>
                <a:lnTo>
                  <a:pt x="1355" y="1125"/>
                </a:lnTo>
                <a:lnTo>
                  <a:pt x="1353" y="1128"/>
                </a:lnTo>
                <a:lnTo>
                  <a:pt x="1353" y="1130"/>
                </a:lnTo>
                <a:lnTo>
                  <a:pt x="1353" y="1132"/>
                </a:lnTo>
                <a:lnTo>
                  <a:pt x="1355" y="1133"/>
                </a:lnTo>
                <a:lnTo>
                  <a:pt x="1355" y="1135"/>
                </a:lnTo>
                <a:lnTo>
                  <a:pt x="1353" y="1137"/>
                </a:lnTo>
                <a:lnTo>
                  <a:pt x="1352" y="1135"/>
                </a:lnTo>
                <a:lnTo>
                  <a:pt x="1352" y="1137"/>
                </a:lnTo>
                <a:lnTo>
                  <a:pt x="1350" y="1137"/>
                </a:lnTo>
                <a:lnTo>
                  <a:pt x="1350" y="1133"/>
                </a:lnTo>
                <a:lnTo>
                  <a:pt x="1348" y="1132"/>
                </a:lnTo>
                <a:lnTo>
                  <a:pt x="1350" y="1135"/>
                </a:lnTo>
                <a:lnTo>
                  <a:pt x="1348" y="1135"/>
                </a:lnTo>
                <a:lnTo>
                  <a:pt x="1348" y="1137"/>
                </a:lnTo>
                <a:lnTo>
                  <a:pt x="1347" y="1137"/>
                </a:lnTo>
                <a:lnTo>
                  <a:pt x="1345" y="1135"/>
                </a:lnTo>
                <a:lnTo>
                  <a:pt x="1345" y="1133"/>
                </a:lnTo>
                <a:lnTo>
                  <a:pt x="1345" y="1130"/>
                </a:lnTo>
                <a:lnTo>
                  <a:pt x="1345" y="1128"/>
                </a:lnTo>
                <a:lnTo>
                  <a:pt x="1345" y="1127"/>
                </a:lnTo>
                <a:lnTo>
                  <a:pt x="1347" y="1127"/>
                </a:lnTo>
                <a:lnTo>
                  <a:pt x="1347" y="1123"/>
                </a:lnTo>
                <a:lnTo>
                  <a:pt x="1348" y="1123"/>
                </a:lnTo>
                <a:lnTo>
                  <a:pt x="1350" y="1123"/>
                </a:lnTo>
                <a:lnTo>
                  <a:pt x="1352" y="1121"/>
                </a:lnTo>
                <a:close/>
                <a:moveTo>
                  <a:pt x="1398" y="1103"/>
                </a:moveTo>
                <a:lnTo>
                  <a:pt x="1399" y="1104"/>
                </a:lnTo>
                <a:lnTo>
                  <a:pt x="1399" y="1108"/>
                </a:lnTo>
                <a:lnTo>
                  <a:pt x="1399" y="1106"/>
                </a:lnTo>
                <a:lnTo>
                  <a:pt x="1399" y="1103"/>
                </a:lnTo>
                <a:lnTo>
                  <a:pt x="1401" y="1103"/>
                </a:lnTo>
                <a:lnTo>
                  <a:pt x="1401" y="1106"/>
                </a:lnTo>
                <a:lnTo>
                  <a:pt x="1403" y="1106"/>
                </a:lnTo>
                <a:lnTo>
                  <a:pt x="1404" y="1106"/>
                </a:lnTo>
                <a:lnTo>
                  <a:pt x="1404" y="1108"/>
                </a:lnTo>
                <a:lnTo>
                  <a:pt x="1406" y="1106"/>
                </a:lnTo>
                <a:lnTo>
                  <a:pt x="1404" y="1110"/>
                </a:lnTo>
                <a:lnTo>
                  <a:pt x="1406" y="1108"/>
                </a:lnTo>
                <a:lnTo>
                  <a:pt x="1408" y="1111"/>
                </a:lnTo>
                <a:lnTo>
                  <a:pt x="1408" y="1113"/>
                </a:lnTo>
                <a:lnTo>
                  <a:pt x="1404" y="1111"/>
                </a:lnTo>
                <a:lnTo>
                  <a:pt x="1403" y="1113"/>
                </a:lnTo>
                <a:lnTo>
                  <a:pt x="1401" y="1113"/>
                </a:lnTo>
                <a:lnTo>
                  <a:pt x="1399" y="1113"/>
                </a:lnTo>
                <a:lnTo>
                  <a:pt x="1398" y="1113"/>
                </a:lnTo>
                <a:lnTo>
                  <a:pt x="1396" y="1111"/>
                </a:lnTo>
                <a:lnTo>
                  <a:pt x="1393" y="1111"/>
                </a:lnTo>
                <a:lnTo>
                  <a:pt x="1391" y="1108"/>
                </a:lnTo>
                <a:lnTo>
                  <a:pt x="1393" y="1106"/>
                </a:lnTo>
                <a:lnTo>
                  <a:pt x="1394" y="1108"/>
                </a:lnTo>
                <a:lnTo>
                  <a:pt x="1393" y="1106"/>
                </a:lnTo>
                <a:lnTo>
                  <a:pt x="1394" y="1104"/>
                </a:lnTo>
                <a:lnTo>
                  <a:pt x="1394" y="1106"/>
                </a:lnTo>
                <a:lnTo>
                  <a:pt x="1394" y="1104"/>
                </a:lnTo>
                <a:lnTo>
                  <a:pt x="1396" y="1104"/>
                </a:lnTo>
                <a:lnTo>
                  <a:pt x="1396" y="1106"/>
                </a:lnTo>
                <a:lnTo>
                  <a:pt x="1396" y="1103"/>
                </a:lnTo>
                <a:lnTo>
                  <a:pt x="1398" y="1106"/>
                </a:lnTo>
                <a:lnTo>
                  <a:pt x="1398" y="1103"/>
                </a:lnTo>
                <a:close/>
                <a:moveTo>
                  <a:pt x="935" y="1824"/>
                </a:moveTo>
                <a:lnTo>
                  <a:pt x="935" y="1826"/>
                </a:lnTo>
                <a:lnTo>
                  <a:pt x="935" y="1824"/>
                </a:lnTo>
                <a:lnTo>
                  <a:pt x="937" y="1826"/>
                </a:lnTo>
                <a:lnTo>
                  <a:pt x="937" y="1827"/>
                </a:lnTo>
                <a:lnTo>
                  <a:pt x="937" y="1829"/>
                </a:lnTo>
                <a:lnTo>
                  <a:pt x="937" y="1832"/>
                </a:lnTo>
                <a:lnTo>
                  <a:pt x="935" y="1836"/>
                </a:lnTo>
                <a:lnTo>
                  <a:pt x="935" y="1839"/>
                </a:lnTo>
                <a:lnTo>
                  <a:pt x="935" y="1841"/>
                </a:lnTo>
                <a:lnTo>
                  <a:pt x="934" y="1839"/>
                </a:lnTo>
                <a:lnTo>
                  <a:pt x="932" y="1841"/>
                </a:lnTo>
                <a:lnTo>
                  <a:pt x="932" y="1843"/>
                </a:lnTo>
                <a:lnTo>
                  <a:pt x="928" y="1843"/>
                </a:lnTo>
                <a:lnTo>
                  <a:pt x="928" y="1841"/>
                </a:lnTo>
                <a:lnTo>
                  <a:pt x="927" y="1841"/>
                </a:lnTo>
                <a:lnTo>
                  <a:pt x="925" y="1839"/>
                </a:lnTo>
                <a:lnTo>
                  <a:pt x="927" y="1838"/>
                </a:lnTo>
                <a:lnTo>
                  <a:pt x="925" y="1838"/>
                </a:lnTo>
                <a:lnTo>
                  <a:pt x="923" y="1836"/>
                </a:lnTo>
                <a:lnTo>
                  <a:pt x="923" y="1834"/>
                </a:lnTo>
                <a:lnTo>
                  <a:pt x="927" y="1834"/>
                </a:lnTo>
                <a:lnTo>
                  <a:pt x="928" y="1836"/>
                </a:lnTo>
                <a:lnTo>
                  <a:pt x="927" y="1832"/>
                </a:lnTo>
                <a:lnTo>
                  <a:pt x="928" y="1832"/>
                </a:lnTo>
                <a:lnTo>
                  <a:pt x="928" y="1831"/>
                </a:lnTo>
                <a:lnTo>
                  <a:pt x="930" y="1832"/>
                </a:lnTo>
                <a:lnTo>
                  <a:pt x="928" y="1831"/>
                </a:lnTo>
                <a:lnTo>
                  <a:pt x="930" y="1831"/>
                </a:lnTo>
                <a:lnTo>
                  <a:pt x="932" y="1829"/>
                </a:lnTo>
                <a:lnTo>
                  <a:pt x="934" y="1827"/>
                </a:lnTo>
                <a:lnTo>
                  <a:pt x="934" y="1826"/>
                </a:lnTo>
                <a:lnTo>
                  <a:pt x="934" y="1824"/>
                </a:lnTo>
                <a:lnTo>
                  <a:pt x="935" y="1824"/>
                </a:lnTo>
                <a:close/>
                <a:moveTo>
                  <a:pt x="1325" y="1121"/>
                </a:moveTo>
                <a:lnTo>
                  <a:pt x="1326" y="1123"/>
                </a:lnTo>
                <a:lnTo>
                  <a:pt x="1326" y="1127"/>
                </a:lnTo>
                <a:lnTo>
                  <a:pt x="1326" y="1125"/>
                </a:lnTo>
                <a:lnTo>
                  <a:pt x="1328" y="1127"/>
                </a:lnTo>
                <a:lnTo>
                  <a:pt x="1328" y="1130"/>
                </a:lnTo>
                <a:lnTo>
                  <a:pt x="1330" y="1132"/>
                </a:lnTo>
                <a:lnTo>
                  <a:pt x="1330" y="1130"/>
                </a:lnTo>
                <a:lnTo>
                  <a:pt x="1330" y="1127"/>
                </a:lnTo>
                <a:lnTo>
                  <a:pt x="1333" y="1128"/>
                </a:lnTo>
                <a:lnTo>
                  <a:pt x="1331" y="1130"/>
                </a:lnTo>
                <a:lnTo>
                  <a:pt x="1333" y="1132"/>
                </a:lnTo>
                <a:lnTo>
                  <a:pt x="1335" y="1132"/>
                </a:lnTo>
                <a:lnTo>
                  <a:pt x="1335" y="1133"/>
                </a:lnTo>
                <a:lnTo>
                  <a:pt x="1336" y="1133"/>
                </a:lnTo>
                <a:lnTo>
                  <a:pt x="1338" y="1133"/>
                </a:lnTo>
                <a:lnTo>
                  <a:pt x="1338" y="1135"/>
                </a:lnTo>
                <a:lnTo>
                  <a:pt x="1335" y="1135"/>
                </a:lnTo>
                <a:lnTo>
                  <a:pt x="1335" y="1138"/>
                </a:lnTo>
                <a:lnTo>
                  <a:pt x="1333" y="1138"/>
                </a:lnTo>
                <a:lnTo>
                  <a:pt x="1330" y="1138"/>
                </a:lnTo>
                <a:lnTo>
                  <a:pt x="1328" y="1138"/>
                </a:lnTo>
                <a:lnTo>
                  <a:pt x="1328" y="1135"/>
                </a:lnTo>
                <a:lnTo>
                  <a:pt x="1328" y="1133"/>
                </a:lnTo>
                <a:lnTo>
                  <a:pt x="1326" y="1132"/>
                </a:lnTo>
                <a:lnTo>
                  <a:pt x="1326" y="1130"/>
                </a:lnTo>
                <a:lnTo>
                  <a:pt x="1325" y="1128"/>
                </a:lnTo>
                <a:lnTo>
                  <a:pt x="1323" y="1128"/>
                </a:lnTo>
                <a:lnTo>
                  <a:pt x="1321" y="1125"/>
                </a:lnTo>
                <a:lnTo>
                  <a:pt x="1321" y="1127"/>
                </a:lnTo>
                <a:lnTo>
                  <a:pt x="1321" y="1125"/>
                </a:lnTo>
                <a:lnTo>
                  <a:pt x="1323" y="1125"/>
                </a:lnTo>
                <a:lnTo>
                  <a:pt x="1323" y="1123"/>
                </a:lnTo>
                <a:lnTo>
                  <a:pt x="1325" y="1121"/>
                </a:lnTo>
                <a:close/>
                <a:moveTo>
                  <a:pt x="1255" y="1258"/>
                </a:moveTo>
                <a:lnTo>
                  <a:pt x="1257" y="1259"/>
                </a:lnTo>
                <a:lnTo>
                  <a:pt x="1257" y="1261"/>
                </a:lnTo>
                <a:lnTo>
                  <a:pt x="1258" y="1263"/>
                </a:lnTo>
                <a:lnTo>
                  <a:pt x="1258" y="1264"/>
                </a:lnTo>
                <a:lnTo>
                  <a:pt x="1257" y="1264"/>
                </a:lnTo>
                <a:lnTo>
                  <a:pt x="1258" y="1266"/>
                </a:lnTo>
                <a:lnTo>
                  <a:pt x="1257" y="1268"/>
                </a:lnTo>
                <a:lnTo>
                  <a:pt x="1253" y="1268"/>
                </a:lnTo>
                <a:lnTo>
                  <a:pt x="1250" y="1269"/>
                </a:lnTo>
                <a:lnTo>
                  <a:pt x="1250" y="1271"/>
                </a:lnTo>
                <a:lnTo>
                  <a:pt x="1248" y="1269"/>
                </a:lnTo>
                <a:lnTo>
                  <a:pt x="1250" y="1269"/>
                </a:lnTo>
                <a:lnTo>
                  <a:pt x="1248" y="1269"/>
                </a:lnTo>
                <a:lnTo>
                  <a:pt x="1248" y="1268"/>
                </a:lnTo>
                <a:lnTo>
                  <a:pt x="1250" y="1268"/>
                </a:lnTo>
                <a:lnTo>
                  <a:pt x="1250" y="1266"/>
                </a:lnTo>
                <a:lnTo>
                  <a:pt x="1251" y="1266"/>
                </a:lnTo>
                <a:lnTo>
                  <a:pt x="1248" y="1266"/>
                </a:lnTo>
                <a:lnTo>
                  <a:pt x="1248" y="1264"/>
                </a:lnTo>
                <a:lnTo>
                  <a:pt x="1250" y="1264"/>
                </a:lnTo>
                <a:lnTo>
                  <a:pt x="1250" y="1263"/>
                </a:lnTo>
                <a:lnTo>
                  <a:pt x="1251" y="1261"/>
                </a:lnTo>
                <a:lnTo>
                  <a:pt x="1251" y="1259"/>
                </a:lnTo>
                <a:lnTo>
                  <a:pt x="1253" y="1259"/>
                </a:lnTo>
                <a:lnTo>
                  <a:pt x="1255" y="1258"/>
                </a:lnTo>
                <a:close/>
                <a:moveTo>
                  <a:pt x="1170" y="1297"/>
                </a:moveTo>
                <a:lnTo>
                  <a:pt x="1172" y="1297"/>
                </a:lnTo>
                <a:lnTo>
                  <a:pt x="1172" y="1298"/>
                </a:lnTo>
                <a:lnTo>
                  <a:pt x="1170" y="1300"/>
                </a:lnTo>
                <a:lnTo>
                  <a:pt x="1172" y="1298"/>
                </a:lnTo>
                <a:lnTo>
                  <a:pt x="1172" y="1300"/>
                </a:lnTo>
                <a:lnTo>
                  <a:pt x="1168" y="1302"/>
                </a:lnTo>
                <a:lnTo>
                  <a:pt x="1168" y="1303"/>
                </a:lnTo>
                <a:lnTo>
                  <a:pt x="1172" y="1300"/>
                </a:lnTo>
                <a:lnTo>
                  <a:pt x="1172" y="1303"/>
                </a:lnTo>
                <a:lnTo>
                  <a:pt x="1172" y="1305"/>
                </a:lnTo>
                <a:lnTo>
                  <a:pt x="1170" y="1307"/>
                </a:lnTo>
                <a:lnTo>
                  <a:pt x="1170" y="1309"/>
                </a:lnTo>
                <a:lnTo>
                  <a:pt x="1170" y="1307"/>
                </a:lnTo>
                <a:lnTo>
                  <a:pt x="1168" y="1309"/>
                </a:lnTo>
                <a:lnTo>
                  <a:pt x="1168" y="1307"/>
                </a:lnTo>
                <a:lnTo>
                  <a:pt x="1166" y="1305"/>
                </a:lnTo>
                <a:lnTo>
                  <a:pt x="1168" y="1307"/>
                </a:lnTo>
                <a:lnTo>
                  <a:pt x="1166" y="1307"/>
                </a:lnTo>
                <a:lnTo>
                  <a:pt x="1166" y="1309"/>
                </a:lnTo>
                <a:lnTo>
                  <a:pt x="1170" y="1309"/>
                </a:lnTo>
                <a:lnTo>
                  <a:pt x="1170" y="1310"/>
                </a:lnTo>
                <a:lnTo>
                  <a:pt x="1168" y="1310"/>
                </a:lnTo>
                <a:lnTo>
                  <a:pt x="1168" y="1312"/>
                </a:lnTo>
                <a:lnTo>
                  <a:pt x="1168" y="1314"/>
                </a:lnTo>
                <a:lnTo>
                  <a:pt x="1166" y="1312"/>
                </a:lnTo>
                <a:lnTo>
                  <a:pt x="1165" y="1314"/>
                </a:lnTo>
                <a:lnTo>
                  <a:pt x="1163" y="1317"/>
                </a:lnTo>
                <a:lnTo>
                  <a:pt x="1161" y="1317"/>
                </a:lnTo>
                <a:lnTo>
                  <a:pt x="1161" y="1315"/>
                </a:lnTo>
                <a:lnTo>
                  <a:pt x="1163" y="1315"/>
                </a:lnTo>
                <a:lnTo>
                  <a:pt x="1163" y="1314"/>
                </a:lnTo>
                <a:lnTo>
                  <a:pt x="1163" y="1312"/>
                </a:lnTo>
                <a:lnTo>
                  <a:pt x="1165" y="1310"/>
                </a:lnTo>
                <a:lnTo>
                  <a:pt x="1165" y="1309"/>
                </a:lnTo>
                <a:lnTo>
                  <a:pt x="1165" y="1307"/>
                </a:lnTo>
                <a:lnTo>
                  <a:pt x="1166" y="1305"/>
                </a:lnTo>
                <a:lnTo>
                  <a:pt x="1165" y="1303"/>
                </a:lnTo>
                <a:lnTo>
                  <a:pt x="1165" y="1302"/>
                </a:lnTo>
                <a:lnTo>
                  <a:pt x="1166" y="1302"/>
                </a:lnTo>
                <a:lnTo>
                  <a:pt x="1168" y="1298"/>
                </a:lnTo>
                <a:lnTo>
                  <a:pt x="1168" y="1297"/>
                </a:lnTo>
                <a:lnTo>
                  <a:pt x="1170" y="1297"/>
                </a:lnTo>
                <a:close/>
                <a:moveTo>
                  <a:pt x="1024" y="1632"/>
                </a:moveTo>
                <a:lnTo>
                  <a:pt x="1025" y="1635"/>
                </a:lnTo>
                <a:lnTo>
                  <a:pt x="1027" y="1635"/>
                </a:lnTo>
                <a:lnTo>
                  <a:pt x="1025" y="1635"/>
                </a:lnTo>
                <a:lnTo>
                  <a:pt x="1025" y="1637"/>
                </a:lnTo>
                <a:lnTo>
                  <a:pt x="1027" y="1637"/>
                </a:lnTo>
                <a:lnTo>
                  <a:pt x="1027" y="1640"/>
                </a:lnTo>
                <a:lnTo>
                  <a:pt x="1025" y="1640"/>
                </a:lnTo>
                <a:lnTo>
                  <a:pt x="1027" y="1640"/>
                </a:lnTo>
                <a:lnTo>
                  <a:pt x="1024" y="1640"/>
                </a:lnTo>
                <a:lnTo>
                  <a:pt x="1022" y="1640"/>
                </a:lnTo>
                <a:lnTo>
                  <a:pt x="1025" y="1642"/>
                </a:lnTo>
                <a:lnTo>
                  <a:pt x="1024" y="1642"/>
                </a:lnTo>
                <a:lnTo>
                  <a:pt x="1020" y="1642"/>
                </a:lnTo>
                <a:lnTo>
                  <a:pt x="1019" y="1640"/>
                </a:lnTo>
                <a:lnTo>
                  <a:pt x="1020" y="1640"/>
                </a:lnTo>
                <a:lnTo>
                  <a:pt x="1022" y="1640"/>
                </a:lnTo>
                <a:lnTo>
                  <a:pt x="1019" y="1639"/>
                </a:lnTo>
                <a:lnTo>
                  <a:pt x="1017" y="1639"/>
                </a:lnTo>
                <a:lnTo>
                  <a:pt x="1019" y="1639"/>
                </a:lnTo>
                <a:lnTo>
                  <a:pt x="1017" y="1639"/>
                </a:lnTo>
                <a:lnTo>
                  <a:pt x="1015" y="1639"/>
                </a:lnTo>
                <a:lnTo>
                  <a:pt x="1013" y="1639"/>
                </a:lnTo>
                <a:lnTo>
                  <a:pt x="1015" y="1639"/>
                </a:lnTo>
                <a:lnTo>
                  <a:pt x="1013" y="1637"/>
                </a:lnTo>
                <a:lnTo>
                  <a:pt x="1015" y="1637"/>
                </a:lnTo>
                <a:lnTo>
                  <a:pt x="1015" y="1635"/>
                </a:lnTo>
                <a:lnTo>
                  <a:pt x="1017" y="1633"/>
                </a:lnTo>
                <a:lnTo>
                  <a:pt x="1019" y="1635"/>
                </a:lnTo>
                <a:lnTo>
                  <a:pt x="1019" y="1633"/>
                </a:lnTo>
                <a:lnTo>
                  <a:pt x="1019" y="1635"/>
                </a:lnTo>
                <a:lnTo>
                  <a:pt x="1020" y="1632"/>
                </a:lnTo>
                <a:lnTo>
                  <a:pt x="1020" y="1633"/>
                </a:lnTo>
                <a:lnTo>
                  <a:pt x="1022" y="1632"/>
                </a:lnTo>
                <a:lnTo>
                  <a:pt x="1024" y="1632"/>
                </a:lnTo>
                <a:close/>
                <a:moveTo>
                  <a:pt x="920" y="1873"/>
                </a:moveTo>
                <a:lnTo>
                  <a:pt x="920" y="1875"/>
                </a:lnTo>
                <a:lnTo>
                  <a:pt x="922" y="1875"/>
                </a:lnTo>
                <a:lnTo>
                  <a:pt x="922" y="1877"/>
                </a:lnTo>
                <a:lnTo>
                  <a:pt x="925" y="1878"/>
                </a:lnTo>
                <a:lnTo>
                  <a:pt x="925" y="1880"/>
                </a:lnTo>
                <a:lnTo>
                  <a:pt x="927" y="1882"/>
                </a:lnTo>
                <a:lnTo>
                  <a:pt x="927" y="1884"/>
                </a:lnTo>
                <a:lnTo>
                  <a:pt x="927" y="1885"/>
                </a:lnTo>
                <a:lnTo>
                  <a:pt x="927" y="1887"/>
                </a:lnTo>
                <a:lnTo>
                  <a:pt x="927" y="1889"/>
                </a:lnTo>
                <a:lnTo>
                  <a:pt x="925" y="1889"/>
                </a:lnTo>
                <a:lnTo>
                  <a:pt x="925" y="1890"/>
                </a:lnTo>
                <a:lnTo>
                  <a:pt x="923" y="1890"/>
                </a:lnTo>
                <a:lnTo>
                  <a:pt x="922" y="1890"/>
                </a:lnTo>
                <a:lnTo>
                  <a:pt x="922" y="1889"/>
                </a:lnTo>
                <a:lnTo>
                  <a:pt x="920" y="1889"/>
                </a:lnTo>
                <a:lnTo>
                  <a:pt x="920" y="1887"/>
                </a:lnTo>
                <a:lnTo>
                  <a:pt x="920" y="1885"/>
                </a:lnTo>
                <a:lnTo>
                  <a:pt x="920" y="1884"/>
                </a:lnTo>
                <a:lnTo>
                  <a:pt x="920" y="1887"/>
                </a:lnTo>
                <a:lnTo>
                  <a:pt x="920" y="1885"/>
                </a:lnTo>
                <a:lnTo>
                  <a:pt x="918" y="1884"/>
                </a:lnTo>
                <a:lnTo>
                  <a:pt x="918" y="1882"/>
                </a:lnTo>
                <a:lnTo>
                  <a:pt x="918" y="1880"/>
                </a:lnTo>
                <a:lnTo>
                  <a:pt x="918" y="1878"/>
                </a:lnTo>
                <a:lnTo>
                  <a:pt x="920" y="1878"/>
                </a:lnTo>
                <a:lnTo>
                  <a:pt x="920" y="1877"/>
                </a:lnTo>
                <a:lnTo>
                  <a:pt x="920" y="1878"/>
                </a:lnTo>
                <a:lnTo>
                  <a:pt x="920" y="1877"/>
                </a:lnTo>
                <a:lnTo>
                  <a:pt x="918" y="1875"/>
                </a:lnTo>
                <a:lnTo>
                  <a:pt x="920" y="1873"/>
                </a:lnTo>
                <a:close/>
                <a:moveTo>
                  <a:pt x="1331" y="1142"/>
                </a:moveTo>
                <a:lnTo>
                  <a:pt x="1333" y="1142"/>
                </a:lnTo>
                <a:lnTo>
                  <a:pt x="1333" y="1144"/>
                </a:lnTo>
                <a:lnTo>
                  <a:pt x="1333" y="1145"/>
                </a:lnTo>
                <a:lnTo>
                  <a:pt x="1331" y="1147"/>
                </a:lnTo>
                <a:lnTo>
                  <a:pt x="1331" y="1149"/>
                </a:lnTo>
                <a:lnTo>
                  <a:pt x="1331" y="1152"/>
                </a:lnTo>
                <a:lnTo>
                  <a:pt x="1331" y="1154"/>
                </a:lnTo>
                <a:lnTo>
                  <a:pt x="1330" y="1154"/>
                </a:lnTo>
                <a:lnTo>
                  <a:pt x="1328" y="1154"/>
                </a:lnTo>
                <a:lnTo>
                  <a:pt x="1326" y="1154"/>
                </a:lnTo>
                <a:lnTo>
                  <a:pt x="1325" y="1155"/>
                </a:lnTo>
                <a:lnTo>
                  <a:pt x="1323" y="1155"/>
                </a:lnTo>
                <a:lnTo>
                  <a:pt x="1323" y="1154"/>
                </a:lnTo>
                <a:lnTo>
                  <a:pt x="1325" y="1152"/>
                </a:lnTo>
                <a:lnTo>
                  <a:pt x="1325" y="1150"/>
                </a:lnTo>
                <a:lnTo>
                  <a:pt x="1325" y="1149"/>
                </a:lnTo>
                <a:lnTo>
                  <a:pt x="1328" y="1147"/>
                </a:lnTo>
                <a:lnTo>
                  <a:pt x="1330" y="1145"/>
                </a:lnTo>
                <a:lnTo>
                  <a:pt x="1331" y="1142"/>
                </a:lnTo>
                <a:close/>
                <a:moveTo>
                  <a:pt x="932" y="1868"/>
                </a:moveTo>
                <a:lnTo>
                  <a:pt x="934" y="1868"/>
                </a:lnTo>
                <a:lnTo>
                  <a:pt x="934" y="1872"/>
                </a:lnTo>
                <a:lnTo>
                  <a:pt x="934" y="1873"/>
                </a:lnTo>
                <a:lnTo>
                  <a:pt x="932" y="1875"/>
                </a:lnTo>
                <a:lnTo>
                  <a:pt x="930" y="1878"/>
                </a:lnTo>
                <a:lnTo>
                  <a:pt x="932" y="1878"/>
                </a:lnTo>
                <a:lnTo>
                  <a:pt x="932" y="1880"/>
                </a:lnTo>
                <a:lnTo>
                  <a:pt x="930" y="1880"/>
                </a:lnTo>
                <a:lnTo>
                  <a:pt x="932" y="1880"/>
                </a:lnTo>
                <a:lnTo>
                  <a:pt x="930" y="1880"/>
                </a:lnTo>
                <a:lnTo>
                  <a:pt x="930" y="1878"/>
                </a:lnTo>
                <a:lnTo>
                  <a:pt x="928" y="1880"/>
                </a:lnTo>
                <a:lnTo>
                  <a:pt x="928" y="1882"/>
                </a:lnTo>
                <a:lnTo>
                  <a:pt x="927" y="1882"/>
                </a:lnTo>
                <a:lnTo>
                  <a:pt x="927" y="1878"/>
                </a:lnTo>
                <a:lnTo>
                  <a:pt x="927" y="1875"/>
                </a:lnTo>
                <a:lnTo>
                  <a:pt x="925" y="1877"/>
                </a:lnTo>
                <a:lnTo>
                  <a:pt x="923" y="1875"/>
                </a:lnTo>
                <a:lnTo>
                  <a:pt x="922" y="1875"/>
                </a:lnTo>
                <a:lnTo>
                  <a:pt x="922" y="1873"/>
                </a:lnTo>
                <a:lnTo>
                  <a:pt x="923" y="1873"/>
                </a:lnTo>
                <a:lnTo>
                  <a:pt x="922" y="1873"/>
                </a:lnTo>
                <a:lnTo>
                  <a:pt x="923" y="1873"/>
                </a:lnTo>
                <a:lnTo>
                  <a:pt x="923" y="1875"/>
                </a:lnTo>
                <a:lnTo>
                  <a:pt x="925" y="1873"/>
                </a:lnTo>
                <a:lnTo>
                  <a:pt x="925" y="1872"/>
                </a:lnTo>
                <a:lnTo>
                  <a:pt x="925" y="1870"/>
                </a:lnTo>
                <a:lnTo>
                  <a:pt x="927" y="1870"/>
                </a:lnTo>
                <a:lnTo>
                  <a:pt x="928" y="1870"/>
                </a:lnTo>
                <a:lnTo>
                  <a:pt x="930" y="1868"/>
                </a:lnTo>
                <a:lnTo>
                  <a:pt x="930" y="1870"/>
                </a:lnTo>
                <a:lnTo>
                  <a:pt x="932" y="1868"/>
                </a:lnTo>
                <a:lnTo>
                  <a:pt x="932" y="1870"/>
                </a:lnTo>
                <a:lnTo>
                  <a:pt x="932" y="1868"/>
                </a:lnTo>
                <a:close/>
                <a:moveTo>
                  <a:pt x="1170" y="1446"/>
                </a:moveTo>
                <a:lnTo>
                  <a:pt x="1170" y="1448"/>
                </a:lnTo>
                <a:lnTo>
                  <a:pt x="1170" y="1450"/>
                </a:lnTo>
                <a:lnTo>
                  <a:pt x="1168" y="1450"/>
                </a:lnTo>
                <a:lnTo>
                  <a:pt x="1165" y="1451"/>
                </a:lnTo>
                <a:lnTo>
                  <a:pt x="1166" y="1451"/>
                </a:lnTo>
                <a:lnTo>
                  <a:pt x="1165" y="1451"/>
                </a:lnTo>
                <a:lnTo>
                  <a:pt x="1163" y="1453"/>
                </a:lnTo>
                <a:lnTo>
                  <a:pt x="1161" y="1455"/>
                </a:lnTo>
                <a:lnTo>
                  <a:pt x="1160" y="1457"/>
                </a:lnTo>
                <a:lnTo>
                  <a:pt x="1158" y="1458"/>
                </a:lnTo>
                <a:lnTo>
                  <a:pt x="1158" y="1460"/>
                </a:lnTo>
                <a:lnTo>
                  <a:pt x="1156" y="1460"/>
                </a:lnTo>
                <a:lnTo>
                  <a:pt x="1156" y="1458"/>
                </a:lnTo>
                <a:lnTo>
                  <a:pt x="1158" y="1458"/>
                </a:lnTo>
                <a:lnTo>
                  <a:pt x="1160" y="1457"/>
                </a:lnTo>
                <a:lnTo>
                  <a:pt x="1158" y="1457"/>
                </a:lnTo>
                <a:lnTo>
                  <a:pt x="1156" y="1457"/>
                </a:lnTo>
                <a:lnTo>
                  <a:pt x="1155" y="1458"/>
                </a:lnTo>
                <a:lnTo>
                  <a:pt x="1155" y="1457"/>
                </a:lnTo>
                <a:lnTo>
                  <a:pt x="1155" y="1458"/>
                </a:lnTo>
                <a:lnTo>
                  <a:pt x="1155" y="1457"/>
                </a:lnTo>
                <a:lnTo>
                  <a:pt x="1156" y="1455"/>
                </a:lnTo>
                <a:lnTo>
                  <a:pt x="1156" y="1453"/>
                </a:lnTo>
                <a:lnTo>
                  <a:pt x="1158" y="1451"/>
                </a:lnTo>
                <a:lnTo>
                  <a:pt x="1160" y="1450"/>
                </a:lnTo>
                <a:lnTo>
                  <a:pt x="1161" y="1448"/>
                </a:lnTo>
                <a:lnTo>
                  <a:pt x="1165" y="1446"/>
                </a:lnTo>
                <a:lnTo>
                  <a:pt x="1163" y="1448"/>
                </a:lnTo>
                <a:lnTo>
                  <a:pt x="1165" y="1448"/>
                </a:lnTo>
                <a:lnTo>
                  <a:pt x="1163" y="1448"/>
                </a:lnTo>
                <a:lnTo>
                  <a:pt x="1161" y="1450"/>
                </a:lnTo>
                <a:lnTo>
                  <a:pt x="1161" y="1451"/>
                </a:lnTo>
                <a:lnTo>
                  <a:pt x="1163" y="1450"/>
                </a:lnTo>
                <a:lnTo>
                  <a:pt x="1165" y="1448"/>
                </a:lnTo>
                <a:lnTo>
                  <a:pt x="1166" y="1448"/>
                </a:lnTo>
                <a:lnTo>
                  <a:pt x="1168" y="1448"/>
                </a:lnTo>
                <a:lnTo>
                  <a:pt x="1170" y="1446"/>
                </a:lnTo>
                <a:close/>
                <a:moveTo>
                  <a:pt x="1275" y="1229"/>
                </a:moveTo>
                <a:lnTo>
                  <a:pt x="1277" y="1229"/>
                </a:lnTo>
                <a:lnTo>
                  <a:pt x="1279" y="1229"/>
                </a:lnTo>
                <a:lnTo>
                  <a:pt x="1280" y="1230"/>
                </a:lnTo>
                <a:lnTo>
                  <a:pt x="1282" y="1232"/>
                </a:lnTo>
                <a:lnTo>
                  <a:pt x="1282" y="1234"/>
                </a:lnTo>
                <a:lnTo>
                  <a:pt x="1280" y="1234"/>
                </a:lnTo>
                <a:lnTo>
                  <a:pt x="1279" y="1235"/>
                </a:lnTo>
                <a:lnTo>
                  <a:pt x="1279" y="1237"/>
                </a:lnTo>
                <a:lnTo>
                  <a:pt x="1275" y="1239"/>
                </a:lnTo>
                <a:lnTo>
                  <a:pt x="1275" y="1237"/>
                </a:lnTo>
                <a:lnTo>
                  <a:pt x="1274" y="1234"/>
                </a:lnTo>
                <a:lnTo>
                  <a:pt x="1272" y="1230"/>
                </a:lnTo>
                <a:lnTo>
                  <a:pt x="1272" y="1229"/>
                </a:lnTo>
                <a:lnTo>
                  <a:pt x="1274" y="1229"/>
                </a:lnTo>
                <a:lnTo>
                  <a:pt x="1275" y="1232"/>
                </a:lnTo>
                <a:lnTo>
                  <a:pt x="1277" y="1234"/>
                </a:lnTo>
                <a:lnTo>
                  <a:pt x="1275" y="1232"/>
                </a:lnTo>
                <a:lnTo>
                  <a:pt x="1274" y="1230"/>
                </a:lnTo>
                <a:lnTo>
                  <a:pt x="1275" y="1229"/>
                </a:lnTo>
                <a:close/>
                <a:moveTo>
                  <a:pt x="1581" y="1098"/>
                </a:moveTo>
                <a:lnTo>
                  <a:pt x="1585" y="1098"/>
                </a:lnTo>
                <a:lnTo>
                  <a:pt x="1585" y="1099"/>
                </a:lnTo>
                <a:lnTo>
                  <a:pt x="1586" y="1098"/>
                </a:lnTo>
                <a:lnTo>
                  <a:pt x="1586" y="1099"/>
                </a:lnTo>
                <a:lnTo>
                  <a:pt x="1586" y="1101"/>
                </a:lnTo>
                <a:lnTo>
                  <a:pt x="1585" y="1103"/>
                </a:lnTo>
                <a:lnTo>
                  <a:pt x="1588" y="1103"/>
                </a:lnTo>
                <a:lnTo>
                  <a:pt x="1588" y="1101"/>
                </a:lnTo>
                <a:lnTo>
                  <a:pt x="1590" y="1103"/>
                </a:lnTo>
                <a:lnTo>
                  <a:pt x="1588" y="1103"/>
                </a:lnTo>
                <a:lnTo>
                  <a:pt x="1588" y="1104"/>
                </a:lnTo>
                <a:lnTo>
                  <a:pt x="1586" y="1104"/>
                </a:lnTo>
                <a:lnTo>
                  <a:pt x="1585" y="1106"/>
                </a:lnTo>
                <a:lnTo>
                  <a:pt x="1583" y="1104"/>
                </a:lnTo>
                <a:lnTo>
                  <a:pt x="1585" y="1108"/>
                </a:lnTo>
                <a:lnTo>
                  <a:pt x="1581" y="1110"/>
                </a:lnTo>
                <a:lnTo>
                  <a:pt x="1581" y="1108"/>
                </a:lnTo>
                <a:lnTo>
                  <a:pt x="1581" y="1106"/>
                </a:lnTo>
                <a:lnTo>
                  <a:pt x="1581" y="1104"/>
                </a:lnTo>
                <a:lnTo>
                  <a:pt x="1583" y="1104"/>
                </a:lnTo>
                <a:lnTo>
                  <a:pt x="1581" y="1103"/>
                </a:lnTo>
                <a:lnTo>
                  <a:pt x="1581" y="1101"/>
                </a:lnTo>
                <a:lnTo>
                  <a:pt x="1580" y="1098"/>
                </a:lnTo>
                <a:lnTo>
                  <a:pt x="1581" y="1098"/>
                </a:lnTo>
                <a:close/>
                <a:moveTo>
                  <a:pt x="952" y="1703"/>
                </a:moveTo>
                <a:lnTo>
                  <a:pt x="954" y="1703"/>
                </a:lnTo>
                <a:lnTo>
                  <a:pt x="954" y="1707"/>
                </a:lnTo>
                <a:lnTo>
                  <a:pt x="956" y="1708"/>
                </a:lnTo>
                <a:lnTo>
                  <a:pt x="957" y="1708"/>
                </a:lnTo>
                <a:lnTo>
                  <a:pt x="956" y="1708"/>
                </a:lnTo>
                <a:lnTo>
                  <a:pt x="956" y="1710"/>
                </a:lnTo>
                <a:lnTo>
                  <a:pt x="954" y="1710"/>
                </a:lnTo>
                <a:lnTo>
                  <a:pt x="952" y="1712"/>
                </a:lnTo>
                <a:lnTo>
                  <a:pt x="951" y="1713"/>
                </a:lnTo>
                <a:lnTo>
                  <a:pt x="951" y="1715"/>
                </a:lnTo>
                <a:lnTo>
                  <a:pt x="949" y="1715"/>
                </a:lnTo>
                <a:lnTo>
                  <a:pt x="947" y="1715"/>
                </a:lnTo>
                <a:lnTo>
                  <a:pt x="945" y="1715"/>
                </a:lnTo>
                <a:lnTo>
                  <a:pt x="949" y="1713"/>
                </a:lnTo>
                <a:lnTo>
                  <a:pt x="949" y="1712"/>
                </a:lnTo>
                <a:lnTo>
                  <a:pt x="947" y="1713"/>
                </a:lnTo>
                <a:lnTo>
                  <a:pt x="947" y="1712"/>
                </a:lnTo>
                <a:lnTo>
                  <a:pt x="949" y="1710"/>
                </a:lnTo>
                <a:lnTo>
                  <a:pt x="947" y="1708"/>
                </a:lnTo>
                <a:lnTo>
                  <a:pt x="947" y="1707"/>
                </a:lnTo>
                <a:lnTo>
                  <a:pt x="949" y="1703"/>
                </a:lnTo>
                <a:lnTo>
                  <a:pt x="952" y="1703"/>
                </a:lnTo>
                <a:close/>
                <a:moveTo>
                  <a:pt x="911" y="1841"/>
                </a:moveTo>
                <a:lnTo>
                  <a:pt x="911" y="1843"/>
                </a:lnTo>
                <a:lnTo>
                  <a:pt x="913" y="1844"/>
                </a:lnTo>
                <a:lnTo>
                  <a:pt x="911" y="1844"/>
                </a:lnTo>
                <a:lnTo>
                  <a:pt x="911" y="1846"/>
                </a:lnTo>
                <a:lnTo>
                  <a:pt x="913" y="1844"/>
                </a:lnTo>
                <a:lnTo>
                  <a:pt x="913" y="1846"/>
                </a:lnTo>
                <a:lnTo>
                  <a:pt x="915" y="1850"/>
                </a:lnTo>
                <a:lnTo>
                  <a:pt x="915" y="1853"/>
                </a:lnTo>
                <a:lnTo>
                  <a:pt x="913" y="1853"/>
                </a:lnTo>
                <a:lnTo>
                  <a:pt x="913" y="1851"/>
                </a:lnTo>
                <a:lnTo>
                  <a:pt x="913" y="1853"/>
                </a:lnTo>
                <a:lnTo>
                  <a:pt x="913" y="1855"/>
                </a:lnTo>
                <a:lnTo>
                  <a:pt x="913" y="1853"/>
                </a:lnTo>
                <a:lnTo>
                  <a:pt x="915" y="1853"/>
                </a:lnTo>
                <a:lnTo>
                  <a:pt x="915" y="1856"/>
                </a:lnTo>
                <a:lnTo>
                  <a:pt x="915" y="1858"/>
                </a:lnTo>
                <a:lnTo>
                  <a:pt x="915" y="1860"/>
                </a:lnTo>
                <a:lnTo>
                  <a:pt x="913" y="1860"/>
                </a:lnTo>
                <a:lnTo>
                  <a:pt x="911" y="1856"/>
                </a:lnTo>
                <a:lnTo>
                  <a:pt x="911" y="1855"/>
                </a:lnTo>
                <a:lnTo>
                  <a:pt x="911" y="1858"/>
                </a:lnTo>
                <a:lnTo>
                  <a:pt x="910" y="1856"/>
                </a:lnTo>
                <a:lnTo>
                  <a:pt x="910" y="1853"/>
                </a:lnTo>
                <a:lnTo>
                  <a:pt x="908" y="1855"/>
                </a:lnTo>
                <a:lnTo>
                  <a:pt x="908" y="1853"/>
                </a:lnTo>
                <a:lnTo>
                  <a:pt x="908" y="1851"/>
                </a:lnTo>
                <a:lnTo>
                  <a:pt x="910" y="1851"/>
                </a:lnTo>
                <a:lnTo>
                  <a:pt x="908" y="1851"/>
                </a:lnTo>
                <a:lnTo>
                  <a:pt x="910" y="1853"/>
                </a:lnTo>
                <a:lnTo>
                  <a:pt x="911" y="1851"/>
                </a:lnTo>
                <a:lnTo>
                  <a:pt x="911" y="1853"/>
                </a:lnTo>
                <a:lnTo>
                  <a:pt x="913" y="1850"/>
                </a:lnTo>
                <a:lnTo>
                  <a:pt x="911" y="1851"/>
                </a:lnTo>
                <a:lnTo>
                  <a:pt x="910" y="1848"/>
                </a:lnTo>
                <a:lnTo>
                  <a:pt x="910" y="1846"/>
                </a:lnTo>
                <a:lnTo>
                  <a:pt x="910" y="1844"/>
                </a:lnTo>
                <a:lnTo>
                  <a:pt x="910" y="1843"/>
                </a:lnTo>
                <a:lnTo>
                  <a:pt x="910" y="1841"/>
                </a:lnTo>
                <a:lnTo>
                  <a:pt x="910" y="1843"/>
                </a:lnTo>
                <a:lnTo>
                  <a:pt x="911" y="1843"/>
                </a:lnTo>
                <a:lnTo>
                  <a:pt x="911" y="1841"/>
                </a:lnTo>
                <a:close/>
                <a:moveTo>
                  <a:pt x="1008" y="1656"/>
                </a:moveTo>
                <a:lnTo>
                  <a:pt x="1008" y="1657"/>
                </a:lnTo>
                <a:lnTo>
                  <a:pt x="1010" y="1657"/>
                </a:lnTo>
                <a:lnTo>
                  <a:pt x="1008" y="1657"/>
                </a:lnTo>
                <a:lnTo>
                  <a:pt x="1010" y="1657"/>
                </a:lnTo>
                <a:lnTo>
                  <a:pt x="1008" y="1661"/>
                </a:lnTo>
                <a:lnTo>
                  <a:pt x="1010" y="1662"/>
                </a:lnTo>
                <a:lnTo>
                  <a:pt x="1012" y="1664"/>
                </a:lnTo>
                <a:lnTo>
                  <a:pt x="1010" y="1666"/>
                </a:lnTo>
                <a:lnTo>
                  <a:pt x="1008" y="1666"/>
                </a:lnTo>
                <a:lnTo>
                  <a:pt x="1008" y="1667"/>
                </a:lnTo>
                <a:lnTo>
                  <a:pt x="1005" y="1669"/>
                </a:lnTo>
                <a:lnTo>
                  <a:pt x="1003" y="1669"/>
                </a:lnTo>
                <a:lnTo>
                  <a:pt x="1003" y="1667"/>
                </a:lnTo>
                <a:lnTo>
                  <a:pt x="1002" y="1666"/>
                </a:lnTo>
                <a:lnTo>
                  <a:pt x="1000" y="1666"/>
                </a:lnTo>
                <a:lnTo>
                  <a:pt x="1002" y="1664"/>
                </a:lnTo>
                <a:lnTo>
                  <a:pt x="1003" y="1662"/>
                </a:lnTo>
                <a:lnTo>
                  <a:pt x="1002" y="1662"/>
                </a:lnTo>
                <a:lnTo>
                  <a:pt x="1003" y="1662"/>
                </a:lnTo>
                <a:lnTo>
                  <a:pt x="1002" y="1661"/>
                </a:lnTo>
                <a:lnTo>
                  <a:pt x="1003" y="1661"/>
                </a:lnTo>
                <a:lnTo>
                  <a:pt x="1002" y="1661"/>
                </a:lnTo>
                <a:lnTo>
                  <a:pt x="1003" y="1661"/>
                </a:lnTo>
                <a:lnTo>
                  <a:pt x="1005" y="1661"/>
                </a:lnTo>
                <a:lnTo>
                  <a:pt x="1003" y="1661"/>
                </a:lnTo>
                <a:lnTo>
                  <a:pt x="1005" y="1661"/>
                </a:lnTo>
                <a:lnTo>
                  <a:pt x="1007" y="1664"/>
                </a:lnTo>
                <a:lnTo>
                  <a:pt x="1007" y="1662"/>
                </a:lnTo>
                <a:lnTo>
                  <a:pt x="1007" y="1661"/>
                </a:lnTo>
                <a:lnTo>
                  <a:pt x="1008" y="1661"/>
                </a:lnTo>
                <a:lnTo>
                  <a:pt x="1008" y="1659"/>
                </a:lnTo>
                <a:lnTo>
                  <a:pt x="1007" y="1659"/>
                </a:lnTo>
                <a:lnTo>
                  <a:pt x="1008" y="1659"/>
                </a:lnTo>
                <a:lnTo>
                  <a:pt x="1008" y="1657"/>
                </a:lnTo>
                <a:lnTo>
                  <a:pt x="1007" y="1657"/>
                </a:lnTo>
                <a:lnTo>
                  <a:pt x="1008" y="1656"/>
                </a:lnTo>
                <a:close/>
                <a:moveTo>
                  <a:pt x="915" y="1914"/>
                </a:moveTo>
                <a:lnTo>
                  <a:pt x="917" y="1916"/>
                </a:lnTo>
                <a:lnTo>
                  <a:pt x="915" y="1918"/>
                </a:lnTo>
                <a:lnTo>
                  <a:pt x="917" y="1919"/>
                </a:lnTo>
                <a:lnTo>
                  <a:pt x="915" y="1919"/>
                </a:lnTo>
                <a:lnTo>
                  <a:pt x="917" y="1921"/>
                </a:lnTo>
                <a:lnTo>
                  <a:pt x="915" y="1921"/>
                </a:lnTo>
                <a:lnTo>
                  <a:pt x="917" y="1923"/>
                </a:lnTo>
                <a:lnTo>
                  <a:pt x="915" y="1923"/>
                </a:lnTo>
                <a:lnTo>
                  <a:pt x="917" y="1924"/>
                </a:lnTo>
                <a:lnTo>
                  <a:pt x="917" y="1928"/>
                </a:lnTo>
                <a:lnTo>
                  <a:pt x="917" y="1931"/>
                </a:lnTo>
                <a:lnTo>
                  <a:pt x="915" y="1931"/>
                </a:lnTo>
                <a:lnTo>
                  <a:pt x="915" y="1933"/>
                </a:lnTo>
                <a:lnTo>
                  <a:pt x="913" y="1933"/>
                </a:lnTo>
                <a:lnTo>
                  <a:pt x="911" y="1933"/>
                </a:lnTo>
                <a:lnTo>
                  <a:pt x="911" y="1931"/>
                </a:lnTo>
                <a:lnTo>
                  <a:pt x="911" y="1929"/>
                </a:lnTo>
                <a:lnTo>
                  <a:pt x="911" y="1928"/>
                </a:lnTo>
                <a:lnTo>
                  <a:pt x="911" y="1926"/>
                </a:lnTo>
                <a:lnTo>
                  <a:pt x="911" y="1923"/>
                </a:lnTo>
                <a:lnTo>
                  <a:pt x="913" y="1923"/>
                </a:lnTo>
                <a:lnTo>
                  <a:pt x="913" y="1921"/>
                </a:lnTo>
                <a:lnTo>
                  <a:pt x="915" y="1923"/>
                </a:lnTo>
                <a:lnTo>
                  <a:pt x="913" y="1921"/>
                </a:lnTo>
                <a:lnTo>
                  <a:pt x="911" y="1919"/>
                </a:lnTo>
                <a:lnTo>
                  <a:pt x="913" y="1919"/>
                </a:lnTo>
                <a:lnTo>
                  <a:pt x="913" y="1918"/>
                </a:lnTo>
                <a:lnTo>
                  <a:pt x="911" y="1918"/>
                </a:lnTo>
                <a:lnTo>
                  <a:pt x="913" y="1918"/>
                </a:lnTo>
                <a:lnTo>
                  <a:pt x="913" y="1919"/>
                </a:lnTo>
                <a:lnTo>
                  <a:pt x="913" y="1918"/>
                </a:lnTo>
                <a:lnTo>
                  <a:pt x="915" y="1918"/>
                </a:lnTo>
                <a:lnTo>
                  <a:pt x="915" y="1916"/>
                </a:lnTo>
                <a:lnTo>
                  <a:pt x="915" y="1918"/>
                </a:lnTo>
                <a:lnTo>
                  <a:pt x="915" y="1916"/>
                </a:lnTo>
                <a:lnTo>
                  <a:pt x="913" y="1918"/>
                </a:lnTo>
                <a:lnTo>
                  <a:pt x="913" y="1916"/>
                </a:lnTo>
                <a:lnTo>
                  <a:pt x="915" y="1914"/>
                </a:lnTo>
                <a:close/>
                <a:moveTo>
                  <a:pt x="1046" y="1608"/>
                </a:moveTo>
                <a:lnTo>
                  <a:pt x="1046" y="1610"/>
                </a:lnTo>
                <a:lnTo>
                  <a:pt x="1047" y="1608"/>
                </a:lnTo>
                <a:lnTo>
                  <a:pt x="1047" y="1611"/>
                </a:lnTo>
                <a:lnTo>
                  <a:pt x="1047" y="1615"/>
                </a:lnTo>
                <a:lnTo>
                  <a:pt x="1047" y="1616"/>
                </a:lnTo>
                <a:lnTo>
                  <a:pt x="1044" y="1616"/>
                </a:lnTo>
                <a:lnTo>
                  <a:pt x="1042" y="1616"/>
                </a:lnTo>
                <a:lnTo>
                  <a:pt x="1044" y="1616"/>
                </a:lnTo>
                <a:lnTo>
                  <a:pt x="1042" y="1616"/>
                </a:lnTo>
                <a:lnTo>
                  <a:pt x="1041" y="1618"/>
                </a:lnTo>
                <a:lnTo>
                  <a:pt x="1039" y="1618"/>
                </a:lnTo>
                <a:lnTo>
                  <a:pt x="1037" y="1618"/>
                </a:lnTo>
                <a:lnTo>
                  <a:pt x="1036" y="1618"/>
                </a:lnTo>
                <a:lnTo>
                  <a:pt x="1039" y="1616"/>
                </a:lnTo>
                <a:lnTo>
                  <a:pt x="1037" y="1616"/>
                </a:lnTo>
                <a:lnTo>
                  <a:pt x="1036" y="1618"/>
                </a:lnTo>
                <a:lnTo>
                  <a:pt x="1037" y="1616"/>
                </a:lnTo>
                <a:lnTo>
                  <a:pt x="1036" y="1616"/>
                </a:lnTo>
                <a:lnTo>
                  <a:pt x="1034" y="1616"/>
                </a:lnTo>
                <a:lnTo>
                  <a:pt x="1032" y="1618"/>
                </a:lnTo>
                <a:lnTo>
                  <a:pt x="1030" y="1618"/>
                </a:lnTo>
                <a:lnTo>
                  <a:pt x="1032" y="1618"/>
                </a:lnTo>
                <a:lnTo>
                  <a:pt x="1032" y="1616"/>
                </a:lnTo>
                <a:lnTo>
                  <a:pt x="1030" y="1616"/>
                </a:lnTo>
                <a:lnTo>
                  <a:pt x="1030" y="1618"/>
                </a:lnTo>
                <a:lnTo>
                  <a:pt x="1030" y="1616"/>
                </a:lnTo>
                <a:lnTo>
                  <a:pt x="1032" y="1616"/>
                </a:lnTo>
                <a:lnTo>
                  <a:pt x="1030" y="1616"/>
                </a:lnTo>
                <a:lnTo>
                  <a:pt x="1034" y="1616"/>
                </a:lnTo>
                <a:lnTo>
                  <a:pt x="1032" y="1616"/>
                </a:lnTo>
                <a:lnTo>
                  <a:pt x="1034" y="1616"/>
                </a:lnTo>
                <a:lnTo>
                  <a:pt x="1036" y="1615"/>
                </a:lnTo>
                <a:lnTo>
                  <a:pt x="1036" y="1616"/>
                </a:lnTo>
                <a:lnTo>
                  <a:pt x="1036" y="1615"/>
                </a:lnTo>
                <a:lnTo>
                  <a:pt x="1037" y="1615"/>
                </a:lnTo>
                <a:lnTo>
                  <a:pt x="1036" y="1615"/>
                </a:lnTo>
                <a:lnTo>
                  <a:pt x="1036" y="1616"/>
                </a:lnTo>
                <a:lnTo>
                  <a:pt x="1037" y="1615"/>
                </a:lnTo>
                <a:lnTo>
                  <a:pt x="1039" y="1615"/>
                </a:lnTo>
                <a:lnTo>
                  <a:pt x="1041" y="1615"/>
                </a:lnTo>
                <a:lnTo>
                  <a:pt x="1039" y="1615"/>
                </a:lnTo>
                <a:lnTo>
                  <a:pt x="1041" y="1613"/>
                </a:lnTo>
                <a:lnTo>
                  <a:pt x="1042" y="1613"/>
                </a:lnTo>
                <a:lnTo>
                  <a:pt x="1041" y="1613"/>
                </a:lnTo>
                <a:lnTo>
                  <a:pt x="1042" y="1613"/>
                </a:lnTo>
                <a:lnTo>
                  <a:pt x="1044" y="1611"/>
                </a:lnTo>
                <a:lnTo>
                  <a:pt x="1046" y="1611"/>
                </a:lnTo>
                <a:lnTo>
                  <a:pt x="1046" y="1610"/>
                </a:lnTo>
                <a:lnTo>
                  <a:pt x="1046" y="1608"/>
                </a:lnTo>
                <a:close/>
                <a:moveTo>
                  <a:pt x="1160" y="1433"/>
                </a:moveTo>
                <a:lnTo>
                  <a:pt x="1161" y="1436"/>
                </a:lnTo>
                <a:lnTo>
                  <a:pt x="1161" y="1438"/>
                </a:lnTo>
                <a:lnTo>
                  <a:pt x="1160" y="1440"/>
                </a:lnTo>
                <a:lnTo>
                  <a:pt x="1160" y="1441"/>
                </a:lnTo>
                <a:lnTo>
                  <a:pt x="1161" y="1440"/>
                </a:lnTo>
                <a:lnTo>
                  <a:pt x="1160" y="1441"/>
                </a:lnTo>
                <a:lnTo>
                  <a:pt x="1161" y="1441"/>
                </a:lnTo>
                <a:lnTo>
                  <a:pt x="1163" y="1441"/>
                </a:lnTo>
                <a:lnTo>
                  <a:pt x="1160" y="1443"/>
                </a:lnTo>
                <a:lnTo>
                  <a:pt x="1160" y="1445"/>
                </a:lnTo>
                <a:lnTo>
                  <a:pt x="1156" y="1446"/>
                </a:lnTo>
                <a:lnTo>
                  <a:pt x="1155" y="1448"/>
                </a:lnTo>
                <a:lnTo>
                  <a:pt x="1153" y="1448"/>
                </a:lnTo>
                <a:lnTo>
                  <a:pt x="1153" y="1446"/>
                </a:lnTo>
                <a:lnTo>
                  <a:pt x="1155" y="1446"/>
                </a:lnTo>
                <a:lnTo>
                  <a:pt x="1155" y="1445"/>
                </a:lnTo>
                <a:lnTo>
                  <a:pt x="1156" y="1443"/>
                </a:lnTo>
                <a:lnTo>
                  <a:pt x="1158" y="1443"/>
                </a:lnTo>
                <a:lnTo>
                  <a:pt x="1156" y="1445"/>
                </a:lnTo>
                <a:lnTo>
                  <a:pt x="1156" y="1443"/>
                </a:lnTo>
                <a:lnTo>
                  <a:pt x="1155" y="1445"/>
                </a:lnTo>
                <a:lnTo>
                  <a:pt x="1153" y="1445"/>
                </a:lnTo>
                <a:lnTo>
                  <a:pt x="1153" y="1443"/>
                </a:lnTo>
                <a:lnTo>
                  <a:pt x="1153" y="1445"/>
                </a:lnTo>
                <a:lnTo>
                  <a:pt x="1153" y="1443"/>
                </a:lnTo>
                <a:lnTo>
                  <a:pt x="1155" y="1443"/>
                </a:lnTo>
                <a:lnTo>
                  <a:pt x="1156" y="1443"/>
                </a:lnTo>
                <a:lnTo>
                  <a:pt x="1156" y="1441"/>
                </a:lnTo>
                <a:lnTo>
                  <a:pt x="1158" y="1441"/>
                </a:lnTo>
                <a:lnTo>
                  <a:pt x="1156" y="1441"/>
                </a:lnTo>
                <a:lnTo>
                  <a:pt x="1158" y="1441"/>
                </a:lnTo>
                <a:lnTo>
                  <a:pt x="1158" y="1440"/>
                </a:lnTo>
                <a:lnTo>
                  <a:pt x="1160" y="1438"/>
                </a:lnTo>
                <a:lnTo>
                  <a:pt x="1158" y="1438"/>
                </a:lnTo>
                <a:lnTo>
                  <a:pt x="1160" y="1438"/>
                </a:lnTo>
                <a:lnTo>
                  <a:pt x="1158" y="1438"/>
                </a:lnTo>
                <a:lnTo>
                  <a:pt x="1158" y="1436"/>
                </a:lnTo>
                <a:lnTo>
                  <a:pt x="1155" y="1440"/>
                </a:lnTo>
                <a:lnTo>
                  <a:pt x="1156" y="1436"/>
                </a:lnTo>
                <a:lnTo>
                  <a:pt x="1158" y="1436"/>
                </a:lnTo>
                <a:lnTo>
                  <a:pt x="1156" y="1436"/>
                </a:lnTo>
                <a:lnTo>
                  <a:pt x="1160" y="1434"/>
                </a:lnTo>
                <a:lnTo>
                  <a:pt x="1158" y="1434"/>
                </a:lnTo>
                <a:lnTo>
                  <a:pt x="1160" y="1433"/>
                </a:lnTo>
                <a:close/>
                <a:moveTo>
                  <a:pt x="1119" y="1547"/>
                </a:moveTo>
                <a:lnTo>
                  <a:pt x="1121" y="1550"/>
                </a:lnTo>
                <a:lnTo>
                  <a:pt x="1122" y="1550"/>
                </a:lnTo>
                <a:lnTo>
                  <a:pt x="1124" y="1552"/>
                </a:lnTo>
                <a:lnTo>
                  <a:pt x="1124" y="1555"/>
                </a:lnTo>
                <a:lnTo>
                  <a:pt x="1127" y="1555"/>
                </a:lnTo>
                <a:lnTo>
                  <a:pt x="1129" y="1557"/>
                </a:lnTo>
                <a:lnTo>
                  <a:pt x="1129" y="1559"/>
                </a:lnTo>
                <a:lnTo>
                  <a:pt x="1129" y="1560"/>
                </a:lnTo>
                <a:lnTo>
                  <a:pt x="1127" y="1559"/>
                </a:lnTo>
                <a:lnTo>
                  <a:pt x="1126" y="1560"/>
                </a:lnTo>
                <a:lnTo>
                  <a:pt x="1124" y="1557"/>
                </a:lnTo>
                <a:lnTo>
                  <a:pt x="1122" y="1559"/>
                </a:lnTo>
                <a:lnTo>
                  <a:pt x="1121" y="1557"/>
                </a:lnTo>
                <a:lnTo>
                  <a:pt x="1119" y="1555"/>
                </a:lnTo>
                <a:lnTo>
                  <a:pt x="1119" y="1554"/>
                </a:lnTo>
                <a:lnTo>
                  <a:pt x="1121" y="1554"/>
                </a:lnTo>
                <a:lnTo>
                  <a:pt x="1121" y="1552"/>
                </a:lnTo>
                <a:lnTo>
                  <a:pt x="1122" y="1554"/>
                </a:lnTo>
                <a:lnTo>
                  <a:pt x="1122" y="1552"/>
                </a:lnTo>
                <a:lnTo>
                  <a:pt x="1119" y="1552"/>
                </a:lnTo>
                <a:lnTo>
                  <a:pt x="1117" y="1552"/>
                </a:lnTo>
                <a:lnTo>
                  <a:pt x="1117" y="1548"/>
                </a:lnTo>
                <a:lnTo>
                  <a:pt x="1119" y="1547"/>
                </a:lnTo>
                <a:close/>
                <a:moveTo>
                  <a:pt x="917" y="1737"/>
                </a:moveTo>
                <a:lnTo>
                  <a:pt x="918" y="1739"/>
                </a:lnTo>
                <a:lnTo>
                  <a:pt x="920" y="1741"/>
                </a:lnTo>
                <a:lnTo>
                  <a:pt x="922" y="1741"/>
                </a:lnTo>
                <a:lnTo>
                  <a:pt x="923" y="1741"/>
                </a:lnTo>
                <a:lnTo>
                  <a:pt x="925" y="1741"/>
                </a:lnTo>
                <a:lnTo>
                  <a:pt x="927" y="1741"/>
                </a:lnTo>
                <a:lnTo>
                  <a:pt x="927" y="1742"/>
                </a:lnTo>
                <a:lnTo>
                  <a:pt x="923" y="1744"/>
                </a:lnTo>
                <a:lnTo>
                  <a:pt x="922" y="1744"/>
                </a:lnTo>
                <a:lnTo>
                  <a:pt x="923" y="1742"/>
                </a:lnTo>
                <a:lnTo>
                  <a:pt x="923" y="1741"/>
                </a:lnTo>
                <a:lnTo>
                  <a:pt x="923" y="1742"/>
                </a:lnTo>
                <a:lnTo>
                  <a:pt x="920" y="1744"/>
                </a:lnTo>
                <a:lnTo>
                  <a:pt x="918" y="1746"/>
                </a:lnTo>
                <a:lnTo>
                  <a:pt x="917" y="1746"/>
                </a:lnTo>
                <a:lnTo>
                  <a:pt x="917" y="1747"/>
                </a:lnTo>
                <a:lnTo>
                  <a:pt x="917" y="1746"/>
                </a:lnTo>
                <a:lnTo>
                  <a:pt x="915" y="1746"/>
                </a:lnTo>
                <a:lnTo>
                  <a:pt x="915" y="1744"/>
                </a:lnTo>
                <a:lnTo>
                  <a:pt x="917" y="1744"/>
                </a:lnTo>
                <a:lnTo>
                  <a:pt x="918" y="1742"/>
                </a:lnTo>
                <a:lnTo>
                  <a:pt x="917" y="1742"/>
                </a:lnTo>
                <a:lnTo>
                  <a:pt x="915" y="1742"/>
                </a:lnTo>
                <a:lnTo>
                  <a:pt x="911" y="1741"/>
                </a:lnTo>
                <a:lnTo>
                  <a:pt x="913" y="1739"/>
                </a:lnTo>
                <a:lnTo>
                  <a:pt x="915" y="1739"/>
                </a:lnTo>
                <a:lnTo>
                  <a:pt x="917" y="1737"/>
                </a:lnTo>
                <a:close/>
                <a:moveTo>
                  <a:pt x="1121" y="1525"/>
                </a:moveTo>
                <a:lnTo>
                  <a:pt x="1119" y="1526"/>
                </a:lnTo>
                <a:lnTo>
                  <a:pt x="1121" y="1526"/>
                </a:lnTo>
                <a:lnTo>
                  <a:pt x="1119" y="1526"/>
                </a:lnTo>
                <a:lnTo>
                  <a:pt x="1121" y="1526"/>
                </a:lnTo>
                <a:lnTo>
                  <a:pt x="1122" y="1526"/>
                </a:lnTo>
                <a:lnTo>
                  <a:pt x="1121" y="1526"/>
                </a:lnTo>
                <a:lnTo>
                  <a:pt x="1121" y="1528"/>
                </a:lnTo>
                <a:lnTo>
                  <a:pt x="1122" y="1526"/>
                </a:lnTo>
                <a:lnTo>
                  <a:pt x="1119" y="1528"/>
                </a:lnTo>
                <a:lnTo>
                  <a:pt x="1122" y="1528"/>
                </a:lnTo>
                <a:lnTo>
                  <a:pt x="1122" y="1530"/>
                </a:lnTo>
                <a:lnTo>
                  <a:pt x="1124" y="1530"/>
                </a:lnTo>
                <a:lnTo>
                  <a:pt x="1124" y="1531"/>
                </a:lnTo>
                <a:lnTo>
                  <a:pt x="1121" y="1533"/>
                </a:lnTo>
                <a:lnTo>
                  <a:pt x="1121" y="1535"/>
                </a:lnTo>
                <a:lnTo>
                  <a:pt x="1119" y="1535"/>
                </a:lnTo>
                <a:lnTo>
                  <a:pt x="1119" y="1533"/>
                </a:lnTo>
                <a:lnTo>
                  <a:pt x="1117" y="1535"/>
                </a:lnTo>
                <a:lnTo>
                  <a:pt x="1119" y="1533"/>
                </a:lnTo>
                <a:lnTo>
                  <a:pt x="1117" y="1533"/>
                </a:lnTo>
                <a:lnTo>
                  <a:pt x="1117" y="1531"/>
                </a:lnTo>
                <a:lnTo>
                  <a:pt x="1117" y="1533"/>
                </a:lnTo>
                <a:lnTo>
                  <a:pt x="1119" y="1531"/>
                </a:lnTo>
                <a:lnTo>
                  <a:pt x="1119" y="1530"/>
                </a:lnTo>
                <a:lnTo>
                  <a:pt x="1117" y="1530"/>
                </a:lnTo>
                <a:lnTo>
                  <a:pt x="1119" y="1530"/>
                </a:lnTo>
                <a:lnTo>
                  <a:pt x="1119" y="1528"/>
                </a:lnTo>
                <a:lnTo>
                  <a:pt x="1117" y="1530"/>
                </a:lnTo>
                <a:lnTo>
                  <a:pt x="1115" y="1531"/>
                </a:lnTo>
                <a:lnTo>
                  <a:pt x="1117" y="1530"/>
                </a:lnTo>
                <a:lnTo>
                  <a:pt x="1117" y="1528"/>
                </a:lnTo>
                <a:lnTo>
                  <a:pt x="1117" y="1530"/>
                </a:lnTo>
                <a:lnTo>
                  <a:pt x="1115" y="1530"/>
                </a:lnTo>
                <a:lnTo>
                  <a:pt x="1115" y="1531"/>
                </a:lnTo>
                <a:lnTo>
                  <a:pt x="1114" y="1531"/>
                </a:lnTo>
                <a:lnTo>
                  <a:pt x="1112" y="1533"/>
                </a:lnTo>
                <a:lnTo>
                  <a:pt x="1110" y="1533"/>
                </a:lnTo>
                <a:lnTo>
                  <a:pt x="1110" y="1535"/>
                </a:lnTo>
                <a:lnTo>
                  <a:pt x="1110" y="1533"/>
                </a:lnTo>
                <a:lnTo>
                  <a:pt x="1112" y="1531"/>
                </a:lnTo>
                <a:lnTo>
                  <a:pt x="1112" y="1530"/>
                </a:lnTo>
                <a:lnTo>
                  <a:pt x="1114" y="1530"/>
                </a:lnTo>
                <a:lnTo>
                  <a:pt x="1115" y="1530"/>
                </a:lnTo>
                <a:lnTo>
                  <a:pt x="1115" y="1528"/>
                </a:lnTo>
                <a:lnTo>
                  <a:pt x="1117" y="1528"/>
                </a:lnTo>
                <a:lnTo>
                  <a:pt x="1117" y="1526"/>
                </a:lnTo>
                <a:lnTo>
                  <a:pt x="1119" y="1526"/>
                </a:lnTo>
                <a:lnTo>
                  <a:pt x="1117" y="1526"/>
                </a:lnTo>
                <a:lnTo>
                  <a:pt x="1119" y="1526"/>
                </a:lnTo>
                <a:lnTo>
                  <a:pt x="1121" y="1525"/>
                </a:lnTo>
                <a:close/>
                <a:moveTo>
                  <a:pt x="1036" y="1645"/>
                </a:moveTo>
                <a:lnTo>
                  <a:pt x="1036" y="1649"/>
                </a:lnTo>
                <a:lnTo>
                  <a:pt x="1037" y="1649"/>
                </a:lnTo>
                <a:lnTo>
                  <a:pt x="1039" y="1652"/>
                </a:lnTo>
                <a:lnTo>
                  <a:pt x="1037" y="1654"/>
                </a:lnTo>
                <a:lnTo>
                  <a:pt x="1036" y="1654"/>
                </a:lnTo>
                <a:lnTo>
                  <a:pt x="1034" y="1654"/>
                </a:lnTo>
                <a:lnTo>
                  <a:pt x="1032" y="1654"/>
                </a:lnTo>
                <a:lnTo>
                  <a:pt x="1030" y="1652"/>
                </a:lnTo>
                <a:lnTo>
                  <a:pt x="1029" y="1650"/>
                </a:lnTo>
                <a:lnTo>
                  <a:pt x="1029" y="1649"/>
                </a:lnTo>
                <a:lnTo>
                  <a:pt x="1030" y="1647"/>
                </a:lnTo>
                <a:lnTo>
                  <a:pt x="1029" y="1645"/>
                </a:lnTo>
                <a:lnTo>
                  <a:pt x="1030" y="1645"/>
                </a:lnTo>
                <a:lnTo>
                  <a:pt x="1030" y="1647"/>
                </a:lnTo>
                <a:lnTo>
                  <a:pt x="1032" y="1645"/>
                </a:lnTo>
                <a:lnTo>
                  <a:pt x="1034" y="1647"/>
                </a:lnTo>
                <a:lnTo>
                  <a:pt x="1032" y="1650"/>
                </a:lnTo>
                <a:lnTo>
                  <a:pt x="1034" y="1650"/>
                </a:lnTo>
                <a:lnTo>
                  <a:pt x="1034" y="1647"/>
                </a:lnTo>
                <a:lnTo>
                  <a:pt x="1032" y="1645"/>
                </a:lnTo>
                <a:lnTo>
                  <a:pt x="1036" y="1645"/>
                </a:lnTo>
                <a:close/>
                <a:moveTo>
                  <a:pt x="1250" y="1227"/>
                </a:moveTo>
                <a:lnTo>
                  <a:pt x="1251" y="1227"/>
                </a:lnTo>
                <a:lnTo>
                  <a:pt x="1253" y="1229"/>
                </a:lnTo>
                <a:lnTo>
                  <a:pt x="1257" y="1227"/>
                </a:lnTo>
                <a:lnTo>
                  <a:pt x="1257" y="1229"/>
                </a:lnTo>
                <a:lnTo>
                  <a:pt x="1258" y="1227"/>
                </a:lnTo>
                <a:lnTo>
                  <a:pt x="1258" y="1230"/>
                </a:lnTo>
                <a:lnTo>
                  <a:pt x="1260" y="1230"/>
                </a:lnTo>
                <a:lnTo>
                  <a:pt x="1258" y="1230"/>
                </a:lnTo>
                <a:lnTo>
                  <a:pt x="1260" y="1232"/>
                </a:lnTo>
                <a:lnTo>
                  <a:pt x="1258" y="1234"/>
                </a:lnTo>
                <a:lnTo>
                  <a:pt x="1255" y="1234"/>
                </a:lnTo>
                <a:lnTo>
                  <a:pt x="1253" y="1232"/>
                </a:lnTo>
                <a:lnTo>
                  <a:pt x="1251" y="1230"/>
                </a:lnTo>
                <a:lnTo>
                  <a:pt x="1250" y="1229"/>
                </a:lnTo>
                <a:lnTo>
                  <a:pt x="1250" y="1227"/>
                </a:lnTo>
                <a:close/>
                <a:moveTo>
                  <a:pt x="944" y="1710"/>
                </a:moveTo>
                <a:lnTo>
                  <a:pt x="944" y="1713"/>
                </a:lnTo>
                <a:lnTo>
                  <a:pt x="947" y="1712"/>
                </a:lnTo>
                <a:lnTo>
                  <a:pt x="945" y="1715"/>
                </a:lnTo>
                <a:lnTo>
                  <a:pt x="947" y="1717"/>
                </a:lnTo>
                <a:lnTo>
                  <a:pt x="945" y="1719"/>
                </a:lnTo>
                <a:lnTo>
                  <a:pt x="944" y="1719"/>
                </a:lnTo>
                <a:lnTo>
                  <a:pt x="940" y="1719"/>
                </a:lnTo>
                <a:lnTo>
                  <a:pt x="939" y="1719"/>
                </a:lnTo>
                <a:lnTo>
                  <a:pt x="939" y="1717"/>
                </a:lnTo>
                <a:lnTo>
                  <a:pt x="937" y="1715"/>
                </a:lnTo>
                <a:lnTo>
                  <a:pt x="939" y="1717"/>
                </a:lnTo>
                <a:lnTo>
                  <a:pt x="940" y="1717"/>
                </a:lnTo>
                <a:lnTo>
                  <a:pt x="939" y="1715"/>
                </a:lnTo>
                <a:lnTo>
                  <a:pt x="937" y="1715"/>
                </a:lnTo>
                <a:lnTo>
                  <a:pt x="937" y="1713"/>
                </a:lnTo>
                <a:lnTo>
                  <a:pt x="939" y="1713"/>
                </a:lnTo>
                <a:lnTo>
                  <a:pt x="939" y="1712"/>
                </a:lnTo>
                <a:lnTo>
                  <a:pt x="940" y="1712"/>
                </a:lnTo>
                <a:lnTo>
                  <a:pt x="942" y="1712"/>
                </a:lnTo>
                <a:lnTo>
                  <a:pt x="944" y="1712"/>
                </a:lnTo>
                <a:lnTo>
                  <a:pt x="944" y="1710"/>
                </a:lnTo>
                <a:close/>
                <a:moveTo>
                  <a:pt x="1270" y="1234"/>
                </a:moveTo>
                <a:lnTo>
                  <a:pt x="1270" y="1235"/>
                </a:lnTo>
                <a:lnTo>
                  <a:pt x="1272" y="1239"/>
                </a:lnTo>
                <a:lnTo>
                  <a:pt x="1275" y="1239"/>
                </a:lnTo>
                <a:lnTo>
                  <a:pt x="1275" y="1241"/>
                </a:lnTo>
                <a:lnTo>
                  <a:pt x="1274" y="1242"/>
                </a:lnTo>
                <a:lnTo>
                  <a:pt x="1272" y="1242"/>
                </a:lnTo>
                <a:lnTo>
                  <a:pt x="1270" y="1242"/>
                </a:lnTo>
                <a:lnTo>
                  <a:pt x="1267" y="1244"/>
                </a:lnTo>
                <a:lnTo>
                  <a:pt x="1265" y="1244"/>
                </a:lnTo>
                <a:lnTo>
                  <a:pt x="1267" y="1241"/>
                </a:lnTo>
                <a:lnTo>
                  <a:pt x="1268" y="1241"/>
                </a:lnTo>
                <a:lnTo>
                  <a:pt x="1268" y="1239"/>
                </a:lnTo>
                <a:lnTo>
                  <a:pt x="1268" y="1237"/>
                </a:lnTo>
                <a:lnTo>
                  <a:pt x="1270" y="1235"/>
                </a:lnTo>
                <a:lnTo>
                  <a:pt x="1270" y="1234"/>
                </a:lnTo>
                <a:close/>
                <a:moveTo>
                  <a:pt x="1175" y="1292"/>
                </a:moveTo>
                <a:lnTo>
                  <a:pt x="1178" y="1292"/>
                </a:lnTo>
                <a:lnTo>
                  <a:pt x="1178" y="1293"/>
                </a:lnTo>
                <a:lnTo>
                  <a:pt x="1177" y="1295"/>
                </a:lnTo>
                <a:lnTo>
                  <a:pt x="1178" y="1295"/>
                </a:lnTo>
                <a:lnTo>
                  <a:pt x="1177" y="1297"/>
                </a:lnTo>
                <a:lnTo>
                  <a:pt x="1178" y="1297"/>
                </a:lnTo>
                <a:lnTo>
                  <a:pt x="1177" y="1300"/>
                </a:lnTo>
                <a:lnTo>
                  <a:pt x="1177" y="1302"/>
                </a:lnTo>
                <a:lnTo>
                  <a:pt x="1177" y="1300"/>
                </a:lnTo>
                <a:lnTo>
                  <a:pt x="1177" y="1302"/>
                </a:lnTo>
                <a:lnTo>
                  <a:pt x="1175" y="1302"/>
                </a:lnTo>
                <a:lnTo>
                  <a:pt x="1173" y="1303"/>
                </a:lnTo>
                <a:lnTo>
                  <a:pt x="1173" y="1302"/>
                </a:lnTo>
                <a:lnTo>
                  <a:pt x="1173" y="1300"/>
                </a:lnTo>
                <a:lnTo>
                  <a:pt x="1173" y="1302"/>
                </a:lnTo>
                <a:lnTo>
                  <a:pt x="1172" y="1303"/>
                </a:lnTo>
                <a:lnTo>
                  <a:pt x="1172" y="1300"/>
                </a:lnTo>
                <a:lnTo>
                  <a:pt x="1172" y="1298"/>
                </a:lnTo>
                <a:lnTo>
                  <a:pt x="1173" y="1298"/>
                </a:lnTo>
                <a:lnTo>
                  <a:pt x="1173" y="1297"/>
                </a:lnTo>
                <a:lnTo>
                  <a:pt x="1175" y="1297"/>
                </a:lnTo>
                <a:lnTo>
                  <a:pt x="1175" y="1298"/>
                </a:lnTo>
                <a:lnTo>
                  <a:pt x="1175" y="1295"/>
                </a:lnTo>
                <a:lnTo>
                  <a:pt x="1175" y="1292"/>
                </a:lnTo>
                <a:close/>
                <a:moveTo>
                  <a:pt x="1211" y="1259"/>
                </a:moveTo>
                <a:lnTo>
                  <a:pt x="1212" y="1259"/>
                </a:lnTo>
                <a:lnTo>
                  <a:pt x="1214" y="1261"/>
                </a:lnTo>
                <a:lnTo>
                  <a:pt x="1214" y="1259"/>
                </a:lnTo>
                <a:lnTo>
                  <a:pt x="1216" y="1261"/>
                </a:lnTo>
                <a:lnTo>
                  <a:pt x="1217" y="1261"/>
                </a:lnTo>
                <a:lnTo>
                  <a:pt x="1217" y="1263"/>
                </a:lnTo>
                <a:lnTo>
                  <a:pt x="1216" y="1264"/>
                </a:lnTo>
                <a:lnTo>
                  <a:pt x="1214" y="1264"/>
                </a:lnTo>
                <a:lnTo>
                  <a:pt x="1214" y="1266"/>
                </a:lnTo>
                <a:lnTo>
                  <a:pt x="1212" y="1264"/>
                </a:lnTo>
                <a:lnTo>
                  <a:pt x="1211" y="1266"/>
                </a:lnTo>
                <a:lnTo>
                  <a:pt x="1211" y="1264"/>
                </a:lnTo>
                <a:lnTo>
                  <a:pt x="1209" y="1264"/>
                </a:lnTo>
                <a:lnTo>
                  <a:pt x="1209" y="1263"/>
                </a:lnTo>
                <a:lnTo>
                  <a:pt x="1207" y="1263"/>
                </a:lnTo>
                <a:lnTo>
                  <a:pt x="1209" y="1259"/>
                </a:lnTo>
                <a:lnTo>
                  <a:pt x="1211" y="1259"/>
                </a:lnTo>
                <a:close/>
                <a:moveTo>
                  <a:pt x="1421" y="1050"/>
                </a:moveTo>
                <a:lnTo>
                  <a:pt x="1423" y="1050"/>
                </a:lnTo>
                <a:lnTo>
                  <a:pt x="1423" y="1052"/>
                </a:lnTo>
                <a:lnTo>
                  <a:pt x="1425" y="1052"/>
                </a:lnTo>
                <a:lnTo>
                  <a:pt x="1427" y="1052"/>
                </a:lnTo>
                <a:lnTo>
                  <a:pt x="1425" y="1052"/>
                </a:lnTo>
                <a:lnTo>
                  <a:pt x="1423" y="1053"/>
                </a:lnTo>
                <a:lnTo>
                  <a:pt x="1423" y="1055"/>
                </a:lnTo>
                <a:lnTo>
                  <a:pt x="1425" y="1053"/>
                </a:lnTo>
                <a:lnTo>
                  <a:pt x="1428" y="1053"/>
                </a:lnTo>
                <a:lnTo>
                  <a:pt x="1427" y="1055"/>
                </a:lnTo>
                <a:lnTo>
                  <a:pt x="1428" y="1055"/>
                </a:lnTo>
                <a:lnTo>
                  <a:pt x="1427" y="1055"/>
                </a:lnTo>
                <a:lnTo>
                  <a:pt x="1427" y="1057"/>
                </a:lnTo>
                <a:lnTo>
                  <a:pt x="1425" y="1057"/>
                </a:lnTo>
                <a:lnTo>
                  <a:pt x="1425" y="1059"/>
                </a:lnTo>
                <a:lnTo>
                  <a:pt x="1421" y="1059"/>
                </a:lnTo>
                <a:lnTo>
                  <a:pt x="1421" y="1057"/>
                </a:lnTo>
                <a:lnTo>
                  <a:pt x="1420" y="1057"/>
                </a:lnTo>
                <a:lnTo>
                  <a:pt x="1420" y="1053"/>
                </a:lnTo>
                <a:lnTo>
                  <a:pt x="1421" y="1053"/>
                </a:lnTo>
                <a:lnTo>
                  <a:pt x="1423" y="1053"/>
                </a:lnTo>
                <a:lnTo>
                  <a:pt x="1421" y="1053"/>
                </a:lnTo>
                <a:lnTo>
                  <a:pt x="1420" y="1053"/>
                </a:lnTo>
                <a:lnTo>
                  <a:pt x="1418" y="1053"/>
                </a:lnTo>
                <a:lnTo>
                  <a:pt x="1420" y="1053"/>
                </a:lnTo>
                <a:lnTo>
                  <a:pt x="1420" y="1052"/>
                </a:lnTo>
                <a:lnTo>
                  <a:pt x="1418" y="1052"/>
                </a:lnTo>
                <a:lnTo>
                  <a:pt x="1421" y="1050"/>
                </a:lnTo>
                <a:close/>
                <a:moveTo>
                  <a:pt x="1143" y="1470"/>
                </a:moveTo>
                <a:lnTo>
                  <a:pt x="1144" y="1472"/>
                </a:lnTo>
                <a:lnTo>
                  <a:pt x="1143" y="1472"/>
                </a:lnTo>
                <a:lnTo>
                  <a:pt x="1144" y="1472"/>
                </a:lnTo>
                <a:lnTo>
                  <a:pt x="1143" y="1472"/>
                </a:lnTo>
                <a:lnTo>
                  <a:pt x="1144" y="1472"/>
                </a:lnTo>
                <a:lnTo>
                  <a:pt x="1144" y="1474"/>
                </a:lnTo>
                <a:lnTo>
                  <a:pt x="1143" y="1474"/>
                </a:lnTo>
                <a:lnTo>
                  <a:pt x="1144" y="1474"/>
                </a:lnTo>
                <a:lnTo>
                  <a:pt x="1143" y="1474"/>
                </a:lnTo>
                <a:lnTo>
                  <a:pt x="1144" y="1474"/>
                </a:lnTo>
                <a:lnTo>
                  <a:pt x="1144" y="1475"/>
                </a:lnTo>
                <a:lnTo>
                  <a:pt x="1144" y="1477"/>
                </a:lnTo>
                <a:lnTo>
                  <a:pt x="1143" y="1479"/>
                </a:lnTo>
                <a:lnTo>
                  <a:pt x="1141" y="1480"/>
                </a:lnTo>
                <a:lnTo>
                  <a:pt x="1141" y="1479"/>
                </a:lnTo>
                <a:lnTo>
                  <a:pt x="1139" y="1479"/>
                </a:lnTo>
                <a:lnTo>
                  <a:pt x="1141" y="1479"/>
                </a:lnTo>
                <a:lnTo>
                  <a:pt x="1139" y="1479"/>
                </a:lnTo>
                <a:lnTo>
                  <a:pt x="1138" y="1479"/>
                </a:lnTo>
                <a:lnTo>
                  <a:pt x="1136" y="1479"/>
                </a:lnTo>
                <a:lnTo>
                  <a:pt x="1138" y="1477"/>
                </a:lnTo>
                <a:lnTo>
                  <a:pt x="1138" y="1475"/>
                </a:lnTo>
                <a:lnTo>
                  <a:pt x="1138" y="1474"/>
                </a:lnTo>
                <a:lnTo>
                  <a:pt x="1139" y="1472"/>
                </a:lnTo>
                <a:lnTo>
                  <a:pt x="1141" y="1472"/>
                </a:lnTo>
                <a:lnTo>
                  <a:pt x="1141" y="1470"/>
                </a:lnTo>
                <a:lnTo>
                  <a:pt x="1141" y="1472"/>
                </a:lnTo>
                <a:lnTo>
                  <a:pt x="1143" y="1472"/>
                </a:lnTo>
                <a:lnTo>
                  <a:pt x="1143" y="1470"/>
                </a:lnTo>
                <a:close/>
                <a:moveTo>
                  <a:pt x="1206" y="1361"/>
                </a:moveTo>
                <a:lnTo>
                  <a:pt x="1206" y="1365"/>
                </a:lnTo>
                <a:lnTo>
                  <a:pt x="1204" y="1365"/>
                </a:lnTo>
                <a:lnTo>
                  <a:pt x="1204" y="1366"/>
                </a:lnTo>
                <a:lnTo>
                  <a:pt x="1204" y="1368"/>
                </a:lnTo>
                <a:lnTo>
                  <a:pt x="1204" y="1372"/>
                </a:lnTo>
                <a:lnTo>
                  <a:pt x="1204" y="1373"/>
                </a:lnTo>
                <a:lnTo>
                  <a:pt x="1202" y="1375"/>
                </a:lnTo>
                <a:lnTo>
                  <a:pt x="1202" y="1373"/>
                </a:lnTo>
                <a:lnTo>
                  <a:pt x="1202" y="1372"/>
                </a:lnTo>
                <a:lnTo>
                  <a:pt x="1200" y="1370"/>
                </a:lnTo>
                <a:lnTo>
                  <a:pt x="1199" y="1368"/>
                </a:lnTo>
                <a:lnTo>
                  <a:pt x="1199" y="1370"/>
                </a:lnTo>
                <a:lnTo>
                  <a:pt x="1197" y="1368"/>
                </a:lnTo>
                <a:lnTo>
                  <a:pt x="1199" y="1366"/>
                </a:lnTo>
                <a:lnTo>
                  <a:pt x="1199" y="1363"/>
                </a:lnTo>
                <a:lnTo>
                  <a:pt x="1200" y="1365"/>
                </a:lnTo>
                <a:lnTo>
                  <a:pt x="1202" y="1366"/>
                </a:lnTo>
                <a:lnTo>
                  <a:pt x="1202" y="1365"/>
                </a:lnTo>
                <a:lnTo>
                  <a:pt x="1204" y="1363"/>
                </a:lnTo>
                <a:lnTo>
                  <a:pt x="1204" y="1361"/>
                </a:lnTo>
                <a:lnTo>
                  <a:pt x="1206" y="1361"/>
                </a:lnTo>
                <a:close/>
                <a:moveTo>
                  <a:pt x="1314" y="1125"/>
                </a:moveTo>
                <a:lnTo>
                  <a:pt x="1316" y="1127"/>
                </a:lnTo>
                <a:lnTo>
                  <a:pt x="1314" y="1128"/>
                </a:lnTo>
                <a:lnTo>
                  <a:pt x="1316" y="1130"/>
                </a:lnTo>
                <a:lnTo>
                  <a:pt x="1316" y="1132"/>
                </a:lnTo>
                <a:lnTo>
                  <a:pt x="1316" y="1133"/>
                </a:lnTo>
                <a:lnTo>
                  <a:pt x="1316" y="1135"/>
                </a:lnTo>
                <a:lnTo>
                  <a:pt x="1314" y="1135"/>
                </a:lnTo>
                <a:lnTo>
                  <a:pt x="1314" y="1137"/>
                </a:lnTo>
                <a:lnTo>
                  <a:pt x="1313" y="1137"/>
                </a:lnTo>
                <a:lnTo>
                  <a:pt x="1311" y="1135"/>
                </a:lnTo>
                <a:lnTo>
                  <a:pt x="1309" y="1133"/>
                </a:lnTo>
                <a:lnTo>
                  <a:pt x="1311" y="1133"/>
                </a:lnTo>
                <a:lnTo>
                  <a:pt x="1311" y="1132"/>
                </a:lnTo>
                <a:lnTo>
                  <a:pt x="1313" y="1133"/>
                </a:lnTo>
                <a:lnTo>
                  <a:pt x="1313" y="1132"/>
                </a:lnTo>
                <a:lnTo>
                  <a:pt x="1314" y="1130"/>
                </a:lnTo>
                <a:lnTo>
                  <a:pt x="1313" y="1130"/>
                </a:lnTo>
                <a:lnTo>
                  <a:pt x="1313" y="1128"/>
                </a:lnTo>
                <a:lnTo>
                  <a:pt x="1311" y="1127"/>
                </a:lnTo>
                <a:lnTo>
                  <a:pt x="1313" y="1127"/>
                </a:lnTo>
                <a:lnTo>
                  <a:pt x="1313" y="1125"/>
                </a:lnTo>
                <a:lnTo>
                  <a:pt x="1314" y="1127"/>
                </a:lnTo>
                <a:lnTo>
                  <a:pt x="1314" y="1125"/>
                </a:lnTo>
                <a:close/>
                <a:moveTo>
                  <a:pt x="1355" y="1137"/>
                </a:moveTo>
                <a:lnTo>
                  <a:pt x="1357" y="1137"/>
                </a:lnTo>
                <a:lnTo>
                  <a:pt x="1359" y="1138"/>
                </a:lnTo>
                <a:lnTo>
                  <a:pt x="1360" y="1140"/>
                </a:lnTo>
                <a:lnTo>
                  <a:pt x="1360" y="1138"/>
                </a:lnTo>
                <a:lnTo>
                  <a:pt x="1364" y="1138"/>
                </a:lnTo>
                <a:lnTo>
                  <a:pt x="1362" y="1138"/>
                </a:lnTo>
                <a:lnTo>
                  <a:pt x="1360" y="1140"/>
                </a:lnTo>
                <a:lnTo>
                  <a:pt x="1360" y="1142"/>
                </a:lnTo>
                <a:lnTo>
                  <a:pt x="1359" y="1144"/>
                </a:lnTo>
                <a:lnTo>
                  <a:pt x="1357" y="1144"/>
                </a:lnTo>
                <a:lnTo>
                  <a:pt x="1355" y="1142"/>
                </a:lnTo>
                <a:lnTo>
                  <a:pt x="1355" y="1140"/>
                </a:lnTo>
                <a:lnTo>
                  <a:pt x="1353" y="1138"/>
                </a:lnTo>
                <a:lnTo>
                  <a:pt x="1355" y="1137"/>
                </a:lnTo>
                <a:close/>
                <a:moveTo>
                  <a:pt x="911" y="1787"/>
                </a:moveTo>
                <a:lnTo>
                  <a:pt x="913" y="1788"/>
                </a:lnTo>
                <a:lnTo>
                  <a:pt x="911" y="1788"/>
                </a:lnTo>
                <a:lnTo>
                  <a:pt x="911" y="1790"/>
                </a:lnTo>
                <a:lnTo>
                  <a:pt x="913" y="1792"/>
                </a:lnTo>
                <a:lnTo>
                  <a:pt x="913" y="1793"/>
                </a:lnTo>
                <a:lnTo>
                  <a:pt x="913" y="1790"/>
                </a:lnTo>
                <a:lnTo>
                  <a:pt x="913" y="1788"/>
                </a:lnTo>
                <a:lnTo>
                  <a:pt x="913" y="1790"/>
                </a:lnTo>
                <a:lnTo>
                  <a:pt x="915" y="1788"/>
                </a:lnTo>
                <a:lnTo>
                  <a:pt x="913" y="1787"/>
                </a:lnTo>
                <a:lnTo>
                  <a:pt x="915" y="1788"/>
                </a:lnTo>
                <a:lnTo>
                  <a:pt x="913" y="1788"/>
                </a:lnTo>
                <a:lnTo>
                  <a:pt x="915" y="1790"/>
                </a:lnTo>
                <a:lnTo>
                  <a:pt x="915" y="1792"/>
                </a:lnTo>
                <a:lnTo>
                  <a:pt x="915" y="1793"/>
                </a:lnTo>
                <a:lnTo>
                  <a:pt x="913" y="1795"/>
                </a:lnTo>
                <a:lnTo>
                  <a:pt x="911" y="1798"/>
                </a:lnTo>
                <a:lnTo>
                  <a:pt x="911" y="1797"/>
                </a:lnTo>
                <a:lnTo>
                  <a:pt x="911" y="1795"/>
                </a:lnTo>
                <a:lnTo>
                  <a:pt x="911" y="1793"/>
                </a:lnTo>
                <a:lnTo>
                  <a:pt x="910" y="1795"/>
                </a:lnTo>
                <a:lnTo>
                  <a:pt x="908" y="1798"/>
                </a:lnTo>
                <a:lnTo>
                  <a:pt x="908" y="1797"/>
                </a:lnTo>
                <a:lnTo>
                  <a:pt x="908" y="1795"/>
                </a:lnTo>
                <a:lnTo>
                  <a:pt x="908" y="1793"/>
                </a:lnTo>
                <a:lnTo>
                  <a:pt x="908" y="1792"/>
                </a:lnTo>
                <a:lnTo>
                  <a:pt x="908" y="1790"/>
                </a:lnTo>
                <a:lnTo>
                  <a:pt x="910" y="1790"/>
                </a:lnTo>
                <a:lnTo>
                  <a:pt x="910" y="1792"/>
                </a:lnTo>
                <a:lnTo>
                  <a:pt x="910" y="1788"/>
                </a:lnTo>
                <a:lnTo>
                  <a:pt x="910" y="1790"/>
                </a:lnTo>
                <a:lnTo>
                  <a:pt x="910" y="1792"/>
                </a:lnTo>
                <a:lnTo>
                  <a:pt x="911" y="1793"/>
                </a:lnTo>
                <a:lnTo>
                  <a:pt x="911" y="1792"/>
                </a:lnTo>
                <a:lnTo>
                  <a:pt x="911" y="1790"/>
                </a:lnTo>
                <a:lnTo>
                  <a:pt x="911" y="1788"/>
                </a:lnTo>
                <a:lnTo>
                  <a:pt x="910" y="1788"/>
                </a:lnTo>
                <a:lnTo>
                  <a:pt x="911" y="1787"/>
                </a:lnTo>
                <a:close/>
                <a:moveTo>
                  <a:pt x="1304" y="1137"/>
                </a:moveTo>
                <a:lnTo>
                  <a:pt x="1304" y="1138"/>
                </a:lnTo>
                <a:lnTo>
                  <a:pt x="1306" y="1138"/>
                </a:lnTo>
                <a:lnTo>
                  <a:pt x="1306" y="1142"/>
                </a:lnTo>
                <a:lnTo>
                  <a:pt x="1306" y="1140"/>
                </a:lnTo>
                <a:lnTo>
                  <a:pt x="1308" y="1137"/>
                </a:lnTo>
                <a:lnTo>
                  <a:pt x="1308" y="1138"/>
                </a:lnTo>
                <a:lnTo>
                  <a:pt x="1311" y="1140"/>
                </a:lnTo>
                <a:lnTo>
                  <a:pt x="1309" y="1142"/>
                </a:lnTo>
                <a:lnTo>
                  <a:pt x="1306" y="1142"/>
                </a:lnTo>
                <a:lnTo>
                  <a:pt x="1306" y="1144"/>
                </a:lnTo>
                <a:lnTo>
                  <a:pt x="1306" y="1145"/>
                </a:lnTo>
                <a:lnTo>
                  <a:pt x="1304" y="1145"/>
                </a:lnTo>
                <a:lnTo>
                  <a:pt x="1304" y="1147"/>
                </a:lnTo>
                <a:lnTo>
                  <a:pt x="1302" y="1145"/>
                </a:lnTo>
                <a:lnTo>
                  <a:pt x="1304" y="1144"/>
                </a:lnTo>
                <a:lnTo>
                  <a:pt x="1302" y="1144"/>
                </a:lnTo>
                <a:lnTo>
                  <a:pt x="1302" y="1140"/>
                </a:lnTo>
                <a:lnTo>
                  <a:pt x="1304" y="1140"/>
                </a:lnTo>
                <a:lnTo>
                  <a:pt x="1304" y="1137"/>
                </a:lnTo>
                <a:close/>
                <a:moveTo>
                  <a:pt x="971" y="1698"/>
                </a:moveTo>
                <a:lnTo>
                  <a:pt x="973" y="1700"/>
                </a:lnTo>
                <a:lnTo>
                  <a:pt x="974" y="1698"/>
                </a:lnTo>
                <a:lnTo>
                  <a:pt x="974" y="1700"/>
                </a:lnTo>
                <a:lnTo>
                  <a:pt x="978" y="1700"/>
                </a:lnTo>
                <a:lnTo>
                  <a:pt x="974" y="1702"/>
                </a:lnTo>
                <a:lnTo>
                  <a:pt x="973" y="1702"/>
                </a:lnTo>
                <a:lnTo>
                  <a:pt x="971" y="1703"/>
                </a:lnTo>
                <a:lnTo>
                  <a:pt x="969" y="1703"/>
                </a:lnTo>
                <a:lnTo>
                  <a:pt x="968" y="1703"/>
                </a:lnTo>
                <a:lnTo>
                  <a:pt x="966" y="1705"/>
                </a:lnTo>
                <a:lnTo>
                  <a:pt x="966" y="1703"/>
                </a:lnTo>
                <a:lnTo>
                  <a:pt x="964" y="1703"/>
                </a:lnTo>
                <a:lnTo>
                  <a:pt x="966" y="1702"/>
                </a:lnTo>
                <a:lnTo>
                  <a:pt x="964" y="1702"/>
                </a:lnTo>
                <a:lnTo>
                  <a:pt x="962" y="1702"/>
                </a:lnTo>
                <a:lnTo>
                  <a:pt x="962" y="1700"/>
                </a:lnTo>
                <a:lnTo>
                  <a:pt x="961" y="1700"/>
                </a:lnTo>
                <a:lnTo>
                  <a:pt x="962" y="1700"/>
                </a:lnTo>
                <a:lnTo>
                  <a:pt x="964" y="1700"/>
                </a:lnTo>
                <a:lnTo>
                  <a:pt x="966" y="1700"/>
                </a:lnTo>
                <a:lnTo>
                  <a:pt x="968" y="1698"/>
                </a:lnTo>
                <a:lnTo>
                  <a:pt x="969" y="1698"/>
                </a:lnTo>
                <a:lnTo>
                  <a:pt x="971" y="1698"/>
                </a:lnTo>
                <a:close/>
                <a:moveTo>
                  <a:pt x="1355" y="1145"/>
                </a:moveTo>
                <a:lnTo>
                  <a:pt x="1355" y="1147"/>
                </a:lnTo>
                <a:lnTo>
                  <a:pt x="1355" y="1149"/>
                </a:lnTo>
                <a:lnTo>
                  <a:pt x="1357" y="1152"/>
                </a:lnTo>
                <a:lnTo>
                  <a:pt x="1355" y="1154"/>
                </a:lnTo>
                <a:lnTo>
                  <a:pt x="1353" y="1155"/>
                </a:lnTo>
                <a:lnTo>
                  <a:pt x="1352" y="1154"/>
                </a:lnTo>
                <a:lnTo>
                  <a:pt x="1352" y="1152"/>
                </a:lnTo>
                <a:lnTo>
                  <a:pt x="1352" y="1150"/>
                </a:lnTo>
                <a:lnTo>
                  <a:pt x="1352" y="1149"/>
                </a:lnTo>
                <a:lnTo>
                  <a:pt x="1352" y="1147"/>
                </a:lnTo>
                <a:lnTo>
                  <a:pt x="1353" y="1147"/>
                </a:lnTo>
                <a:lnTo>
                  <a:pt x="1355" y="1145"/>
                </a:lnTo>
                <a:close/>
                <a:moveTo>
                  <a:pt x="1144" y="1509"/>
                </a:moveTo>
                <a:lnTo>
                  <a:pt x="1146" y="1511"/>
                </a:lnTo>
                <a:lnTo>
                  <a:pt x="1146" y="1513"/>
                </a:lnTo>
                <a:lnTo>
                  <a:pt x="1144" y="1514"/>
                </a:lnTo>
                <a:lnTo>
                  <a:pt x="1143" y="1516"/>
                </a:lnTo>
                <a:lnTo>
                  <a:pt x="1144" y="1514"/>
                </a:lnTo>
                <a:lnTo>
                  <a:pt x="1146" y="1514"/>
                </a:lnTo>
                <a:lnTo>
                  <a:pt x="1144" y="1516"/>
                </a:lnTo>
                <a:lnTo>
                  <a:pt x="1143" y="1518"/>
                </a:lnTo>
                <a:lnTo>
                  <a:pt x="1141" y="1519"/>
                </a:lnTo>
                <a:lnTo>
                  <a:pt x="1139" y="1521"/>
                </a:lnTo>
                <a:lnTo>
                  <a:pt x="1138" y="1521"/>
                </a:lnTo>
                <a:lnTo>
                  <a:pt x="1138" y="1519"/>
                </a:lnTo>
                <a:lnTo>
                  <a:pt x="1139" y="1518"/>
                </a:lnTo>
                <a:lnTo>
                  <a:pt x="1141" y="1516"/>
                </a:lnTo>
                <a:lnTo>
                  <a:pt x="1139" y="1516"/>
                </a:lnTo>
                <a:lnTo>
                  <a:pt x="1141" y="1514"/>
                </a:lnTo>
                <a:lnTo>
                  <a:pt x="1141" y="1513"/>
                </a:lnTo>
                <a:lnTo>
                  <a:pt x="1143" y="1511"/>
                </a:lnTo>
                <a:lnTo>
                  <a:pt x="1144" y="1509"/>
                </a:lnTo>
                <a:close/>
                <a:moveTo>
                  <a:pt x="908" y="1819"/>
                </a:moveTo>
                <a:lnTo>
                  <a:pt x="910" y="1821"/>
                </a:lnTo>
                <a:lnTo>
                  <a:pt x="911" y="1821"/>
                </a:lnTo>
                <a:lnTo>
                  <a:pt x="911" y="1822"/>
                </a:lnTo>
                <a:lnTo>
                  <a:pt x="910" y="1821"/>
                </a:lnTo>
                <a:lnTo>
                  <a:pt x="911" y="1821"/>
                </a:lnTo>
                <a:lnTo>
                  <a:pt x="913" y="1822"/>
                </a:lnTo>
                <a:lnTo>
                  <a:pt x="913" y="1824"/>
                </a:lnTo>
                <a:lnTo>
                  <a:pt x="915" y="1826"/>
                </a:lnTo>
                <a:lnTo>
                  <a:pt x="917" y="1827"/>
                </a:lnTo>
                <a:lnTo>
                  <a:pt x="915" y="1824"/>
                </a:lnTo>
                <a:lnTo>
                  <a:pt x="917" y="1827"/>
                </a:lnTo>
                <a:lnTo>
                  <a:pt x="918" y="1829"/>
                </a:lnTo>
                <a:lnTo>
                  <a:pt x="918" y="1831"/>
                </a:lnTo>
                <a:lnTo>
                  <a:pt x="920" y="1832"/>
                </a:lnTo>
                <a:lnTo>
                  <a:pt x="918" y="1832"/>
                </a:lnTo>
                <a:lnTo>
                  <a:pt x="917" y="1829"/>
                </a:lnTo>
                <a:lnTo>
                  <a:pt x="915" y="1829"/>
                </a:lnTo>
                <a:lnTo>
                  <a:pt x="915" y="1827"/>
                </a:lnTo>
                <a:lnTo>
                  <a:pt x="913" y="1827"/>
                </a:lnTo>
                <a:lnTo>
                  <a:pt x="911" y="1827"/>
                </a:lnTo>
                <a:lnTo>
                  <a:pt x="911" y="1826"/>
                </a:lnTo>
                <a:lnTo>
                  <a:pt x="910" y="1826"/>
                </a:lnTo>
                <a:lnTo>
                  <a:pt x="910" y="1824"/>
                </a:lnTo>
                <a:lnTo>
                  <a:pt x="908" y="1822"/>
                </a:lnTo>
                <a:lnTo>
                  <a:pt x="910" y="1824"/>
                </a:lnTo>
                <a:lnTo>
                  <a:pt x="910" y="1822"/>
                </a:lnTo>
                <a:lnTo>
                  <a:pt x="908" y="1821"/>
                </a:lnTo>
                <a:lnTo>
                  <a:pt x="910" y="1822"/>
                </a:lnTo>
                <a:lnTo>
                  <a:pt x="910" y="1821"/>
                </a:lnTo>
                <a:lnTo>
                  <a:pt x="908" y="1821"/>
                </a:lnTo>
                <a:lnTo>
                  <a:pt x="908" y="1819"/>
                </a:lnTo>
                <a:lnTo>
                  <a:pt x="910" y="1821"/>
                </a:lnTo>
                <a:lnTo>
                  <a:pt x="910" y="1819"/>
                </a:lnTo>
                <a:lnTo>
                  <a:pt x="908" y="1819"/>
                </a:lnTo>
                <a:close/>
                <a:moveTo>
                  <a:pt x="915" y="1882"/>
                </a:moveTo>
                <a:lnTo>
                  <a:pt x="917" y="1884"/>
                </a:lnTo>
                <a:lnTo>
                  <a:pt x="917" y="1885"/>
                </a:lnTo>
                <a:lnTo>
                  <a:pt x="918" y="1885"/>
                </a:lnTo>
                <a:lnTo>
                  <a:pt x="917" y="1887"/>
                </a:lnTo>
                <a:lnTo>
                  <a:pt x="917" y="1885"/>
                </a:lnTo>
                <a:lnTo>
                  <a:pt x="917" y="1887"/>
                </a:lnTo>
                <a:lnTo>
                  <a:pt x="918" y="1885"/>
                </a:lnTo>
                <a:lnTo>
                  <a:pt x="918" y="1887"/>
                </a:lnTo>
                <a:lnTo>
                  <a:pt x="918" y="1889"/>
                </a:lnTo>
                <a:lnTo>
                  <a:pt x="920" y="1890"/>
                </a:lnTo>
                <a:lnTo>
                  <a:pt x="920" y="1892"/>
                </a:lnTo>
                <a:lnTo>
                  <a:pt x="918" y="1890"/>
                </a:lnTo>
                <a:lnTo>
                  <a:pt x="918" y="1892"/>
                </a:lnTo>
                <a:lnTo>
                  <a:pt x="917" y="1892"/>
                </a:lnTo>
                <a:lnTo>
                  <a:pt x="917" y="1890"/>
                </a:lnTo>
                <a:lnTo>
                  <a:pt x="915" y="1890"/>
                </a:lnTo>
                <a:lnTo>
                  <a:pt x="917" y="1890"/>
                </a:lnTo>
                <a:lnTo>
                  <a:pt x="917" y="1889"/>
                </a:lnTo>
                <a:lnTo>
                  <a:pt x="915" y="1889"/>
                </a:lnTo>
                <a:lnTo>
                  <a:pt x="915" y="1890"/>
                </a:lnTo>
                <a:lnTo>
                  <a:pt x="915" y="1889"/>
                </a:lnTo>
                <a:lnTo>
                  <a:pt x="913" y="1890"/>
                </a:lnTo>
                <a:lnTo>
                  <a:pt x="913" y="1889"/>
                </a:lnTo>
                <a:lnTo>
                  <a:pt x="913" y="1887"/>
                </a:lnTo>
                <a:lnTo>
                  <a:pt x="913" y="1889"/>
                </a:lnTo>
                <a:lnTo>
                  <a:pt x="911" y="1890"/>
                </a:lnTo>
                <a:lnTo>
                  <a:pt x="911" y="1889"/>
                </a:lnTo>
                <a:lnTo>
                  <a:pt x="911" y="1887"/>
                </a:lnTo>
                <a:lnTo>
                  <a:pt x="913" y="1887"/>
                </a:lnTo>
                <a:lnTo>
                  <a:pt x="911" y="1885"/>
                </a:lnTo>
                <a:lnTo>
                  <a:pt x="913" y="1885"/>
                </a:lnTo>
                <a:lnTo>
                  <a:pt x="913" y="1884"/>
                </a:lnTo>
                <a:lnTo>
                  <a:pt x="913" y="1885"/>
                </a:lnTo>
                <a:lnTo>
                  <a:pt x="913" y="1884"/>
                </a:lnTo>
                <a:lnTo>
                  <a:pt x="915" y="1885"/>
                </a:lnTo>
                <a:lnTo>
                  <a:pt x="915" y="1884"/>
                </a:lnTo>
                <a:lnTo>
                  <a:pt x="913" y="1882"/>
                </a:lnTo>
                <a:lnTo>
                  <a:pt x="915" y="1882"/>
                </a:lnTo>
                <a:close/>
                <a:moveTo>
                  <a:pt x="1119" y="1525"/>
                </a:moveTo>
                <a:lnTo>
                  <a:pt x="1117" y="1526"/>
                </a:lnTo>
                <a:lnTo>
                  <a:pt x="1117" y="1525"/>
                </a:lnTo>
                <a:lnTo>
                  <a:pt x="1117" y="1526"/>
                </a:lnTo>
                <a:lnTo>
                  <a:pt x="1115" y="1526"/>
                </a:lnTo>
                <a:lnTo>
                  <a:pt x="1117" y="1526"/>
                </a:lnTo>
                <a:lnTo>
                  <a:pt x="1117" y="1528"/>
                </a:lnTo>
                <a:lnTo>
                  <a:pt x="1114" y="1528"/>
                </a:lnTo>
                <a:lnTo>
                  <a:pt x="1114" y="1530"/>
                </a:lnTo>
                <a:lnTo>
                  <a:pt x="1114" y="1528"/>
                </a:lnTo>
                <a:lnTo>
                  <a:pt x="1112" y="1531"/>
                </a:lnTo>
                <a:lnTo>
                  <a:pt x="1110" y="1533"/>
                </a:lnTo>
                <a:lnTo>
                  <a:pt x="1109" y="1533"/>
                </a:lnTo>
                <a:lnTo>
                  <a:pt x="1107" y="1533"/>
                </a:lnTo>
                <a:lnTo>
                  <a:pt x="1109" y="1531"/>
                </a:lnTo>
                <a:lnTo>
                  <a:pt x="1107" y="1533"/>
                </a:lnTo>
                <a:lnTo>
                  <a:pt x="1109" y="1531"/>
                </a:lnTo>
                <a:lnTo>
                  <a:pt x="1110" y="1530"/>
                </a:lnTo>
                <a:lnTo>
                  <a:pt x="1109" y="1531"/>
                </a:lnTo>
                <a:lnTo>
                  <a:pt x="1109" y="1530"/>
                </a:lnTo>
                <a:lnTo>
                  <a:pt x="1107" y="1531"/>
                </a:lnTo>
                <a:lnTo>
                  <a:pt x="1109" y="1531"/>
                </a:lnTo>
                <a:lnTo>
                  <a:pt x="1107" y="1530"/>
                </a:lnTo>
                <a:lnTo>
                  <a:pt x="1109" y="1530"/>
                </a:lnTo>
                <a:lnTo>
                  <a:pt x="1107" y="1530"/>
                </a:lnTo>
                <a:lnTo>
                  <a:pt x="1109" y="1528"/>
                </a:lnTo>
                <a:lnTo>
                  <a:pt x="1110" y="1528"/>
                </a:lnTo>
                <a:lnTo>
                  <a:pt x="1109" y="1530"/>
                </a:lnTo>
                <a:lnTo>
                  <a:pt x="1110" y="1528"/>
                </a:lnTo>
                <a:lnTo>
                  <a:pt x="1112" y="1528"/>
                </a:lnTo>
                <a:lnTo>
                  <a:pt x="1110" y="1528"/>
                </a:lnTo>
                <a:lnTo>
                  <a:pt x="1110" y="1530"/>
                </a:lnTo>
                <a:lnTo>
                  <a:pt x="1110" y="1528"/>
                </a:lnTo>
                <a:lnTo>
                  <a:pt x="1112" y="1526"/>
                </a:lnTo>
                <a:lnTo>
                  <a:pt x="1114" y="1526"/>
                </a:lnTo>
                <a:lnTo>
                  <a:pt x="1117" y="1525"/>
                </a:lnTo>
                <a:lnTo>
                  <a:pt x="1119" y="1525"/>
                </a:lnTo>
                <a:close/>
                <a:moveTo>
                  <a:pt x="1025" y="1649"/>
                </a:moveTo>
                <a:lnTo>
                  <a:pt x="1025" y="1650"/>
                </a:lnTo>
                <a:lnTo>
                  <a:pt x="1025" y="1654"/>
                </a:lnTo>
                <a:lnTo>
                  <a:pt x="1027" y="1654"/>
                </a:lnTo>
                <a:lnTo>
                  <a:pt x="1025" y="1654"/>
                </a:lnTo>
                <a:lnTo>
                  <a:pt x="1024" y="1654"/>
                </a:lnTo>
                <a:lnTo>
                  <a:pt x="1020" y="1654"/>
                </a:lnTo>
                <a:lnTo>
                  <a:pt x="1019" y="1654"/>
                </a:lnTo>
                <a:lnTo>
                  <a:pt x="1020" y="1654"/>
                </a:lnTo>
                <a:lnTo>
                  <a:pt x="1019" y="1652"/>
                </a:lnTo>
                <a:lnTo>
                  <a:pt x="1020" y="1650"/>
                </a:lnTo>
                <a:lnTo>
                  <a:pt x="1022" y="1650"/>
                </a:lnTo>
                <a:lnTo>
                  <a:pt x="1022" y="1649"/>
                </a:lnTo>
                <a:lnTo>
                  <a:pt x="1025" y="1649"/>
                </a:lnTo>
                <a:close/>
                <a:moveTo>
                  <a:pt x="1224" y="1302"/>
                </a:moveTo>
                <a:lnTo>
                  <a:pt x="1224" y="1303"/>
                </a:lnTo>
                <a:lnTo>
                  <a:pt x="1228" y="1305"/>
                </a:lnTo>
                <a:lnTo>
                  <a:pt x="1229" y="1305"/>
                </a:lnTo>
                <a:lnTo>
                  <a:pt x="1228" y="1307"/>
                </a:lnTo>
                <a:lnTo>
                  <a:pt x="1226" y="1307"/>
                </a:lnTo>
                <a:lnTo>
                  <a:pt x="1224" y="1307"/>
                </a:lnTo>
                <a:lnTo>
                  <a:pt x="1223" y="1307"/>
                </a:lnTo>
                <a:lnTo>
                  <a:pt x="1221" y="1307"/>
                </a:lnTo>
                <a:lnTo>
                  <a:pt x="1219" y="1309"/>
                </a:lnTo>
                <a:lnTo>
                  <a:pt x="1221" y="1307"/>
                </a:lnTo>
                <a:lnTo>
                  <a:pt x="1221" y="1303"/>
                </a:lnTo>
                <a:lnTo>
                  <a:pt x="1223" y="1303"/>
                </a:lnTo>
                <a:lnTo>
                  <a:pt x="1223" y="1302"/>
                </a:lnTo>
                <a:lnTo>
                  <a:pt x="1224" y="1302"/>
                </a:lnTo>
                <a:close/>
                <a:moveTo>
                  <a:pt x="910" y="1829"/>
                </a:moveTo>
                <a:lnTo>
                  <a:pt x="911" y="1829"/>
                </a:lnTo>
                <a:lnTo>
                  <a:pt x="913" y="1829"/>
                </a:lnTo>
                <a:lnTo>
                  <a:pt x="915" y="1831"/>
                </a:lnTo>
                <a:lnTo>
                  <a:pt x="917" y="1831"/>
                </a:lnTo>
                <a:lnTo>
                  <a:pt x="918" y="1832"/>
                </a:lnTo>
                <a:lnTo>
                  <a:pt x="918" y="1834"/>
                </a:lnTo>
                <a:lnTo>
                  <a:pt x="920" y="1834"/>
                </a:lnTo>
                <a:lnTo>
                  <a:pt x="920" y="1838"/>
                </a:lnTo>
                <a:lnTo>
                  <a:pt x="918" y="1838"/>
                </a:lnTo>
                <a:lnTo>
                  <a:pt x="917" y="1836"/>
                </a:lnTo>
                <a:lnTo>
                  <a:pt x="915" y="1834"/>
                </a:lnTo>
                <a:lnTo>
                  <a:pt x="913" y="1834"/>
                </a:lnTo>
                <a:lnTo>
                  <a:pt x="911" y="1832"/>
                </a:lnTo>
                <a:lnTo>
                  <a:pt x="913" y="1832"/>
                </a:lnTo>
                <a:lnTo>
                  <a:pt x="911" y="1832"/>
                </a:lnTo>
                <a:lnTo>
                  <a:pt x="911" y="1831"/>
                </a:lnTo>
                <a:lnTo>
                  <a:pt x="910" y="1829"/>
                </a:lnTo>
                <a:close/>
                <a:moveTo>
                  <a:pt x="910" y="1832"/>
                </a:moveTo>
                <a:lnTo>
                  <a:pt x="911" y="1834"/>
                </a:lnTo>
                <a:lnTo>
                  <a:pt x="911" y="1836"/>
                </a:lnTo>
                <a:lnTo>
                  <a:pt x="913" y="1836"/>
                </a:lnTo>
                <a:lnTo>
                  <a:pt x="913" y="1834"/>
                </a:lnTo>
                <a:lnTo>
                  <a:pt x="913" y="1836"/>
                </a:lnTo>
                <a:lnTo>
                  <a:pt x="915" y="1836"/>
                </a:lnTo>
                <a:lnTo>
                  <a:pt x="917" y="1838"/>
                </a:lnTo>
                <a:lnTo>
                  <a:pt x="918" y="1838"/>
                </a:lnTo>
                <a:lnTo>
                  <a:pt x="920" y="1841"/>
                </a:lnTo>
                <a:lnTo>
                  <a:pt x="918" y="1841"/>
                </a:lnTo>
                <a:lnTo>
                  <a:pt x="920" y="1843"/>
                </a:lnTo>
                <a:lnTo>
                  <a:pt x="918" y="1844"/>
                </a:lnTo>
                <a:lnTo>
                  <a:pt x="917" y="1844"/>
                </a:lnTo>
                <a:lnTo>
                  <a:pt x="915" y="1843"/>
                </a:lnTo>
                <a:lnTo>
                  <a:pt x="917" y="1843"/>
                </a:lnTo>
                <a:lnTo>
                  <a:pt x="917" y="1841"/>
                </a:lnTo>
                <a:lnTo>
                  <a:pt x="915" y="1841"/>
                </a:lnTo>
                <a:lnTo>
                  <a:pt x="915" y="1839"/>
                </a:lnTo>
                <a:lnTo>
                  <a:pt x="913" y="1841"/>
                </a:lnTo>
                <a:lnTo>
                  <a:pt x="915" y="1839"/>
                </a:lnTo>
                <a:lnTo>
                  <a:pt x="913" y="1839"/>
                </a:lnTo>
                <a:lnTo>
                  <a:pt x="913" y="1838"/>
                </a:lnTo>
                <a:lnTo>
                  <a:pt x="915" y="1839"/>
                </a:lnTo>
                <a:lnTo>
                  <a:pt x="915" y="1838"/>
                </a:lnTo>
                <a:lnTo>
                  <a:pt x="915" y="1836"/>
                </a:lnTo>
                <a:lnTo>
                  <a:pt x="913" y="1838"/>
                </a:lnTo>
                <a:lnTo>
                  <a:pt x="913" y="1836"/>
                </a:lnTo>
                <a:lnTo>
                  <a:pt x="911" y="1838"/>
                </a:lnTo>
                <a:lnTo>
                  <a:pt x="911" y="1836"/>
                </a:lnTo>
                <a:lnTo>
                  <a:pt x="911" y="1834"/>
                </a:lnTo>
                <a:lnTo>
                  <a:pt x="910" y="1832"/>
                </a:lnTo>
                <a:close/>
                <a:moveTo>
                  <a:pt x="1240" y="1297"/>
                </a:moveTo>
                <a:lnTo>
                  <a:pt x="1241" y="1298"/>
                </a:lnTo>
                <a:lnTo>
                  <a:pt x="1245" y="1298"/>
                </a:lnTo>
                <a:lnTo>
                  <a:pt x="1246" y="1300"/>
                </a:lnTo>
                <a:lnTo>
                  <a:pt x="1245" y="1302"/>
                </a:lnTo>
                <a:lnTo>
                  <a:pt x="1241" y="1300"/>
                </a:lnTo>
                <a:lnTo>
                  <a:pt x="1241" y="1298"/>
                </a:lnTo>
                <a:lnTo>
                  <a:pt x="1240" y="1300"/>
                </a:lnTo>
                <a:lnTo>
                  <a:pt x="1241" y="1300"/>
                </a:lnTo>
                <a:lnTo>
                  <a:pt x="1240" y="1300"/>
                </a:lnTo>
                <a:lnTo>
                  <a:pt x="1238" y="1302"/>
                </a:lnTo>
                <a:lnTo>
                  <a:pt x="1236" y="1300"/>
                </a:lnTo>
                <a:lnTo>
                  <a:pt x="1236" y="1302"/>
                </a:lnTo>
                <a:lnTo>
                  <a:pt x="1234" y="1300"/>
                </a:lnTo>
                <a:lnTo>
                  <a:pt x="1234" y="1298"/>
                </a:lnTo>
                <a:lnTo>
                  <a:pt x="1238" y="1298"/>
                </a:lnTo>
                <a:lnTo>
                  <a:pt x="1240" y="1298"/>
                </a:lnTo>
                <a:lnTo>
                  <a:pt x="1240" y="1297"/>
                </a:lnTo>
                <a:close/>
                <a:moveTo>
                  <a:pt x="985" y="1681"/>
                </a:moveTo>
                <a:lnTo>
                  <a:pt x="985" y="1684"/>
                </a:lnTo>
                <a:lnTo>
                  <a:pt x="983" y="1684"/>
                </a:lnTo>
                <a:lnTo>
                  <a:pt x="981" y="1686"/>
                </a:lnTo>
                <a:lnTo>
                  <a:pt x="979" y="1686"/>
                </a:lnTo>
                <a:lnTo>
                  <a:pt x="976" y="1688"/>
                </a:lnTo>
                <a:lnTo>
                  <a:pt x="976" y="1686"/>
                </a:lnTo>
                <a:lnTo>
                  <a:pt x="978" y="1684"/>
                </a:lnTo>
                <a:lnTo>
                  <a:pt x="976" y="1683"/>
                </a:lnTo>
                <a:lnTo>
                  <a:pt x="978" y="1683"/>
                </a:lnTo>
                <a:lnTo>
                  <a:pt x="976" y="1683"/>
                </a:lnTo>
                <a:lnTo>
                  <a:pt x="979" y="1683"/>
                </a:lnTo>
                <a:lnTo>
                  <a:pt x="978" y="1684"/>
                </a:lnTo>
                <a:lnTo>
                  <a:pt x="979" y="1683"/>
                </a:lnTo>
                <a:lnTo>
                  <a:pt x="981" y="1683"/>
                </a:lnTo>
                <a:lnTo>
                  <a:pt x="981" y="1681"/>
                </a:lnTo>
                <a:lnTo>
                  <a:pt x="985" y="1681"/>
                </a:lnTo>
                <a:close/>
                <a:moveTo>
                  <a:pt x="1282" y="1215"/>
                </a:moveTo>
                <a:lnTo>
                  <a:pt x="1282" y="1217"/>
                </a:lnTo>
                <a:lnTo>
                  <a:pt x="1282" y="1220"/>
                </a:lnTo>
                <a:lnTo>
                  <a:pt x="1280" y="1220"/>
                </a:lnTo>
                <a:lnTo>
                  <a:pt x="1280" y="1222"/>
                </a:lnTo>
                <a:lnTo>
                  <a:pt x="1279" y="1224"/>
                </a:lnTo>
                <a:lnTo>
                  <a:pt x="1277" y="1224"/>
                </a:lnTo>
                <a:lnTo>
                  <a:pt x="1277" y="1220"/>
                </a:lnTo>
                <a:lnTo>
                  <a:pt x="1279" y="1217"/>
                </a:lnTo>
                <a:lnTo>
                  <a:pt x="1280" y="1217"/>
                </a:lnTo>
                <a:lnTo>
                  <a:pt x="1282" y="1215"/>
                </a:lnTo>
                <a:close/>
                <a:moveTo>
                  <a:pt x="1017" y="1657"/>
                </a:moveTo>
                <a:lnTo>
                  <a:pt x="1017" y="1661"/>
                </a:lnTo>
                <a:lnTo>
                  <a:pt x="1015" y="1661"/>
                </a:lnTo>
                <a:lnTo>
                  <a:pt x="1015" y="1662"/>
                </a:lnTo>
                <a:lnTo>
                  <a:pt x="1013" y="1662"/>
                </a:lnTo>
                <a:lnTo>
                  <a:pt x="1012" y="1662"/>
                </a:lnTo>
                <a:lnTo>
                  <a:pt x="1010" y="1662"/>
                </a:lnTo>
                <a:lnTo>
                  <a:pt x="1010" y="1661"/>
                </a:lnTo>
                <a:lnTo>
                  <a:pt x="1012" y="1661"/>
                </a:lnTo>
                <a:lnTo>
                  <a:pt x="1012" y="1659"/>
                </a:lnTo>
                <a:lnTo>
                  <a:pt x="1013" y="1659"/>
                </a:lnTo>
                <a:lnTo>
                  <a:pt x="1013" y="1657"/>
                </a:lnTo>
                <a:lnTo>
                  <a:pt x="1015" y="1657"/>
                </a:lnTo>
                <a:lnTo>
                  <a:pt x="1017" y="1657"/>
                </a:lnTo>
                <a:close/>
                <a:moveTo>
                  <a:pt x="1039" y="1637"/>
                </a:moveTo>
                <a:lnTo>
                  <a:pt x="1042" y="1639"/>
                </a:lnTo>
                <a:lnTo>
                  <a:pt x="1042" y="1640"/>
                </a:lnTo>
                <a:lnTo>
                  <a:pt x="1044" y="1642"/>
                </a:lnTo>
                <a:lnTo>
                  <a:pt x="1042" y="1642"/>
                </a:lnTo>
                <a:lnTo>
                  <a:pt x="1039" y="1644"/>
                </a:lnTo>
                <a:lnTo>
                  <a:pt x="1039" y="1640"/>
                </a:lnTo>
                <a:lnTo>
                  <a:pt x="1037" y="1640"/>
                </a:lnTo>
                <a:lnTo>
                  <a:pt x="1039" y="1642"/>
                </a:lnTo>
                <a:lnTo>
                  <a:pt x="1036" y="1642"/>
                </a:lnTo>
                <a:lnTo>
                  <a:pt x="1036" y="1640"/>
                </a:lnTo>
                <a:lnTo>
                  <a:pt x="1037" y="1640"/>
                </a:lnTo>
                <a:lnTo>
                  <a:pt x="1037" y="1639"/>
                </a:lnTo>
                <a:lnTo>
                  <a:pt x="1039" y="1637"/>
                </a:lnTo>
                <a:close/>
                <a:moveTo>
                  <a:pt x="1129" y="1526"/>
                </a:moveTo>
                <a:lnTo>
                  <a:pt x="1129" y="1528"/>
                </a:lnTo>
                <a:lnTo>
                  <a:pt x="1131" y="1528"/>
                </a:lnTo>
                <a:lnTo>
                  <a:pt x="1131" y="1530"/>
                </a:lnTo>
                <a:lnTo>
                  <a:pt x="1132" y="1530"/>
                </a:lnTo>
                <a:lnTo>
                  <a:pt x="1132" y="1531"/>
                </a:lnTo>
                <a:lnTo>
                  <a:pt x="1131" y="1531"/>
                </a:lnTo>
                <a:lnTo>
                  <a:pt x="1127" y="1531"/>
                </a:lnTo>
                <a:lnTo>
                  <a:pt x="1124" y="1533"/>
                </a:lnTo>
                <a:lnTo>
                  <a:pt x="1124" y="1531"/>
                </a:lnTo>
                <a:lnTo>
                  <a:pt x="1126" y="1530"/>
                </a:lnTo>
                <a:lnTo>
                  <a:pt x="1127" y="1528"/>
                </a:lnTo>
                <a:lnTo>
                  <a:pt x="1129" y="1526"/>
                </a:lnTo>
                <a:close/>
                <a:moveTo>
                  <a:pt x="917" y="1890"/>
                </a:moveTo>
                <a:lnTo>
                  <a:pt x="917" y="1894"/>
                </a:lnTo>
                <a:lnTo>
                  <a:pt x="915" y="1895"/>
                </a:lnTo>
                <a:lnTo>
                  <a:pt x="913" y="1897"/>
                </a:lnTo>
                <a:lnTo>
                  <a:pt x="915" y="1897"/>
                </a:lnTo>
                <a:lnTo>
                  <a:pt x="915" y="1895"/>
                </a:lnTo>
                <a:lnTo>
                  <a:pt x="915" y="1897"/>
                </a:lnTo>
                <a:lnTo>
                  <a:pt x="915" y="1899"/>
                </a:lnTo>
                <a:lnTo>
                  <a:pt x="915" y="1901"/>
                </a:lnTo>
                <a:lnTo>
                  <a:pt x="913" y="1902"/>
                </a:lnTo>
                <a:lnTo>
                  <a:pt x="913" y="1901"/>
                </a:lnTo>
                <a:lnTo>
                  <a:pt x="913" y="1899"/>
                </a:lnTo>
                <a:lnTo>
                  <a:pt x="913" y="1897"/>
                </a:lnTo>
                <a:lnTo>
                  <a:pt x="913" y="1895"/>
                </a:lnTo>
                <a:lnTo>
                  <a:pt x="913" y="1894"/>
                </a:lnTo>
                <a:lnTo>
                  <a:pt x="913" y="1892"/>
                </a:lnTo>
                <a:lnTo>
                  <a:pt x="915" y="1892"/>
                </a:lnTo>
                <a:lnTo>
                  <a:pt x="915" y="1890"/>
                </a:lnTo>
                <a:lnTo>
                  <a:pt x="915" y="1892"/>
                </a:lnTo>
                <a:lnTo>
                  <a:pt x="917" y="1890"/>
                </a:lnTo>
                <a:close/>
                <a:moveTo>
                  <a:pt x="1139" y="1513"/>
                </a:moveTo>
                <a:lnTo>
                  <a:pt x="1139" y="1514"/>
                </a:lnTo>
                <a:lnTo>
                  <a:pt x="1138" y="1516"/>
                </a:lnTo>
                <a:lnTo>
                  <a:pt x="1134" y="1518"/>
                </a:lnTo>
                <a:lnTo>
                  <a:pt x="1132" y="1519"/>
                </a:lnTo>
                <a:lnTo>
                  <a:pt x="1131" y="1519"/>
                </a:lnTo>
                <a:lnTo>
                  <a:pt x="1131" y="1518"/>
                </a:lnTo>
                <a:lnTo>
                  <a:pt x="1131" y="1516"/>
                </a:lnTo>
                <a:lnTo>
                  <a:pt x="1132" y="1516"/>
                </a:lnTo>
                <a:lnTo>
                  <a:pt x="1132" y="1514"/>
                </a:lnTo>
                <a:lnTo>
                  <a:pt x="1134" y="1514"/>
                </a:lnTo>
                <a:lnTo>
                  <a:pt x="1136" y="1514"/>
                </a:lnTo>
                <a:lnTo>
                  <a:pt x="1138" y="1514"/>
                </a:lnTo>
                <a:lnTo>
                  <a:pt x="1139" y="1513"/>
                </a:lnTo>
                <a:close/>
                <a:moveTo>
                  <a:pt x="918" y="1729"/>
                </a:moveTo>
                <a:lnTo>
                  <a:pt x="920" y="1729"/>
                </a:lnTo>
                <a:lnTo>
                  <a:pt x="922" y="1730"/>
                </a:lnTo>
                <a:lnTo>
                  <a:pt x="923" y="1729"/>
                </a:lnTo>
                <a:lnTo>
                  <a:pt x="923" y="1732"/>
                </a:lnTo>
                <a:lnTo>
                  <a:pt x="923" y="1734"/>
                </a:lnTo>
                <a:lnTo>
                  <a:pt x="922" y="1737"/>
                </a:lnTo>
                <a:lnTo>
                  <a:pt x="918" y="1736"/>
                </a:lnTo>
                <a:lnTo>
                  <a:pt x="920" y="1734"/>
                </a:lnTo>
                <a:lnTo>
                  <a:pt x="920" y="1736"/>
                </a:lnTo>
                <a:lnTo>
                  <a:pt x="920" y="1734"/>
                </a:lnTo>
                <a:lnTo>
                  <a:pt x="918" y="1732"/>
                </a:lnTo>
                <a:lnTo>
                  <a:pt x="918" y="1729"/>
                </a:lnTo>
                <a:close/>
                <a:moveTo>
                  <a:pt x="1126" y="1545"/>
                </a:moveTo>
                <a:lnTo>
                  <a:pt x="1124" y="1545"/>
                </a:lnTo>
                <a:lnTo>
                  <a:pt x="1126" y="1545"/>
                </a:lnTo>
                <a:lnTo>
                  <a:pt x="1126" y="1547"/>
                </a:lnTo>
                <a:lnTo>
                  <a:pt x="1126" y="1550"/>
                </a:lnTo>
                <a:lnTo>
                  <a:pt x="1126" y="1552"/>
                </a:lnTo>
                <a:lnTo>
                  <a:pt x="1124" y="1550"/>
                </a:lnTo>
                <a:lnTo>
                  <a:pt x="1124" y="1548"/>
                </a:lnTo>
                <a:lnTo>
                  <a:pt x="1121" y="1548"/>
                </a:lnTo>
                <a:lnTo>
                  <a:pt x="1122" y="1547"/>
                </a:lnTo>
                <a:lnTo>
                  <a:pt x="1121" y="1547"/>
                </a:lnTo>
                <a:lnTo>
                  <a:pt x="1122" y="1545"/>
                </a:lnTo>
                <a:lnTo>
                  <a:pt x="1124" y="1545"/>
                </a:lnTo>
                <a:lnTo>
                  <a:pt x="1126" y="1545"/>
                </a:lnTo>
                <a:close/>
                <a:moveTo>
                  <a:pt x="1374" y="1106"/>
                </a:moveTo>
                <a:lnTo>
                  <a:pt x="1376" y="1108"/>
                </a:lnTo>
                <a:lnTo>
                  <a:pt x="1377" y="1110"/>
                </a:lnTo>
                <a:lnTo>
                  <a:pt x="1377" y="1113"/>
                </a:lnTo>
                <a:lnTo>
                  <a:pt x="1377" y="1115"/>
                </a:lnTo>
                <a:lnTo>
                  <a:pt x="1376" y="1116"/>
                </a:lnTo>
                <a:lnTo>
                  <a:pt x="1376" y="1115"/>
                </a:lnTo>
                <a:lnTo>
                  <a:pt x="1374" y="1113"/>
                </a:lnTo>
                <a:lnTo>
                  <a:pt x="1374" y="1110"/>
                </a:lnTo>
                <a:lnTo>
                  <a:pt x="1374" y="1108"/>
                </a:lnTo>
                <a:lnTo>
                  <a:pt x="1374" y="1106"/>
                </a:lnTo>
                <a:close/>
                <a:moveTo>
                  <a:pt x="1319" y="1132"/>
                </a:moveTo>
                <a:lnTo>
                  <a:pt x="1321" y="1133"/>
                </a:lnTo>
                <a:lnTo>
                  <a:pt x="1325" y="1135"/>
                </a:lnTo>
                <a:lnTo>
                  <a:pt x="1325" y="1137"/>
                </a:lnTo>
                <a:lnTo>
                  <a:pt x="1323" y="1137"/>
                </a:lnTo>
                <a:lnTo>
                  <a:pt x="1319" y="1135"/>
                </a:lnTo>
                <a:lnTo>
                  <a:pt x="1318" y="1135"/>
                </a:lnTo>
                <a:lnTo>
                  <a:pt x="1319" y="1132"/>
                </a:lnTo>
                <a:close/>
                <a:moveTo>
                  <a:pt x="961" y="1702"/>
                </a:moveTo>
                <a:lnTo>
                  <a:pt x="961" y="1703"/>
                </a:lnTo>
                <a:lnTo>
                  <a:pt x="962" y="1703"/>
                </a:lnTo>
                <a:lnTo>
                  <a:pt x="966" y="1703"/>
                </a:lnTo>
                <a:lnTo>
                  <a:pt x="964" y="1705"/>
                </a:lnTo>
                <a:lnTo>
                  <a:pt x="964" y="1703"/>
                </a:lnTo>
                <a:lnTo>
                  <a:pt x="964" y="1705"/>
                </a:lnTo>
                <a:lnTo>
                  <a:pt x="961" y="1705"/>
                </a:lnTo>
                <a:lnTo>
                  <a:pt x="959" y="1705"/>
                </a:lnTo>
                <a:lnTo>
                  <a:pt x="957" y="1705"/>
                </a:lnTo>
                <a:lnTo>
                  <a:pt x="956" y="1703"/>
                </a:lnTo>
                <a:lnTo>
                  <a:pt x="956" y="1702"/>
                </a:lnTo>
                <a:lnTo>
                  <a:pt x="957" y="1702"/>
                </a:lnTo>
                <a:lnTo>
                  <a:pt x="959" y="1702"/>
                </a:lnTo>
                <a:lnTo>
                  <a:pt x="961" y="1702"/>
                </a:lnTo>
                <a:close/>
                <a:moveTo>
                  <a:pt x="1197" y="1278"/>
                </a:moveTo>
                <a:lnTo>
                  <a:pt x="1197" y="1280"/>
                </a:lnTo>
                <a:lnTo>
                  <a:pt x="1199" y="1280"/>
                </a:lnTo>
                <a:lnTo>
                  <a:pt x="1200" y="1281"/>
                </a:lnTo>
                <a:lnTo>
                  <a:pt x="1199" y="1283"/>
                </a:lnTo>
                <a:lnTo>
                  <a:pt x="1199" y="1285"/>
                </a:lnTo>
                <a:lnTo>
                  <a:pt x="1195" y="1281"/>
                </a:lnTo>
                <a:lnTo>
                  <a:pt x="1197" y="1281"/>
                </a:lnTo>
                <a:lnTo>
                  <a:pt x="1197" y="1280"/>
                </a:lnTo>
                <a:lnTo>
                  <a:pt x="1195" y="1281"/>
                </a:lnTo>
                <a:lnTo>
                  <a:pt x="1194" y="1280"/>
                </a:lnTo>
                <a:lnTo>
                  <a:pt x="1195" y="1280"/>
                </a:lnTo>
                <a:lnTo>
                  <a:pt x="1195" y="1278"/>
                </a:lnTo>
                <a:lnTo>
                  <a:pt x="1197" y="1278"/>
                </a:lnTo>
                <a:close/>
                <a:moveTo>
                  <a:pt x="1166" y="1428"/>
                </a:moveTo>
                <a:lnTo>
                  <a:pt x="1168" y="1429"/>
                </a:lnTo>
                <a:lnTo>
                  <a:pt x="1168" y="1431"/>
                </a:lnTo>
                <a:lnTo>
                  <a:pt x="1168" y="1433"/>
                </a:lnTo>
                <a:lnTo>
                  <a:pt x="1166" y="1434"/>
                </a:lnTo>
                <a:lnTo>
                  <a:pt x="1168" y="1433"/>
                </a:lnTo>
                <a:lnTo>
                  <a:pt x="1165" y="1434"/>
                </a:lnTo>
                <a:lnTo>
                  <a:pt x="1165" y="1433"/>
                </a:lnTo>
                <a:lnTo>
                  <a:pt x="1165" y="1431"/>
                </a:lnTo>
                <a:lnTo>
                  <a:pt x="1163" y="1431"/>
                </a:lnTo>
                <a:lnTo>
                  <a:pt x="1165" y="1429"/>
                </a:lnTo>
                <a:lnTo>
                  <a:pt x="1166" y="1428"/>
                </a:lnTo>
                <a:close/>
                <a:moveTo>
                  <a:pt x="1437" y="1040"/>
                </a:moveTo>
                <a:lnTo>
                  <a:pt x="1438" y="1041"/>
                </a:lnTo>
                <a:lnTo>
                  <a:pt x="1440" y="1040"/>
                </a:lnTo>
                <a:lnTo>
                  <a:pt x="1440" y="1041"/>
                </a:lnTo>
                <a:lnTo>
                  <a:pt x="1440" y="1043"/>
                </a:lnTo>
                <a:lnTo>
                  <a:pt x="1438" y="1043"/>
                </a:lnTo>
                <a:lnTo>
                  <a:pt x="1440" y="1045"/>
                </a:lnTo>
                <a:lnTo>
                  <a:pt x="1440" y="1047"/>
                </a:lnTo>
                <a:lnTo>
                  <a:pt x="1438" y="1047"/>
                </a:lnTo>
                <a:lnTo>
                  <a:pt x="1437" y="1045"/>
                </a:lnTo>
                <a:lnTo>
                  <a:pt x="1435" y="1045"/>
                </a:lnTo>
                <a:lnTo>
                  <a:pt x="1437" y="1041"/>
                </a:lnTo>
                <a:lnTo>
                  <a:pt x="1438" y="1043"/>
                </a:lnTo>
                <a:lnTo>
                  <a:pt x="1438" y="1041"/>
                </a:lnTo>
                <a:lnTo>
                  <a:pt x="1437" y="1041"/>
                </a:lnTo>
                <a:lnTo>
                  <a:pt x="1437" y="1040"/>
                </a:lnTo>
                <a:close/>
                <a:moveTo>
                  <a:pt x="942" y="1924"/>
                </a:moveTo>
                <a:lnTo>
                  <a:pt x="945" y="1926"/>
                </a:lnTo>
                <a:lnTo>
                  <a:pt x="944" y="1928"/>
                </a:lnTo>
                <a:lnTo>
                  <a:pt x="942" y="1928"/>
                </a:lnTo>
                <a:lnTo>
                  <a:pt x="940" y="1929"/>
                </a:lnTo>
                <a:lnTo>
                  <a:pt x="939" y="1928"/>
                </a:lnTo>
                <a:lnTo>
                  <a:pt x="939" y="1924"/>
                </a:lnTo>
                <a:lnTo>
                  <a:pt x="940" y="1924"/>
                </a:lnTo>
                <a:lnTo>
                  <a:pt x="942" y="1924"/>
                </a:lnTo>
                <a:close/>
                <a:moveTo>
                  <a:pt x="1355" y="1127"/>
                </a:moveTo>
                <a:lnTo>
                  <a:pt x="1357" y="1130"/>
                </a:lnTo>
                <a:lnTo>
                  <a:pt x="1359" y="1132"/>
                </a:lnTo>
                <a:lnTo>
                  <a:pt x="1357" y="1133"/>
                </a:lnTo>
                <a:lnTo>
                  <a:pt x="1355" y="1132"/>
                </a:lnTo>
                <a:lnTo>
                  <a:pt x="1355" y="1130"/>
                </a:lnTo>
                <a:lnTo>
                  <a:pt x="1355" y="1128"/>
                </a:lnTo>
                <a:lnTo>
                  <a:pt x="1355" y="1127"/>
                </a:lnTo>
                <a:close/>
                <a:moveTo>
                  <a:pt x="986" y="1674"/>
                </a:moveTo>
                <a:lnTo>
                  <a:pt x="986" y="1676"/>
                </a:lnTo>
                <a:lnTo>
                  <a:pt x="983" y="1676"/>
                </a:lnTo>
                <a:lnTo>
                  <a:pt x="985" y="1678"/>
                </a:lnTo>
                <a:lnTo>
                  <a:pt x="985" y="1679"/>
                </a:lnTo>
                <a:lnTo>
                  <a:pt x="983" y="1679"/>
                </a:lnTo>
                <a:lnTo>
                  <a:pt x="983" y="1678"/>
                </a:lnTo>
                <a:lnTo>
                  <a:pt x="981" y="1678"/>
                </a:lnTo>
                <a:lnTo>
                  <a:pt x="979" y="1678"/>
                </a:lnTo>
                <a:lnTo>
                  <a:pt x="981" y="1676"/>
                </a:lnTo>
                <a:lnTo>
                  <a:pt x="979" y="1676"/>
                </a:lnTo>
                <a:lnTo>
                  <a:pt x="981" y="1676"/>
                </a:lnTo>
                <a:lnTo>
                  <a:pt x="981" y="1674"/>
                </a:lnTo>
                <a:lnTo>
                  <a:pt x="983" y="1674"/>
                </a:lnTo>
                <a:lnTo>
                  <a:pt x="983" y="1676"/>
                </a:lnTo>
                <a:lnTo>
                  <a:pt x="986" y="1674"/>
                </a:lnTo>
                <a:close/>
                <a:moveTo>
                  <a:pt x="917" y="1863"/>
                </a:moveTo>
                <a:lnTo>
                  <a:pt x="918" y="1865"/>
                </a:lnTo>
                <a:lnTo>
                  <a:pt x="918" y="1867"/>
                </a:lnTo>
                <a:lnTo>
                  <a:pt x="918" y="1868"/>
                </a:lnTo>
                <a:lnTo>
                  <a:pt x="918" y="1867"/>
                </a:lnTo>
                <a:lnTo>
                  <a:pt x="920" y="1868"/>
                </a:lnTo>
                <a:lnTo>
                  <a:pt x="920" y="1872"/>
                </a:lnTo>
                <a:lnTo>
                  <a:pt x="918" y="1872"/>
                </a:lnTo>
                <a:lnTo>
                  <a:pt x="918" y="1873"/>
                </a:lnTo>
                <a:lnTo>
                  <a:pt x="918" y="1872"/>
                </a:lnTo>
                <a:lnTo>
                  <a:pt x="917" y="1872"/>
                </a:lnTo>
                <a:lnTo>
                  <a:pt x="915" y="1870"/>
                </a:lnTo>
                <a:lnTo>
                  <a:pt x="917" y="1868"/>
                </a:lnTo>
                <a:lnTo>
                  <a:pt x="915" y="1868"/>
                </a:lnTo>
                <a:lnTo>
                  <a:pt x="917" y="1867"/>
                </a:lnTo>
                <a:lnTo>
                  <a:pt x="917" y="1870"/>
                </a:lnTo>
                <a:lnTo>
                  <a:pt x="918" y="1870"/>
                </a:lnTo>
                <a:lnTo>
                  <a:pt x="918" y="1868"/>
                </a:lnTo>
                <a:lnTo>
                  <a:pt x="917" y="1868"/>
                </a:lnTo>
                <a:lnTo>
                  <a:pt x="918" y="1868"/>
                </a:lnTo>
                <a:lnTo>
                  <a:pt x="917" y="1867"/>
                </a:lnTo>
                <a:lnTo>
                  <a:pt x="917" y="1865"/>
                </a:lnTo>
                <a:lnTo>
                  <a:pt x="917" y="1863"/>
                </a:lnTo>
                <a:close/>
                <a:moveTo>
                  <a:pt x="1217" y="1280"/>
                </a:moveTo>
                <a:lnTo>
                  <a:pt x="1219" y="1281"/>
                </a:lnTo>
                <a:lnTo>
                  <a:pt x="1216" y="1281"/>
                </a:lnTo>
                <a:lnTo>
                  <a:pt x="1217" y="1281"/>
                </a:lnTo>
                <a:lnTo>
                  <a:pt x="1217" y="1283"/>
                </a:lnTo>
                <a:lnTo>
                  <a:pt x="1216" y="1285"/>
                </a:lnTo>
                <a:lnTo>
                  <a:pt x="1214" y="1283"/>
                </a:lnTo>
                <a:lnTo>
                  <a:pt x="1214" y="1281"/>
                </a:lnTo>
                <a:lnTo>
                  <a:pt x="1216" y="1280"/>
                </a:lnTo>
                <a:lnTo>
                  <a:pt x="1217" y="1280"/>
                </a:lnTo>
                <a:close/>
                <a:moveTo>
                  <a:pt x="945" y="1863"/>
                </a:moveTo>
                <a:lnTo>
                  <a:pt x="947" y="1863"/>
                </a:lnTo>
                <a:lnTo>
                  <a:pt x="947" y="1865"/>
                </a:lnTo>
                <a:lnTo>
                  <a:pt x="945" y="1867"/>
                </a:lnTo>
                <a:lnTo>
                  <a:pt x="944" y="1868"/>
                </a:lnTo>
                <a:lnTo>
                  <a:pt x="944" y="1870"/>
                </a:lnTo>
                <a:lnTo>
                  <a:pt x="944" y="1868"/>
                </a:lnTo>
                <a:lnTo>
                  <a:pt x="942" y="1868"/>
                </a:lnTo>
                <a:lnTo>
                  <a:pt x="942" y="1867"/>
                </a:lnTo>
                <a:lnTo>
                  <a:pt x="942" y="1865"/>
                </a:lnTo>
                <a:lnTo>
                  <a:pt x="944" y="1863"/>
                </a:lnTo>
                <a:lnTo>
                  <a:pt x="945" y="1863"/>
                </a:lnTo>
                <a:close/>
                <a:moveTo>
                  <a:pt x="1214" y="1234"/>
                </a:moveTo>
                <a:lnTo>
                  <a:pt x="1216" y="1234"/>
                </a:lnTo>
                <a:lnTo>
                  <a:pt x="1216" y="1237"/>
                </a:lnTo>
                <a:lnTo>
                  <a:pt x="1214" y="1237"/>
                </a:lnTo>
                <a:lnTo>
                  <a:pt x="1212" y="1237"/>
                </a:lnTo>
                <a:lnTo>
                  <a:pt x="1212" y="1235"/>
                </a:lnTo>
                <a:lnTo>
                  <a:pt x="1212" y="1234"/>
                </a:lnTo>
                <a:lnTo>
                  <a:pt x="1214" y="1234"/>
                </a:lnTo>
                <a:close/>
                <a:moveTo>
                  <a:pt x="1127" y="1548"/>
                </a:moveTo>
                <a:lnTo>
                  <a:pt x="1127" y="1550"/>
                </a:lnTo>
                <a:lnTo>
                  <a:pt x="1127" y="1548"/>
                </a:lnTo>
                <a:lnTo>
                  <a:pt x="1129" y="1552"/>
                </a:lnTo>
                <a:lnTo>
                  <a:pt x="1131" y="1552"/>
                </a:lnTo>
                <a:lnTo>
                  <a:pt x="1129" y="1554"/>
                </a:lnTo>
                <a:lnTo>
                  <a:pt x="1131" y="1554"/>
                </a:lnTo>
                <a:lnTo>
                  <a:pt x="1129" y="1555"/>
                </a:lnTo>
                <a:lnTo>
                  <a:pt x="1127" y="1554"/>
                </a:lnTo>
                <a:lnTo>
                  <a:pt x="1126" y="1554"/>
                </a:lnTo>
                <a:lnTo>
                  <a:pt x="1127" y="1552"/>
                </a:lnTo>
                <a:lnTo>
                  <a:pt x="1127" y="1548"/>
                </a:lnTo>
                <a:close/>
                <a:moveTo>
                  <a:pt x="1098" y="1929"/>
                </a:moveTo>
                <a:lnTo>
                  <a:pt x="1100" y="1931"/>
                </a:lnTo>
                <a:lnTo>
                  <a:pt x="1100" y="1933"/>
                </a:lnTo>
                <a:lnTo>
                  <a:pt x="1102" y="1933"/>
                </a:lnTo>
                <a:lnTo>
                  <a:pt x="1102" y="1935"/>
                </a:lnTo>
                <a:lnTo>
                  <a:pt x="1100" y="1936"/>
                </a:lnTo>
                <a:lnTo>
                  <a:pt x="1098" y="1936"/>
                </a:lnTo>
                <a:lnTo>
                  <a:pt x="1098" y="1938"/>
                </a:lnTo>
                <a:lnTo>
                  <a:pt x="1098" y="1936"/>
                </a:lnTo>
                <a:lnTo>
                  <a:pt x="1098" y="1935"/>
                </a:lnTo>
                <a:lnTo>
                  <a:pt x="1098" y="1933"/>
                </a:lnTo>
                <a:lnTo>
                  <a:pt x="1098" y="1929"/>
                </a:lnTo>
                <a:close/>
                <a:moveTo>
                  <a:pt x="1175" y="1428"/>
                </a:moveTo>
                <a:lnTo>
                  <a:pt x="1177" y="1428"/>
                </a:lnTo>
                <a:lnTo>
                  <a:pt x="1175" y="1429"/>
                </a:lnTo>
                <a:lnTo>
                  <a:pt x="1175" y="1431"/>
                </a:lnTo>
                <a:lnTo>
                  <a:pt x="1173" y="1431"/>
                </a:lnTo>
                <a:lnTo>
                  <a:pt x="1172" y="1433"/>
                </a:lnTo>
                <a:lnTo>
                  <a:pt x="1170" y="1433"/>
                </a:lnTo>
                <a:lnTo>
                  <a:pt x="1172" y="1431"/>
                </a:lnTo>
                <a:lnTo>
                  <a:pt x="1172" y="1429"/>
                </a:lnTo>
                <a:lnTo>
                  <a:pt x="1175" y="1428"/>
                </a:lnTo>
                <a:close/>
                <a:moveTo>
                  <a:pt x="1029" y="1649"/>
                </a:moveTo>
                <a:lnTo>
                  <a:pt x="1029" y="1650"/>
                </a:lnTo>
                <a:lnTo>
                  <a:pt x="1030" y="1652"/>
                </a:lnTo>
                <a:lnTo>
                  <a:pt x="1030" y="1654"/>
                </a:lnTo>
                <a:lnTo>
                  <a:pt x="1029" y="1654"/>
                </a:lnTo>
                <a:lnTo>
                  <a:pt x="1027" y="1654"/>
                </a:lnTo>
                <a:lnTo>
                  <a:pt x="1027" y="1650"/>
                </a:lnTo>
                <a:lnTo>
                  <a:pt x="1025" y="1650"/>
                </a:lnTo>
                <a:lnTo>
                  <a:pt x="1029" y="1649"/>
                </a:lnTo>
                <a:close/>
                <a:moveTo>
                  <a:pt x="1207" y="1343"/>
                </a:moveTo>
                <a:lnTo>
                  <a:pt x="1207" y="1344"/>
                </a:lnTo>
                <a:lnTo>
                  <a:pt x="1207" y="1346"/>
                </a:lnTo>
                <a:lnTo>
                  <a:pt x="1206" y="1348"/>
                </a:lnTo>
                <a:lnTo>
                  <a:pt x="1204" y="1348"/>
                </a:lnTo>
                <a:lnTo>
                  <a:pt x="1202" y="1348"/>
                </a:lnTo>
                <a:lnTo>
                  <a:pt x="1204" y="1346"/>
                </a:lnTo>
                <a:lnTo>
                  <a:pt x="1204" y="1344"/>
                </a:lnTo>
                <a:lnTo>
                  <a:pt x="1206" y="1344"/>
                </a:lnTo>
                <a:lnTo>
                  <a:pt x="1207" y="1343"/>
                </a:lnTo>
                <a:close/>
                <a:moveTo>
                  <a:pt x="913" y="1775"/>
                </a:moveTo>
                <a:lnTo>
                  <a:pt x="915" y="1776"/>
                </a:lnTo>
                <a:lnTo>
                  <a:pt x="917" y="1775"/>
                </a:lnTo>
                <a:lnTo>
                  <a:pt x="917" y="1776"/>
                </a:lnTo>
                <a:lnTo>
                  <a:pt x="917" y="1778"/>
                </a:lnTo>
                <a:lnTo>
                  <a:pt x="915" y="1778"/>
                </a:lnTo>
                <a:lnTo>
                  <a:pt x="915" y="1780"/>
                </a:lnTo>
                <a:lnTo>
                  <a:pt x="913" y="1778"/>
                </a:lnTo>
                <a:lnTo>
                  <a:pt x="913" y="1780"/>
                </a:lnTo>
                <a:lnTo>
                  <a:pt x="913" y="1778"/>
                </a:lnTo>
                <a:lnTo>
                  <a:pt x="911" y="1778"/>
                </a:lnTo>
                <a:lnTo>
                  <a:pt x="911" y="1776"/>
                </a:lnTo>
                <a:lnTo>
                  <a:pt x="913" y="1775"/>
                </a:lnTo>
                <a:lnTo>
                  <a:pt x="911" y="1775"/>
                </a:lnTo>
                <a:lnTo>
                  <a:pt x="913" y="1775"/>
                </a:lnTo>
                <a:close/>
                <a:moveTo>
                  <a:pt x="927" y="1935"/>
                </a:moveTo>
                <a:lnTo>
                  <a:pt x="928" y="1935"/>
                </a:lnTo>
                <a:lnTo>
                  <a:pt x="927" y="1935"/>
                </a:lnTo>
                <a:lnTo>
                  <a:pt x="930" y="1936"/>
                </a:lnTo>
                <a:lnTo>
                  <a:pt x="930" y="1935"/>
                </a:lnTo>
                <a:lnTo>
                  <a:pt x="932" y="1936"/>
                </a:lnTo>
                <a:lnTo>
                  <a:pt x="932" y="1938"/>
                </a:lnTo>
                <a:lnTo>
                  <a:pt x="930" y="1940"/>
                </a:lnTo>
                <a:lnTo>
                  <a:pt x="930" y="1936"/>
                </a:lnTo>
                <a:lnTo>
                  <a:pt x="928" y="1936"/>
                </a:lnTo>
                <a:lnTo>
                  <a:pt x="927" y="1936"/>
                </a:lnTo>
                <a:lnTo>
                  <a:pt x="927" y="1935"/>
                </a:lnTo>
                <a:lnTo>
                  <a:pt x="925" y="1936"/>
                </a:lnTo>
                <a:lnTo>
                  <a:pt x="927" y="1935"/>
                </a:lnTo>
                <a:close/>
                <a:moveTo>
                  <a:pt x="1214" y="1358"/>
                </a:moveTo>
                <a:lnTo>
                  <a:pt x="1211" y="1360"/>
                </a:lnTo>
                <a:lnTo>
                  <a:pt x="1209" y="1360"/>
                </a:lnTo>
                <a:lnTo>
                  <a:pt x="1207" y="1361"/>
                </a:lnTo>
                <a:lnTo>
                  <a:pt x="1207" y="1360"/>
                </a:lnTo>
                <a:lnTo>
                  <a:pt x="1209" y="1358"/>
                </a:lnTo>
                <a:lnTo>
                  <a:pt x="1211" y="1358"/>
                </a:lnTo>
                <a:lnTo>
                  <a:pt x="1214" y="1358"/>
                </a:lnTo>
                <a:close/>
                <a:moveTo>
                  <a:pt x="934" y="1887"/>
                </a:moveTo>
                <a:lnTo>
                  <a:pt x="934" y="1889"/>
                </a:lnTo>
                <a:lnTo>
                  <a:pt x="935" y="1889"/>
                </a:lnTo>
                <a:lnTo>
                  <a:pt x="937" y="1890"/>
                </a:lnTo>
                <a:lnTo>
                  <a:pt x="937" y="1892"/>
                </a:lnTo>
                <a:lnTo>
                  <a:pt x="935" y="1890"/>
                </a:lnTo>
                <a:lnTo>
                  <a:pt x="934" y="1894"/>
                </a:lnTo>
                <a:lnTo>
                  <a:pt x="934" y="1890"/>
                </a:lnTo>
                <a:lnTo>
                  <a:pt x="934" y="1889"/>
                </a:lnTo>
                <a:lnTo>
                  <a:pt x="932" y="1889"/>
                </a:lnTo>
                <a:lnTo>
                  <a:pt x="930" y="1887"/>
                </a:lnTo>
                <a:lnTo>
                  <a:pt x="932" y="1887"/>
                </a:lnTo>
                <a:lnTo>
                  <a:pt x="932" y="1889"/>
                </a:lnTo>
                <a:lnTo>
                  <a:pt x="934" y="1887"/>
                </a:lnTo>
                <a:close/>
                <a:moveTo>
                  <a:pt x="922" y="1867"/>
                </a:moveTo>
                <a:lnTo>
                  <a:pt x="923" y="1868"/>
                </a:lnTo>
                <a:lnTo>
                  <a:pt x="923" y="1870"/>
                </a:lnTo>
                <a:lnTo>
                  <a:pt x="925" y="1870"/>
                </a:lnTo>
                <a:lnTo>
                  <a:pt x="923" y="1870"/>
                </a:lnTo>
                <a:lnTo>
                  <a:pt x="925" y="1872"/>
                </a:lnTo>
                <a:lnTo>
                  <a:pt x="923" y="1873"/>
                </a:lnTo>
                <a:lnTo>
                  <a:pt x="923" y="1872"/>
                </a:lnTo>
                <a:lnTo>
                  <a:pt x="922" y="1872"/>
                </a:lnTo>
                <a:lnTo>
                  <a:pt x="922" y="1873"/>
                </a:lnTo>
                <a:lnTo>
                  <a:pt x="920" y="1872"/>
                </a:lnTo>
                <a:lnTo>
                  <a:pt x="922" y="1870"/>
                </a:lnTo>
                <a:lnTo>
                  <a:pt x="922" y="1867"/>
                </a:lnTo>
                <a:close/>
                <a:moveTo>
                  <a:pt x="1228" y="1298"/>
                </a:moveTo>
                <a:lnTo>
                  <a:pt x="1228" y="1300"/>
                </a:lnTo>
                <a:lnTo>
                  <a:pt x="1228" y="1302"/>
                </a:lnTo>
                <a:lnTo>
                  <a:pt x="1229" y="1302"/>
                </a:lnTo>
                <a:lnTo>
                  <a:pt x="1229" y="1303"/>
                </a:lnTo>
                <a:lnTo>
                  <a:pt x="1226" y="1303"/>
                </a:lnTo>
                <a:lnTo>
                  <a:pt x="1226" y="1302"/>
                </a:lnTo>
                <a:lnTo>
                  <a:pt x="1228" y="1298"/>
                </a:lnTo>
                <a:close/>
                <a:moveTo>
                  <a:pt x="903" y="1795"/>
                </a:moveTo>
                <a:lnTo>
                  <a:pt x="905" y="1797"/>
                </a:lnTo>
                <a:lnTo>
                  <a:pt x="903" y="1797"/>
                </a:lnTo>
                <a:lnTo>
                  <a:pt x="905" y="1798"/>
                </a:lnTo>
                <a:lnTo>
                  <a:pt x="905" y="1802"/>
                </a:lnTo>
                <a:lnTo>
                  <a:pt x="903" y="1802"/>
                </a:lnTo>
                <a:lnTo>
                  <a:pt x="905" y="1798"/>
                </a:lnTo>
                <a:lnTo>
                  <a:pt x="903" y="1798"/>
                </a:lnTo>
                <a:lnTo>
                  <a:pt x="903" y="1802"/>
                </a:lnTo>
                <a:lnTo>
                  <a:pt x="903" y="1800"/>
                </a:lnTo>
                <a:lnTo>
                  <a:pt x="901" y="1798"/>
                </a:lnTo>
                <a:lnTo>
                  <a:pt x="903" y="1798"/>
                </a:lnTo>
                <a:lnTo>
                  <a:pt x="901" y="1797"/>
                </a:lnTo>
                <a:lnTo>
                  <a:pt x="903" y="1797"/>
                </a:lnTo>
                <a:lnTo>
                  <a:pt x="901" y="1797"/>
                </a:lnTo>
                <a:lnTo>
                  <a:pt x="903" y="1797"/>
                </a:lnTo>
                <a:lnTo>
                  <a:pt x="903" y="1795"/>
                </a:lnTo>
                <a:close/>
                <a:moveTo>
                  <a:pt x="1314" y="1166"/>
                </a:moveTo>
                <a:lnTo>
                  <a:pt x="1314" y="1167"/>
                </a:lnTo>
                <a:lnTo>
                  <a:pt x="1314" y="1169"/>
                </a:lnTo>
                <a:lnTo>
                  <a:pt x="1314" y="1171"/>
                </a:lnTo>
                <a:lnTo>
                  <a:pt x="1313" y="1172"/>
                </a:lnTo>
                <a:lnTo>
                  <a:pt x="1313" y="1169"/>
                </a:lnTo>
                <a:lnTo>
                  <a:pt x="1311" y="1169"/>
                </a:lnTo>
                <a:lnTo>
                  <a:pt x="1313" y="1167"/>
                </a:lnTo>
                <a:lnTo>
                  <a:pt x="1314" y="1166"/>
                </a:lnTo>
                <a:close/>
                <a:moveTo>
                  <a:pt x="913" y="1805"/>
                </a:moveTo>
                <a:lnTo>
                  <a:pt x="913" y="1809"/>
                </a:lnTo>
                <a:lnTo>
                  <a:pt x="913" y="1810"/>
                </a:lnTo>
                <a:lnTo>
                  <a:pt x="915" y="1812"/>
                </a:lnTo>
                <a:lnTo>
                  <a:pt x="913" y="1812"/>
                </a:lnTo>
                <a:lnTo>
                  <a:pt x="911" y="1812"/>
                </a:lnTo>
                <a:lnTo>
                  <a:pt x="911" y="1810"/>
                </a:lnTo>
                <a:lnTo>
                  <a:pt x="911" y="1809"/>
                </a:lnTo>
                <a:lnTo>
                  <a:pt x="911" y="1805"/>
                </a:lnTo>
                <a:lnTo>
                  <a:pt x="913" y="1805"/>
                </a:lnTo>
                <a:close/>
                <a:moveTo>
                  <a:pt x="979" y="2011"/>
                </a:moveTo>
                <a:lnTo>
                  <a:pt x="978" y="2013"/>
                </a:lnTo>
                <a:lnTo>
                  <a:pt x="979" y="2013"/>
                </a:lnTo>
                <a:lnTo>
                  <a:pt x="978" y="2015"/>
                </a:lnTo>
                <a:lnTo>
                  <a:pt x="979" y="2015"/>
                </a:lnTo>
                <a:lnTo>
                  <a:pt x="978" y="2015"/>
                </a:lnTo>
                <a:lnTo>
                  <a:pt x="978" y="2016"/>
                </a:lnTo>
                <a:lnTo>
                  <a:pt x="976" y="2018"/>
                </a:lnTo>
                <a:lnTo>
                  <a:pt x="974" y="2018"/>
                </a:lnTo>
                <a:lnTo>
                  <a:pt x="974" y="2016"/>
                </a:lnTo>
                <a:lnTo>
                  <a:pt x="974" y="2015"/>
                </a:lnTo>
                <a:lnTo>
                  <a:pt x="976" y="2013"/>
                </a:lnTo>
                <a:lnTo>
                  <a:pt x="979" y="2011"/>
                </a:lnTo>
                <a:close/>
                <a:moveTo>
                  <a:pt x="1124" y="1608"/>
                </a:moveTo>
                <a:lnTo>
                  <a:pt x="1122" y="1610"/>
                </a:lnTo>
                <a:lnTo>
                  <a:pt x="1121" y="1608"/>
                </a:lnTo>
                <a:lnTo>
                  <a:pt x="1121" y="1610"/>
                </a:lnTo>
                <a:lnTo>
                  <a:pt x="1117" y="1611"/>
                </a:lnTo>
                <a:lnTo>
                  <a:pt x="1117" y="1613"/>
                </a:lnTo>
                <a:lnTo>
                  <a:pt x="1115" y="1613"/>
                </a:lnTo>
                <a:lnTo>
                  <a:pt x="1117" y="1611"/>
                </a:lnTo>
                <a:lnTo>
                  <a:pt x="1117" y="1608"/>
                </a:lnTo>
                <a:lnTo>
                  <a:pt x="1119" y="1610"/>
                </a:lnTo>
                <a:lnTo>
                  <a:pt x="1121" y="1608"/>
                </a:lnTo>
                <a:lnTo>
                  <a:pt x="1122" y="1608"/>
                </a:lnTo>
                <a:lnTo>
                  <a:pt x="1124" y="1608"/>
                </a:lnTo>
                <a:close/>
                <a:moveTo>
                  <a:pt x="1338" y="1118"/>
                </a:moveTo>
                <a:lnTo>
                  <a:pt x="1340" y="1121"/>
                </a:lnTo>
                <a:lnTo>
                  <a:pt x="1342" y="1121"/>
                </a:lnTo>
                <a:lnTo>
                  <a:pt x="1342" y="1123"/>
                </a:lnTo>
                <a:lnTo>
                  <a:pt x="1340" y="1125"/>
                </a:lnTo>
                <a:lnTo>
                  <a:pt x="1338" y="1125"/>
                </a:lnTo>
                <a:lnTo>
                  <a:pt x="1338" y="1121"/>
                </a:lnTo>
                <a:lnTo>
                  <a:pt x="1338" y="1120"/>
                </a:lnTo>
                <a:lnTo>
                  <a:pt x="1338" y="1118"/>
                </a:lnTo>
                <a:close/>
                <a:moveTo>
                  <a:pt x="918" y="1926"/>
                </a:moveTo>
                <a:lnTo>
                  <a:pt x="922" y="1928"/>
                </a:lnTo>
                <a:lnTo>
                  <a:pt x="922" y="1929"/>
                </a:lnTo>
                <a:lnTo>
                  <a:pt x="920" y="1933"/>
                </a:lnTo>
                <a:lnTo>
                  <a:pt x="920" y="1931"/>
                </a:lnTo>
                <a:lnTo>
                  <a:pt x="918" y="1929"/>
                </a:lnTo>
                <a:lnTo>
                  <a:pt x="918" y="1928"/>
                </a:lnTo>
                <a:lnTo>
                  <a:pt x="918" y="1926"/>
                </a:lnTo>
                <a:close/>
                <a:moveTo>
                  <a:pt x="1180" y="1392"/>
                </a:moveTo>
                <a:lnTo>
                  <a:pt x="1182" y="1392"/>
                </a:lnTo>
                <a:lnTo>
                  <a:pt x="1183" y="1392"/>
                </a:lnTo>
                <a:lnTo>
                  <a:pt x="1183" y="1394"/>
                </a:lnTo>
                <a:lnTo>
                  <a:pt x="1182" y="1394"/>
                </a:lnTo>
                <a:lnTo>
                  <a:pt x="1178" y="1394"/>
                </a:lnTo>
                <a:lnTo>
                  <a:pt x="1178" y="1395"/>
                </a:lnTo>
                <a:lnTo>
                  <a:pt x="1178" y="1394"/>
                </a:lnTo>
                <a:lnTo>
                  <a:pt x="1178" y="1395"/>
                </a:lnTo>
                <a:lnTo>
                  <a:pt x="1178" y="1394"/>
                </a:lnTo>
                <a:lnTo>
                  <a:pt x="1180" y="1392"/>
                </a:lnTo>
                <a:close/>
                <a:moveTo>
                  <a:pt x="1056" y="1618"/>
                </a:moveTo>
                <a:lnTo>
                  <a:pt x="1058" y="1618"/>
                </a:lnTo>
                <a:lnTo>
                  <a:pt x="1056" y="1620"/>
                </a:lnTo>
                <a:lnTo>
                  <a:pt x="1058" y="1620"/>
                </a:lnTo>
                <a:lnTo>
                  <a:pt x="1058" y="1618"/>
                </a:lnTo>
                <a:lnTo>
                  <a:pt x="1058" y="1620"/>
                </a:lnTo>
                <a:lnTo>
                  <a:pt x="1059" y="1620"/>
                </a:lnTo>
                <a:lnTo>
                  <a:pt x="1058" y="1620"/>
                </a:lnTo>
                <a:lnTo>
                  <a:pt x="1056" y="1622"/>
                </a:lnTo>
                <a:lnTo>
                  <a:pt x="1054" y="1622"/>
                </a:lnTo>
                <a:lnTo>
                  <a:pt x="1054" y="1620"/>
                </a:lnTo>
                <a:lnTo>
                  <a:pt x="1054" y="1618"/>
                </a:lnTo>
                <a:lnTo>
                  <a:pt x="1056" y="1618"/>
                </a:lnTo>
                <a:close/>
                <a:moveTo>
                  <a:pt x="1255" y="1292"/>
                </a:moveTo>
                <a:lnTo>
                  <a:pt x="1257" y="1293"/>
                </a:lnTo>
                <a:lnTo>
                  <a:pt x="1257" y="1295"/>
                </a:lnTo>
                <a:lnTo>
                  <a:pt x="1255" y="1295"/>
                </a:lnTo>
                <a:lnTo>
                  <a:pt x="1253" y="1295"/>
                </a:lnTo>
                <a:lnTo>
                  <a:pt x="1253" y="1293"/>
                </a:lnTo>
                <a:lnTo>
                  <a:pt x="1255" y="1292"/>
                </a:lnTo>
                <a:close/>
                <a:moveTo>
                  <a:pt x="1377" y="1132"/>
                </a:moveTo>
                <a:lnTo>
                  <a:pt x="1377" y="1133"/>
                </a:lnTo>
                <a:lnTo>
                  <a:pt x="1379" y="1135"/>
                </a:lnTo>
                <a:lnTo>
                  <a:pt x="1379" y="1137"/>
                </a:lnTo>
                <a:lnTo>
                  <a:pt x="1377" y="1135"/>
                </a:lnTo>
                <a:lnTo>
                  <a:pt x="1376" y="1135"/>
                </a:lnTo>
                <a:lnTo>
                  <a:pt x="1376" y="1133"/>
                </a:lnTo>
                <a:lnTo>
                  <a:pt x="1377" y="1132"/>
                </a:lnTo>
                <a:close/>
                <a:moveTo>
                  <a:pt x="1122" y="1941"/>
                </a:moveTo>
                <a:lnTo>
                  <a:pt x="1122" y="1943"/>
                </a:lnTo>
                <a:lnTo>
                  <a:pt x="1124" y="1943"/>
                </a:lnTo>
                <a:lnTo>
                  <a:pt x="1122" y="1945"/>
                </a:lnTo>
                <a:lnTo>
                  <a:pt x="1122" y="1946"/>
                </a:lnTo>
                <a:lnTo>
                  <a:pt x="1121" y="1946"/>
                </a:lnTo>
                <a:lnTo>
                  <a:pt x="1121" y="1945"/>
                </a:lnTo>
                <a:lnTo>
                  <a:pt x="1121" y="1943"/>
                </a:lnTo>
                <a:lnTo>
                  <a:pt x="1122" y="1941"/>
                </a:lnTo>
                <a:close/>
                <a:moveTo>
                  <a:pt x="1168" y="1416"/>
                </a:moveTo>
                <a:lnTo>
                  <a:pt x="1168" y="1417"/>
                </a:lnTo>
                <a:lnTo>
                  <a:pt x="1168" y="1419"/>
                </a:lnTo>
                <a:lnTo>
                  <a:pt x="1168" y="1421"/>
                </a:lnTo>
                <a:lnTo>
                  <a:pt x="1168" y="1423"/>
                </a:lnTo>
                <a:lnTo>
                  <a:pt x="1166" y="1423"/>
                </a:lnTo>
                <a:lnTo>
                  <a:pt x="1166" y="1421"/>
                </a:lnTo>
                <a:lnTo>
                  <a:pt x="1168" y="1421"/>
                </a:lnTo>
                <a:lnTo>
                  <a:pt x="1166" y="1419"/>
                </a:lnTo>
                <a:lnTo>
                  <a:pt x="1166" y="1417"/>
                </a:lnTo>
                <a:lnTo>
                  <a:pt x="1168" y="1416"/>
                </a:lnTo>
                <a:close/>
                <a:moveTo>
                  <a:pt x="1173" y="1417"/>
                </a:moveTo>
                <a:lnTo>
                  <a:pt x="1175" y="1419"/>
                </a:lnTo>
                <a:lnTo>
                  <a:pt x="1173" y="1421"/>
                </a:lnTo>
                <a:lnTo>
                  <a:pt x="1172" y="1423"/>
                </a:lnTo>
                <a:lnTo>
                  <a:pt x="1172" y="1419"/>
                </a:lnTo>
                <a:lnTo>
                  <a:pt x="1173" y="1417"/>
                </a:lnTo>
                <a:close/>
                <a:moveTo>
                  <a:pt x="1183" y="1387"/>
                </a:moveTo>
                <a:lnTo>
                  <a:pt x="1187" y="1389"/>
                </a:lnTo>
                <a:lnTo>
                  <a:pt x="1185" y="1389"/>
                </a:lnTo>
                <a:lnTo>
                  <a:pt x="1183" y="1389"/>
                </a:lnTo>
                <a:lnTo>
                  <a:pt x="1182" y="1390"/>
                </a:lnTo>
                <a:lnTo>
                  <a:pt x="1182" y="1389"/>
                </a:lnTo>
                <a:lnTo>
                  <a:pt x="1180" y="1390"/>
                </a:lnTo>
                <a:lnTo>
                  <a:pt x="1180" y="1389"/>
                </a:lnTo>
                <a:lnTo>
                  <a:pt x="1182" y="1389"/>
                </a:lnTo>
                <a:lnTo>
                  <a:pt x="1182" y="1387"/>
                </a:lnTo>
                <a:lnTo>
                  <a:pt x="1183" y="1387"/>
                </a:lnTo>
                <a:close/>
                <a:moveTo>
                  <a:pt x="1421" y="1045"/>
                </a:moveTo>
                <a:lnTo>
                  <a:pt x="1423" y="1047"/>
                </a:lnTo>
                <a:lnTo>
                  <a:pt x="1423" y="1045"/>
                </a:lnTo>
                <a:lnTo>
                  <a:pt x="1423" y="1048"/>
                </a:lnTo>
                <a:lnTo>
                  <a:pt x="1420" y="1048"/>
                </a:lnTo>
                <a:lnTo>
                  <a:pt x="1420" y="1047"/>
                </a:lnTo>
                <a:lnTo>
                  <a:pt x="1421" y="1048"/>
                </a:lnTo>
                <a:lnTo>
                  <a:pt x="1421" y="1047"/>
                </a:lnTo>
                <a:lnTo>
                  <a:pt x="1421" y="1045"/>
                </a:lnTo>
                <a:close/>
                <a:moveTo>
                  <a:pt x="910" y="1814"/>
                </a:moveTo>
                <a:lnTo>
                  <a:pt x="910" y="1815"/>
                </a:lnTo>
                <a:lnTo>
                  <a:pt x="911" y="1817"/>
                </a:lnTo>
                <a:lnTo>
                  <a:pt x="911" y="1819"/>
                </a:lnTo>
                <a:lnTo>
                  <a:pt x="911" y="1821"/>
                </a:lnTo>
                <a:lnTo>
                  <a:pt x="910" y="1819"/>
                </a:lnTo>
                <a:lnTo>
                  <a:pt x="908" y="1819"/>
                </a:lnTo>
                <a:lnTo>
                  <a:pt x="910" y="1817"/>
                </a:lnTo>
                <a:lnTo>
                  <a:pt x="908" y="1817"/>
                </a:lnTo>
                <a:lnTo>
                  <a:pt x="908" y="1815"/>
                </a:lnTo>
                <a:lnTo>
                  <a:pt x="910" y="1817"/>
                </a:lnTo>
                <a:lnTo>
                  <a:pt x="910" y="1815"/>
                </a:lnTo>
                <a:lnTo>
                  <a:pt x="910" y="1814"/>
                </a:lnTo>
                <a:close/>
                <a:moveTo>
                  <a:pt x="1046" y="1982"/>
                </a:moveTo>
                <a:lnTo>
                  <a:pt x="1044" y="1984"/>
                </a:lnTo>
                <a:lnTo>
                  <a:pt x="1044" y="1986"/>
                </a:lnTo>
                <a:lnTo>
                  <a:pt x="1042" y="1986"/>
                </a:lnTo>
                <a:lnTo>
                  <a:pt x="1044" y="1986"/>
                </a:lnTo>
                <a:lnTo>
                  <a:pt x="1044" y="1987"/>
                </a:lnTo>
                <a:lnTo>
                  <a:pt x="1042" y="1989"/>
                </a:lnTo>
                <a:lnTo>
                  <a:pt x="1042" y="1987"/>
                </a:lnTo>
                <a:lnTo>
                  <a:pt x="1041" y="1987"/>
                </a:lnTo>
                <a:lnTo>
                  <a:pt x="1041" y="1986"/>
                </a:lnTo>
                <a:lnTo>
                  <a:pt x="1042" y="1986"/>
                </a:lnTo>
                <a:lnTo>
                  <a:pt x="1042" y="1984"/>
                </a:lnTo>
                <a:lnTo>
                  <a:pt x="1046" y="1982"/>
                </a:lnTo>
                <a:close/>
                <a:moveTo>
                  <a:pt x="1301" y="1157"/>
                </a:moveTo>
                <a:lnTo>
                  <a:pt x="1302" y="1157"/>
                </a:lnTo>
                <a:lnTo>
                  <a:pt x="1302" y="1159"/>
                </a:lnTo>
                <a:lnTo>
                  <a:pt x="1299" y="1161"/>
                </a:lnTo>
                <a:lnTo>
                  <a:pt x="1299" y="1159"/>
                </a:lnTo>
                <a:lnTo>
                  <a:pt x="1301" y="1157"/>
                </a:lnTo>
                <a:close/>
                <a:moveTo>
                  <a:pt x="1149" y="1487"/>
                </a:moveTo>
                <a:lnTo>
                  <a:pt x="1149" y="1489"/>
                </a:lnTo>
                <a:lnTo>
                  <a:pt x="1149" y="1487"/>
                </a:lnTo>
                <a:lnTo>
                  <a:pt x="1149" y="1489"/>
                </a:lnTo>
                <a:lnTo>
                  <a:pt x="1151" y="1487"/>
                </a:lnTo>
                <a:lnTo>
                  <a:pt x="1149" y="1489"/>
                </a:lnTo>
                <a:lnTo>
                  <a:pt x="1149" y="1487"/>
                </a:lnTo>
                <a:lnTo>
                  <a:pt x="1149" y="1489"/>
                </a:lnTo>
                <a:lnTo>
                  <a:pt x="1148" y="1492"/>
                </a:lnTo>
                <a:lnTo>
                  <a:pt x="1148" y="1491"/>
                </a:lnTo>
                <a:lnTo>
                  <a:pt x="1149" y="1491"/>
                </a:lnTo>
                <a:lnTo>
                  <a:pt x="1149" y="1492"/>
                </a:lnTo>
                <a:lnTo>
                  <a:pt x="1148" y="1492"/>
                </a:lnTo>
                <a:lnTo>
                  <a:pt x="1148" y="1494"/>
                </a:lnTo>
                <a:lnTo>
                  <a:pt x="1146" y="1494"/>
                </a:lnTo>
                <a:lnTo>
                  <a:pt x="1148" y="1492"/>
                </a:lnTo>
                <a:lnTo>
                  <a:pt x="1146" y="1494"/>
                </a:lnTo>
                <a:lnTo>
                  <a:pt x="1146" y="1492"/>
                </a:lnTo>
                <a:lnTo>
                  <a:pt x="1146" y="1491"/>
                </a:lnTo>
                <a:lnTo>
                  <a:pt x="1148" y="1491"/>
                </a:lnTo>
                <a:lnTo>
                  <a:pt x="1148" y="1489"/>
                </a:lnTo>
                <a:lnTo>
                  <a:pt x="1149" y="1489"/>
                </a:lnTo>
                <a:lnTo>
                  <a:pt x="1148" y="1491"/>
                </a:lnTo>
                <a:lnTo>
                  <a:pt x="1149" y="1487"/>
                </a:lnTo>
                <a:close/>
                <a:moveTo>
                  <a:pt x="935" y="1929"/>
                </a:moveTo>
                <a:lnTo>
                  <a:pt x="937" y="1931"/>
                </a:lnTo>
                <a:lnTo>
                  <a:pt x="937" y="1933"/>
                </a:lnTo>
                <a:lnTo>
                  <a:pt x="935" y="1933"/>
                </a:lnTo>
                <a:lnTo>
                  <a:pt x="935" y="1935"/>
                </a:lnTo>
                <a:lnTo>
                  <a:pt x="934" y="1935"/>
                </a:lnTo>
                <a:lnTo>
                  <a:pt x="932" y="1931"/>
                </a:lnTo>
                <a:lnTo>
                  <a:pt x="934" y="1933"/>
                </a:lnTo>
                <a:lnTo>
                  <a:pt x="935" y="1929"/>
                </a:lnTo>
                <a:close/>
                <a:moveTo>
                  <a:pt x="1306" y="1132"/>
                </a:moveTo>
                <a:lnTo>
                  <a:pt x="1308" y="1132"/>
                </a:lnTo>
                <a:lnTo>
                  <a:pt x="1308" y="1133"/>
                </a:lnTo>
                <a:lnTo>
                  <a:pt x="1308" y="1135"/>
                </a:lnTo>
                <a:lnTo>
                  <a:pt x="1304" y="1135"/>
                </a:lnTo>
                <a:lnTo>
                  <a:pt x="1304" y="1133"/>
                </a:lnTo>
                <a:lnTo>
                  <a:pt x="1306" y="1133"/>
                </a:lnTo>
                <a:lnTo>
                  <a:pt x="1306" y="1132"/>
                </a:lnTo>
                <a:close/>
                <a:moveTo>
                  <a:pt x="1098" y="1936"/>
                </a:moveTo>
                <a:lnTo>
                  <a:pt x="1100" y="1938"/>
                </a:lnTo>
                <a:lnTo>
                  <a:pt x="1100" y="1940"/>
                </a:lnTo>
                <a:lnTo>
                  <a:pt x="1100" y="1941"/>
                </a:lnTo>
                <a:lnTo>
                  <a:pt x="1100" y="1943"/>
                </a:lnTo>
                <a:lnTo>
                  <a:pt x="1100" y="1945"/>
                </a:lnTo>
                <a:lnTo>
                  <a:pt x="1098" y="1941"/>
                </a:lnTo>
                <a:lnTo>
                  <a:pt x="1098" y="1938"/>
                </a:lnTo>
                <a:lnTo>
                  <a:pt x="1098" y="1936"/>
                </a:lnTo>
                <a:close/>
                <a:moveTo>
                  <a:pt x="969" y="1696"/>
                </a:moveTo>
                <a:lnTo>
                  <a:pt x="966" y="1698"/>
                </a:lnTo>
                <a:lnTo>
                  <a:pt x="962" y="1698"/>
                </a:lnTo>
                <a:lnTo>
                  <a:pt x="961" y="1698"/>
                </a:lnTo>
                <a:lnTo>
                  <a:pt x="959" y="1698"/>
                </a:lnTo>
                <a:lnTo>
                  <a:pt x="962" y="1696"/>
                </a:lnTo>
                <a:lnTo>
                  <a:pt x="962" y="1698"/>
                </a:lnTo>
                <a:lnTo>
                  <a:pt x="964" y="1696"/>
                </a:lnTo>
                <a:lnTo>
                  <a:pt x="966" y="1698"/>
                </a:lnTo>
                <a:lnTo>
                  <a:pt x="969" y="1696"/>
                </a:lnTo>
                <a:close/>
                <a:moveTo>
                  <a:pt x="915" y="1872"/>
                </a:moveTo>
                <a:lnTo>
                  <a:pt x="917" y="1873"/>
                </a:lnTo>
                <a:lnTo>
                  <a:pt x="915" y="1873"/>
                </a:lnTo>
                <a:lnTo>
                  <a:pt x="915" y="1875"/>
                </a:lnTo>
                <a:lnTo>
                  <a:pt x="913" y="1875"/>
                </a:lnTo>
                <a:lnTo>
                  <a:pt x="911" y="1872"/>
                </a:lnTo>
                <a:lnTo>
                  <a:pt x="915" y="1872"/>
                </a:lnTo>
                <a:close/>
                <a:moveTo>
                  <a:pt x="1172" y="1434"/>
                </a:moveTo>
                <a:lnTo>
                  <a:pt x="1172" y="1436"/>
                </a:lnTo>
                <a:lnTo>
                  <a:pt x="1168" y="1438"/>
                </a:lnTo>
                <a:lnTo>
                  <a:pt x="1168" y="1436"/>
                </a:lnTo>
                <a:lnTo>
                  <a:pt x="1168" y="1434"/>
                </a:lnTo>
                <a:lnTo>
                  <a:pt x="1172" y="1434"/>
                </a:lnTo>
                <a:close/>
                <a:moveTo>
                  <a:pt x="1160" y="1327"/>
                </a:moveTo>
                <a:lnTo>
                  <a:pt x="1160" y="1329"/>
                </a:lnTo>
                <a:lnTo>
                  <a:pt x="1160" y="1331"/>
                </a:lnTo>
                <a:lnTo>
                  <a:pt x="1160" y="1329"/>
                </a:lnTo>
                <a:lnTo>
                  <a:pt x="1160" y="1331"/>
                </a:lnTo>
                <a:lnTo>
                  <a:pt x="1158" y="1329"/>
                </a:lnTo>
                <a:lnTo>
                  <a:pt x="1158" y="1331"/>
                </a:lnTo>
                <a:lnTo>
                  <a:pt x="1156" y="1329"/>
                </a:lnTo>
                <a:lnTo>
                  <a:pt x="1156" y="1332"/>
                </a:lnTo>
                <a:lnTo>
                  <a:pt x="1156" y="1331"/>
                </a:lnTo>
                <a:lnTo>
                  <a:pt x="1156" y="1329"/>
                </a:lnTo>
                <a:lnTo>
                  <a:pt x="1158" y="1327"/>
                </a:lnTo>
                <a:lnTo>
                  <a:pt x="1160" y="1327"/>
                </a:lnTo>
                <a:close/>
                <a:moveTo>
                  <a:pt x="1163" y="1436"/>
                </a:moveTo>
                <a:lnTo>
                  <a:pt x="1165" y="1436"/>
                </a:lnTo>
                <a:lnTo>
                  <a:pt x="1165" y="1438"/>
                </a:lnTo>
                <a:lnTo>
                  <a:pt x="1165" y="1436"/>
                </a:lnTo>
                <a:lnTo>
                  <a:pt x="1166" y="1438"/>
                </a:lnTo>
                <a:lnTo>
                  <a:pt x="1165" y="1440"/>
                </a:lnTo>
                <a:lnTo>
                  <a:pt x="1163" y="1440"/>
                </a:lnTo>
                <a:lnTo>
                  <a:pt x="1163" y="1436"/>
                </a:lnTo>
                <a:close/>
                <a:moveTo>
                  <a:pt x="957" y="1691"/>
                </a:moveTo>
                <a:lnTo>
                  <a:pt x="957" y="1695"/>
                </a:lnTo>
                <a:lnTo>
                  <a:pt x="959" y="1696"/>
                </a:lnTo>
                <a:lnTo>
                  <a:pt x="957" y="1695"/>
                </a:lnTo>
                <a:lnTo>
                  <a:pt x="954" y="1695"/>
                </a:lnTo>
                <a:lnTo>
                  <a:pt x="956" y="1695"/>
                </a:lnTo>
                <a:lnTo>
                  <a:pt x="954" y="1695"/>
                </a:lnTo>
                <a:lnTo>
                  <a:pt x="956" y="1693"/>
                </a:lnTo>
                <a:lnTo>
                  <a:pt x="957" y="1693"/>
                </a:lnTo>
                <a:lnTo>
                  <a:pt x="956" y="1691"/>
                </a:lnTo>
                <a:lnTo>
                  <a:pt x="957" y="1691"/>
                </a:lnTo>
                <a:close/>
                <a:moveTo>
                  <a:pt x="1444" y="1043"/>
                </a:moveTo>
                <a:lnTo>
                  <a:pt x="1445" y="1045"/>
                </a:lnTo>
                <a:lnTo>
                  <a:pt x="1447" y="1045"/>
                </a:lnTo>
                <a:lnTo>
                  <a:pt x="1445" y="1047"/>
                </a:lnTo>
                <a:lnTo>
                  <a:pt x="1447" y="1047"/>
                </a:lnTo>
                <a:lnTo>
                  <a:pt x="1445" y="1048"/>
                </a:lnTo>
                <a:lnTo>
                  <a:pt x="1445" y="1047"/>
                </a:lnTo>
                <a:lnTo>
                  <a:pt x="1444" y="1047"/>
                </a:lnTo>
                <a:lnTo>
                  <a:pt x="1444" y="1043"/>
                </a:lnTo>
                <a:close/>
                <a:moveTo>
                  <a:pt x="1471" y="1064"/>
                </a:moveTo>
                <a:lnTo>
                  <a:pt x="1471" y="1065"/>
                </a:lnTo>
                <a:lnTo>
                  <a:pt x="1469" y="1067"/>
                </a:lnTo>
                <a:lnTo>
                  <a:pt x="1469" y="1065"/>
                </a:lnTo>
                <a:lnTo>
                  <a:pt x="1471" y="1064"/>
                </a:lnTo>
                <a:close/>
                <a:moveTo>
                  <a:pt x="1019" y="1662"/>
                </a:moveTo>
                <a:lnTo>
                  <a:pt x="1019" y="1664"/>
                </a:lnTo>
                <a:lnTo>
                  <a:pt x="1020" y="1662"/>
                </a:lnTo>
                <a:lnTo>
                  <a:pt x="1020" y="1664"/>
                </a:lnTo>
                <a:lnTo>
                  <a:pt x="1019" y="1666"/>
                </a:lnTo>
                <a:lnTo>
                  <a:pt x="1017" y="1666"/>
                </a:lnTo>
                <a:lnTo>
                  <a:pt x="1017" y="1662"/>
                </a:lnTo>
                <a:lnTo>
                  <a:pt x="1019" y="1662"/>
                </a:lnTo>
                <a:close/>
                <a:moveTo>
                  <a:pt x="996" y="1686"/>
                </a:moveTo>
                <a:lnTo>
                  <a:pt x="996" y="1688"/>
                </a:lnTo>
                <a:lnTo>
                  <a:pt x="1000" y="1688"/>
                </a:lnTo>
                <a:lnTo>
                  <a:pt x="998" y="1690"/>
                </a:lnTo>
                <a:lnTo>
                  <a:pt x="995" y="1690"/>
                </a:lnTo>
                <a:lnTo>
                  <a:pt x="995" y="1688"/>
                </a:lnTo>
                <a:lnTo>
                  <a:pt x="996" y="1686"/>
                </a:lnTo>
                <a:close/>
                <a:moveTo>
                  <a:pt x="1255" y="1224"/>
                </a:moveTo>
                <a:lnTo>
                  <a:pt x="1257" y="1224"/>
                </a:lnTo>
                <a:lnTo>
                  <a:pt x="1257" y="1225"/>
                </a:lnTo>
                <a:lnTo>
                  <a:pt x="1257" y="1227"/>
                </a:lnTo>
                <a:lnTo>
                  <a:pt x="1257" y="1225"/>
                </a:lnTo>
                <a:lnTo>
                  <a:pt x="1255" y="1227"/>
                </a:lnTo>
                <a:lnTo>
                  <a:pt x="1253" y="1225"/>
                </a:lnTo>
                <a:lnTo>
                  <a:pt x="1255" y="1224"/>
                </a:lnTo>
                <a:close/>
                <a:moveTo>
                  <a:pt x="908" y="1807"/>
                </a:moveTo>
                <a:lnTo>
                  <a:pt x="908" y="1809"/>
                </a:lnTo>
                <a:lnTo>
                  <a:pt x="910" y="1807"/>
                </a:lnTo>
                <a:lnTo>
                  <a:pt x="910" y="1810"/>
                </a:lnTo>
                <a:lnTo>
                  <a:pt x="910" y="1812"/>
                </a:lnTo>
                <a:lnTo>
                  <a:pt x="908" y="1810"/>
                </a:lnTo>
                <a:lnTo>
                  <a:pt x="908" y="1809"/>
                </a:lnTo>
                <a:lnTo>
                  <a:pt x="908" y="1807"/>
                </a:lnTo>
                <a:lnTo>
                  <a:pt x="906" y="1807"/>
                </a:lnTo>
                <a:lnTo>
                  <a:pt x="908" y="1807"/>
                </a:lnTo>
                <a:lnTo>
                  <a:pt x="908" y="1809"/>
                </a:lnTo>
                <a:lnTo>
                  <a:pt x="908" y="1807"/>
                </a:lnTo>
                <a:close/>
                <a:moveTo>
                  <a:pt x="1119" y="1933"/>
                </a:moveTo>
                <a:lnTo>
                  <a:pt x="1119" y="1936"/>
                </a:lnTo>
                <a:lnTo>
                  <a:pt x="1119" y="1938"/>
                </a:lnTo>
                <a:lnTo>
                  <a:pt x="1117" y="1938"/>
                </a:lnTo>
                <a:lnTo>
                  <a:pt x="1117" y="1936"/>
                </a:lnTo>
                <a:lnTo>
                  <a:pt x="1117" y="1935"/>
                </a:lnTo>
                <a:lnTo>
                  <a:pt x="1117" y="1936"/>
                </a:lnTo>
                <a:lnTo>
                  <a:pt x="1119" y="1933"/>
                </a:lnTo>
                <a:close/>
                <a:moveTo>
                  <a:pt x="1156" y="1470"/>
                </a:moveTo>
                <a:lnTo>
                  <a:pt x="1156" y="1472"/>
                </a:lnTo>
                <a:lnTo>
                  <a:pt x="1155" y="1475"/>
                </a:lnTo>
                <a:lnTo>
                  <a:pt x="1153" y="1475"/>
                </a:lnTo>
                <a:lnTo>
                  <a:pt x="1153" y="1474"/>
                </a:lnTo>
                <a:lnTo>
                  <a:pt x="1155" y="1472"/>
                </a:lnTo>
                <a:lnTo>
                  <a:pt x="1156" y="1470"/>
                </a:lnTo>
                <a:close/>
                <a:moveTo>
                  <a:pt x="1107" y="1912"/>
                </a:moveTo>
                <a:lnTo>
                  <a:pt x="1109" y="1914"/>
                </a:lnTo>
                <a:lnTo>
                  <a:pt x="1109" y="1916"/>
                </a:lnTo>
                <a:lnTo>
                  <a:pt x="1109" y="1918"/>
                </a:lnTo>
                <a:lnTo>
                  <a:pt x="1105" y="1919"/>
                </a:lnTo>
                <a:lnTo>
                  <a:pt x="1105" y="1918"/>
                </a:lnTo>
                <a:lnTo>
                  <a:pt x="1107" y="1916"/>
                </a:lnTo>
                <a:lnTo>
                  <a:pt x="1107" y="1912"/>
                </a:lnTo>
                <a:close/>
                <a:moveTo>
                  <a:pt x="913" y="1800"/>
                </a:moveTo>
                <a:lnTo>
                  <a:pt x="915" y="1802"/>
                </a:lnTo>
                <a:lnTo>
                  <a:pt x="913" y="1802"/>
                </a:lnTo>
                <a:lnTo>
                  <a:pt x="915" y="1802"/>
                </a:lnTo>
                <a:lnTo>
                  <a:pt x="915" y="1804"/>
                </a:lnTo>
                <a:lnTo>
                  <a:pt x="911" y="1804"/>
                </a:lnTo>
                <a:lnTo>
                  <a:pt x="911" y="1800"/>
                </a:lnTo>
                <a:lnTo>
                  <a:pt x="911" y="1802"/>
                </a:lnTo>
                <a:lnTo>
                  <a:pt x="913" y="1802"/>
                </a:lnTo>
                <a:lnTo>
                  <a:pt x="913" y="1800"/>
                </a:lnTo>
                <a:close/>
                <a:moveTo>
                  <a:pt x="937" y="1982"/>
                </a:moveTo>
                <a:lnTo>
                  <a:pt x="937" y="1984"/>
                </a:lnTo>
                <a:lnTo>
                  <a:pt x="937" y="1986"/>
                </a:lnTo>
                <a:lnTo>
                  <a:pt x="935" y="1986"/>
                </a:lnTo>
                <a:lnTo>
                  <a:pt x="935" y="1982"/>
                </a:lnTo>
                <a:lnTo>
                  <a:pt x="934" y="1984"/>
                </a:lnTo>
                <a:lnTo>
                  <a:pt x="934" y="1982"/>
                </a:lnTo>
                <a:lnTo>
                  <a:pt x="937" y="1982"/>
                </a:lnTo>
                <a:close/>
                <a:moveTo>
                  <a:pt x="1085" y="1589"/>
                </a:moveTo>
                <a:lnTo>
                  <a:pt x="1087" y="1591"/>
                </a:lnTo>
                <a:lnTo>
                  <a:pt x="1085" y="1591"/>
                </a:lnTo>
                <a:lnTo>
                  <a:pt x="1085" y="1593"/>
                </a:lnTo>
                <a:lnTo>
                  <a:pt x="1083" y="1591"/>
                </a:lnTo>
                <a:lnTo>
                  <a:pt x="1085" y="1589"/>
                </a:lnTo>
                <a:close/>
                <a:moveTo>
                  <a:pt x="906" y="1793"/>
                </a:moveTo>
                <a:lnTo>
                  <a:pt x="906" y="1795"/>
                </a:lnTo>
                <a:lnTo>
                  <a:pt x="908" y="1793"/>
                </a:lnTo>
                <a:lnTo>
                  <a:pt x="908" y="1797"/>
                </a:lnTo>
                <a:lnTo>
                  <a:pt x="908" y="1798"/>
                </a:lnTo>
                <a:lnTo>
                  <a:pt x="906" y="1795"/>
                </a:lnTo>
                <a:lnTo>
                  <a:pt x="906" y="1797"/>
                </a:lnTo>
                <a:lnTo>
                  <a:pt x="906" y="1798"/>
                </a:lnTo>
                <a:lnTo>
                  <a:pt x="906" y="1800"/>
                </a:lnTo>
                <a:lnTo>
                  <a:pt x="906" y="1798"/>
                </a:lnTo>
                <a:lnTo>
                  <a:pt x="906" y="1797"/>
                </a:lnTo>
                <a:lnTo>
                  <a:pt x="905" y="1795"/>
                </a:lnTo>
                <a:lnTo>
                  <a:pt x="906" y="1793"/>
                </a:lnTo>
                <a:close/>
                <a:moveTo>
                  <a:pt x="1464" y="1096"/>
                </a:moveTo>
                <a:lnTo>
                  <a:pt x="1466" y="1099"/>
                </a:lnTo>
                <a:lnTo>
                  <a:pt x="1462" y="1101"/>
                </a:lnTo>
                <a:lnTo>
                  <a:pt x="1462" y="1099"/>
                </a:lnTo>
                <a:lnTo>
                  <a:pt x="1464" y="1096"/>
                </a:lnTo>
                <a:close/>
                <a:moveTo>
                  <a:pt x="1081" y="1591"/>
                </a:moveTo>
                <a:lnTo>
                  <a:pt x="1081" y="1593"/>
                </a:lnTo>
                <a:lnTo>
                  <a:pt x="1083" y="1593"/>
                </a:lnTo>
                <a:lnTo>
                  <a:pt x="1081" y="1594"/>
                </a:lnTo>
                <a:lnTo>
                  <a:pt x="1081" y="1593"/>
                </a:lnTo>
                <a:lnTo>
                  <a:pt x="1080" y="1593"/>
                </a:lnTo>
                <a:lnTo>
                  <a:pt x="1080" y="1591"/>
                </a:lnTo>
                <a:lnTo>
                  <a:pt x="1081" y="1593"/>
                </a:lnTo>
                <a:lnTo>
                  <a:pt x="1081" y="1591"/>
                </a:lnTo>
                <a:close/>
                <a:moveTo>
                  <a:pt x="913" y="1744"/>
                </a:moveTo>
                <a:lnTo>
                  <a:pt x="915" y="1746"/>
                </a:lnTo>
                <a:lnTo>
                  <a:pt x="911" y="1749"/>
                </a:lnTo>
                <a:lnTo>
                  <a:pt x="913" y="1747"/>
                </a:lnTo>
                <a:lnTo>
                  <a:pt x="910" y="1746"/>
                </a:lnTo>
                <a:lnTo>
                  <a:pt x="913" y="1744"/>
                </a:lnTo>
                <a:close/>
                <a:moveTo>
                  <a:pt x="1161" y="1406"/>
                </a:moveTo>
                <a:lnTo>
                  <a:pt x="1161" y="1407"/>
                </a:lnTo>
                <a:lnTo>
                  <a:pt x="1161" y="1409"/>
                </a:lnTo>
                <a:lnTo>
                  <a:pt x="1160" y="1411"/>
                </a:lnTo>
                <a:lnTo>
                  <a:pt x="1161" y="1409"/>
                </a:lnTo>
                <a:lnTo>
                  <a:pt x="1160" y="1411"/>
                </a:lnTo>
                <a:lnTo>
                  <a:pt x="1160" y="1409"/>
                </a:lnTo>
                <a:lnTo>
                  <a:pt x="1161" y="1409"/>
                </a:lnTo>
                <a:lnTo>
                  <a:pt x="1160" y="1407"/>
                </a:lnTo>
                <a:lnTo>
                  <a:pt x="1161" y="1406"/>
                </a:lnTo>
                <a:close/>
                <a:moveTo>
                  <a:pt x="1360" y="1133"/>
                </a:moveTo>
                <a:lnTo>
                  <a:pt x="1362" y="1135"/>
                </a:lnTo>
                <a:lnTo>
                  <a:pt x="1360" y="1137"/>
                </a:lnTo>
                <a:lnTo>
                  <a:pt x="1362" y="1137"/>
                </a:lnTo>
                <a:lnTo>
                  <a:pt x="1360" y="1138"/>
                </a:lnTo>
                <a:lnTo>
                  <a:pt x="1359" y="1137"/>
                </a:lnTo>
                <a:lnTo>
                  <a:pt x="1360" y="1137"/>
                </a:lnTo>
                <a:lnTo>
                  <a:pt x="1360" y="1133"/>
                </a:lnTo>
                <a:close/>
                <a:moveTo>
                  <a:pt x="915" y="1844"/>
                </a:moveTo>
                <a:lnTo>
                  <a:pt x="917" y="1846"/>
                </a:lnTo>
                <a:lnTo>
                  <a:pt x="917" y="1848"/>
                </a:lnTo>
                <a:lnTo>
                  <a:pt x="915" y="1848"/>
                </a:lnTo>
                <a:lnTo>
                  <a:pt x="915" y="1846"/>
                </a:lnTo>
                <a:lnTo>
                  <a:pt x="917" y="1848"/>
                </a:lnTo>
                <a:lnTo>
                  <a:pt x="915" y="1850"/>
                </a:lnTo>
                <a:lnTo>
                  <a:pt x="915" y="1846"/>
                </a:lnTo>
                <a:lnTo>
                  <a:pt x="913" y="1846"/>
                </a:lnTo>
                <a:lnTo>
                  <a:pt x="915" y="1846"/>
                </a:lnTo>
                <a:lnTo>
                  <a:pt x="915" y="1844"/>
                </a:lnTo>
                <a:close/>
                <a:moveTo>
                  <a:pt x="1170" y="1416"/>
                </a:moveTo>
                <a:lnTo>
                  <a:pt x="1170" y="1417"/>
                </a:lnTo>
                <a:lnTo>
                  <a:pt x="1170" y="1419"/>
                </a:lnTo>
                <a:lnTo>
                  <a:pt x="1170" y="1421"/>
                </a:lnTo>
                <a:lnTo>
                  <a:pt x="1168" y="1417"/>
                </a:lnTo>
                <a:lnTo>
                  <a:pt x="1168" y="1419"/>
                </a:lnTo>
                <a:lnTo>
                  <a:pt x="1170" y="1417"/>
                </a:lnTo>
                <a:lnTo>
                  <a:pt x="1168" y="1416"/>
                </a:lnTo>
                <a:lnTo>
                  <a:pt x="1170" y="1416"/>
                </a:lnTo>
                <a:close/>
                <a:moveTo>
                  <a:pt x="1192" y="1370"/>
                </a:moveTo>
                <a:lnTo>
                  <a:pt x="1194" y="1372"/>
                </a:lnTo>
                <a:lnTo>
                  <a:pt x="1192" y="1372"/>
                </a:lnTo>
                <a:lnTo>
                  <a:pt x="1190" y="1373"/>
                </a:lnTo>
                <a:lnTo>
                  <a:pt x="1190" y="1370"/>
                </a:lnTo>
                <a:lnTo>
                  <a:pt x="1192" y="1370"/>
                </a:lnTo>
                <a:close/>
                <a:moveTo>
                  <a:pt x="1158" y="1463"/>
                </a:moveTo>
                <a:lnTo>
                  <a:pt x="1158" y="1465"/>
                </a:lnTo>
                <a:lnTo>
                  <a:pt x="1156" y="1467"/>
                </a:lnTo>
                <a:lnTo>
                  <a:pt x="1155" y="1468"/>
                </a:lnTo>
                <a:lnTo>
                  <a:pt x="1156" y="1467"/>
                </a:lnTo>
                <a:lnTo>
                  <a:pt x="1156" y="1465"/>
                </a:lnTo>
                <a:lnTo>
                  <a:pt x="1158" y="1465"/>
                </a:lnTo>
                <a:lnTo>
                  <a:pt x="1158" y="1463"/>
                </a:lnTo>
                <a:close/>
                <a:moveTo>
                  <a:pt x="1047" y="1618"/>
                </a:moveTo>
                <a:lnTo>
                  <a:pt x="1049" y="1618"/>
                </a:lnTo>
                <a:lnTo>
                  <a:pt x="1047" y="1618"/>
                </a:lnTo>
                <a:lnTo>
                  <a:pt x="1049" y="1620"/>
                </a:lnTo>
                <a:lnTo>
                  <a:pt x="1047" y="1620"/>
                </a:lnTo>
                <a:lnTo>
                  <a:pt x="1046" y="1620"/>
                </a:lnTo>
                <a:lnTo>
                  <a:pt x="1044" y="1620"/>
                </a:lnTo>
                <a:lnTo>
                  <a:pt x="1042" y="1620"/>
                </a:lnTo>
                <a:lnTo>
                  <a:pt x="1046" y="1620"/>
                </a:lnTo>
                <a:lnTo>
                  <a:pt x="1046" y="1618"/>
                </a:lnTo>
                <a:lnTo>
                  <a:pt x="1047" y="1620"/>
                </a:lnTo>
                <a:lnTo>
                  <a:pt x="1046" y="1618"/>
                </a:lnTo>
                <a:lnTo>
                  <a:pt x="1047" y="1618"/>
                </a:lnTo>
                <a:close/>
                <a:moveTo>
                  <a:pt x="944" y="1928"/>
                </a:moveTo>
                <a:lnTo>
                  <a:pt x="942" y="1931"/>
                </a:lnTo>
                <a:lnTo>
                  <a:pt x="940" y="1931"/>
                </a:lnTo>
                <a:lnTo>
                  <a:pt x="942" y="1931"/>
                </a:lnTo>
                <a:lnTo>
                  <a:pt x="940" y="1929"/>
                </a:lnTo>
                <a:lnTo>
                  <a:pt x="942" y="1929"/>
                </a:lnTo>
                <a:lnTo>
                  <a:pt x="944" y="1928"/>
                </a:lnTo>
                <a:close/>
                <a:moveTo>
                  <a:pt x="1166" y="1409"/>
                </a:moveTo>
                <a:lnTo>
                  <a:pt x="1168" y="1409"/>
                </a:lnTo>
                <a:lnTo>
                  <a:pt x="1166" y="1411"/>
                </a:lnTo>
                <a:lnTo>
                  <a:pt x="1168" y="1411"/>
                </a:lnTo>
                <a:lnTo>
                  <a:pt x="1166" y="1412"/>
                </a:lnTo>
                <a:lnTo>
                  <a:pt x="1165" y="1411"/>
                </a:lnTo>
                <a:lnTo>
                  <a:pt x="1166" y="1411"/>
                </a:lnTo>
                <a:lnTo>
                  <a:pt x="1165" y="1409"/>
                </a:lnTo>
                <a:lnTo>
                  <a:pt x="1166" y="1409"/>
                </a:lnTo>
                <a:close/>
                <a:moveTo>
                  <a:pt x="1015" y="1656"/>
                </a:moveTo>
                <a:lnTo>
                  <a:pt x="1017" y="1657"/>
                </a:lnTo>
                <a:lnTo>
                  <a:pt x="1013" y="1657"/>
                </a:lnTo>
                <a:lnTo>
                  <a:pt x="1012" y="1657"/>
                </a:lnTo>
                <a:lnTo>
                  <a:pt x="1015" y="1656"/>
                </a:lnTo>
                <a:close/>
                <a:moveTo>
                  <a:pt x="915" y="1790"/>
                </a:moveTo>
                <a:lnTo>
                  <a:pt x="917" y="1790"/>
                </a:lnTo>
                <a:lnTo>
                  <a:pt x="918" y="1793"/>
                </a:lnTo>
                <a:lnTo>
                  <a:pt x="917" y="1793"/>
                </a:lnTo>
                <a:lnTo>
                  <a:pt x="915" y="1793"/>
                </a:lnTo>
                <a:lnTo>
                  <a:pt x="915" y="1790"/>
                </a:lnTo>
                <a:close/>
                <a:moveTo>
                  <a:pt x="1250" y="1273"/>
                </a:moveTo>
                <a:lnTo>
                  <a:pt x="1251" y="1273"/>
                </a:lnTo>
                <a:lnTo>
                  <a:pt x="1251" y="1275"/>
                </a:lnTo>
                <a:lnTo>
                  <a:pt x="1248" y="1275"/>
                </a:lnTo>
                <a:lnTo>
                  <a:pt x="1250" y="1273"/>
                </a:lnTo>
                <a:close/>
                <a:moveTo>
                  <a:pt x="962" y="1684"/>
                </a:moveTo>
                <a:lnTo>
                  <a:pt x="964" y="1684"/>
                </a:lnTo>
                <a:lnTo>
                  <a:pt x="966" y="1686"/>
                </a:lnTo>
                <a:lnTo>
                  <a:pt x="966" y="1688"/>
                </a:lnTo>
                <a:lnTo>
                  <a:pt x="964" y="1688"/>
                </a:lnTo>
                <a:lnTo>
                  <a:pt x="962" y="1684"/>
                </a:lnTo>
                <a:close/>
                <a:moveTo>
                  <a:pt x="939" y="1705"/>
                </a:moveTo>
                <a:lnTo>
                  <a:pt x="940" y="1708"/>
                </a:lnTo>
                <a:lnTo>
                  <a:pt x="937" y="1708"/>
                </a:lnTo>
                <a:lnTo>
                  <a:pt x="937" y="1707"/>
                </a:lnTo>
                <a:lnTo>
                  <a:pt x="939" y="1705"/>
                </a:lnTo>
                <a:close/>
                <a:moveTo>
                  <a:pt x="944" y="1707"/>
                </a:moveTo>
                <a:lnTo>
                  <a:pt x="944" y="1710"/>
                </a:lnTo>
                <a:lnTo>
                  <a:pt x="942" y="1710"/>
                </a:lnTo>
                <a:lnTo>
                  <a:pt x="942" y="1708"/>
                </a:lnTo>
                <a:lnTo>
                  <a:pt x="944" y="1708"/>
                </a:lnTo>
                <a:lnTo>
                  <a:pt x="942" y="1707"/>
                </a:lnTo>
                <a:lnTo>
                  <a:pt x="944" y="1707"/>
                </a:lnTo>
                <a:close/>
                <a:moveTo>
                  <a:pt x="1367" y="1108"/>
                </a:moveTo>
                <a:lnTo>
                  <a:pt x="1369" y="1111"/>
                </a:lnTo>
                <a:lnTo>
                  <a:pt x="1367" y="1113"/>
                </a:lnTo>
                <a:lnTo>
                  <a:pt x="1367" y="1111"/>
                </a:lnTo>
                <a:lnTo>
                  <a:pt x="1367" y="1108"/>
                </a:lnTo>
                <a:close/>
                <a:moveTo>
                  <a:pt x="913" y="1751"/>
                </a:moveTo>
                <a:lnTo>
                  <a:pt x="913" y="1754"/>
                </a:lnTo>
                <a:lnTo>
                  <a:pt x="911" y="1754"/>
                </a:lnTo>
                <a:lnTo>
                  <a:pt x="911" y="1753"/>
                </a:lnTo>
                <a:lnTo>
                  <a:pt x="911" y="1751"/>
                </a:lnTo>
                <a:lnTo>
                  <a:pt x="913" y="1753"/>
                </a:lnTo>
                <a:lnTo>
                  <a:pt x="913" y="1751"/>
                </a:lnTo>
                <a:lnTo>
                  <a:pt x="911" y="1751"/>
                </a:lnTo>
                <a:lnTo>
                  <a:pt x="913" y="1751"/>
                </a:lnTo>
                <a:close/>
                <a:moveTo>
                  <a:pt x="1117" y="1940"/>
                </a:moveTo>
                <a:lnTo>
                  <a:pt x="1117" y="1941"/>
                </a:lnTo>
                <a:lnTo>
                  <a:pt x="1117" y="1940"/>
                </a:lnTo>
                <a:lnTo>
                  <a:pt x="1117" y="1941"/>
                </a:lnTo>
                <a:lnTo>
                  <a:pt x="1117" y="1943"/>
                </a:lnTo>
                <a:lnTo>
                  <a:pt x="1115" y="1943"/>
                </a:lnTo>
                <a:lnTo>
                  <a:pt x="1115" y="1941"/>
                </a:lnTo>
                <a:lnTo>
                  <a:pt x="1117" y="1940"/>
                </a:lnTo>
                <a:close/>
                <a:moveTo>
                  <a:pt x="1036" y="1642"/>
                </a:moveTo>
                <a:lnTo>
                  <a:pt x="1036" y="1644"/>
                </a:lnTo>
                <a:lnTo>
                  <a:pt x="1032" y="1644"/>
                </a:lnTo>
                <a:lnTo>
                  <a:pt x="1034" y="1642"/>
                </a:lnTo>
                <a:lnTo>
                  <a:pt x="1036" y="1642"/>
                </a:lnTo>
                <a:close/>
                <a:moveTo>
                  <a:pt x="969" y="1678"/>
                </a:moveTo>
                <a:lnTo>
                  <a:pt x="971" y="1681"/>
                </a:lnTo>
                <a:lnTo>
                  <a:pt x="969" y="1683"/>
                </a:lnTo>
                <a:lnTo>
                  <a:pt x="968" y="1681"/>
                </a:lnTo>
                <a:lnTo>
                  <a:pt x="969" y="1679"/>
                </a:lnTo>
                <a:lnTo>
                  <a:pt x="968" y="1679"/>
                </a:lnTo>
                <a:lnTo>
                  <a:pt x="969" y="1678"/>
                </a:lnTo>
                <a:close/>
                <a:moveTo>
                  <a:pt x="976" y="1684"/>
                </a:moveTo>
                <a:lnTo>
                  <a:pt x="976" y="1688"/>
                </a:lnTo>
                <a:lnTo>
                  <a:pt x="973" y="1688"/>
                </a:lnTo>
                <a:lnTo>
                  <a:pt x="974" y="1686"/>
                </a:lnTo>
                <a:lnTo>
                  <a:pt x="974" y="1684"/>
                </a:lnTo>
                <a:lnTo>
                  <a:pt x="976" y="1684"/>
                </a:lnTo>
                <a:close/>
                <a:moveTo>
                  <a:pt x="1260" y="1227"/>
                </a:moveTo>
                <a:lnTo>
                  <a:pt x="1262" y="1227"/>
                </a:lnTo>
                <a:lnTo>
                  <a:pt x="1260" y="1230"/>
                </a:lnTo>
                <a:lnTo>
                  <a:pt x="1260" y="1229"/>
                </a:lnTo>
                <a:lnTo>
                  <a:pt x="1260" y="1227"/>
                </a:lnTo>
                <a:close/>
                <a:moveTo>
                  <a:pt x="1353" y="1142"/>
                </a:moveTo>
                <a:lnTo>
                  <a:pt x="1353" y="1144"/>
                </a:lnTo>
                <a:lnTo>
                  <a:pt x="1352" y="1144"/>
                </a:lnTo>
                <a:lnTo>
                  <a:pt x="1352" y="1140"/>
                </a:lnTo>
                <a:lnTo>
                  <a:pt x="1353" y="1142"/>
                </a:lnTo>
                <a:close/>
                <a:moveTo>
                  <a:pt x="961" y="1684"/>
                </a:moveTo>
                <a:lnTo>
                  <a:pt x="962" y="1686"/>
                </a:lnTo>
                <a:lnTo>
                  <a:pt x="962" y="1690"/>
                </a:lnTo>
                <a:lnTo>
                  <a:pt x="961" y="1688"/>
                </a:lnTo>
                <a:lnTo>
                  <a:pt x="959" y="1686"/>
                </a:lnTo>
                <a:lnTo>
                  <a:pt x="961" y="1684"/>
                </a:lnTo>
                <a:close/>
                <a:moveTo>
                  <a:pt x="1039" y="1623"/>
                </a:moveTo>
                <a:lnTo>
                  <a:pt x="1041" y="1623"/>
                </a:lnTo>
                <a:lnTo>
                  <a:pt x="1041" y="1625"/>
                </a:lnTo>
                <a:lnTo>
                  <a:pt x="1039" y="1625"/>
                </a:lnTo>
                <a:lnTo>
                  <a:pt x="1037" y="1625"/>
                </a:lnTo>
                <a:lnTo>
                  <a:pt x="1039" y="1623"/>
                </a:lnTo>
                <a:close/>
                <a:moveTo>
                  <a:pt x="1158" y="1460"/>
                </a:moveTo>
                <a:lnTo>
                  <a:pt x="1158" y="1462"/>
                </a:lnTo>
                <a:lnTo>
                  <a:pt x="1156" y="1463"/>
                </a:lnTo>
                <a:lnTo>
                  <a:pt x="1156" y="1462"/>
                </a:lnTo>
                <a:lnTo>
                  <a:pt x="1156" y="1463"/>
                </a:lnTo>
                <a:lnTo>
                  <a:pt x="1155" y="1463"/>
                </a:lnTo>
                <a:lnTo>
                  <a:pt x="1155" y="1460"/>
                </a:lnTo>
                <a:lnTo>
                  <a:pt x="1156" y="1460"/>
                </a:lnTo>
                <a:lnTo>
                  <a:pt x="1156" y="1462"/>
                </a:lnTo>
                <a:lnTo>
                  <a:pt x="1158" y="1462"/>
                </a:lnTo>
                <a:lnTo>
                  <a:pt x="1158" y="1460"/>
                </a:lnTo>
                <a:close/>
                <a:moveTo>
                  <a:pt x="1221" y="1280"/>
                </a:moveTo>
                <a:lnTo>
                  <a:pt x="1223" y="1280"/>
                </a:lnTo>
                <a:lnTo>
                  <a:pt x="1221" y="1280"/>
                </a:lnTo>
                <a:lnTo>
                  <a:pt x="1221" y="1281"/>
                </a:lnTo>
                <a:lnTo>
                  <a:pt x="1219" y="1281"/>
                </a:lnTo>
                <a:lnTo>
                  <a:pt x="1219" y="1280"/>
                </a:lnTo>
                <a:lnTo>
                  <a:pt x="1221" y="1280"/>
                </a:lnTo>
                <a:close/>
                <a:moveTo>
                  <a:pt x="911" y="1882"/>
                </a:moveTo>
                <a:lnTo>
                  <a:pt x="913" y="1884"/>
                </a:lnTo>
                <a:lnTo>
                  <a:pt x="911" y="1885"/>
                </a:lnTo>
                <a:lnTo>
                  <a:pt x="913" y="1884"/>
                </a:lnTo>
                <a:lnTo>
                  <a:pt x="911" y="1885"/>
                </a:lnTo>
                <a:lnTo>
                  <a:pt x="911" y="1884"/>
                </a:lnTo>
                <a:lnTo>
                  <a:pt x="911" y="1882"/>
                </a:lnTo>
                <a:close/>
                <a:moveTo>
                  <a:pt x="957" y="1999"/>
                </a:moveTo>
                <a:lnTo>
                  <a:pt x="961" y="1999"/>
                </a:lnTo>
                <a:lnTo>
                  <a:pt x="961" y="2003"/>
                </a:lnTo>
                <a:lnTo>
                  <a:pt x="959" y="2001"/>
                </a:lnTo>
                <a:lnTo>
                  <a:pt x="957" y="1999"/>
                </a:lnTo>
                <a:close/>
                <a:moveTo>
                  <a:pt x="1335" y="1128"/>
                </a:moveTo>
                <a:lnTo>
                  <a:pt x="1336" y="1130"/>
                </a:lnTo>
                <a:lnTo>
                  <a:pt x="1336" y="1132"/>
                </a:lnTo>
                <a:lnTo>
                  <a:pt x="1333" y="1130"/>
                </a:lnTo>
                <a:lnTo>
                  <a:pt x="1335" y="1128"/>
                </a:lnTo>
                <a:close/>
                <a:moveTo>
                  <a:pt x="928" y="1882"/>
                </a:moveTo>
                <a:lnTo>
                  <a:pt x="930" y="1884"/>
                </a:lnTo>
                <a:lnTo>
                  <a:pt x="928" y="1885"/>
                </a:lnTo>
                <a:lnTo>
                  <a:pt x="928" y="1887"/>
                </a:lnTo>
                <a:lnTo>
                  <a:pt x="927" y="1884"/>
                </a:lnTo>
                <a:lnTo>
                  <a:pt x="928" y="1882"/>
                </a:lnTo>
                <a:close/>
                <a:moveTo>
                  <a:pt x="959" y="1688"/>
                </a:moveTo>
                <a:lnTo>
                  <a:pt x="961" y="1690"/>
                </a:lnTo>
                <a:lnTo>
                  <a:pt x="961" y="1691"/>
                </a:lnTo>
                <a:lnTo>
                  <a:pt x="959" y="1690"/>
                </a:lnTo>
                <a:lnTo>
                  <a:pt x="959" y="1688"/>
                </a:lnTo>
                <a:close/>
                <a:moveTo>
                  <a:pt x="1292" y="1171"/>
                </a:moveTo>
                <a:lnTo>
                  <a:pt x="1294" y="1172"/>
                </a:lnTo>
                <a:lnTo>
                  <a:pt x="1292" y="1174"/>
                </a:lnTo>
                <a:lnTo>
                  <a:pt x="1291" y="1174"/>
                </a:lnTo>
                <a:lnTo>
                  <a:pt x="1292" y="1174"/>
                </a:lnTo>
                <a:lnTo>
                  <a:pt x="1292" y="1172"/>
                </a:lnTo>
                <a:lnTo>
                  <a:pt x="1291" y="1172"/>
                </a:lnTo>
                <a:lnTo>
                  <a:pt x="1292" y="1172"/>
                </a:lnTo>
                <a:lnTo>
                  <a:pt x="1291" y="1172"/>
                </a:lnTo>
                <a:lnTo>
                  <a:pt x="1292" y="1171"/>
                </a:lnTo>
                <a:close/>
                <a:moveTo>
                  <a:pt x="906" y="1827"/>
                </a:moveTo>
                <a:lnTo>
                  <a:pt x="906" y="1829"/>
                </a:lnTo>
                <a:lnTo>
                  <a:pt x="906" y="1831"/>
                </a:lnTo>
                <a:lnTo>
                  <a:pt x="905" y="1829"/>
                </a:lnTo>
                <a:lnTo>
                  <a:pt x="905" y="1831"/>
                </a:lnTo>
                <a:lnTo>
                  <a:pt x="905" y="1829"/>
                </a:lnTo>
                <a:lnTo>
                  <a:pt x="905" y="1827"/>
                </a:lnTo>
                <a:lnTo>
                  <a:pt x="906" y="1827"/>
                </a:lnTo>
                <a:close/>
                <a:moveTo>
                  <a:pt x="1294" y="1164"/>
                </a:moveTo>
                <a:lnTo>
                  <a:pt x="1296" y="1167"/>
                </a:lnTo>
                <a:lnTo>
                  <a:pt x="1294" y="1167"/>
                </a:lnTo>
                <a:lnTo>
                  <a:pt x="1292" y="1166"/>
                </a:lnTo>
                <a:lnTo>
                  <a:pt x="1294" y="1164"/>
                </a:lnTo>
                <a:close/>
                <a:moveTo>
                  <a:pt x="1435" y="1048"/>
                </a:moveTo>
                <a:lnTo>
                  <a:pt x="1437" y="1048"/>
                </a:lnTo>
                <a:lnTo>
                  <a:pt x="1438" y="1048"/>
                </a:lnTo>
                <a:lnTo>
                  <a:pt x="1437" y="1050"/>
                </a:lnTo>
                <a:lnTo>
                  <a:pt x="1435" y="1048"/>
                </a:lnTo>
                <a:close/>
                <a:moveTo>
                  <a:pt x="1214" y="1285"/>
                </a:moveTo>
                <a:lnTo>
                  <a:pt x="1216" y="1286"/>
                </a:lnTo>
                <a:lnTo>
                  <a:pt x="1214" y="1286"/>
                </a:lnTo>
                <a:lnTo>
                  <a:pt x="1212" y="1288"/>
                </a:lnTo>
                <a:lnTo>
                  <a:pt x="1214" y="1285"/>
                </a:lnTo>
                <a:close/>
                <a:moveTo>
                  <a:pt x="1306" y="1135"/>
                </a:moveTo>
                <a:lnTo>
                  <a:pt x="1308" y="1137"/>
                </a:lnTo>
                <a:lnTo>
                  <a:pt x="1306" y="1140"/>
                </a:lnTo>
                <a:lnTo>
                  <a:pt x="1306" y="1138"/>
                </a:lnTo>
                <a:lnTo>
                  <a:pt x="1306" y="1135"/>
                </a:lnTo>
                <a:close/>
                <a:moveTo>
                  <a:pt x="1243" y="1288"/>
                </a:moveTo>
                <a:lnTo>
                  <a:pt x="1243" y="1290"/>
                </a:lnTo>
                <a:lnTo>
                  <a:pt x="1241" y="1290"/>
                </a:lnTo>
                <a:lnTo>
                  <a:pt x="1243" y="1288"/>
                </a:lnTo>
                <a:close/>
                <a:moveTo>
                  <a:pt x="934" y="1713"/>
                </a:moveTo>
                <a:lnTo>
                  <a:pt x="935" y="1713"/>
                </a:lnTo>
                <a:lnTo>
                  <a:pt x="935" y="1715"/>
                </a:lnTo>
                <a:lnTo>
                  <a:pt x="935" y="1713"/>
                </a:lnTo>
                <a:lnTo>
                  <a:pt x="935" y="1715"/>
                </a:lnTo>
                <a:lnTo>
                  <a:pt x="934" y="1715"/>
                </a:lnTo>
                <a:lnTo>
                  <a:pt x="932" y="1713"/>
                </a:lnTo>
                <a:lnTo>
                  <a:pt x="934" y="1713"/>
                </a:lnTo>
                <a:close/>
                <a:moveTo>
                  <a:pt x="1066" y="1616"/>
                </a:moveTo>
                <a:lnTo>
                  <a:pt x="1066" y="1620"/>
                </a:lnTo>
                <a:lnTo>
                  <a:pt x="1068" y="1620"/>
                </a:lnTo>
                <a:lnTo>
                  <a:pt x="1066" y="1618"/>
                </a:lnTo>
                <a:lnTo>
                  <a:pt x="1066" y="1620"/>
                </a:lnTo>
                <a:lnTo>
                  <a:pt x="1064" y="1618"/>
                </a:lnTo>
                <a:lnTo>
                  <a:pt x="1064" y="1620"/>
                </a:lnTo>
                <a:lnTo>
                  <a:pt x="1064" y="1618"/>
                </a:lnTo>
                <a:lnTo>
                  <a:pt x="1066" y="1618"/>
                </a:lnTo>
                <a:lnTo>
                  <a:pt x="1066" y="1616"/>
                </a:lnTo>
                <a:close/>
                <a:moveTo>
                  <a:pt x="1122" y="1559"/>
                </a:moveTo>
                <a:lnTo>
                  <a:pt x="1124" y="1560"/>
                </a:lnTo>
                <a:lnTo>
                  <a:pt x="1122" y="1560"/>
                </a:lnTo>
                <a:lnTo>
                  <a:pt x="1122" y="1562"/>
                </a:lnTo>
                <a:lnTo>
                  <a:pt x="1122" y="1559"/>
                </a:lnTo>
                <a:close/>
                <a:moveTo>
                  <a:pt x="1379" y="1140"/>
                </a:moveTo>
                <a:lnTo>
                  <a:pt x="1381" y="1140"/>
                </a:lnTo>
                <a:lnTo>
                  <a:pt x="1381" y="1142"/>
                </a:lnTo>
                <a:lnTo>
                  <a:pt x="1377" y="1140"/>
                </a:lnTo>
                <a:lnTo>
                  <a:pt x="1379" y="1140"/>
                </a:lnTo>
                <a:close/>
                <a:moveTo>
                  <a:pt x="918" y="1919"/>
                </a:moveTo>
                <a:lnTo>
                  <a:pt x="918" y="1921"/>
                </a:lnTo>
                <a:lnTo>
                  <a:pt x="918" y="1923"/>
                </a:lnTo>
                <a:lnTo>
                  <a:pt x="918" y="1924"/>
                </a:lnTo>
                <a:lnTo>
                  <a:pt x="917" y="1923"/>
                </a:lnTo>
                <a:lnTo>
                  <a:pt x="917" y="1921"/>
                </a:lnTo>
                <a:lnTo>
                  <a:pt x="918" y="1921"/>
                </a:lnTo>
                <a:lnTo>
                  <a:pt x="918" y="1919"/>
                </a:lnTo>
                <a:close/>
                <a:moveTo>
                  <a:pt x="920" y="1892"/>
                </a:moveTo>
                <a:lnTo>
                  <a:pt x="922" y="1894"/>
                </a:lnTo>
                <a:lnTo>
                  <a:pt x="920" y="1894"/>
                </a:lnTo>
                <a:lnTo>
                  <a:pt x="920" y="1895"/>
                </a:lnTo>
                <a:lnTo>
                  <a:pt x="918" y="1895"/>
                </a:lnTo>
                <a:lnTo>
                  <a:pt x="920" y="1894"/>
                </a:lnTo>
                <a:lnTo>
                  <a:pt x="920" y="1892"/>
                </a:lnTo>
                <a:close/>
                <a:moveTo>
                  <a:pt x="1155" y="1455"/>
                </a:moveTo>
                <a:lnTo>
                  <a:pt x="1155" y="1457"/>
                </a:lnTo>
                <a:lnTo>
                  <a:pt x="1155" y="1455"/>
                </a:lnTo>
                <a:lnTo>
                  <a:pt x="1153" y="1457"/>
                </a:lnTo>
                <a:lnTo>
                  <a:pt x="1151" y="1458"/>
                </a:lnTo>
                <a:lnTo>
                  <a:pt x="1153" y="1458"/>
                </a:lnTo>
                <a:lnTo>
                  <a:pt x="1151" y="1458"/>
                </a:lnTo>
                <a:lnTo>
                  <a:pt x="1151" y="1460"/>
                </a:lnTo>
                <a:lnTo>
                  <a:pt x="1151" y="1462"/>
                </a:lnTo>
                <a:lnTo>
                  <a:pt x="1151" y="1460"/>
                </a:lnTo>
                <a:lnTo>
                  <a:pt x="1151" y="1458"/>
                </a:lnTo>
                <a:lnTo>
                  <a:pt x="1153" y="1457"/>
                </a:lnTo>
                <a:lnTo>
                  <a:pt x="1153" y="1455"/>
                </a:lnTo>
                <a:lnTo>
                  <a:pt x="1155" y="1455"/>
                </a:lnTo>
                <a:close/>
                <a:moveTo>
                  <a:pt x="1155" y="1448"/>
                </a:moveTo>
                <a:lnTo>
                  <a:pt x="1153" y="1450"/>
                </a:lnTo>
                <a:lnTo>
                  <a:pt x="1153" y="1451"/>
                </a:lnTo>
                <a:lnTo>
                  <a:pt x="1151" y="1451"/>
                </a:lnTo>
                <a:lnTo>
                  <a:pt x="1151" y="1450"/>
                </a:lnTo>
                <a:lnTo>
                  <a:pt x="1153" y="1450"/>
                </a:lnTo>
                <a:lnTo>
                  <a:pt x="1155" y="1448"/>
                </a:lnTo>
                <a:close/>
                <a:moveTo>
                  <a:pt x="952" y="1698"/>
                </a:moveTo>
                <a:lnTo>
                  <a:pt x="956" y="1698"/>
                </a:lnTo>
                <a:lnTo>
                  <a:pt x="954" y="1700"/>
                </a:lnTo>
                <a:lnTo>
                  <a:pt x="952" y="1700"/>
                </a:lnTo>
                <a:lnTo>
                  <a:pt x="951" y="1700"/>
                </a:lnTo>
                <a:lnTo>
                  <a:pt x="952" y="1698"/>
                </a:lnTo>
                <a:close/>
                <a:moveTo>
                  <a:pt x="927" y="1936"/>
                </a:moveTo>
                <a:lnTo>
                  <a:pt x="930" y="1938"/>
                </a:lnTo>
                <a:lnTo>
                  <a:pt x="928" y="1940"/>
                </a:lnTo>
                <a:lnTo>
                  <a:pt x="928" y="1938"/>
                </a:lnTo>
                <a:lnTo>
                  <a:pt x="927" y="1938"/>
                </a:lnTo>
                <a:lnTo>
                  <a:pt x="927" y="1936"/>
                </a:lnTo>
                <a:close/>
                <a:moveTo>
                  <a:pt x="1172" y="1402"/>
                </a:moveTo>
                <a:lnTo>
                  <a:pt x="1172" y="1406"/>
                </a:lnTo>
                <a:lnTo>
                  <a:pt x="1170" y="1406"/>
                </a:lnTo>
                <a:lnTo>
                  <a:pt x="1172" y="1404"/>
                </a:lnTo>
                <a:lnTo>
                  <a:pt x="1172" y="1402"/>
                </a:lnTo>
                <a:close/>
                <a:moveTo>
                  <a:pt x="1333" y="1140"/>
                </a:moveTo>
                <a:lnTo>
                  <a:pt x="1336" y="1142"/>
                </a:lnTo>
                <a:lnTo>
                  <a:pt x="1335" y="1142"/>
                </a:lnTo>
                <a:lnTo>
                  <a:pt x="1333" y="1142"/>
                </a:lnTo>
                <a:lnTo>
                  <a:pt x="1333" y="1140"/>
                </a:lnTo>
                <a:close/>
                <a:moveTo>
                  <a:pt x="920" y="1761"/>
                </a:moveTo>
                <a:lnTo>
                  <a:pt x="922" y="1763"/>
                </a:lnTo>
                <a:lnTo>
                  <a:pt x="918" y="1763"/>
                </a:lnTo>
                <a:lnTo>
                  <a:pt x="920" y="1761"/>
                </a:lnTo>
                <a:close/>
                <a:moveTo>
                  <a:pt x="1146" y="1504"/>
                </a:moveTo>
                <a:lnTo>
                  <a:pt x="1146" y="1508"/>
                </a:lnTo>
                <a:lnTo>
                  <a:pt x="1144" y="1506"/>
                </a:lnTo>
                <a:lnTo>
                  <a:pt x="1146" y="1504"/>
                </a:lnTo>
                <a:close/>
                <a:moveTo>
                  <a:pt x="928" y="1739"/>
                </a:moveTo>
                <a:lnTo>
                  <a:pt x="928" y="1741"/>
                </a:lnTo>
                <a:lnTo>
                  <a:pt x="927" y="1741"/>
                </a:lnTo>
                <a:lnTo>
                  <a:pt x="923" y="1741"/>
                </a:lnTo>
                <a:lnTo>
                  <a:pt x="925" y="1739"/>
                </a:lnTo>
                <a:lnTo>
                  <a:pt x="928" y="1739"/>
                </a:lnTo>
                <a:close/>
                <a:moveTo>
                  <a:pt x="1226" y="1326"/>
                </a:moveTo>
                <a:lnTo>
                  <a:pt x="1226" y="1327"/>
                </a:lnTo>
                <a:lnTo>
                  <a:pt x="1223" y="1327"/>
                </a:lnTo>
                <a:lnTo>
                  <a:pt x="1224" y="1326"/>
                </a:lnTo>
                <a:lnTo>
                  <a:pt x="1226" y="1326"/>
                </a:lnTo>
                <a:close/>
                <a:moveTo>
                  <a:pt x="1173" y="1399"/>
                </a:moveTo>
                <a:lnTo>
                  <a:pt x="1173" y="1400"/>
                </a:lnTo>
                <a:lnTo>
                  <a:pt x="1173" y="1402"/>
                </a:lnTo>
                <a:lnTo>
                  <a:pt x="1172" y="1402"/>
                </a:lnTo>
                <a:lnTo>
                  <a:pt x="1173" y="1402"/>
                </a:lnTo>
                <a:lnTo>
                  <a:pt x="1172" y="1402"/>
                </a:lnTo>
                <a:lnTo>
                  <a:pt x="1173" y="1400"/>
                </a:lnTo>
                <a:lnTo>
                  <a:pt x="1172" y="1400"/>
                </a:lnTo>
                <a:lnTo>
                  <a:pt x="1173" y="1400"/>
                </a:lnTo>
                <a:lnTo>
                  <a:pt x="1173" y="1399"/>
                </a:lnTo>
                <a:close/>
                <a:moveTo>
                  <a:pt x="930" y="1892"/>
                </a:moveTo>
                <a:lnTo>
                  <a:pt x="932" y="1892"/>
                </a:lnTo>
                <a:lnTo>
                  <a:pt x="934" y="1894"/>
                </a:lnTo>
                <a:lnTo>
                  <a:pt x="932" y="1894"/>
                </a:lnTo>
                <a:lnTo>
                  <a:pt x="930" y="1894"/>
                </a:lnTo>
                <a:lnTo>
                  <a:pt x="930" y="1892"/>
                </a:lnTo>
                <a:close/>
                <a:moveTo>
                  <a:pt x="1309" y="1135"/>
                </a:moveTo>
                <a:lnTo>
                  <a:pt x="1311" y="1137"/>
                </a:lnTo>
                <a:lnTo>
                  <a:pt x="1311" y="1138"/>
                </a:lnTo>
                <a:lnTo>
                  <a:pt x="1311" y="1137"/>
                </a:lnTo>
                <a:lnTo>
                  <a:pt x="1311" y="1138"/>
                </a:lnTo>
                <a:lnTo>
                  <a:pt x="1309" y="1138"/>
                </a:lnTo>
                <a:lnTo>
                  <a:pt x="1309" y="1137"/>
                </a:lnTo>
                <a:lnTo>
                  <a:pt x="1309" y="1135"/>
                </a:lnTo>
                <a:close/>
                <a:moveTo>
                  <a:pt x="1328" y="1123"/>
                </a:moveTo>
                <a:lnTo>
                  <a:pt x="1328" y="1125"/>
                </a:lnTo>
                <a:lnTo>
                  <a:pt x="1328" y="1127"/>
                </a:lnTo>
                <a:lnTo>
                  <a:pt x="1326" y="1125"/>
                </a:lnTo>
                <a:lnTo>
                  <a:pt x="1328" y="1123"/>
                </a:lnTo>
                <a:close/>
                <a:moveTo>
                  <a:pt x="915" y="1861"/>
                </a:moveTo>
                <a:lnTo>
                  <a:pt x="915" y="1863"/>
                </a:lnTo>
                <a:lnTo>
                  <a:pt x="915" y="1865"/>
                </a:lnTo>
                <a:lnTo>
                  <a:pt x="915" y="1867"/>
                </a:lnTo>
                <a:lnTo>
                  <a:pt x="915" y="1865"/>
                </a:lnTo>
                <a:lnTo>
                  <a:pt x="913" y="1867"/>
                </a:lnTo>
                <a:lnTo>
                  <a:pt x="915" y="1865"/>
                </a:lnTo>
                <a:lnTo>
                  <a:pt x="913" y="1863"/>
                </a:lnTo>
                <a:lnTo>
                  <a:pt x="913" y="1861"/>
                </a:lnTo>
                <a:lnTo>
                  <a:pt x="915" y="1863"/>
                </a:lnTo>
                <a:lnTo>
                  <a:pt x="915" y="1861"/>
                </a:lnTo>
                <a:close/>
                <a:moveTo>
                  <a:pt x="918" y="1766"/>
                </a:moveTo>
                <a:lnTo>
                  <a:pt x="920" y="1766"/>
                </a:lnTo>
                <a:lnTo>
                  <a:pt x="922" y="1768"/>
                </a:lnTo>
                <a:lnTo>
                  <a:pt x="920" y="1768"/>
                </a:lnTo>
                <a:lnTo>
                  <a:pt x="918" y="1768"/>
                </a:lnTo>
                <a:lnTo>
                  <a:pt x="918" y="1766"/>
                </a:lnTo>
                <a:close/>
                <a:moveTo>
                  <a:pt x="910" y="1805"/>
                </a:moveTo>
                <a:lnTo>
                  <a:pt x="911" y="1807"/>
                </a:lnTo>
                <a:lnTo>
                  <a:pt x="911" y="1809"/>
                </a:lnTo>
                <a:lnTo>
                  <a:pt x="911" y="1810"/>
                </a:lnTo>
                <a:lnTo>
                  <a:pt x="911" y="1809"/>
                </a:lnTo>
                <a:lnTo>
                  <a:pt x="910" y="1807"/>
                </a:lnTo>
                <a:lnTo>
                  <a:pt x="910" y="1805"/>
                </a:lnTo>
                <a:close/>
                <a:moveTo>
                  <a:pt x="1042" y="1611"/>
                </a:moveTo>
                <a:lnTo>
                  <a:pt x="1044" y="1608"/>
                </a:lnTo>
                <a:lnTo>
                  <a:pt x="1046" y="1608"/>
                </a:lnTo>
                <a:lnTo>
                  <a:pt x="1044" y="1610"/>
                </a:lnTo>
                <a:lnTo>
                  <a:pt x="1046" y="1610"/>
                </a:lnTo>
                <a:lnTo>
                  <a:pt x="1044" y="1611"/>
                </a:lnTo>
                <a:lnTo>
                  <a:pt x="1044" y="1610"/>
                </a:lnTo>
                <a:lnTo>
                  <a:pt x="1042" y="1611"/>
                </a:lnTo>
                <a:close/>
                <a:moveTo>
                  <a:pt x="1146" y="1472"/>
                </a:moveTo>
                <a:lnTo>
                  <a:pt x="1148" y="1474"/>
                </a:lnTo>
                <a:lnTo>
                  <a:pt x="1144" y="1474"/>
                </a:lnTo>
                <a:lnTo>
                  <a:pt x="1146" y="1472"/>
                </a:lnTo>
                <a:close/>
                <a:moveTo>
                  <a:pt x="1156" y="1513"/>
                </a:moveTo>
                <a:lnTo>
                  <a:pt x="1158" y="1513"/>
                </a:lnTo>
                <a:lnTo>
                  <a:pt x="1160" y="1513"/>
                </a:lnTo>
                <a:lnTo>
                  <a:pt x="1156" y="1514"/>
                </a:lnTo>
                <a:lnTo>
                  <a:pt x="1156" y="1513"/>
                </a:lnTo>
                <a:lnTo>
                  <a:pt x="1155" y="1513"/>
                </a:lnTo>
                <a:lnTo>
                  <a:pt x="1156" y="1513"/>
                </a:lnTo>
                <a:close/>
                <a:moveTo>
                  <a:pt x="939" y="1933"/>
                </a:moveTo>
                <a:lnTo>
                  <a:pt x="939" y="1935"/>
                </a:lnTo>
                <a:lnTo>
                  <a:pt x="937" y="1936"/>
                </a:lnTo>
                <a:lnTo>
                  <a:pt x="935" y="1936"/>
                </a:lnTo>
                <a:lnTo>
                  <a:pt x="937" y="1935"/>
                </a:lnTo>
                <a:lnTo>
                  <a:pt x="939" y="1933"/>
                </a:lnTo>
                <a:close/>
                <a:moveTo>
                  <a:pt x="905" y="1778"/>
                </a:moveTo>
                <a:lnTo>
                  <a:pt x="906" y="1780"/>
                </a:lnTo>
                <a:lnTo>
                  <a:pt x="908" y="1780"/>
                </a:lnTo>
                <a:lnTo>
                  <a:pt x="908" y="1781"/>
                </a:lnTo>
                <a:lnTo>
                  <a:pt x="906" y="1780"/>
                </a:lnTo>
                <a:lnTo>
                  <a:pt x="906" y="1781"/>
                </a:lnTo>
                <a:lnTo>
                  <a:pt x="906" y="1780"/>
                </a:lnTo>
                <a:lnTo>
                  <a:pt x="906" y="1781"/>
                </a:lnTo>
                <a:lnTo>
                  <a:pt x="905" y="1780"/>
                </a:lnTo>
                <a:lnTo>
                  <a:pt x="905" y="1781"/>
                </a:lnTo>
                <a:lnTo>
                  <a:pt x="905" y="1780"/>
                </a:lnTo>
                <a:lnTo>
                  <a:pt x="905" y="1778"/>
                </a:lnTo>
                <a:lnTo>
                  <a:pt x="905" y="1780"/>
                </a:lnTo>
                <a:lnTo>
                  <a:pt x="905" y="1778"/>
                </a:lnTo>
                <a:lnTo>
                  <a:pt x="905" y="1780"/>
                </a:lnTo>
                <a:lnTo>
                  <a:pt x="905" y="1778"/>
                </a:lnTo>
                <a:close/>
                <a:moveTo>
                  <a:pt x="1189" y="1385"/>
                </a:moveTo>
                <a:lnTo>
                  <a:pt x="1189" y="1389"/>
                </a:lnTo>
                <a:lnTo>
                  <a:pt x="1187" y="1389"/>
                </a:lnTo>
                <a:lnTo>
                  <a:pt x="1189" y="1387"/>
                </a:lnTo>
                <a:lnTo>
                  <a:pt x="1189" y="1385"/>
                </a:lnTo>
                <a:close/>
                <a:moveTo>
                  <a:pt x="908" y="1832"/>
                </a:moveTo>
                <a:lnTo>
                  <a:pt x="908" y="1834"/>
                </a:lnTo>
                <a:lnTo>
                  <a:pt x="908" y="1836"/>
                </a:lnTo>
                <a:lnTo>
                  <a:pt x="906" y="1834"/>
                </a:lnTo>
                <a:lnTo>
                  <a:pt x="906" y="1836"/>
                </a:lnTo>
                <a:lnTo>
                  <a:pt x="906" y="1834"/>
                </a:lnTo>
                <a:lnTo>
                  <a:pt x="906" y="1832"/>
                </a:lnTo>
                <a:lnTo>
                  <a:pt x="908" y="1832"/>
                </a:lnTo>
                <a:close/>
                <a:moveTo>
                  <a:pt x="1246" y="1242"/>
                </a:moveTo>
                <a:lnTo>
                  <a:pt x="1250" y="1246"/>
                </a:lnTo>
                <a:lnTo>
                  <a:pt x="1246" y="1244"/>
                </a:lnTo>
                <a:lnTo>
                  <a:pt x="1245" y="1242"/>
                </a:lnTo>
                <a:lnTo>
                  <a:pt x="1246" y="1242"/>
                </a:lnTo>
                <a:close/>
                <a:moveTo>
                  <a:pt x="968" y="1683"/>
                </a:moveTo>
                <a:lnTo>
                  <a:pt x="969" y="1684"/>
                </a:lnTo>
                <a:lnTo>
                  <a:pt x="968" y="1684"/>
                </a:lnTo>
                <a:lnTo>
                  <a:pt x="964" y="1684"/>
                </a:lnTo>
                <a:lnTo>
                  <a:pt x="968" y="1683"/>
                </a:lnTo>
                <a:close/>
                <a:moveTo>
                  <a:pt x="918" y="1736"/>
                </a:moveTo>
                <a:lnTo>
                  <a:pt x="920" y="1737"/>
                </a:lnTo>
                <a:lnTo>
                  <a:pt x="922" y="1739"/>
                </a:lnTo>
                <a:lnTo>
                  <a:pt x="920" y="1739"/>
                </a:lnTo>
                <a:lnTo>
                  <a:pt x="918" y="1737"/>
                </a:lnTo>
                <a:lnTo>
                  <a:pt x="918" y="1736"/>
                </a:lnTo>
                <a:close/>
                <a:moveTo>
                  <a:pt x="947" y="1708"/>
                </a:moveTo>
                <a:lnTo>
                  <a:pt x="947" y="1712"/>
                </a:lnTo>
                <a:lnTo>
                  <a:pt x="945" y="1712"/>
                </a:lnTo>
                <a:lnTo>
                  <a:pt x="945" y="1710"/>
                </a:lnTo>
                <a:lnTo>
                  <a:pt x="947" y="1708"/>
                </a:lnTo>
                <a:close/>
                <a:moveTo>
                  <a:pt x="1015" y="1664"/>
                </a:moveTo>
                <a:lnTo>
                  <a:pt x="1015" y="1666"/>
                </a:lnTo>
                <a:lnTo>
                  <a:pt x="1013" y="1667"/>
                </a:lnTo>
                <a:lnTo>
                  <a:pt x="1013" y="1666"/>
                </a:lnTo>
                <a:lnTo>
                  <a:pt x="1015" y="1664"/>
                </a:lnTo>
                <a:close/>
                <a:moveTo>
                  <a:pt x="1172" y="1407"/>
                </a:moveTo>
                <a:lnTo>
                  <a:pt x="1173" y="1409"/>
                </a:lnTo>
                <a:lnTo>
                  <a:pt x="1172" y="1409"/>
                </a:lnTo>
                <a:lnTo>
                  <a:pt x="1172" y="1407"/>
                </a:lnTo>
                <a:close/>
                <a:moveTo>
                  <a:pt x="911" y="1758"/>
                </a:moveTo>
                <a:lnTo>
                  <a:pt x="913" y="1758"/>
                </a:lnTo>
                <a:lnTo>
                  <a:pt x="913" y="1759"/>
                </a:lnTo>
                <a:lnTo>
                  <a:pt x="911" y="1759"/>
                </a:lnTo>
                <a:lnTo>
                  <a:pt x="910" y="1759"/>
                </a:lnTo>
                <a:lnTo>
                  <a:pt x="911" y="1758"/>
                </a:lnTo>
                <a:lnTo>
                  <a:pt x="911" y="1759"/>
                </a:lnTo>
                <a:lnTo>
                  <a:pt x="911" y="1758"/>
                </a:lnTo>
                <a:close/>
                <a:moveTo>
                  <a:pt x="1148" y="1485"/>
                </a:moveTo>
                <a:lnTo>
                  <a:pt x="1148" y="1487"/>
                </a:lnTo>
                <a:lnTo>
                  <a:pt x="1149" y="1485"/>
                </a:lnTo>
                <a:lnTo>
                  <a:pt x="1149" y="1487"/>
                </a:lnTo>
                <a:lnTo>
                  <a:pt x="1148" y="1489"/>
                </a:lnTo>
                <a:lnTo>
                  <a:pt x="1146" y="1489"/>
                </a:lnTo>
                <a:lnTo>
                  <a:pt x="1148" y="1487"/>
                </a:lnTo>
                <a:lnTo>
                  <a:pt x="1146" y="1489"/>
                </a:lnTo>
                <a:lnTo>
                  <a:pt x="1148" y="1485"/>
                </a:lnTo>
                <a:close/>
                <a:moveTo>
                  <a:pt x="1149" y="1475"/>
                </a:moveTo>
                <a:lnTo>
                  <a:pt x="1149" y="1477"/>
                </a:lnTo>
                <a:lnTo>
                  <a:pt x="1148" y="1479"/>
                </a:lnTo>
                <a:lnTo>
                  <a:pt x="1148" y="1477"/>
                </a:lnTo>
                <a:lnTo>
                  <a:pt x="1149" y="1477"/>
                </a:lnTo>
                <a:lnTo>
                  <a:pt x="1149" y="1475"/>
                </a:lnTo>
                <a:close/>
                <a:moveTo>
                  <a:pt x="1415" y="1118"/>
                </a:moveTo>
                <a:lnTo>
                  <a:pt x="1416" y="1118"/>
                </a:lnTo>
                <a:lnTo>
                  <a:pt x="1415" y="1120"/>
                </a:lnTo>
                <a:lnTo>
                  <a:pt x="1413" y="1118"/>
                </a:lnTo>
                <a:lnTo>
                  <a:pt x="1415" y="1118"/>
                </a:lnTo>
                <a:close/>
                <a:moveTo>
                  <a:pt x="1367" y="1133"/>
                </a:moveTo>
                <a:lnTo>
                  <a:pt x="1369" y="1135"/>
                </a:lnTo>
                <a:lnTo>
                  <a:pt x="1367" y="1135"/>
                </a:lnTo>
                <a:lnTo>
                  <a:pt x="1365" y="1133"/>
                </a:lnTo>
                <a:lnTo>
                  <a:pt x="1367" y="1133"/>
                </a:lnTo>
                <a:close/>
                <a:moveTo>
                  <a:pt x="1160" y="1462"/>
                </a:moveTo>
                <a:lnTo>
                  <a:pt x="1161" y="1463"/>
                </a:lnTo>
                <a:lnTo>
                  <a:pt x="1160" y="1463"/>
                </a:lnTo>
                <a:lnTo>
                  <a:pt x="1160" y="1465"/>
                </a:lnTo>
                <a:lnTo>
                  <a:pt x="1160" y="1463"/>
                </a:lnTo>
                <a:lnTo>
                  <a:pt x="1160" y="1462"/>
                </a:lnTo>
                <a:close/>
                <a:moveTo>
                  <a:pt x="1112" y="1523"/>
                </a:moveTo>
                <a:lnTo>
                  <a:pt x="1110" y="1525"/>
                </a:lnTo>
                <a:lnTo>
                  <a:pt x="1112" y="1523"/>
                </a:lnTo>
                <a:lnTo>
                  <a:pt x="1110" y="1525"/>
                </a:lnTo>
                <a:lnTo>
                  <a:pt x="1112" y="1525"/>
                </a:lnTo>
                <a:lnTo>
                  <a:pt x="1110" y="1525"/>
                </a:lnTo>
                <a:lnTo>
                  <a:pt x="1110" y="1526"/>
                </a:lnTo>
                <a:lnTo>
                  <a:pt x="1110" y="1525"/>
                </a:lnTo>
                <a:lnTo>
                  <a:pt x="1110" y="1526"/>
                </a:lnTo>
                <a:lnTo>
                  <a:pt x="1110" y="1525"/>
                </a:lnTo>
                <a:lnTo>
                  <a:pt x="1109" y="1525"/>
                </a:lnTo>
                <a:lnTo>
                  <a:pt x="1110" y="1525"/>
                </a:lnTo>
                <a:lnTo>
                  <a:pt x="1110" y="1523"/>
                </a:lnTo>
                <a:lnTo>
                  <a:pt x="1112" y="1523"/>
                </a:lnTo>
                <a:close/>
                <a:moveTo>
                  <a:pt x="1194" y="1366"/>
                </a:moveTo>
                <a:lnTo>
                  <a:pt x="1195" y="1368"/>
                </a:lnTo>
                <a:lnTo>
                  <a:pt x="1194" y="1368"/>
                </a:lnTo>
                <a:lnTo>
                  <a:pt x="1192" y="1368"/>
                </a:lnTo>
                <a:lnTo>
                  <a:pt x="1194" y="1366"/>
                </a:lnTo>
                <a:close/>
                <a:moveTo>
                  <a:pt x="1119" y="1943"/>
                </a:moveTo>
                <a:lnTo>
                  <a:pt x="1119" y="1945"/>
                </a:lnTo>
                <a:lnTo>
                  <a:pt x="1119" y="1946"/>
                </a:lnTo>
                <a:lnTo>
                  <a:pt x="1119" y="1945"/>
                </a:lnTo>
                <a:lnTo>
                  <a:pt x="1117" y="1945"/>
                </a:lnTo>
                <a:lnTo>
                  <a:pt x="1119" y="1943"/>
                </a:lnTo>
                <a:close/>
                <a:moveTo>
                  <a:pt x="1212" y="1241"/>
                </a:moveTo>
                <a:lnTo>
                  <a:pt x="1212" y="1242"/>
                </a:lnTo>
                <a:lnTo>
                  <a:pt x="1212" y="1244"/>
                </a:lnTo>
                <a:lnTo>
                  <a:pt x="1212" y="1242"/>
                </a:lnTo>
                <a:lnTo>
                  <a:pt x="1211" y="1242"/>
                </a:lnTo>
                <a:lnTo>
                  <a:pt x="1212" y="1241"/>
                </a:lnTo>
                <a:close/>
                <a:moveTo>
                  <a:pt x="927" y="1730"/>
                </a:moveTo>
                <a:lnTo>
                  <a:pt x="928" y="1730"/>
                </a:lnTo>
                <a:lnTo>
                  <a:pt x="928" y="1732"/>
                </a:lnTo>
                <a:lnTo>
                  <a:pt x="927" y="1730"/>
                </a:lnTo>
                <a:close/>
                <a:moveTo>
                  <a:pt x="1126" y="1526"/>
                </a:moveTo>
                <a:lnTo>
                  <a:pt x="1124" y="1528"/>
                </a:lnTo>
                <a:lnTo>
                  <a:pt x="1126" y="1528"/>
                </a:lnTo>
                <a:lnTo>
                  <a:pt x="1124" y="1530"/>
                </a:lnTo>
                <a:lnTo>
                  <a:pt x="1124" y="1528"/>
                </a:lnTo>
                <a:lnTo>
                  <a:pt x="1126" y="1526"/>
                </a:lnTo>
                <a:close/>
                <a:moveTo>
                  <a:pt x="930" y="1878"/>
                </a:moveTo>
                <a:lnTo>
                  <a:pt x="930" y="1880"/>
                </a:lnTo>
                <a:lnTo>
                  <a:pt x="930" y="1882"/>
                </a:lnTo>
                <a:lnTo>
                  <a:pt x="928" y="1882"/>
                </a:lnTo>
                <a:lnTo>
                  <a:pt x="930" y="1878"/>
                </a:lnTo>
                <a:close/>
                <a:moveTo>
                  <a:pt x="1066" y="1606"/>
                </a:moveTo>
                <a:lnTo>
                  <a:pt x="1066" y="1608"/>
                </a:lnTo>
                <a:lnTo>
                  <a:pt x="1066" y="1610"/>
                </a:lnTo>
                <a:lnTo>
                  <a:pt x="1064" y="1610"/>
                </a:lnTo>
                <a:lnTo>
                  <a:pt x="1066" y="1608"/>
                </a:lnTo>
                <a:lnTo>
                  <a:pt x="1066" y="1606"/>
                </a:lnTo>
                <a:close/>
                <a:moveTo>
                  <a:pt x="1053" y="1967"/>
                </a:moveTo>
                <a:lnTo>
                  <a:pt x="1054" y="1967"/>
                </a:lnTo>
                <a:lnTo>
                  <a:pt x="1056" y="1967"/>
                </a:lnTo>
                <a:lnTo>
                  <a:pt x="1056" y="1969"/>
                </a:lnTo>
                <a:lnTo>
                  <a:pt x="1054" y="1969"/>
                </a:lnTo>
                <a:lnTo>
                  <a:pt x="1054" y="1967"/>
                </a:lnTo>
                <a:lnTo>
                  <a:pt x="1053" y="1967"/>
                </a:lnTo>
                <a:close/>
                <a:moveTo>
                  <a:pt x="1214" y="1356"/>
                </a:moveTo>
                <a:lnTo>
                  <a:pt x="1217" y="1358"/>
                </a:lnTo>
                <a:lnTo>
                  <a:pt x="1216" y="1358"/>
                </a:lnTo>
                <a:lnTo>
                  <a:pt x="1214" y="1358"/>
                </a:lnTo>
                <a:lnTo>
                  <a:pt x="1214" y="1356"/>
                </a:lnTo>
                <a:close/>
                <a:moveTo>
                  <a:pt x="1369" y="1128"/>
                </a:moveTo>
                <a:lnTo>
                  <a:pt x="1369" y="1130"/>
                </a:lnTo>
                <a:lnTo>
                  <a:pt x="1367" y="1130"/>
                </a:lnTo>
                <a:lnTo>
                  <a:pt x="1369" y="1128"/>
                </a:lnTo>
                <a:close/>
                <a:moveTo>
                  <a:pt x="942" y="1708"/>
                </a:moveTo>
                <a:lnTo>
                  <a:pt x="942" y="1710"/>
                </a:lnTo>
                <a:lnTo>
                  <a:pt x="940" y="1710"/>
                </a:lnTo>
                <a:lnTo>
                  <a:pt x="940" y="1708"/>
                </a:lnTo>
                <a:lnTo>
                  <a:pt x="942" y="1708"/>
                </a:lnTo>
                <a:close/>
                <a:moveTo>
                  <a:pt x="1027" y="1642"/>
                </a:moveTo>
                <a:lnTo>
                  <a:pt x="1027" y="1644"/>
                </a:lnTo>
                <a:lnTo>
                  <a:pt x="1025" y="1644"/>
                </a:lnTo>
                <a:lnTo>
                  <a:pt x="1025" y="1645"/>
                </a:lnTo>
                <a:lnTo>
                  <a:pt x="1024" y="1645"/>
                </a:lnTo>
                <a:lnTo>
                  <a:pt x="1024" y="1644"/>
                </a:lnTo>
                <a:lnTo>
                  <a:pt x="1027" y="1644"/>
                </a:lnTo>
                <a:lnTo>
                  <a:pt x="1027" y="1642"/>
                </a:lnTo>
                <a:close/>
                <a:moveTo>
                  <a:pt x="932" y="1717"/>
                </a:moveTo>
                <a:lnTo>
                  <a:pt x="934" y="1719"/>
                </a:lnTo>
                <a:lnTo>
                  <a:pt x="930" y="1717"/>
                </a:lnTo>
                <a:lnTo>
                  <a:pt x="932" y="1717"/>
                </a:lnTo>
                <a:close/>
                <a:moveTo>
                  <a:pt x="1153" y="1438"/>
                </a:moveTo>
                <a:lnTo>
                  <a:pt x="1153" y="1440"/>
                </a:lnTo>
                <a:lnTo>
                  <a:pt x="1151" y="1441"/>
                </a:lnTo>
                <a:lnTo>
                  <a:pt x="1153" y="1440"/>
                </a:lnTo>
                <a:lnTo>
                  <a:pt x="1151" y="1440"/>
                </a:lnTo>
                <a:lnTo>
                  <a:pt x="1151" y="1441"/>
                </a:lnTo>
                <a:lnTo>
                  <a:pt x="1151" y="1440"/>
                </a:lnTo>
                <a:lnTo>
                  <a:pt x="1153" y="1438"/>
                </a:lnTo>
                <a:close/>
                <a:moveTo>
                  <a:pt x="913" y="1763"/>
                </a:moveTo>
                <a:lnTo>
                  <a:pt x="915" y="1766"/>
                </a:lnTo>
                <a:lnTo>
                  <a:pt x="917" y="1764"/>
                </a:lnTo>
                <a:lnTo>
                  <a:pt x="915" y="1766"/>
                </a:lnTo>
                <a:lnTo>
                  <a:pt x="913" y="1764"/>
                </a:lnTo>
                <a:lnTo>
                  <a:pt x="913" y="1763"/>
                </a:lnTo>
                <a:close/>
                <a:moveTo>
                  <a:pt x="1119" y="1941"/>
                </a:moveTo>
                <a:lnTo>
                  <a:pt x="1119" y="1943"/>
                </a:lnTo>
                <a:lnTo>
                  <a:pt x="1117" y="1945"/>
                </a:lnTo>
                <a:lnTo>
                  <a:pt x="1117" y="1943"/>
                </a:lnTo>
                <a:lnTo>
                  <a:pt x="1119" y="1941"/>
                </a:lnTo>
                <a:close/>
                <a:moveTo>
                  <a:pt x="910" y="1872"/>
                </a:moveTo>
                <a:lnTo>
                  <a:pt x="911" y="1872"/>
                </a:lnTo>
                <a:lnTo>
                  <a:pt x="911" y="1873"/>
                </a:lnTo>
                <a:lnTo>
                  <a:pt x="910" y="1873"/>
                </a:lnTo>
                <a:lnTo>
                  <a:pt x="911" y="1872"/>
                </a:lnTo>
                <a:lnTo>
                  <a:pt x="910" y="1872"/>
                </a:lnTo>
                <a:close/>
                <a:moveTo>
                  <a:pt x="911" y="1858"/>
                </a:moveTo>
                <a:lnTo>
                  <a:pt x="913" y="1858"/>
                </a:lnTo>
                <a:lnTo>
                  <a:pt x="913" y="1861"/>
                </a:lnTo>
                <a:lnTo>
                  <a:pt x="911" y="1861"/>
                </a:lnTo>
                <a:lnTo>
                  <a:pt x="911" y="1858"/>
                </a:lnTo>
                <a:close/>
                <a:moveTo>
                  <a:pt x="1024" y="2003"/>
                </a:moveTo>
                <a:lnTo>
                  <a:pt x="1025" y="2003"/>
                </a:lnTo>
                <a:lnTo>
                  <a:pt x="1024" y="2004"/>
                </a:lnTo>
                <a:lnTo>
                  <a:pt x="1022" y="2004"/>
                </a:lnTo>
                <a:lnTo>
                  <a:pt x="1024" y="2004"/>
                </a:lnTo>
                <a:lnTo>
                  <a:pt x="1024" y="2003"/>
                </a:lnTo>
                <a:close/>
                <a:moveTo>
                  <a:pt x="1151" y="1450"/>
                </a:moveTo>
                <a:lnTo>
                  <a:pt x="1151" y="1451"/>
                </a:lnTo>
                <a:lnTo>
                  <a:pt x="1151" y="1453"/>
                </a:lnTo>
                <a:lnTo>
                  <a:pt x="1149" y="1453"/>
                </a:lnTo>
                <a:lnTo>
                  <a:pt x="1151" y="1450"/>
                </a:lnTo>
                <a:close/>
                <a:moveTo>
                  <a:pt x="1114" y="1523"/>
                </a:moveTo>
                <a:lnTo>
                  <a:pt x="1114" y="1525"/>
                </a:lnTo>
                <a:lnTo>
                  <a:pt x="1112" y="1525"/>
                </a:lnTo>
                <a:lnTo>
                  <a:pt x="1110" y="1526"/>
                </a:lnTo>
                <a:lnTo>
                  <a:pt x="1110" y="1525"/>
                </a:lnTo>
                <a:lnTo>
                  <a:pt x="1114" y="1523"/>
                </a:lnTo>
                <a:close/>
                <a:moveTo>
                  <a:pt x="1039" y="1987"/>
                </a:moveTo>
                <a:lnTo>
                  <a:pt x="1039" y="1989"/>
                </a:lnTo>
                <a:lnTo>
                  <a:pt x="1037" y="1989"/>
                </a:lnTo>
                <a:lnTo>
                  <a:pt x="1037" y="1987"/>
                </a:lnTo>
                <a:lnTo>
                  <a:pt x="1039" y="1987"/>
                </a:lnTo>
                <a:close/>
                <a:moveTo>
                  <a:pt x="903" y="1815"/>
                </a:moveTo>
                <a:lnTo>
                  <a:pt x="903" y="1817"/>
                </a:lnTo>
                <a:lnTo>
                  <a:pt x="903" y="1819"/>
                </a:lnTo>
                <a:lnTo>
                  <a:pt x="901" y="1817"/>
                </a:lnTo>
                <a:lnTo>
                  <a:pt x="903" y="1817"/>
                </a:lnTo>
                <a:lnTo>
                  <a:pt x="901" y="1817"/>
                </a:lnTo>
                <a:lnTo>
                  <a:pt x="903" y="1815"/>
                </a:lnTo>
                <a:close/>
                <a:moveTo>
                  <a:pt x="908" y="1836"/>
                </a:moveTo>
                <a:lnTo>
                  <a:pt x="910" y="1838"/>
                </a:lnTo>
                <a:lnTo>
                  <a:pt x="910" y="1839"/>
                </a:lnTo>
                <a:lnTo>
                  <a:pt x="908" y="1839"/>
                </a:lnTo>
                <a:lnTo>
                  <a:pt x="908" y="1836"/>
                </a:lnTo>
                <a:close/>
                <a:moveTo>
                  <a:pt x="1047" y="1980"/>
                </a:moveTo>
                <a:lnTo>
                  <a:pt x="1047" y="1982"/>
                </a:lnTo>
                <a:lnTo>
                  <a:pt x="1046" y="1982"/>
                </a:lnTo>
                <a:lnTo>
                  <a:pt x="1044" y="1982"/>
                </a:lnTo>
                <a:lnTo>
                  <a:pt x="1046" y="1980"/>
                </a:lnTo>
                <a:lnTo>
                  <a:pt x="1047" y="1980"/>
                </a:lnTo>
                <a:close/>
                <a:moveTo>
                  <a:pt x="905" y="1826"/>
                </a:moveTo>
                <a:lnTo>
                  <a:pt x="906" y="1827"/>
                </a:lnTo>
                <a:lnTo>
                  <a:pt x="905" y="1827"/>
                </a:lnTo>
                <a:lnTo>
                  <a:pt x="905" y="1826"/>
                </a:lnTo>
                <a:close/>
                <a:moveTo>
                  <a:pt x="1586" y="1098"/>
                </a:moveTo>
                <a:lnTo>
                  <a:pt x="1588" y="1098"/>
                </a:lnTo>
                <a:lnTo>
                  <a:pt x="1588" y="1099"/>
                </a:lnTo>
                <a:lnTo>
                  <a:pt x="1586" y="1099"/>
                </a:lnTo>
                <a:lnTo>
                  <a:pt x="1586" y="1098"/>
                </a:lnTo>
                <a:close/>
                <a:moveTo>
                  <a:pt x="1197" y="1354"/>
                </a:moveTo>
                <a:lnTo>
                  <a:pt x="1197" y="1356"/>
                </a:lnTo>
                <a:lnTo>
                  <a:pt x="1195" y="1356"/>
                </a:lnTo>
                <a:lnTo>
                  <a:pt x="1194" y="1356"/>
                </a:lnTo>
                <a:lnTo>
                  <a:pt x="1195" y="1356"/>
                </a:lnTo>
                <a:lnTo>
                  <a:pt x="1195" y="1354"/>
                </a:lnTo>
                <a:lnTo>
                  <a:pt x="1197" y="1354"/>
                </a:lnTo>
                <a:close/>
                <a:moveTo>
                  <a:pt x="922" y="1926"/>
                </a:moveTo>
                <a:lnTo>
                  <a:pt x="923" y="1926"/>
                </a:lnTo>
                <a:lnTo>
                  <a:pt x="923" y="1929"/>
                </a:lnTo>
                <a:lnTo>
                  <a:pt x="922" y="1929"/>
                </a:lnTo>
                <a:lnTo>
                  <a:pt x="922" y="1926"/>
                </a:lnTo>
                <a:close/>
                <a:moveTo>
                  <a:pt x="1175" y="1404"/>
                </a:moveTo>
                <a:lnTo>
                  <a:pt x="1175" y="1406"/>
                </a:lnTo>
                <a:lnTo>
                  <a:pt x="1173" y="1407"/>
                </a:lnTo>
                <a:lnTo>
                  <a:pt x="1173" y="1406"/>
                </a:lnTo>
                <a:lnTo>
                  <a:pt x="1175" y="1404"/>
                </a:lnTo>
                <a:close/>
                <a:moveTo>
                  <a:pt x="957" y="1696"/>
                </a:moveTo>
                <a:lnTo>
                  <a:pt x="959" y="1696"/>
                </a:lnTo>
                <a:lnTo>
                  <a:pt x="957" y="1698"/>
                </a:lnTo>
                <a:lnTo>
                  <a:pt x="956" y="1698"/>
                </a:lnTo>
                <a:lnTo>
                  <a:pt x="957" y="1696"/>
                </a:lnTo>
                <a:close/>
                <a:moveTo>
                  <a:pt x="1054" y="1616"/>
                </a:moveTo>
                <a:lnTo>
                  <a:pt x="1056" y="1618"/>
                </a:lnTo>
                <a:lnTo>
                  <a:pt x="1054" y="1618"/>
                </a:lnTo>
                <a:lnTo>
                  <a:pt x="1054" y="1616"/>
                </a:lnTo>
                <a:close/>
                <a:moveTo>
                  <a:pt x="918" y="1759"/>
                </a:moveTo>
                <a:lnTo>
                  <a:pt x="922" y="1759"/>
                </a:lnTo>
                <a:lnTo>
                  <a:pt x="918" y="1759"/>
                </a:lnTo>
                <a:close/>
                <a:moveTo>
                  <a:pt x="1299" y="1142"/>
                </a:moveTo>
                <a:lnTo>
                  <a:pt x="1301" y="1142"/>
                </a:lnTo>
                <a:lnTo>
                  <a:pt x="1301" y="1145"/>
                </a:lnTo>
                <a:lnTo>
                  <a:pt x="1299" y="1145"/>
                </a:lnTo>
                <a:lnTo>
                  <a:pt x="1299" y="1142"/>
                </a:lnTo>
                <a:close/>
                <a:moveTo>
                  <a:pt x="906" y="1831"/>
                </a:moveTo>
                <a:lnTo>
                  <a:pt x="906" y="1834"/>
                </a:lnTo>
                <a:lnTo>
                  <a:pt x="905" y="1834"/>
                </a:lnTo>
                <a:lnTo>
                  <a:pt x="906" y="1831"/>
                </a:lnTo>
                <a:close/>
                <a:moveTo>
                  <a:pt x="1068" y="1958"/>
                </a:moveTo>
                <a:lnTo>
                  <a:pt x="1066" y="1960"/>
                </a:lnTo>
                <a:lnTo>
                  <a:pt x="1066" y="1958"/>
                </a:lnTo>
                <a:lnTo>
                  <a:pt x="1064" y="1958"/>
                </a:lnTo>
                <a:lnTo>
                  <a:pt x="1066" y="1958"/>
                </a:lnTo>
                <a:lnTo>
                  <a:pt x="1068" y="1958"/>
                </a:lnTo>
                <a:close/>
                <a:moveTo>
                  <a:pt x="940" y="1703"/>
                </a:moveTo>
                <a:lnTo>
                  <a:pt x="942" y="1705"/>
                </a:lnTo>
                <a:lnTo>
                  <a:pt x="940" y="1705"/>
                </a:lnTo>
                <a:lnTo>
                  <a:pt x="940" y="1703"/>
                </a:lnTo>
                <a:close/>
                <a:moveTo>
                  <a:pt x="1012" y="1656"/>
                </a:moveTo>
                <a:lnTo>
                  <a:pt x="1010" y="1656"/>
                </a:lnTo>
                <a:lnTo>
                  <a:pt x="1012" y="1656"/>
                </a:lnTo>
                <a:lnTo>
                  <a:pt x="1010" y="1656"/>
                </a:lnTo>
                <a:lnTo>
                  <a:pt x="1012" y="1656"/>
                </a:lnTo>
                <a:close/>
                <a:moveTo>
                  <a:pt x="922" y="1860"/>
                </a:moveTo>
                <a:lnTo>
                  <a:pt x="923" y="1860"/>
                </a:lnTo>
                <a:lnTo>
                  <a:pt x="922" y="1863"/>
                </a:lnTo>
                <a:lnTo>
                  <a:pt x="920" y="1863"/>
                </a:lnTo>
                <a:lnTo>
                  <a:pt x="922" y="1860"/>
                </a:lnTo>
                <a:close/>
                <a:moveTo>
                  <a:pt x="1187" y="1383"/>
                </a:moveTo>
                <a:lnTo>
                  <a:pt x="1189" y="1385"/>
                </a:lnTo>
                <a:lnTo>
                  <a:pt x="1187" y="1387"/>
                </a:lnTo>
                <a:lnTo>
                  <a:pt x="1187" y="1385"/>
                </a:lnTo>
                <a:lnTo>
                  <a:pt x="1187" y="1383"/>
                </a:lnTo>
                <a:close/>
                <a:moveTo>
                  <a:pt x="1211" y="1242"/>
                </a:moveTo>
                <a:lnTo>
                  <a:pt x="1212" y="1244"/>
                </a:lnTo>
                <a:lnTo>
                  <a:pt x="1209" y="1244"/>
                </a:lnTo>
                <a:lnTo>
                  <a:pt x="1211" y="1242"/>
                </a:lnTo>
                <a:close/>
                <a:moveTo>
                  <a:pt x="1243" y="1235"/>
                </a:moveTo>
                <a:lnTo>
                  <a:pt x="1243" y="1237"/>
                </a:lnTo>
                <a:lnTo>
                  <a:pt x="1243" y="1239"/>
                </a:lnTo>
                <a:lnTo>
                  <a:pt x="1243" y="1237"/>
                </a:lnTo>
                <a:lnTo>
                  <a:pt x="1243" y="1235"/>
                </a:lnTo>
                <a:close/>
                <a:moveTo>
                  <a:pt x="915" y="1880"/>
                </a:moveTo>
                <a:lnTo>
                  <a:pt x="917" y="1882"/>
                </a:lnTo>
                <a:lnTo>
                  <a:pt x="918" y="1884"/>
                </a:lnTo>
                <a:lnTo>
                  <a:pt x="917" y="1882"/>
                </a:lnTo>
                <a:lnTo>
                  <a:pt x="915" y="1880"/>
                </a:lnTo>
                <a:close/>
                <a:moveTo>
                  <a:pt x="1209" y="1239"/>
                </a:moveTo>
                <a:lnTo>
                  <a:pt x="1211" y="1239"/>
                </a:lnTo>
                <a:lnTo>
                  <a:pt x="1211" y="1242"/>
                </a:lnTo>
                <a:lnTo>
                  <a:pt x="1209" y="1239"/>
                </a:lnTo>
                <a:close/>
                <a:moveTo>
                  <a:pt x="1399" y="1067"/>
                </a:moveTo>
                <a:lnTo>
                  <a:pt x="1403" y="1069"/>
                </a:lnTo>
                <a:lnTo>
                  <a:pt x="1399" y="1069"/>
                </a:lnTo>
                <a:lnTo>
                  <a:pt x="1399" y="1067"/>
                </a:lnTo>
                <a:close/>
                <a:moveTo>
                  <a:pt x="910" y="1795"/>
                </a:moveTo>
                <a:lnTo>
                  <a:pt x="911" y="1795"/>
                </a:lnTo>
                <a:lnTo>
                  <a:pt x="910" y="1798"/>
                </a:lnTo>
                <a:lnTo>
                  <a:pt x="910" y="1795"/>
                </a:lnTo>
                <a:close/>
                <a:moveTo>
                  <a:pt x="911" y="1815"/>
                </a:moveTo>
                <a:lnTo>
                  <a:pt x="911" y="1817"/>
                </a:lnTo>
                <a:lnTo>
                  <a:pt x="913" y="1819"/>
                </a:lnTo>
                <a:lnTo>
                  <a:pt x="911" y="1817"/>
                </a:lnTo>
                <a:lnTo>
                  <a:pt x="911" y="1815"/>
                </a:lnTo>
                <a:close/>
                <a:moveTo>
                  <a:pt x="942" y="1875"/>
                </a:moveTo>
                <a:lnTo>
                  <a:pt x="942" y="1877"/>
                </a:lnTo>
                <a:lnTo>
                  <a:pt x="940" y="1877"/>
                </a:lnTo>
                <a:lnTo>
                  <a:pt x="939" y="1877"/>
                </a:lnTo>
                <a:lnTo>
                  <a:pt x="940" y="1877"/>
                </a:lnTo>
                <a:lnTo>
                  <a:pt x="942" y="1875"/>
                </a:lnTo>
                <a:close/>
                <a:moveTo>
                  <a:pt x="915" y="1788"/>
                </a:moveTo>
                <a:lnTo>
                  <a:pt x="917" y="1788"/>
                </a:lnTo>
                <a:lnTo>
                  <a:pt x="917" y="1790"/>
                </a:lnTo>
                <a:lnTo>
                  <a:pt x="915" y="1790"/>
                </a:lnTo>
                <a:lnTo>
                  <a:pt x="915" y="1788"/>
                </a:lnTo>
                <a:close/>
                <a:moveTo>
                  <a:pt x="1500" y="1050"/>
                </a:moveTo>
                <a:lnTo>
                  <a:pt x="1501" y="1050"/>
                </a:lnTo>
                <a:lnTo>
                  <a:pt x="1501" y="1052"/>
                </a:lnTo>
                <a:lnTo>
                  <a:pt x="1500" y="1052"/>
                </a:lnTo>
                <a:lnTo>
                  <a:pt x="1500" y="1050"/>
                </a:lnTo>
                <a:close/>
                <a:moveTo>
                  <a:pt x="1010" y="2011"/>
                </a:moveTo>
                <a:lnTo>
                  <a:pt x="1012" y="2013"/>
                </a:lnTo>
                <a:lnTo>
                  <a:pt x="1010" y="2013"/>
                </a:lnTo>
                <a:lnTo>
                  <a:pt x="1010" y="2015"/>
                </a:lnTo>
                <a:lnTo>
                  <a:pt x="1010" y="2013"/>
                </a:lnTo>
                <a:lnTo>
                  <a:pt x="1008" y="2013"/>
                </a:lnTo>
                <a:lnTo>
                  <a:pt x="1010" y="2013"/>
                </a:lnTo>
                <a:lnTo>
                  <a:pt x="1010" y="2011"/>
                </a:lnTo>
                <a:close/>
                <a:moveTo>
                  <a:pt x="1153" y="1423"/>
                </a:moveTo>
                <a:lnTo>
                  <a:pt x="1153" y="1424"/>
                </a:lnTo>
                <a:lnTo>
                  <a:pt x="1151" y="1424"/>
                </a:lnTo>
                <a:lnTo>
                  <a:pt x="1153" y="1423"/>
                </a:lnTo>
                <a:close/>
                <a:moveTo>
                  <a:pt x="901" y="1919"/>
                </a:moveTo>
                <a:lnTo>
                  <a:pt x="901" y="1921"/>
                </a:lnTo>
                <a:lnTo>
                  <a:pt x="900" y="1919"/>
                </a:lnTo>
                <a:lnTo>
                  <a:pt x="901" y="1921"/>
                </a:lnTo>
                <a:lnTo>
                  <a:pt x="901" y="1919"/>
                </a:lnTo>
                <a:close/>
                <a:moveTo>
                  <a:pt x="1149" y="1450"/>
                </a:moveTo>
                <a:lnTo>
                  <a:pt x="1151" y="1450"/>
                </a:lnTo>
                <a:lnTo>
                  <a:pt x="1149" y="1451"/>
                </a:lnTo>
                <a:lnTo>
                  <a:pt x="1149" y="1450"/>
                </a:lnTo>
                <a:close/>
                <a:moveTo>
                  <a:pt x="1382" y="1140"/>
                </a:moveTo>
                <a:lnTo>
                  <a:pt x="1384" y="1142"/>
                </a:lnTo>
                <a:lnTo>
                  <a:pt x="1384" y="1144"/>
                </a:lnTo>
                <a:lnTo>
                  <a:pt x="1382" y="1140"/>
                </a:lnTo>
                <a:close/>
                <a:moveTo>
                  <a:pt x="1136" y="1518"/>
                </a:moveTo>
                <a:lnTo>
                  <a:pt x="1134" y="1519"/>
                </a:lnTo>
                <a:lnTo>
                  <a:pt x="1136" y="1518"/>
                </a:lnTo>
                <a:lnTo>
                  <a:pt x="1134" y="1518"/>
                </a:lnTo>
                <a:lnTo>
                  <a:pt x="1136" y="1518"/>
                </a:lnTo>
                <a:close/>
                <a:moveTo>
                  <a:pt x="1309" y="1132"/>
                </a:moveTo>
                <a:lnTo>
                  <a:pt x="1309" y="1133"/>
                </a:lnTo>
                <a:lnTo>
                  <a:pt x="1309" y="1132"/>
                </a:lnTo>
                <a:close/>
                <a:moveTo>
                  <a:pt x="1129" y="1525"/>
                </a:moveTo>
                <a:lnTo>
                  <a:pt x="1129" y="1526"/>
                </a:lnTo>
                <a:lnTo>
                  <a:pt x="1127" y="1526"/>
                </a:lnTo>
                <a:lnTo>
                  <a:pt x="1129" y="1525"/>
                </a:lnTo>
                <a:close/>
                <a:moveTo>
                  <a:pt x="911" y="1761"/>
                </a:moveTo>
                <a:lnTo>
                  <a:pt x="913" y="1761"/>
                </a:lnTo>
                <a:lnTo>
                  <a:pt x="911" y="1761"/>
                </a:lnTo>
                <a:lnTo>
                  <a:pt x="910" y="1761"/>
                </a:lnTo>
                <a:lnTo>
                  <a:pt x="911" y="1761"/>
                </a:lnTo>
                <a:close/>
                <a:moveTo>
                  <a:pt x="1109" y="1555"/>
                </a:moveTo>
                <a:lnTo>
                  <a:pt x="1110" y="1557"/>
                </a:lnTo>
                <a:lnTo>
                  <a:pt x="1109" y="1557"/>
                </a:lnTo>
                <a:lnTo>
                  <a:pt x="1109" y="1555"/>
                </a:lnTo>
                <a:close/>
                <a:moveTo>
                  <a:pt x="913" y="1861"/>
                </a:moveTo>
                <a:lnTo>
                  <a:pt x="913" y="1863"/>
                </a:lnTo>
                <a:lnTo>
                  <a:pt x="911" y="1863"/>
                </a:lnTo>
                <a:lnTo>
                  <a:pt x="911" y="1865"/>
                </a:lnTo>
                <a:lnTo>
                  <a:pt x="911" y="1863"/>
                </a:lnTo>
                <a:lnTo>
                  <a:pt x="913" y="1861"/>
                </a:lnTo>
                <a:close/>
                <a:moveTo>
                  <a:pt x="1195" y="1372"/>
                </a:moveTo>
                <a:lnTo>
                  <a:pt x="1197" y="1372"/>
                </a:lnTo>
                <a:lnTo>
                  <a:pt x="1197" y="1375"/>
                </a:lnTo>
                <a:lnTo>
                  <a:pt x="1195" y="1375"/>
                </a:lnTo>
                <a:lnTo>
                  <a:pt x="1195" y="1372"/>
                </a:lnTo>
                <a:close/>
                <a:moveTo>
                  <a:pt x="1107" y="1555"/>
                </a:moveTo>
                <a:lnTo>
                  <a:pt x="1107" y="1557"/>
                </a:lnTo>
                <a:lnTo>
                  <a:pt x="1105" y="1557"/>
                </a:lnTo>
                <a:lnTo>
                  <a:pt x="1107" y="1557"/>
                </a:lnTo>
                <a:lnTo>
                  <a:pt x="1107" y="1555"/>
                </a:lnTo>
                <a:close/>
                <a:moveTo>
                  <a:pt x="1197" y="1365"/>
                </a:moveTo>
                <a:lnTo>
                  <a:pt x="1195" y="1366"/>
                </a:lnTo>
                <a:lnTo>
                  <a:pt x="1197" y="1365"/>
                </a:lnTo>
                <a:close/>
                <a:moveTo>
                  <a:pt x="959" y="1700"/>
                </a:moveTo>
                <a:lnTo>
                  <a:pt x="962" y="1700"/>
                </a:lnTo>
                <a:lnTo>
                  <a:pt x="961" y="1700"/>
                </a:lnTo>
                <a:lnTo>
                  <a:pt x="959" y="1700"/>
                </a:lnTo>
                <a:close/>
                <a:moveTo>
                  <a:pt x="918" y="1759"/>
                </a:moveTo>
                <a:lnTo>
                  <a:pt x="918" y="1761"/>
                </a:lnTo>
                <a:lnTo>
                  <a:pt x="917" y="1761"/>
                </a:lnTo>
                <a:lnTo>
                  <a:pt x="918" y="1759"/>
                </a:lnTo>
                <a:close/>
                <a:moveTo>
                  <a:pt x="1430" y="1060"/>
                </a:moveTo>
                <a:lnTo>
                  <a:pt x="1428" y="1062"/>
                </a:lnTo>
                <a:lnTo>
                  <a:pt x="1430" y="1060"/>
                </a:lnTo>
                <a:close/>
                <a:moveTo>
                  <a:pt x="1493" y="1079"/>
                </a:moveTo>
                <a:lnTo>
                  <a:pt x="1493" y="1081"/>
                </a:lnTo>
                <a:lnTo>
                  <a:pt x="1493" y="1079"/>
                </a:lnTo>
                <a:close/>
                <a:moveTo>
                  <a:pt x="1027" y="1647"/>
                </a:moveTo>
                <a:lnTo>
                  <a:pt x="1027" y="1649"/>
                </a:lnTo>
                <a:lnTo>
                  <a:pt x="1025" y="1649"/>
                </a:lnTo>
                <a:lnTo>
                  <a:pt x="1027" y="1647"/>
                </a:lnTo>
                <a:close/>
                <a:moveTo>
                  <a:pt x="1119" y="1521"/>
                </a:moveTo>
                <a:lnTo>
                  <a:pt x="1119" y="1523"/>
                </a:lnTo>
                <a:lnTo>
                  <a:pt x="1117" y="1523"/>
                </a:lnTo>
                <a:lnTo>
                  <a:pt x="1119" y="1521"/>
                </a:lnTo>
                <a:close/>
                <a:moveTo>
                  <a:pt x="1270" y="1261"/>
                </a:moveTo>
                <a:lnTo>
                  <a:pt x="1270" y="1263"/>
                </a:lnTo>
                <a:lnTo>
                  <a:pt x="1270" y="1261"/>
                </a:lnTo>
                <a:close/>
                <a:moveTo>
                  <a:pt x="957" y="1999"/>
                </a:moveTo>
                <a:lnTo>
                  <a:pt x="957" y="2001"/>
                </a:lnTo>
                <a:lnTo>
                  <a:pt x="957" y="1999"/>
                </a:lnTo>
                <a:close/>
                <a:moveTo>
                  <a:pt x="1007" y="1657"/>
                </a:moveTo>
                <a:lnTo>
                  <a:pt x="1007" y="1661"/>
                </a:lnTo>
                <a:lnTo>
                  <a:pt x="1007" y="1657"/>
                </a:lnTo>
                <a:close/>
                <a:moveTo>
                  <a:pt x="1600" y="1053"/>
                </a:moveTo>
                <a:lnTo>
                  <a:pt x="1602" y="1055"/>
                </a:lnTo>
                <a:lnTo>
                  <a:pt x="1603" y="1055"/>
                </a:lnTo>
                <a:lnTo>
                  <a:pt x="1602" y="1057"/>
                </a:lnTo>
                <a:lnTo>
                  <a:pt x="1600" y="1053"/>
                </a:lnTo>
                <a:close/>
                <a:moveTo>
                  <a:pt x="1228" y="1329"/>
                </a:moveTo>
                <a:lnTo>
                  <a:pt x="1229" y="1329"/>
                </a:lnTo>
                <a:lnTo>
                  <a:pt x="1228" y="1329"/>
                </a:lnTo>
                <a:close/>
                <a:moveTo>
                  <a:pt x="996" y="1683"/>
                </a:moveTo>
                <a:lnTo>
                  <a:pt x="998" y="1683"/>
                </a:lnTo>
                <a:lnTo>
                  <a:pt x="995" y="1684"/>
                </a:lnTo>
                <a:lnTo>
                  <a:pt x="993" y="1684"/>
                </a:lnTo>
                <a:lnTo>
                  <a:pt x="995" y="1684"/>
                </a:lnTo>
                <a:lnTo>
                  <a:pt x="996" y="1683"/>
                </a:lnTo>
                <a:close/>
                <a:moveTo>
                  <a:pt x="935" y="1924"/>
                </a:moveTo>
                <a:lnTo>
                  <a:pt x="937" y="1924"/>
                </a:lnTo>
                <a:lnTo>
                  <a:pt x="937" y="1928"/>
                </a:lnTo>
                <a:lnTo>
                  <a:pt x="935" y="1926"/>
                </a:lnTo>
                <a:lnTo>
                  <a:pt x="935" y="1924"/>
                </a:lnTo>
                <a:close/>
                <a:moveTo>
                  <a:pt x="1122" y="1535"/>
                </a:moveTo>
                <a:lnTo>
                  <a:pt x="1121" y="1537"/>
                </a:lnTo>
                <a:lnTo>
                  <a:pt x="1121" y="1535"/>
                </a:lnTo>
                <a:lnTo>
                  <a:pt x="1122" y="1535"/>
                </a:lnTo>
                <a:close/>
                <a:moveTo>
                  <a:pt x="1066" y="1955"/>
                </a:moveTo>
                <a:lnTo>
                  <a:pt x="1068" y="1955"/>
                </a:lnTo>
                <a:lnTo>
                  <a:pt x="1066" y="1955"/>
                </a:lnTo>
                <a:lnTo>
                  <a:pt x="1066" y="1957"/>
                </a:lnTo>
                <a:lnTo>
                  <a:pt x="1066" y="1955"/>
                </a:lnTo>
                <a:close/>
                <a:moveTo>
                  <a:pt x="991" y="2016"/>
                </a:moveTo>
                <a:lnTo>
                  <a:pt x="993" y="2018"/>
                </a:lnTo>
                <a:lnTo>
                  <a:pt x="993" y="2020"/>
                </a:lnTo>
                <a:lnTo>
                  <a:pt x="993" y="2018"/>
                </a:lnTo>
                <a:lnTo>
                  <a:pt x="993" y="2020"/>
                </a:lnTo>
                <a:lnTo>
                  <a:pt x="991" y="2018"/>
                </a:lnTo>
                <a:lnTo>
                  <a:pt x="991" y="2016"/>
                </a:lnTo>
                <a:close/>
                <a:moveTo>
                  <a:pt x="1309" y="1169"/>
                </a:moveTo>
                <a:lnTo>
                  <a:pt x="1309" y="1171"/>
                </a:lnTo>
                <a:lnTo>
                  <a:pt x="1309" y="1169"/>
                </a:lnTo>
                <a:close/>
                <a:moveTo>
                  <a:pt x="1017" y="1640"/>
                </a:moveTo>
                <a:lnTo>
                  <a:pt x="1019" y="1640"/>
                </a:lnTo>
                <a:lnTo>
                  <a:pt x="1017" y="1640"/>
                </a:lnTo>
                <a:lnTo>
                  <a:pt x="1017" y="1642"/>
                </a:lnTo>
                <a:lnTo>
                  <a:pt x="1015" y="1640"/>
                </a:lnTo>
                <a:lnTo>
                  <a:pt x="1017" y="1640"/>
                </a:lnTo>
                <a:lnTo>
                  <a:pt x="1015" y="1640"/>
                </a:lnTo>
                <a:lnTo>
                  <a:pt x="1017" y="1640"/>
                </a:lnTo>
                <a:close/>
                <a:moveTo>
                  <a:pt x="930" y="1943"/>
                </a:moveTo>
                <a:lnTo>
                  <a:pt x="932" y="1943"/>
                </a:lnTo>
                <a:lnTo>
                  <a:pt x="930" y="1945"/>
                </a:lnTo>
                <a:lnTo>
                  <a:pt x="930" y="1943"/>
                </a:lnTo>
                <a:close/>
                <a:moveTo>
                  <a:pt x="1319" y="1138"/>
                </a:moveTo>
                <a:lnTo>
                  <a:pt x="1321" y="1138"/>
                </a:lnTo>
                <a:lnTo>
                  <a:pt x="1319" y="1140"/>
                </a:lnTo>
                <a:lnTo>
                  <a:pt x="1319" y="1138"/>
                </a:lnTo>
                <a:close/>
                <a:moveTo>
                  <a:pt x="1068" y="1955"/>
                </a:moveTo>
                <a:lnTo>
                  <a:pt x="1066" y="1957"/>
                </a:lnTo>
                <a:lnTo>
                  <a:pt x="1068" y="1955"/>
                </a:lnTo>
                <a:close/>
                <a:moveTo>
                  <a:pt x="1058" y="1630"/>
                </a:moveTo>
                <a:lnTo>
                  <a:pt x="1058" y="1632"/>
                </a:lnTo>
                <a:lnTo>
                  <a:pt x="1056" y="1632"/>
                </a:lnTo>
                <a:lnTo>
                  <a:pt x="1056" y="1630"/>
                </a:lnTo>
                <a:lnTo>
                  <a:pt x="1058" y="1630"/>
                </a:lnTo>
                <a:close/>
                <a:moveTo>
                  <a:pt x="930" y="1941"/>
                </a:moveTo>
                <a:lnTo>
                  <a:pt x="932" y="1941"/>
                </a:lnTo>
                <a:lnTo>
                  <a:pt x="930" y="1941"/>
                </a:lnTo>
                <a:lnTo>
                  <a:pt x="928" y="1941"/>
                </a:lnTo>
                <a:lnTo>
                  <a:pt x="930" y="1941"/>
                </a:lnTo>
                <a:close/>
                <a:moveTo>
                  <a:pt x="1105" y="1897"/>
                </a:moveTo>
                <a:lnTo>
                  <a:pt x="1105" y="1899"/>
                </a:lnTo>
                <a:lnTo>
                  <a:pt x="1105" y="1901"/>
                </a:lnTo>
                <a:lnTo>
                  <a:pt x="1104" y="1899"/>
                </a:lnTo>
                <a:lnTo>
                  <a:pt x="1105" y="1897"/>
                </a:lnTo>
                <a:close/>
                <a:moveTo>
                  <a:pt x="908" y="1824"/>
                </a:moveTo>
                <a:lnTo>
                  <a:pt x="910" y="1826"/>
                </a:lnTo>
                <a:lnTo>
                  <a:pt x="911" y="1827"/>
                </a:lnTo>
                <a:lnTo>
                  <a:pt x="910" y="1827"/>
                </a:lnTo>
                <a:lnTo>
                  <a:pt x="910" y="1826"/>
                </a:lnTo>
                <a:lnTo>
                  <a:pt x="908" y="1826"/>
                </a:lnTo>
                <a:lnTo>
                  <a:pt x="908" y="1824"/>
                </a:lnTo>
                <a:close/>
                <a:moveTo>
                  <a:pt x="908" y="1846"/>
                </a:moveTo>
                <a:lnTo>
                  <a:pt x="910" y="1848"/>
                </a:lnTo>
                <a:lnTo>
                  <a:pt x="908" y="1848"/>
                </a:lnTo>
                <a:lnTo>
                  <a:pt x="908" y="1846"/>
                </a:lnTo>
                <a:close/>
                <a:moveTo>
                  <a:pt x="1143" y="1339"/>
                </a:moveTo>
                <a:lnTo>
                  <a:pt x="1144" y="1339"/>
                </a:lnTo>
                <a:lnTo>
                  <a:pt x="1143" y="1341"/>
                </a:lnTo>
                <a:lnTo>
                  <a:pt x="1143" y="1339"/>
                </a:lnTo>
                <a:close/>
                <a:moveTo>
                  <a:pt x="1064" y="1623"/>
                </a:moveTo>
                <a:lnTo>
                  <a:pt x="1063" y="1625"/>
                </a:lnTo>
                <a:lnTo>
                  <a:pt x="1064" y="1623"/>
                </a:lnTo>
                <a:close/>
                <a:moveTo>
                  <a:pt x="905" y="1795"/>
                </a:moveTo>
                <a:lnTo>
                  <a:pt x="906" y="1797"/>
                </a:lnTo>
                <a:lnTo>
                  <a:pt x="905" y="1798"/>
                </a:lnTo>
                <a:lnTo>
                  <a:pt x="905" y="1795"/>
                </a:lnTo>
                <a:close/>
                <a:moveTo>
                  <a:pt x="934" y="1924"/>
                </a:moveTo>
                <a:lnTo>
                  <a:pt x="935" y="1924"/>
                </a:lnTo>
                <a:lnTo>
                  <a:pt x="935" y="1928"/>
                </a:lnTo>
                <a:lnTo>
                  <a:pt x="934" y="1928"/>
                </a:lnTo>
                <a:lnTo>
                  <a:pt x="934" y="1924"/>
                </a:lnTo>
                <a:close/>
                <a:moveTo>
                  <a:pt x="1413" y="1086"/>
                </a:moveTo>
                <a:lnTo>
                  <a:pt x="1411" y="1087"/>
                </a:lnTo>
                <a:lnTo>
                  <a:pt x="1413" y="1086"/>
                </a:lnTo>
                <a:close/>
                <a:moveTo>
                  <a:pt x="1348" y="1164"/>
                </a:moveTo>
                <a:lnTo>
                  <a:pt x="1350" y="1164"/>
                </a:lnTo>
                <a:lnTo>
                  <a:pt x="1350" y="1166"/>
                </a:lnTo>
                <a:lnTo>
                  <a:pt x="1348" y="1166"/>
                </a:lnTo>
                <a:lnTo>
                  <a:pt x="1348" y="1164"/>
                </a:lnTo>
                <a:close/>
                <a:moveTo>
                  <a:pt x="1126" y="1537"/>
                </a:moveTo>
                <a:lnTo>
                  <a:pt x="1126" y="1538"/>
                </a:lnTo>
                <a:lnTo>
                  <a:pt x="1124" y="1537"/>
                </a:lnTo>
                <a:lnTo>
                  <a:pt x="1124" y="1538"/>
                </a:lnTo>
                <a:lnTo>
                  <a:pt x="1122" y="1538"/>
                </a:lnTo>
                <a:lnTo>
                  <a:pt x="1124" y="1537"/>
                </a:lnTo>
                <a:lnTo>
                  <a:pt x="1126" y="1537"/>
                </a:lnTo>
                <a:close/>
                <a:moveTo>
                  <a:pt x="922" y="1814"/>
                </a:moveTo>
                <a:lnTo>
                  <a:pt x="922" y="1817"/>
                </a:lnTo>
                <a:lnTo>
                  <a:pt x="920" y="1817"/>
                </a:lnTo>
                <a:lnTo>
                  <a:pt x="922" y="1814"/>
                </a:lnTo>
                <a:close/>
                <a:moveTo>
                  <a:pt x="1051" y="1613"/>
                </a:moveTo>
                <a:lnTo>
                  <a:pt x="1049" y="1615"/>
                </a:lnTo>
                <a:lnTo>
                  <a:pt x="1049" y="1613"/>
                </a:lnTo>
                <a:lnTo>
                  <a:pt x="1051" y="1613"/>
                </a:lnTo>
                <a:close/>
                <a:moveTo>
                  <a:pt x="1591" y="1103"/>
                </a:moveTo>
                <a:lnTo>
                  <a:pt x="1590" y="1104"/>
                </a:lnTo>
                <a:lnTo>
                  <a:pt x="1591" y="1103"/>
                </a:lnTo>
                <a:close/>
                <a:moveTo>
                  <a:pt x="920" y="1855"/>
                </a:moveTo>
                <a:lnTo>
                  <a:pt x="918" y="1856"/>
                </a:lnTo>
                <a:lnTo>
                  <a:pt x="918" y="1855"/>
                </a:lnTo>
                <a:lnTo>
                  <a:pt x="920" y="1855"/>
                </a:lnTo>
                <a:close/>
                <a:moveTo>
                  <a:pt x="932" y="1890"/>
                </a:moveTo>
                <a:lnTo>
                  <a:pt x="934" y="1890"/>
                </a:lnTo>
                <a:lnTo>
                  <a:pt x="934" y="1892"/>
                </a:lnTo>
                <a:lnTo>
                  <a:pt x="932" y="1892"/>
                </a:lnTo>
                <a:lnTo>
                  <a:pt x="932" y="1890"/>
                </a:lnTo>
                <a:close/>
                <a:moveTo>
                  <a:pt x="1160" y="1446"/>
                </a:moveTo>
                <a:lnTo>
                  <a:pt x="1158" y="1448"/>
                </a:lnTo>
                <a:lnTo>
                  <a:pt x="1160" y="1446"/>
                </a:lnTo>
                <a:close/>
                <a:moveTo>
                  <a:pt x="939" y="1929"/>
                </a:moveTo>
                <a:lnTo>
                  <a:pt x="940" y="1933"/>
                </a:lnTo>
                <a:lnTo>
                  <a:pt x="939" y="1929"/>
                </a:lnTo>
                <a:close/>
                <a:moveTo>
                  <a:pt x="1049" y="1610"/>
                </a:moveTo>
                <a:lnTo>
                  <a:pt x="1049" y="1611"/>
                </a:lnTo>
                <a:lnTo>
                  <a:pt x="1047" y="1611"/>
                </a:lnTo>
                <a:lnTo>
                  <a:pt x="1049" y="1610"/>
                </a:lnTo>
                <a:close/>
                <a:moveTo>
                  <a:pt x="1155" y="1508"/>
                </a:moveTo>
                <a:lnTo>
                  <a:pt x="1156" y="1508"/>
                </a:lnTo>
                <a:lnTo>
                  <a:pt x="1156" y="1509"/>
                </a:lnTo>
                <a:lnTo>
                  <a:pt x="1155" y="1509"/>
                </a:lnTo>
                <a:lnTo>
                  <a:pt x="1155" y="1508"/>
                </a:lnTo>
                <a:close/>
                <a:moveTo>
                  <a:pt x="937" y="1945"/>
                </a:moveTo>
                <a:lnTo>
                  <a:pt x="939" y="1946"/>
                </a:lnTo>
                <a:lnTo>
                  <a:pt x="937" y="1946"/>
                </a:lnTo>
                <a:lnTo>
                  <a:pt x="937" y="1945"/>
                </a:lnTo>
                <a:close/>
                <a:moveTo>
                  <a:pt x="1024" y="1644"/>
                </a:moveTo>
                <a:lnTo>
                  <a:pt x="1022" y="1645"/>
                </a:lnTo>
                <a:lnTo>
                  <a:pt x="1024" y="1644"/>
                </a:lnTo>
                <a:close/>
                <a:moveTo>
                  <a:pt x="1183" y="1390"/>
                </a:moveTo>
                <a:lnTo>
                  <a:pt x="1185" y="1392"/>
                </a:lnTo>
                <a:lnTo>
                  <a:pt x="1183" y="1392"/>
                </a:lnTo>
                <a:lnTo>
                  <a:pt x="1182" y="1392"/>
                </a:lnTo>
                <a:lnTo>
                  <a:pt x="1183" y="1390"/>
                </a:lnTo>
                <a:close/>
                <a:moveTo>
                  <a:pt x="1022" y="1642"/>
                </a:moveTo>
                <a:lnTo>
                  <a:pt x="1020" y="1644"/>
                </a:lnTo>
                <a:lnTo>
                  <a:pt x="1020" y="1642"/>
                </a:lnTo>
                <a:lnTo>
                  <a:pt x="1022" y="1642"/>
                </a:lnTo>
                <a:close/>
                <a:moveTo>
                  <a:pt x="961" y="1999"/>
                </a:moveTo>
                <a:lnTo>
                  <a:pt x="962" y="1999"/>
                </a:lnTo>
                <a:lnTo>
                  <a:pt x="962" y="2003"/>
                </a:lnTo>
                <a:lnTo>
                  <a:pt x="961" y="2003"/>
                </a:lnTo>
                <a:lnTo>
                  <a:pt x="961" y="1999"/>
                </a:lnTo>
                <a:close/>
                <a:moveTo>
                  <a:pt x="1151" y="1453"/>
                </a:moveTo>
                <a:lnTo>
                  <a:pt x="1149" y="1455"/>
                </a:lnTo>
                <a:lnTo>
                  <a:pt x="1149" y="1457"/>
                </a:lnTo>
                <a:lnTo>
                  <a:pt x="1149" y="1455"/>
                </a:lnTo>
                <a:lnTo>
                  <a:pt x="1149" y="1453"/>
                </a:lnTo>
                <a:lnTo>
                  <a:pt x="1151" y="1453"/>
                </a:lnTo>
                <a:close/>
                <a:moveTo>
                  <a:pt x="928" y="1918"/>
                </a:moveTo>
                <a:lnTo>
                  <a:pt x="928" y="1921"/>
                </a:lnTo>
                <a:lnTo>
                  <a:pt x="928" y="1919"/>
                </a:lnTo>
                <a:lnTo>
                  <a:pt x="928" y="1918"/>
                </a:lnTo>
                <a:close/>
                <a:moveTo>
                  <a:pt x="906" y="1785"/>
                </a:moveTo>
                <a:lnTo>
                  <a:pt x="908" y="1787"/>
                </a:lnTo>
                <a:lnTo>
                  <a:pt x="906" y="1787"/>
                </a:lnTo>
                <a:lnTo>
                  <a:pt x="906" y="1785"/>
                </a:lnTo>
                <a:lnTo>
                  <a:pt x="905" y="1785"/>
                </a:lnTo>
                <a:lnTo>
                  <a:pt x="906" y="1785"/>
                </a:lnTo>
                <a:close/>
                <a:moveTo>
                  <a:pt x="1109" y="1554"/>
                </a:moveTo>
                <a:lnTo>
                  <a:pt x="1110" y="1554"/>
                </a:lnTo>
                <a:lnTo>
                  <a:pt x="1109" y="1554"/>
                </a:lnTo>
                <a:close/>
                <a:moveTo>
                  <a:pt x="1155" y="1438"/>
                </a:moveTo>
                <a:lnTo>
                  <a:pt x="1155" y="1440"/>
                </a:lnTo>
                <a:lnTo>
                  <a:pt x="1153" y="1441"/>
                </a:lnTo>
                <a:lnTo>
                  <a:pt x="1155" y="1438"/>
                </a:lnTo>
                <a:close/>
                <a:moveTo>
                  <a:pt x="1036" y="1647"/>
                </a:moveTo>
                <a:lnTo>
                  <a:pt x="1037" y="1647"/>
                </a:lnTo>
                <a:lnTo>
                  <a:pt x="1037" y="1649"/>
                </a:lnTo>
                <a:lnTo>
                  <a:pt x="1036" y="1649"/>
                </a:lnTo>
                <a:lnTo>
                  <a:pt x="1036" y="1647"/>
                </a:lnTo>
                <a:close/>
                <a:moveTo>
                  <a:pt x="1124" y="1946"/>
                </a:moveTo>
                <a:lnTo>
                  <a:pt x="1126" y="1946"/>
                </a:lnTo>
                <a:lnTo>
                  <a:pt x="1124" y="1948"/>
                </a:lnTo>
                <a:lnTo>
                  <a:pt x="1122" y="1946"/>
                </a:lnTo>
                <a:lnTo>
                  <a:pt x="1124" y="1946"/>
                </a:lnTo>
                <a:close/>
                <a:moveTo>
                  <a:pt x="1034" y="1623"/>
                </a:moveTo>
                <a:lnTo>
                  <a:pt x="1034" y="1625"/>
                </a:lnTo>
                <a:lnTo>
                  <a:pt x="1034" y="1623"/>
                </a:lnTo>
                <a:lnTo>
                  <a:pt x="1032" y="1623"/>
                </a:lnTo>
                <a:lnTo>
                  <a:pt x="1034" y="1623"/>
                </a:lnTo>
                <a:close/>
                <a:moveTo>
                  <a:pt x="957" y="1700"/>
                </a:moveTo>
                <a:lnTo>
                  <a:pt x="959" y="1702"/>
                </a:lnTo>
                <a:lnTo>
                  <a:pt x="956" y="1702"/>
                </a:lnTo>
                <a:lnTo>
                  <a:pt x="957" y="1700"/>
                </a:lnTo>
                <a:close/>
                <a:moveTo>
                  <a:pt x="918" y="1929"/>
                </a:moveTo>
                <a:lnTo>
                  <a:pt x="920" y="1929"/>
                </a:lnTo>
                <a:lnTo>
                  <a:pt x="920" y="1933"/>
                </a:lnTo>
                <a:lnTo>
                  <a:pt x="918" y="1931"/>
                </a:lnTo>
                <a:lnTo>
                  <a:pt x="918" y="1929"/>
                </a:lnTo>
                <a:close/>
                <a:moveTo>
                  <a:pt x="1151" y="1446"/>
                </a:moveTo>
                <a:lnTo>
                  <a:pt x="1153" y="1448"/>
                </a:lnTo>
                <a:lnTo>
                  <a:pt x="1151" y="1448"/>
                </a:lnTo>
                <a:lnTo>
                  <a:pt x="1151" y="1450"/>
                </a:lnTo>
                <a:lnTo>
                  <a:pt x="1151" y="1448"/>
                </a:lnTo>
                <a:lnTo>
                  <a:pt x="1151" y="1446"/>
                </a:lnTo>
                <a:close/>
                <a:moveTo>
                  <a:pt x="1367" y="1113"/>
                </a:moveTo>
                <a:lnTo>
                  <a:pt x="1367" y="1115"/>
                </a:lnTo>
                <a:lnTo>
                  <a:pt x="1367" y="1113"/>
                </a:lnTo>
                <a:close/>
                <a:moveTo>
                  <a:pt x="1160" y="1423"/>
                </a:moveTo>
                <a:lnTo>
                  <a:pt x="1160" y="1424"/>
                </a:lnTo>
                <a:lnTo>
                  <a:pt x="1158" y="1424"/>
                </a:lnTo>
                <a:lnTo>
                  <a:pt x="1160" y="1424"/>
                </a:lnTo>
                <a:lnTo>
                  <a:pt x="1158" y="1424"/>
                </a:lnTo>
                <a:lnTo>
                  <a:pt x="1160" y="1423"/>
                </a:lnTo>
                <a:close/>
                <a:moveTo>
                  <a:pt x="917" y="1850"/>
                </a:moveTo>
                <a:lnTo>
                  <a:pt x="917" y="1851"/>
                </a:lnTo>
                <a:lnTo>
                  <a:pt x="915" y="1851"/>
                </a:lnTo>
                <a:lnTo>
                  <a:pt x="917" y="1850"/>
                </a:lnTo>
                <a:close/>
                <a:moveTo>
                  <a:pt x="1097" y="1936"/>
                </a:moveTo>
                <a:lnTo>
                  <a:pt x="1098" y="1936"/>
                </a:lnTo>
                <a:lnTo>
                  <a:pt x="1098" y="1940"/>
                </a:lnTo>
                <a:lnTo>
                  <a:pt x="1097" y="1940"/>
                </a:lnTo>
                <a:lnTo>
                  <a:pt x="1097" y="1936"/>
                </a:lnTo>
                <a:close/>
                <a:moveTo>
                  <a:pt x="1168" y="1406"/>
                </a:moveTo>
                <a:lnTo>
                  <a:pt x="1170" y="1406"/>
                </a:lnTo>
                <a:lnTo>
                  <a:pt x="1170" y="1407"/>
                </a:lnTo>
                <a:lnTo>
                  <a:pt x="1168" y="1407"/>
                </a:lnTo>
                <a:lnTo>
                  <a:pt x="1168" y="1406"/>
                </a:lnTo>
                <a:close/>
                <a:moveTo>
                  <a:pt x="1107" y="1559"/>
                </a:moveTo>
                <a:lnTo>
                  <a:pt x="1109" y="1559"/>
                </a:lnTo>
                <a:lnTo>
                  <a:pt x="1109" y="1560"/>
                </a:lnTo>
                <a:lnTo>
                  <a:pt x="1107" y="1560"/>
                </a:lnTo>
                <a:lnTo>
                  <a:pt x="1107" y="1559"/>
                </a:lnTo>
                <a:close/>
                <a:moveTo>
                  <a:pt x="934" y="1936"/>
                </a:moveTo>
                <a:lnTo>
                  <a:pt x="935" y="1936"/>
                </a:lnTo>
                <a:lnTo>
                  <a:pt x="934" y="1936"/>
                </a:lnTo>
                <a:close/>
                <a:moveTo>
                  <a:pt x="986" y="2016"/>
                </a:moveTo>
                <a:lnTo>
                  <a:pt x="988" y="2018"/>
                </a:lnTo>
                <a:lnTo>
                  <a:pt x="986" y="2016"/>
                </a:lnTo>
                <a:lnTo>
                  <a:pt x="985" y="2018"/>
                </a:lnTo>
                <a:lnTo>
                  <a:pt x="986" y="2016"/>
                </a:lnTo>
                <a:close/>
                <a:moveTo>
                  <a:pt x="918" y="1875"/>
                </a:moveTo>
                <a:lnTo>
                  <a:pt x="918" y="1878"/>
                </a:lnTo>
                <a:lnTo>
                  <a:pt x="917" y="1878"/>
                </a:lnTo>
                <a:lnTo>
                  <a:pt x="918" y="1875"/>
                </a:lnTo>
                <a:close/>
                <a:moveTo>
                  <a:pt x="1112" y="1933"/>
                </a:moveTo>
                <a:lnTo>
                  <a:pt x="1114" y="1933"/>
                </a:lnTo>
                <a:lnTo>
                  <a:pt x="1114" y="1935"/>
                </a:lnTo>
                <a:lnTo>
                  <a:pt x="1112" y="1935"/>
                </a:lnTo>
                <a:lnTo>
                  <a:pt x="1112" y="1933"/>
                </a:lnTo>
                <a:close/>
                <a:moveTo>
                  <a:pt x="940" y="1705"/>
                </a:moveTo>
                <a:lnTo>
                  <a:pt x="942" y="1707"/>
                </a:lnTo>
                <a:lnTo>
                  <a:pt x="940" y="1707"/>
                </a:lnTo>
                <a:lnTo>
                  <a:pt x="940" y="1705"/>
                </a:lnTo>
                <a:close/>
                <a:moveTo>
                  <a:pt x="932" y="1824"/>
                </a:moveTo>
                <a:lnTo>
                  <a:pt x="934" y="1824"/>
                </a:lnTo>
                <a:lnTo>
                  <a:pt x="932" y="1827"/>
                </a:lnTo>
                <a:lnTo>
                  <a:pt x="932" y="1824"/>
                </a:lnTo>
                <a:close/>
                <a:moveTo>
                  <a:pt x="1223" y="1264"/>
                </a:moveTo>
                <a:lnTo>
                  <a:pt x="1224" y="1266"/>
                </a:lnTo>
                <a:lnTo>
                  <a:pt x="1223" y="1266"/>
                </a:lnTo>
                <a:lnTo>
                  <a:pt x="1223" y="1264"/>
                </a:lnTo>
                <a:close/>
                <a:moveTo>
                  <a:pt x="1255" y="1222"/>
                </a:moveTo>
                <a:lnTo>
                  <a:pt x="1257" y="1222"/>
                </a:lnTo>
                <a:lnTo>
                  <a:pt x="1257" y="1224"/>
                </a:lnTo>
                <a:lnTo>
                  <a:pt x="1255" y="1224"/>
                </a:lnTo>
                <a:lnTo>
                  <a:pt x="1255" y="1222"/>
                </a:lnTo>
                <a:close/>
                <a:moveTo>
                  <a:pt x="1019" y="1652"/>
                </a:moveTo>
                <a:lnTo>
                  <a:pt x="1019" y="1654"/>
                </a:lnTo>
                <a:lnTo>
                  <a:pt x="1017" y="1654"/>
                </a:lnTo>
                <a:lnTo>
                  <a:pt x="1019" y="1652"/>
                </a:lnTo>
                <a:close/>
                <a:moveTo>
                  <a:pt x="908" y="1805"/>
                </a:moveTo>
                <a:lnTo>
                  <a:pt x="908" y="1807"/>
                </a:lnTo>
                <a:lnTo>
                  <a:pt x="906" y="1807"/>
                </a:lnTo>
                <a:lnTo>
                  <a:pt x="908" y="1805"/>
                </a:lnTo>
                <a:close/>
                <a:moveTo>
                  <a:pt x="1051" y="1633"/>
                </a:moveTo>
                <a:lnTo>
                  <a:pt x="1049" y="1635"/>
                </a:lnTo>
                <a:lnTo>
                  <a:pt x="1051" y="1633"/>
                </a:lnTo>
                <a:close/>
                <a:moveTo>
                  <a:pt x="910" y="1776"/>
                </a:moveTo>
                <a:lnTo>
                  <a:pt x="911" y="1776"/>
                </a:lnTo>
                <a:lnTo>
                  <a:pt x="910" y="1778"/>
                </a:lnTo>
                <a:lnTo>
                  <a:pt x="910" y="1776"/>
                </a:lnTo>
                <a:close/>
                <a:moveTo>
                  <a:pt x="1161" y="1424"/>
                </a:moveTo>
                <a:lnTo>
                  <a:pt x="1160" y="1426"/>
                </a:lnTo>
                <a:lnTo>
                  <a:pt x="1158" y="1426"/>
                </a:lnTo>
                <a:lnTo>
                  <a:pt x="1160" y="1426"/>
                </a:lnTo>
                <a:lnTo>
                  <a:pt x="1160" y="1424"/>
                </a:lnTo>
                <a:lnTo>
                  <a:pt x="1161" y="1424"/>
                </a:lnTo>
                <a:close/>
                <a:moveTo>
                  <a:pt x="906" y="1802"/>
                </a:moveTo>
                <a:lnTo>
                  <a:pt x="908" y="1802"/>
                </a:lnTo>
                <a:lnTo>
                  <a:pt x="908" y="1804"/>
                </a:lnTo>
                <a:lnTo>
                  <a:pt x="906" y="1804"/>
                </a:lnTo>
                <a:lnTo>
                  <a:pt x="906" y="1802"/>
                </a:lnTo>
                <a:close/>
                <a:moveTo>
                  <a:pt x="1182" y="1382"/>
                </a:moveTo>
                <a:lnTo>
                  <a:pt x="1183" y="1382"/>
                </a:lnTo>
                <a:lnTo>
                  <a:pt x="1183" y="1383"/>
                </a:lnTo>
                <a:lnTo>
                  <a:pt x="1182" y="1383"/>
                </a:lnTo>
                <a:lnTo>
                  <a:pt x="1182" y="1382"/>
                </a:lnTo>
                <a:close/>
                <a:moveTo>
                  <a:pt x="932" y="1946"/>
                </a:moveTo>
                <a:lnTo>
                  <a:pt x="934" y="1946"/>
                </a:lnTo>
                <a:lnTo>
                  <a:pt x="934" y="1948"/>
                </a:lnTo>
                <a:lnTo>
                  <a:pt x="932" y="1948"/>
                </a:lnTo>
                <a:lnTo>
                  <a:pt x="932" y="1946"/>
                </a:lnTo>
                <a:close/>
                <a:moveTo>
                  <a:pt x="1122" y="1533"/>
                </a:moveTo>
                <a:lnTo>
                  <a:pt x="1121" y="1535"/>
                </a:lnTo>
                <a:lnTo>
                  <a:pt x="1122" y="1533"/>
                </a:lnTo>
                <a:close/>
                <a:moveTo>
                  <a:pt x="1144" y="1412"/>
                </a:moveTo>
                <a:lnTo>
                  <a:pt x="1144" y="1414"/>
                </a:lnTo>
                <a:lnTo>
                  <a:pt x="1143" y="1414"/>
                </a:lnTo>
                <a:lnTo>
                  <a:pt x="1144" y="1412"/>
                </a:lnTo>
                <a:close/>
                <a:moveTo>
                  <a:pt x="1030" y="1633"/>
                </a:moveTo>
                <a:lnTo>
                  <a:pt x="1032" y="1633"/>
                </a:lnTo>
                <a:lnTo>
                  <a:pt x="1032" y="1635"/>
                </a:lnTo>
                <a:lnTo>
                  <a:pt x="1030" y="1635"/>
                </a:lnTo>
                <a:lnTo>
                  <a:pt x="1030" y="1633"/>
                </a:lnTo>
                <a:close/>
                <a:moveTo>
                  <a:pt x="1100" y="1941"/>
                </a:moveTo>
                <a:lnTo>
                  <a:pt x="1100" y="1945"/>
                </a:lnTo>
                <a:lnTo>
                  <a:pt x="1100" y="1941"/>
                </a:lnTo>
                <a:close/>
                <a:moveTo>
                  <a:pt x="913" y="1817"/>
                </a:moveTo>
                <a:lnTo>
                  <a:pt x="915" y="1817"/>
                </a:lnTo>
                <a:lnTo>
                  <a:pt x="915" y="1819"/>
                </a:lnTo>
                <a:lnTo>
                  <a:pt x="913" y="1819"/>
                </a:lnTo>
                <a:lnTo>
                  <a:pt x="913" y="1817"/>
                </a:lnTo>
                <a:close/>
                <a:moveTo>
                  <a:pt x="1049" y="1977"/>
                </a:moveTo>
                <a:lnTo>
                  <a:pt x="1051" y="1977"/>
                </a:lnTo>
                <a:lnTo>
                  <a:pt x="1051" y="1979"/>
                </a:lnTo>
                <a:lnTo>
                  <a:pt x="1049" y="1979"/>
                </a:lnTo>
                <a:lnTo>
                  <a:pt x="1049" y="1977"/>
                </a:lnTo>
                <a:close/>
                <a:moveTo>
                  <a:pt x="1068" y="1606"/>
                </a:moveTo>
                <a:lnTo>
                  <a:pt x="1068" y="1608"/>
                </a:lnTo>
                <a:lnTo>
                  <a:pt x="1070" y="1606"/>
                </a:lnTo>
                <a:lnTo>
                  <a:pt x="1068" y="1608"/>
                </a:lnTo>
                <a:lnTo>
                  <a:pt x="1068" y="1606"/>
                </a:lnTo>
                <a:close/>
                <a:moveTo>
                  <a:pt x="906" y="1778"/>
                </a:moveTo>
                <a:lnTo>
                  <a:pt x="908" y="1778"/>
                </a:lnTo>
                <a:lnTo>
                  <a:pt x="908" y="1780"/>
                </a:lnTo>
                <a:lnTo>
                  <a:pt x="906" y="1780"/>
                </a:lnTo>
                <a:lnTo>
                  <a:pt x="906" y="1778"/>
                </a:lnTo>
                <a:close/>
                <a:moveTo>
                  <a:pt x="1136" y="1474"/>
                </a:moveTo>
                <a:lnTo>
                  <a:pt x="1138" y="1475"/>
                </a:lnTo>
                <a:lnTo>
                  <a:pt x="1136" y="1475"/>
                </a:lnTo>
                <a:lnTo>
                  <a:pt x="1136" y="1474"/>
                </a:lnTo>
                <a:close/>
                <a:moveTo>
                  <a:pt x="1206" y="1353"/>
                </a:moveTo>
                <a:lnTo>
                  <a:pt x="1206" y="1354"/>
                </a:lnTo>
                <a:lnTo>
                  <a:pt x="1204" y="1354"/>
                </a:lnTo>
                <a:lnTo>
                  <a:pt x="1206" y="1353"/>
                </a:lnTo>
                <a:close/>
                <a:moveTo>
                  <a:pt x="1197" y="1363"/>
                </a:moveTo>
                <a:lnTo>
                  <a:pt x="1197" y="1365"/>
                </a:lnTo>
                <a:lnTo>
                  <a:pt x="1197" y="1363"/>
                </a:lnTo>
                <a:close/>
                <a:moveTo>
                  <a:pt x="1047" y="1977"/>
                </a:moveTo>
                <a:lnTo>
                  <a:pt x="1047" y="1980"/>
                </a:lnTo>
                <a:lnTo>
                  <a:pt x="1047" y="1977"/>
                </a:lnTo>
                <a:close/>
                <a:moveTo>
                  <a:pt x="910" y="1754"/>
                </a:moveTo>
                <a:lnTo>
                  <a:pt x="910" y="1756"/>
                </a:lnTo>
                <a:lnTo>
                  <a:pt x="910" y="1754"/>
                </a:lnTo>
                <a:close/>
                <a:moveTo>
                  <a:pt x="1399" y="1074"/>
                </a:moveTo>
                <a:lnTo>
                  <a:pt x="1401" y="1076"/>
                </a:lnTo>
                <a:lnTo>
                  <a:pt x="1399" y="1076"/>
                </a:lnTo>
                <a:lnTo>
                  <a:pt x="1399" y="1074"/>
                </a:lnTo>
                <a:close/>
                <a:moveTo>
                  <a:pt x="910" y="1878"/>
                </a:moveTo>
                <a:lnTo>
                  <a:pt x="911" y="1878"/>
                </a:lnTo>
                <a:lnTo>
                  <a:pt x="911" y="1880"/>
                </a:lnTo>
                <a:lnTo>
                  <a:pt x="910" y="1880"/>
                </a:lnTo>
                <a:lnTo>
                  <a:pt x="910" y="1878"/>
                </a:lnTo>
                <a:close/>
                <a:moveTo>
                  <a:pt x="1124" y="1560"/>
                </a:moveTo>
                <a:lnTo>
                  <a:pt x="1126" y="1560"/>
                </a:lnTo>
                <a:lnTo>
                  <a:pt x="1126" y="1562"/>
                </a:lnTo>
                <a:lnTo>
                  <a:pt x="1124" y="1562"/>
                </a:lnTo>
                <a:lnTo>
                  <a:pt x="1124" y="1560"/>
                </a:lnTo>
                <a:close/>
                <a:moveTo>
                  <a:pt x="1047" y="1977"/>
                </a:moveTo>
                <a:lnTo>
                  <a:pt x="1049" y="1977"/>
                </a:lnTo>
                <a:lnTo>
                  <a:pt x="1049" y="1979"/>
                </a:lnTo>
                <a:lnTo>
                  <a:pt x="1047" y="1979"/>
                </a:lnTo>
                <a:lnTo>
                  <a:pt x="1047" y="1977"/>
                </a:lnTo>
                <a:close/>
                <a:moveTo>
                  <a:pt x="1149" y="1484"/>
                </a:moveTo>
                <a:lnTo>
                  <a:pt x="1148" y="1485"/>
                </a:lnTo>
                <a:lnTo>
                  <a:pt x="1148" y="1487"/>
                </a:lnTo>
                <a:lnTo>
                  <a:pt x="1148" y="1485"/>
                </a:lnTo>
                <a:lnTo>
                  <a:pt x="1149" y="1484"/>
                </a:lnTo>
                <a:close/>
                <a:moveTo>
                  <a:pt x="1211" y="1290"/>
                </a:moveTo>
                <a:lnTo>
                  <a:pt x="1212" y="1290"/>
                </a:lnTo>
                <a:lnTo>
                  <a:pt x="1212" y="1292"/>
                </a:lnTo>
                <a:lnTo>
                  <a:pt x="1211" y="1292"/>
                </a:lnTo>
                <a:lnTo>
                  <a:pt x="1211" y="1290"/>
                </a:lnTo>
                <a:close/>
                <a:moveTo>
                  <a:pt x="918" y="1814"/>
                </a:moveTo>
                <a:lnTo>
                  <a:pt x="918" y="1815"/>
                </a:lnTo>
                <a:lnTo>
                  <a:pt x="918" y="1814"/>
                </a:lnTo>
                <a:close/>
                <a:moveTo>
                  <a:pt x="1175" y="1390"/>
                </a:moveTo>
                <a:lnTo>
                  <a:pt x="1177" y="1390"/>
                </a:lnTo>
                <a:lnTo>
                  <a:pt x="1177" y="1392"/>
                </a:lnTo>
                <a:lnTo>
                  <a:pt x="1175" y="1392"/>
                </a:lnTo>
                <a:lnTo>
                  <a:pt x="1175" y="1390"/>
                </a:lnTo>
                <a:close/>
                <a:moveTo>
                  <a:pt x="1228" y="1276"/>
                </a:moveTo>
                <a:lnTo>
                  <a:pt x="1226" y="1278"/>
                </a:lnTo>
                <a:lnTo>
                  <a:pt x="1228" y="1276"/>
                </a:lnTo>
                <a:close/>
                <a:moveTo>
                  <a:pt x="1136" y="1521"/>
                </a:moveTo>
                <a:lnTo>
                  <a:pt x="1134" y="1521"/>
                </a:lnTo>
                <a:lnTo>
                  <a:pt x="1136" y="1521"/>
                </a:lnTo>
                <a:close/>
                <a:moveTo>
                  <a:pt x="1292" y="1169"/>
                </a:moveTo>
                <a:lnTo>
                  <a:pt x="1294" y="1169"/>
                </a:lnTo>
                <a:lnTo>
                  <a:pt x="1294" y="1171"/>
                </a:lnTo>
                <a:lnTo>
                  <a:pt x="1292" y="1171"/>
                </a:lnTo>
                <a:lnTo>
                  <a:pt x="1292" y="1169"/>
                </a:lnTo>
                <a:close/>
                <a:moveTo>
                  <a:pt x="1102" y="1887"/>
                </a:moveTo>
                <a:lnTo>
                  <a:pt x="1104" y="1887"/>
                </a:lnTo>
                <a:lnTo>
                  <a:pt x="1104" y="1889"/>
                </a:lnTo>
                <a:lnTo>
                  <a:pt x="1102" y="1889"/>
                </a:lnTo>
                <a:lnTo>
                  <a:pt x="1102" y="1887"/>
                </a:lnTo>
                <a:close/>
                <a:moveTo>
                  <a:pt x="1260" y="1232"/>
                </a:moveTo>
                <a:lnTo>
                  <a:pt x="1262" y="1232"/>
                </a:lnTo>
                <a:lnTo>
                  <a:pt x="1262" y="1234"/>
                </a:lnTo>
                <a:lnTo>
                  <a:pt x="1260" y="1232"/>
                </a:lnTo>
                <a:close/>
                <a:moveTo>
                  <a:pt x="913" y="1783"/>
                </a:moveTo>
                <a:lnTo>
                  <a:pt x="915" y="1783"/>
                </a:lnTo>
                <a:lnTo>
                  <a:pt x="915" y="1785"/>
                </a:lnTo>
                <a:lnTo>
                  <a:pt x="913" y="1785"/>
                </a:lnTo>
                <a:lnTo>
                  <a:pt x="913" y="1783"/>
                </a:lnTo>
                <a:close/>
                <a:moveTo>
                  <a:pt x="917" y="1878"/>
                </a:moveTo>
                <a:lnTo>
                  <a:pt x="918" y="1878"/>
                </a:lnTo>
                <a:lnTo>
                  <a:pt x="917" y="1880"/>
                </a:lnTo>
                <a:lnTo>
                  <a:pt x="917" y="1878"/>
                </a:lnTo>
                <a:close/>
                <a:moveTo>
                  <a:pt x="1093" y="1576"/>
                </a:moveTo>
                <a:lnTo>
                  <a:pt x="1095" y="1576"/>
                </a:lnTo>
                <a:lnTo>
                  <a:pt x="1095" y="1577"/>
                </a:lnTo>
                <a:lnTo>
                  <a:pt x="1093" y="1577"/>
                </a:lnTo>
                <a:lnTo>
                  <a:pt x="1093" y="1576"/>
                </a:lnTo>
                <a:close/>
                <a:moveTo>
                  <a:pt x="911" y="1804"/>
                </a:moveTo>
                <a:lnTo>
                  <a:pt x="913" y="1804"/>
                </a:lnTo>
                <a:lnTo>
                  <a:pt x="913" y="1805"/>
                </a:lnTo>
                <a:lnTo>
                  <a:pt x="911" y="1805"/>
                </a:lnTo>
                <a:lnTo>
                  <a:pt x="911" y="1804"/>
                </a:lnTo>
                <a:close/>
                <a:moveTo>
                  <a:pt x="935" y="1708"/>
                </a:moveTo>
                <a:lnTo>
                  <a:pt x="937" y="1708"/>
                </a:lnTo>
                <a:lnTo>
                  <a:pt x="937" y="1710"/>
                </a:lnTo>
                <a:lnTo>
                  <a:pt x="935" y="1710"/>
                </a:lnTo>
                <a:lnTo>
                  <a:pt x="935" y="1708"/>
                </a:lnTo>
                <a:close/>
                <a:moveTo>
                  <a:pt x="1158" y="1421"/>
                </a:moveTo>
                <a:lnTo>
                  <a:pt x="1158" y="1423"/>
                </a:lnTo>
                <a:lnTo>
                  <a:pt x="1160" y="1423"/>
                </a:lnTo>
                <a:lnTo>
                  <a:pt x="1158" y="1423"/>
                </a:lnTo>
                <a:lnTo>
                  <a:pt x="1158" y="1421"/>
                </a:lnTo>
                <a:close/>
                <a:moveTo>
                  <a:pt x="911" y="1880"/>
                </a:moveTo>
                <a:lnTo>
                  <a:pt x="913" y="1880"/>
                </a:lnTo>
                <a:lnTo>
                  <a:pt x="913" y="1882"/>
                </a:lnTo>
                <a:lnTo>
                  <a:pt x="911" y="1882"/>
                </a:lnTo>
                <a:lnTo>
                  <a:pt x="911" y="1880"/>
                </a:lnTo>
                <a:close/>
                <a:moveTo>
                  <a:pt x="915" y="1822"/>
                </a:moveTo>
                <a:lnTo>
                  <a:pt x="915" y="1824"/>
                </a:lnTo>
                <a:lnTo>
                  <a:pt x="915" y="1826"/>
                </a:lnTo>
                <a:lnTo>
                  <a:pt x="915" y="1822"/>
                </a:lnTo>
                <a:close/>
                <a:moveTo>
                  <a:pt x="1262" y="1234"/>
                </a:moveTo>
                <a:lnTo>
                  <a:pt x="1262" y="1235"/>
                </a:lnTo>
                <a:lnTo>
                  <a:pt x="1262" y="1234"/>
                </a:lnTo>
                <a:close/>
                <a:moveTo>
                  <a:pt x="1097" y="1571"/>
                </a:moveTo>
                <a:lnTo>
                  <a:pt x="1098" y="1571"/>
                </a:lnTo>
                <a:lnTo>
                  <a:pt x="1097" y="1571"/>
                </a:lnTo>
                <a:close/>
                <a:moveTo>
                  <a:pt x="1109" y="1931"/>
                </a:moveTo>
                <a:lnTo>
                  <a:pt x="1110" y="1931"/>
                </a:lnTo>
                <a:lnTo>
                  <a:pt x="1110" y="1933"/>
                </a:lnTo>
                <a:lnTo>
                  <a:pt x="1109" y="1933"/>
                </a:lnTo>
                <a:lnTo>
                  <a:pt x="1109" y="1931"/>
                </a:lnTo>
                <a:close/>
                <a:moveTo>
                  <a:pt x="939" y="1945"/>
                </a:moveTo>
                <a:lnTo>
                  <a:pt x="940" y="1945"/>
                </a:lnTo>
                <a:lnTo>
                  <a:pt x="939" y="1946"/>
                </a:lnTo>
                <a:lnTo>
                  <a:pt x="939" y="1945"/>
                </a:lnTo>
                <a:close/>
                <a:moveTo>
                  <a:pt x="1287" y="1174"/>
                </a:moveTo>
                <a:lnTo>
                  <a:pt x="1289" y="1174"/>
                </a:lnTo>
                <a:lnTo>
                  <a:pt x="1289" y="1176"/>
                </a:lnTo>
                <a:lnTo>
                  <a:pt x="1287" y="1174"/>
                </a:lnTo>
                <a:close/>
                <a:moveTo>
                  <a:pt x="927" y="1940"/>
                </a:moveTo>
                <a:lnTo>
                  <a:pt x="928" y="1940"/>
                </a:lnTo>
                <a:lnTo>
                  <a:pt x="928" y="1941"/>
                </a:lnTo>
                <a:lnTo>
                  <a:pt x="927" y="1941"/>
                </a:lnTo>
                <a:lnTo>
                  <a:pt x="927" y="1940"/>
                </a:lnTo>
                <a:close/>
                <a:moveTo>
                  <a:pt x="1071" y="1957"/>
                </a:moveTo>
                <a:lnTo>
                  <a:pt x="1071" y="1958"/>
                </a:lnTo>
                <a:lnTo>
                  <a:pt x="1070" y="1960"/>
                </a:lnTo>
                <a:lnTo>
                  <a:pt x="1068" y="1960"/>
                </a:lnTo>
                <a:lnTo>
                  <a:pt x="1070" y="1960"/>
                </a:lnTo>
                <a:lnTo>
                  <a:pt x="1070" y="1958"/>
                </a:lnTo>
                <a:lnTo>
                  <a:pt x="1071" y="1957"/>
                </a:lnTo>
                <a:close/>
                <a:moveTo>
                  <a:pt x="908" y="1785"/>
                </a:moveTo>
                <a:lnTo>
                  <a:pt x="910" y="1785"/>
                </a:lnTo>
                <a:lnTo>
                  <a:pt x="910" y="1787"/>
                </a:lnTo>
                <a:lnTo>
                  <a:pt x="908" y="1787"/>
                </a:lnTo>
                <a:lnTo>
                  <a:pt x="908" y="1785"/>
                </a:lnTo>
                <a:close/>
                <a:moveTo>
                  <a:pt x="906" y="1805"/>
                </a:moveTo>
                <a:lnTo>
                  <a:pt x="906" y="1807"/>
                </a:lnTo>
                <a:lnTo>
                  <a:pt x="906" y="1805"/>
                </a:lnTo>
                <a:close/>
                <a:moveTo>
                  <a:pt x="908" y="1836"/>
                </a:moveTo>
                <a:lnTo>
                  <a:pt x="908" y="1838"/>
                </a:lnTo>
                <a:lnTo>
                  <a:pt x="908" y="1836"/>
                </a:lnTo>
                <a:close/>
                <a:moveTo>
                  <a:pt x="1081" y="1599"/>
                </a:moveTo>
                <a:lnTo>
                  <a:pt x="1083" y="1599"/>
                </a:lnTo>
                <a:lnTo>
                  <a:pt x="1083" y="1601"/>
                </a:lnTo>
                <a:lnTo>
                  <a:pt x="1081" y="1601"/>
                </a:lnTo>
                <a:lnTo>
                  <a:pt x="1081" y="1599"/>
                </a:lnTo>
                <a:close/>
                <a:moveTo>
                  <a:pt x="954" y="1696"/>
                </a:moveTo>
                <a:lnTo>
                  <a:pt x="956" y="1696"/>
                </a:lnTo>
                <a:lnTo>
                  <a:pt x="956" y="1698"/>
                </a:lnTo>
                <a:lnTo>
                  <a:pt x="954" y="1698"/>
                </a:lnTo>
                <a:lnTo>
                  <a:pt x="954" y="1696"/>
                </a:lnTo>
                <a:close/>
                <a:moveTo>
                  <a:pt x="939" y="1950"/>
                </a:moveTo>
                <a:lnTo>
                  <a:pt x="940" y="1950"/>
                </a:lnTo>
                <a:lnTo>
                  <a:pt x="940" y="1952"/>
                </a:lnTo>
                <a:lnTo>
                  <a:pt x="939" y="1952"/>
                </a:lnTo>
                <a:lnTo>
                  <a:pt x="939" y="1950"/>
                </a:lnTo>
                <a:close/>
                <a:moveTo>
                  <a:pt x="908" y="1761"/>
                </a:moveTo>
                <a:lnTo>
                  <a:pt x="908" y="1763"/>
                </a:lnTo>
                <a:lnTo>
                  <a:pt x="908" y="1761"/>
                </a:lnTo>
                <a:close/>
                <a:moveTo>
                  <a:pt x="1112" y="1557"/>
                </a:moveTo>
                <a:lnTo>
                  <a:pt x="1112" y="1559"/>
                </a:lnTo>
                <a:lnTo>
                  <a:pt x="1110" y="1557"/>
                </a:lnTo>
                <a:lnTo>
                  <a:pt x="1112" y="1557"/>
                </a:lnTo>
                <a:close/>
                <a:moveTo>
                  <a:pt x="1115" y="1521"/>
                </a:moveTo>
                <a:lnTo>
                  <a:pt x="1117" y="1521"/>
                </a:lnTo>
                <a:lnTo>
                  <a:pt x="1115" y="1521"/>
                </a:lnTo>
                <a:close/>
                <a:moveTo>
                  <a:pt x="1214" y="1315"/>
                </a:moveTo>
                <a:lnTo>
                  <a:pt x="1212" y="1317"/>
                </a:lnTo>
                <a:lnTo>
                  <a:pt x="1214" y="1315"/>
                </a:lnTo>
                <a:close/>
                <a:moveTo>
                  <a:pt x="1080" y="1601"/>
                </a:moveTo>
                <a:lnTo>
                  <a:pt x="1081" y="1601"/>
                </a:lnTo>
                <a:lnTo>
                  <a:pt x="1081" y="1603"/>
                </a:lnTo>
                <a:lnTo>
                  <a:pt x="1080" y="1603"/>
                </a:lnTo>
                <a:lnTo>
                  <a:pt x="1080" y="1601"/>
                </a:lnTo>
                <a:close/>
                <a:moveTo>
                  <a:pt x="1185" y="1395"/>
                </a:moveTo>
                <a:lnTo>
                  <a:pt x="1183" y="1395"/>
                </a:lnTo>
                <a:lnTo>
                  <a:pt x="1185" y="1395"/>
                </a:lnTo>
                <a:close/>
                <a:moveTo>
                  <a:pt x="1219" y="1275"/>
                </a:moveTo>
                <a:lnTo>
                  <a:pt x="1221" y="1275"/>
                </a:lnTo>
                <a:lnTo>
                  <a:pt x="1221" y="1276"/>
                </a:lnTo>
                <a:lnTo>
                  <a:pt x="1219" y="1276"/>
                </a:lnTo>
                <a:lnTo>
                  <a:pt x="1219" y="1275"/>
                </a:lnTo>
                <a:close/>
                <a:moveTo>
                  <a:pt x="917" y="1884"/>
                </a:moveTo>
                <a:lnTo>
                  <a:pt x="917" y="1885"/>
                </a:lnTo>
                <a:lnTo>
                  <a:pt x="915" y="1885"/>
                </a:lnTo>
                <a:lnTo>
                  <a:pt x="917" y="1884"/>
                </a:lnTo>
                <a:close/>
                <a:moveTo>
                  <a:pt x="951" y="1715"/>
                </a:moveTo>
                <a:lnTo>
                  <a:pt x="947" y="1717"/>
                </a:lnTo>
                <a:lnTo>
                  <a:pt x="949" y="1715"/>
                </a:lnTo>
                <a:lnTo>
                  <a:pt x="951" y="1715"/>
                </a:lnTo>
                <a:close/>
                <a:moveTo>
                  <a:pt x="1168" y="1414"/>
                </a:moveTo>
                <a:lnTo>
                  <a:pt x="1170" y="1414"/>
                </a:lnTo>
                <a:lnTo>
                  <a:pt x="1168" y="1414"/>
                </a:lnTo>
                <a:close/>
                <a:moveTo>
                  <a:pt x="1064" y="1957"/>
                </a:moveTo>
                <a:lnTo>
                  <a:pt x="1066" y="1957"/>
                </a:lnTo>
                <a:lnTo>
                  <a:pt x="1066" y="1958"/>
                </a:lnTo>
                <a:lnTo>
                  <a:pt x="1064" y="1958"/>
                </a:lnTo>
                <a:lnTo>
                  <a:pt x="1064" y="1957"/>
                </a:lnTo>
                <a:close/>
                <a:moveTo>
                  <a:pt x="1292" y="1164"/>
                </a:moveTo>
                <a:lnTo>
                  <a:pt x="1292" y="1166"/>
                </a:lnTo>
                <a:lnTo>
                  <a:pt x="1292" y="1164"/>
                </a:lnTo>
                <a:close/>
                <a:moveTo>
                  <a:pt x="1124" y="1945"/>
                </a:moveTo>
                <a:lnTo>
                  <a:pt x="1124" y="1946"/>
                </a:lnTo>
                <a:lnTo>
                  <a:pt x="1124" y="1945"/>
                </a:lnTo>
                <a:close/>
                <a:moveTo>
                  <a:pt x="1211" y="1360"/>
                </a:moveTo>
                <a:lnTo>
                  <a:pt x="1212" y="1361"/>
                </a:lnTo>
                <a:lnTo>
                  <a:pt x="1211" y="1361"/>
                </a:lnTo>
                <a:lnTo>
                  <a:pt x="1211" y="1360"/>
                </a:lnTo>
                <a:close/>
                <a:moveTo>
                  <a:pt x="1144" y="1414"/>
                </a:moveTo>
                <a:lnTo>
                  <a:pt x="1144" y="1416"/>
                </a:lnTo>
                <a:lnTo>
                  <a:pt x="1144" y="1414"/>
                </a:lnTo>
                <a:close/>
                <a:moveTo>
                  <a:pt x="1153" y="1460"/>
                </a:moveTo>
                <a:lnTo>
                  <a:pt x="1155" y="1460"/>
                </a:lnTo>
                <a:lnTo>
                  <a:pt x="1155" y="1462"/>
                </a:lnTo>
                <a:lnTo>
                  <a:pt x="1153" y="1462"/>
                </a:lnTo>
                <a:lnTo>
                  <a:pt x="1153" y="1460"/>
                </a:lnTo>
                <a:close/>
                <a:moveTo>
                  <a:pt x="1054" y="1594"/>
                </a:moveTo>
                <a:lnTo>
                  <a:pt x="1056" y="1594"/>
                </a:lnTo>
                <a:lnTo>
                  <a:pt x="1056" y="1596"/>
                </a:lnTo>
                <a:lnTo>
                  <a:pt x="1054" y="1596"/>
                </a:lnTo>
                <a:lnTo>
                  <a:pt x="1054" y="1594"/>
                </a:lnTo>
                <a:close/>
                <a:moveTo>
                  <a:pt x="1030" y="1627"/>
                </a:moveTo>
                <a:lnTo>
                  <a:pt x="1032" y="1627"/>
                </a:lnTo>
                <a:lnTo>
                  <a:pt x="1032" y="1628"/>
                </a:lnTo>
                <a:lnTo>
                  <a:pt x="1030" y="1628"/>
                </a:lnTo>
                <a:lnTo>
                  <a:pt x="1030" y="1627"/>
                </a:lnTo>
                <a:close/>
                <a:moveTo>
                  <a:pt x="1153" y="1462"/>
                </a:moveTo>
                <a:lnTo>
                  <a:pt x="1153" y="1463"/>
                </a:lnTo>
                <a:lnTo>
                  <a:pt x="1153" y="1462"/>
                </a:lnTo>
                <a:close/>
                <a:moveTo>
                  <a:pt x="911" y="1819"/>
                </a:moveTo>
                <a:lnTo>
                  <a:pt x="913" y="1819"/>
                </a:lnTo>
                <a:lnTo>
                  <a:pt x="913" y="1821"/>
                </a:lnTo>
                <a:lnTo>
                  <a:pt x="911" y="1821"/>
                </a:lnTo>
                <a:lnTo>
                  <a:pt x="911" y="1819"/>
                </a:lnTo>
                <a:close/>
                <a:moveTo>
                  <a:pt x="1170" y="1402"/>
                </a:moveTo>
                <a:lnTo>
                  <a:pt x="1172" y="1402"/>
                </a:lnTo>
                <a:lnTo>
                  <a:pt x="1170" y="1402"/>
                </a:lnTo>
                <a:close/>
                <a:moveTo>
                  <a:pt x="1104" y="1887"/>
                </a:moveTo>
                <a:lnTo>
                  <a:pt x="1105" y="1887"/>
                </a:lnTo>
                <a:lnTo>
                  <a:pt x="1105" y="1889"/>
                </a:lnTo>
                <a:lnTo>
                  <a:pt x="1104" y="1889"/>
                </a:lnTo>
                <a:lnTo>
                  <a:pt x="1104" y="1887"/>
                </a:lnTo>
                <a:close/>
                <a:moveTo>
                  <a:pt x="915" y="1822"/>
                </a:moveTo>
                <a:lnTo>
                  <a:pt x="917" y="1824"/>
                </a:lnTo>
                <a:lnTo>
                  <a:pt x="915" y="1824"/>
                </a:lnTo>
                <a:lnTo>
                  <a:pt x="915" y="1822"/>
                </a:lnTo>
                <a:close/>
                <a:moveTo>
                  <a:pt x="1053" y="1974"/>
                </a:moveTo>
                <a:lnTo>
                  <a:pt x="1053" y="1975"/>
                </a:lnTo>
                <a:lnTo>
                  <a:pt x="1051" y="1975"/>
                </a:lnTo>
                <a:lnTo>
                  <a:pt x="1053" y="1974"/>
                </a:lnTo>
                <a:close/>
                <a:moveTo>
                  <a:pt x="1037" y="1654"/>
                </a:moveTo>
                <a:lnTo>
                  <a:pt x="1037" y="1656"/>
                </a:lnTo>
                <a:lnTo>
                  <a:pt x="1036" y="1656"/>
                </a:lnTo>
                <a:lnTo>
                  <a:pt x="1037" y="1654"/>
                </a:lnTo>
                <a:close/>
                <a:moveTo>
                  <a:pt x="1115" y="1531"/>
                </a:moveTo>
                <a:lnTo>
                  <a:pt x="1117" y="1531"/>
                </a:lnTo>
                <a:lnTo>
                  <a:pt x="1117" y="1533"/>
                </a:lnTo>
                <a:lnTo>
                  <a:pt x="1115" y="1533"/>
                </a:lnTo>
                <a:lnTo>
                  <a:pt x="1115" y="1531"/>
                </a:lnTo>
                <a:close/>
                <a:moveTo>
                  <a:pt x="939" y="1877"/>
                </a:moveTo>
                <a:lnTo>
                  <a:pt x="939" y="1878"/>
                </a:lnTo>
                <a:lnTo>
                  <a:pt x="937" y="1878"/>
                </a:lnTo>
                <a:lnTo>
                  <a:pt x="939" y="1877"/>
                </a:lnTo>
                <a:close/>
                <a:moveTo>
                  <a:pt x="1095" y="1571"/>
                </a:moveTo>
                <a:lnTo>
                  <a:pt x="1097" y="1571"/>
                </a:lnTo>
                <a:lnTo>
                  <a:pt x="1097" y="1572"/>
                </a:lnTo>
                <a:lnTo>
                  <a:pt x="1095" y="1572"/>
                </a:lnTo>
                <a:lnTo>
                  <a:pt x="1095" y="1571"/>
                </a:lnTo>
                <a:close/>
                <a:moveTo>
                  <a:pt x="1078" y="1946"/>
                </a:moveTo>
                <a:lnTo>
                  <a:pt x="1078" y="1948"/>
                </a:lnTo>
                <a:lnTo>
                  <a:pt x="1078" y="1946"/>
                </a:lnTo>
                <a:close/>
                <a:moveTo>
                  <a:pt x="1498" y="1072"/>
                </a:moveTo>
                <a:lnTo>
                  <a:pt x="1498" y="1074"/>
                </a:lnTo>
                <a:lnTo>
                  <a:pt x="1498" y="1072"/>
                </a:lnTo>
                <a:close/>
                <a:moveTo>
                  <a:pt x="1104" y="1921"/>
                </a:moveTo>
                <a:lnTo>
                  <a:pt x="1104" y="1923"/>
                </a:lnTo>
                <a:lnTo>
                  <a:pt x="1104" y="1921"/>
                </a:lnTo>
                <a:close/>
                <a:moveTo>
                  <a:pt x="1041" y="1608"/>
                </a:moveTo>
                <a:lnTo>
                  <a:pt x="1042" y="1608"/>
                </a:lnTo>
                <a:lnTo>
                  <a:pt x="1042" y="1610"/>
                </a:lnTo>
                <a:lnTo>
                  <a:pt x="1041" y="1610"/>
                </a:lnTo>
                <a:lnTo>
                  <a:pt x="1041" y="1608"/>
                </a:lnTo>
                <a:close/>
                <a:moveTo>
                  <a:pt x="918" y="1938"/>
                </a:moveTo>
                <a:lnTo>
                  <a:pt x="920" y="1938"/>
                </a:lnTo>
                <a:lnTo>
                  <a:pt x="918" y="1940"/>
                </a:lnTo>
                <a:lnTo>
                  <a:pt x="918" y="1938"/>
                </a:lnTo>
                <a:close/>
                <a:moveTo>
                  <a:pt x="922" y="1924"/>
                </a:moveTo>
                <a:lnTo>
                  <a:pt x="922" y="1926"/>
                </a:lnTo>
                <a:lnTo>
                  <a:pt x="922" y="1924"/>
                </a:lnTo>
                <a:close/>
                <a:moveTo>
                  <a:pt x="1042" y="1608"/>
                </a:moveTo>
                <a:lnTo>
                  <a:pt x="1044" y="1608"/>
                </a:lnTo>
                <a:lnTo>
                  <a:pt x="1044" y="1610"/>
                </a:lnTo>
                <a:lnTo>
                  <a:pt x="1042" y="1610"/>
                </a:lnTo>
                <a:lnTo>
                  <a:pt x="1042" y="1608"/>
                </a:lnTo>
                <a:close/>
                <a:moveTo>
                  <a:pt x="920" y="1834"/>
                </a:moveTo>
                <a:lnTo>
                  <a:pt x="920" y="1836"/>
                </a:lnTo>
                <a:lnTo>
                  <a:pt x="920" y="1834"/>
                </a:lnTo>
                <a:close/>
                <a:moveTo>
                  <a:pt x="1126" y="1940"/>
                </a:moveTo>
                <a:lnTo>
                  <a:pt x="1126" y="1941"/>
                </a:lnTo>
                <a:lnTo>
                  <a:pt x="1126" y="1940"/>
                </a:lnTo>
                <a:close/>
                <a:moveTo>
                  <a:pt x="908" y="1848"/>
                </a:moveTo>
                <a:lnTo>
                  <a:pt x="910" y="1848"/>
                </a:lnTo>
                <a:lnTo>
                  <a:pt x="910" y="1850"/>
                </a:lnTo>
                <a:lnTo>
                  <a:pt x="908" y="1850"/>
                </a:lnTo>
                <a:lnTo>
                  <a:pt x="908" y="1848"/>
                </a:lnTo>
                <a:close/>
                <a:moveTo>
                  <a:pt x="917" y="1892"/>
                </a:moveTo>
                <a:lnTo>
                  <a:pt x="917" y="1894"/>
                </a:lnTo>
                <a:lnTo>
                  <a:pt x="917" y="1892"/>
                </a:lnTo>
                <a:close/>
                <a:moveTo>
                  <a:pt x="910" y="1856"/>
                </a:moveTo>
                <a:lnTo>
                  <a:pt x="910" y="1858"/>
                </a:lnTo>
                <a:lnTo>
                  <a:pt x="910" y="1856"/>
                </a:lnTo>
                <a:close/>
                <a:moveTo>
                  <a:pt x="934" y="1878"/>
                </a:moveTo>
                <a:lnTo>
                  <a:pt x="934" y="1880"/>
                </a:lnTo>
                <a:lnTo>
                  <a:pt x="934" y="1878"/>
                </a:lnTo>
                <a:close/>
                <a:moveTo>
                  <a:pt x="915" y="1895"/>
                </a:moveTo>
                <a:lnTo>
                  <a:pt x="917" y="1895"/>
                </a:lnTo>
                <a:lnTo>
                  <a:pt x="917" y="1897"/>
                </a:lnTo>
                <a:lnTo>
                  <a:pt x="915" y="1897"/>
                </a:lnTo>
                <a:lnTo>
                  <a:pt x="915" y="1895"/>
                </a:lnTo>
                <a:close/>
                <a:moveTo>
                  <a:pt x="1115" y="1523"/>
                </a:moveTo>
                <a:lnTo>
                  <a:pt x="1117" y="1523"/>
                </a:lnTo>
                <a:lnTo>
                  <a:pt x="1117" y="1525"/>
                </a:lnTo>
                <a:lnTo>
                  <a:pt x="1115" y="1525"/>
                </a:lnTo>
                <a:lnTo>
                  <a:pt x="1115" y="1523"/>
                </a:lnTo>
                <a:close/>
                <a:moveTo>
                  <a:pt x="1112" y="1550"/>
                </a:moveTo>
                <a:lnTo>
                  <a:pt x="1112" y="1552"/>
                </a:lnTo>
                <a:lnTo>
                  <a:pt x="1112" y="1550"/>
                </a:lnTo>
                <a:close/>
                <a:moveTo>
                  <a:pt x="1112" y="1554"/>
                </a:moveTo>
                <a:lnTo>
                  <a:pt x="1114" y="1554"/>
                </a:lnTo>
                <a:lnTo>
                  <a:pt x="1114" y="1555"/>
                </a:lnTo>
                <a:lnTo>
                  <a:pt x="1112" y="1555"/>
                </a:lnTo>
                <a:lnTo>
                  <a:pt x="1112" y="1554"/>
                </a:lnTo>
                <a:close/>
                <a:moveTo>
                  <a:pt x="1534" y="1069"/>
                </a:moveTo>
                <a:lnTo>
                  <a:pt x="1534" y="1067"/>
                </a:lnTo>
                <a:lnTo>
                  <a:pt x="1534" y="1069"/>
                </a:lnTo>
                <a:close/>
                <a:moveTo>
                  <a:pt x="908" y="1792"/>
                </a:moveTo>
                <a:lnTo>
                  <a:pt x="908" y="1793"/>
                </a:lnTo>
                <a:lnTo>
                  <a:pt x="908" y="1792"/>
                </a:lnTo>
                <a:close/>
                <a:moveTo>
                  <a:pt x="1105" y="1560"/>
                </a:moveTo>
                <a:lnTo>
                  <a:pt x="1105" y="1562"/>
                </a:lnTo>
                <a:lnTo>
                  <a:pt x="1105" y="1560"/>
                </a:lnTo>
                <a:close/>
                <a:moveTo>
                  <a:pt x="1100" y="1931"/>
                </a:moveTo>
                <a:lnTo>
                  <a:pt x="1102" y="1931"/>
                </a:lnTo>
                <a:lnTo>
                  <a:pt x="1102" y="1933"/>
                </a:lnTo>
                <a:lnTo>
                  <a:pt x="1100" y="1933"/>
                </a:lnTo>
                <a:lnTo>
                  <a:pt x="1100" y="1931"/>
                </a:lnTo>
                <a:close/>
                <a:moveTo>
                  <a:pt x="915" y="1746"/>
                </a:moveTo>
                <a:lnTo>
                  <a:pt x="917" y="1746"/>
                </a:lnTo>
                <a:lnTo>
                  <a:pt x="915" y="1747"/>
                </a:lnTo>
                <a:lnTo>
                  <a:pt x="915" y="1746"/>
                </a:lnTo>
                <a:close/>
                <a:moveTo>
                  <a:pt x="1182" y="1380"/>
                </a:moveTo>
                <a:lnTo>
                  <a:pt x="1182" y="1382"/>
                </a:lnTo>
                <a:lnTo>
                  <a:pt x="1182" y="1380"/>
                </a:lnTo>
                <a:close/>
                <a:moveTo>
                  <a:pt x="908" y="1812"/>
                </a:moveTo>
                <a:lnTo>
                  <a:pt x="910" y="1814"/>
                </a:lnTo>
                <a:lnTo>
                  <a:pt x="908" y="1814"/>
                </a:lnTo>
                <a:lnTo>
                  <a:pt x="908" y="1812"/>
                </a:lnTo>
                <a:close/>
                <a:moveTo>
                  <a:pt x="1115" y="1940"/>
                </a:moveTo>
                <a:lnTo>
                  <a:pt x="1115" y="1941"/>
                </a:lnTo>
                <a:lnTo>
                  <a:pt x="1115" y="1940"/>
                </a:lnTo>
                <a:close/>
                <a:moveTo>
                  <a:pt x="922" y="1761"/>
                </a:moveTo>
                <a:lnTo>
                  <a:pt x="920" y="1761"/>
                </a:lnTo>
                <a:lnTo>
                  <a:pt x="922" y="1761"/>
                </a:lnTo>
                <a:close/>
                <a:moveTo>
                  <a:pt x="961" y="1693"/>
                </a:moveTo>
                <a:lnTo>
                  <a:pt x="962" y="1693"/>
                </a:lnTo>
                <a:lnTo>
                  <a:pt x="962" y="1695"/>
                </a:lnTo>
                <a:lnTo>
                  <a:pt x="961" y="1695"/>
                </a:lnTo>
                <a:lnTo>
                  <a:pt x="961" y="1693"/>
                </a:lnTo>
                <a:close/>
                <a:moveTo>
                  <a:pt x="1105" y="1623"/>
                </a:moveTo>
                <a:lnTo>
                  <a:pt x="1105" y="1625"/>
                </a:lnTo>
                <a:lnTo>
                  <a:pt x="1104" y="1625"/>
                </a:lnTo>
                <a:lnTo>
                  <a:pt x="1105" y="1623"/>
                </a:lnTo>
                <a:close/>
                <a:moveTo>
                  <a:pt x="1170" y="1399"/>
                </a:moveTo>
                <a:lnTo>
                  <a:pt x="1170" y="1400"/>
                </a:lnTo>
                <a:lnTo>
                  <a:pt x="1168" y="1400"/>
                </a:lnTo>
                <a:lnTo>
                  <a:pt x="1170" y="1399"/>
                </a:lnTo>
                <a:close/>
                <a:moveTo>
                  <a:pt x="968" y="2011"/>
                </a:moveTo>
                <a:lnTo>
                  <a:pt x="969" y="2011"/>
                </a:lnTo>
                <a:lnTo>
                  <a:pt x="969" y="2013"/>
                </a:lnTo>
                <a:lnTo>
                  <a:pt x="968" y="2013"/>
                </a:lnTo>
                <a:lnTo>
                  <a:pt x="968" y="2011"/>
                </a:lnTo>
                <a:close/>
                <a:moveTo>
                  <a:pt x="1187" y="1389"/>
                </a:moveTo>
                <a:lnTo>
                  <a:pt x="1189" y="1389"/>
                </a:lnTo>
                <a:lnTo>
                  <a:pt x="1187" y="1389"/>
                </a:lnTo>
                <a:close/>
                <a:moveTo>
                  <a:pt x="910" y="1884"/>
                </a:moveTo>
                <a:lnTo>
                  <a:pt x="911" y="1885"/>
                </a:lnTo>
                <a:lnTo>
                  <a:pt x="911" y="1887"/>
                </a:lnTo>
                <a:lnTo>
                  <a:pt x="910" y="1887"/>
                </a:lnTo>
                <a:lnTo>
                  <a:pt x="910" y="1884"/>
                </a:lnTo>
                <a:close/>
                <a:moveTo>
                  <a:pt x="1063" y="1618"/>
                </a:moveTo>
                <a:lnTo>
                  <a:pt x="1064" y="1618"/>
                </a:lnTo>
                <a:lnTo>
                  <a:pt x="1064" y="1620"/>
                </a:lnTo>
                <a:lnTo>
                  <a:pt x="1063" y="1620"/>
                </a:lnTo>
                <a:lnTo>
                  <a:pt x="1063" y="1618"/>
                </a:lnTo>
                <a:close/>
                <a:moveTo>
                  <a:pt x="1461" y="1106"/>
                </a:moveTo>
                <a:lnTo>
                  <a:pt x="1461" y="1108"/>
                </a:lnTo>
                <a:lnTo>
                  <a:pt x="1461" y="1106"/>
                </a:lnTo>
                <a:close/>
                <a:moveTo>
                  <a:pt x="906" y="1790"/>
                </a:moveTo>
                <a:lnTo>
                  <a:pt x="908" y="1790"/>
                </a:lnTo>
                <a:lnTo>
                  <a:pt x="906" y="1792"/>
                </a:lnTo>
                <a:lnTo>
                  <a:pt x="906" y="1790"/>
                </a:lnTo>
                <a:close/>
                <a:moveTo>
                  <a:pt x="1076" y="1603"/>
                </a:moveTo>
                <a:lnTo>
                  <a:pt x="1075" y="1605"/>
                </a:lnTo>
                <a:lnTo>
                  <a:pt x="1076" y="1605"/>
                </a:lnTo>
                <a:lnTo>
                  <a:pt x="1076" y="1603"/>
                </a:lnTo>
                <a:close/>
                <a:moveTo>
                  <a:pt x="1122" y="1948"/>
                </a:moveTo>
                <a:lnTo>
                  <a:pt x="1122" y="1950"/>
                </a:lnTo>
                <a:lnTo>
                  <a:pt x="1122" y="1948"/>
                </a:lnTo>
                <a:close/>
                <a:moveTo>
                  <a:pt x="911" y="1890"/>
                </a:moveTo>
                <a:lnTo>
                  <a:pt x="913" y="1890"/>
                </a:lnTo>
                <a:lnTo>
                  <a:pt x="913" y="1892"/>
                </a:lnTo>
                <a:lnTo>
                  <a:pt x="911" y="1892"/>
                </a:lnTo>
                <a:lnTo>
                  <a:pt x="911" y="1890"/>
                </a:lnTo>
                <a:close/>
                <a:moveTo>
                  <a:pt x="1085" y="1581"/>
                </a:moveTo>
                <a:lnTo>
                  <a:pt x="1087" y="1581"/>
                </a:lnTo>
                <a:lnTo>
                  <a:pt x="1087" y="1582"/>
                </a:lnTo>
                <a:lnTo>
                  <a:pt x="1085" y="1582"/>
                </a:lnTo>
                <a:lnTo>
                  <a:pt x="1085" y="1581"/>
                </a:lnTo>
                <a:close/>
                <a:moveTo>
                  <a:pt x="1461" y="1103"/>
                </a:moveTo>
                <a:lnTo>
                  <a:pt x="1462" y="1103"/>
                </a:lnTo>
                <a:lnTo>
                  <a:pt x="1461" y="1103"/>
                </a:lnTo>
                <a:close/>
                <a:moveTo>
                  <a:pt x="920" y="1923"/>
                </a:moveTo>
                <a:lnTo>
                  <a:pt x="920" y="1924"/>
                </a:lnTo>
                <a:lnTo>
                  <a:pt x="920" y="1923"/>
                </a:lnTo>
                <a:close/>
                <a:moveTo>
                  <a:pt x="1212" y="1348"/>
                </a:moveTo>
                <a:lnTo>
                  <a:pt x="1211" y="1349"/>
                </a:lnTo>
                <a:lnTo>
                  <a:pt x="1212" y="1348"/>
                </a:lnTo>
                <a:close/>
                <a:moveTo>
                  <a:pt x="915" y="1855"/>
                </a:moveTo>
                <a:lnTo>
                  <a:pt x="917" y="1856"/>
                </a:lnTo>
                <a:lnTo>
                  <a:pt x="915" y="1856"/>
                </a:lnTo>
                <a:lnTo>
                  <a:pt x="915" y="1855"/>
                </a:lnTo>
                <a:close/>
                <a:moveTo>
                  <a:pt x="1119" y="1540"/>
                </a:moveTo>
                <a:lnTo>
                  <a:pt x="1121" y="1540"/>
                </a:lnTo>
                <a:lnTo>
                  <a:pt x="1121" y="1542"/>
                </a:lnTo>
                <a:lnTo>
                  <a:pt x="1119" y="1542"/>
                </a:lnTo>
                <a:lnTo>
                  <a:pt x="1119" y="1540"/>
                </a:lnTo>
                <a:close/>
                <a:moveTo>
                  <a:pt x="971" y="1688"/>
                </a:moveTo>
                <a:lnTo>
                  <a:pt x="973" y="1688"/>
                </a:lnTo>
                <a:lnTo>
                  <a:pt x="971" y="1688"/>
                </a:lnTo>
                <a:close/>
                <a:moveTo>
                  <a:pt x="1160" y="1463"/>
                </a:moveTo>
                <a:lnTo>
                  <a:pt x="1161" y="1463"/>
                </a:lnTo>
                <a:lnTo>
                  <a:pt x="1161" y="1465"/>
                </a:lnTo>
                <a:lnTo>
                  <a:pt x="1160" y="1465"/>
                </a:lnTo>
                <a:lnTo>
                  <a:pt x="1160" y="1463"/>
                </a:lnTo>
                <a:close/>
                <a:moveTo>
                  <a:pt x="1155" y="1504"/>
                </a:moveTo>
                <a:lnTo>
                  <a:pt x="1156" y="1504"/>
                </a:lnTo>
                <a:lnTo>
                  <a:pt x="1155" y="1504"/>
                </a:lnTo>
                <a:close/>
                <a:moveTo>
                  <a:pt x="1257" y="1283"/>
                </a:moveTo>
                <a:lnTo>
                  <a:pt x="1257" y="1285"/>
                </a:lnTo>
                <a:lnTo>
                  <a:pt x="1257" y="1283"/>
                </a:lnTo>
                <a:close/>
                <a:moveTo>
                  <a:pt x="1100" y="1940"/>
                </a:moveTo>
                <a:lnTo>
                  <a:pt x="1100" y="1943"/>
                </a:lnTo>
                <a:lnTo>
                  <a:pt x="1100" y="1940"/>
                </a:lnTo>
                <a:close/>
                <a:moveTo>
                  <a:pt x="906" y="1836"/>
                </a:moveTo>
                <a:lnTo>
                  <a:pt x="908" y="1836"/>
                </a:lnTo>
                <a:lnTo>
                  <a:pt x="908" y="1838"/>
                </a:lnTo>
                <a:lnTo>
                  <a:pt x="906" y="1838"/>
                </a:lnTo>
                <a:lnTo>
                  <a:pt x="906" y="1836"/>
                </a:lnTo>
                <a:close/>
                <a:moveTo>
                  <a:pt x="1114" y="1531"/>
                </a:moveTo>
                <a:lnTo>
                  <a:pt x="1115" y="1531"/>
                </a:lnTo>
                <a:lnTo>
                  <a:pt x="1115" y="1533"/>
                </a:lnTo>
                <a:lnTo>
                  <a:pt x="1114" y="1533"/>
                </a:lnTo>
                <a:lnTo>
                  <a:pt x="1114" y="1531"/>
                </a:lnTo>
                <a:close/>
                <a:moveTo>
                  <a:pt x="1160" y="1322"/>
                </a:moveTo>
                <a:lnTo>
                  <a:pt x="1161" y="1322"/>
                </a:lnTo>
                <a:lnTo>
                  <a:pt x="1161" y="1324"/>
                </a:lnTo>
                <a:lnTo>
                  <a:pt x="1160" y="1324"/>
                </a:lnTo>
                <a:lnTo>
                  <a:pt x="1160" y="1322"/>
                </a:lnTo>
                <a:close/>
                <a:moveTo>
                  <a:pt x="1195" y="1344"/>
                </a:moveTo>
                <a:lnTo>
                  <a:pt x="1195" y="1346"/>
                </a:lnTo>
                <a:lnTo>
                  <a:pt x="1195" y="1344"/>
                </a:lnTo>
                <a:close/>
                <a:moveTo>
                  <a:pt x="1148" y="1457"/>
                </a:moveTo>
                <a:lnTo>
                  <a:pt x="1148" y="1455"/>
                </a:lnTo>
                <a:lnTo>
                  <a:pt x="1148" y="1457"/>
                </a:lnTo>
                <a:close/>
                <a:moveTo>
                  <a:pt x="973" y="2015"/>
                </a:moveTo>
                <a:lnTo>
                  <a:pt x="974" y="2015"/>
                </a:lnTo>
                <a:lnTo>
                  <a:pt x="974" y="2016"/>
                </a:lnTo>
                <a:lnTo>
                  <a:pt x="973" y="2016"/>
                </a:lnTo>
                <a:lnTo>
                  <a:pt x="973" y="2015"/>
                </a:lnTo>
                <a:close/>
                <a:moveTo>
                  <a:pt x="1068" y="1957"/>
                </a:moveTo>
                <a:lnTo>
                  <a:pt x="1070" y="1957"/>
                </a:lnTo>
                <a:lnTo>
                  <a:pt x="1068" y="1957"/>
                </a:lnTo>
                <a:close/>
                <a:moveTo>
                  <a:pt x="1058" y="1594"/>
                </a:moveTo>
                <a:lnTo>
                  <a:pt x="1059" y="1594"/>
                </a:lnTo>
                <a:lnTo>
                  <a:pt x="1058" y="1594"/>
                </a:lnTo>
                <a:close/>
                <a:moveTo>
                  <a:pt x="911" y="1865"/>
                </a:moveTo>
                <a:lnTo>
                  <a:pt x="913" y="1865"/>
                </a:lnTo>
                <a:lnTo>
                  <a:pt x="913" y="1867"/>
                </a:lnTo>
                <a:lnTo>
                  <a:pt x="911" y="1867"/>
                </a:lnTo>
                <a:lnTo>
                  <a:pt x="911" y="1865"/>
                </a:lnTo>
                <a:close/>
                <a:moveTo>
                  <a:pt x="1155" y="1506"/>
                </a:moveTo>
                <a:lnTo>
                  <a:pt x="1155" y="1508"/>
                </a:lnTo>
                <a:lnTo>
                  <a:pt x="1155" y="1506"/>
                </a:lnTo>
                <a:close/>
                <a:moveTo>
                  <a:pt x="903" y="1780"/>
                </a:moveTo>
                <a:lnTo>
                  <a:pt x="905" y="1780"/>
                </a:lnTo>
                <a:lnTo>
                  <a:pt x="903" y="1780"/>
                </a:lnTo>
                <a:close/>
                <a:moveTo>
                  <a:pt x="1078" y="1601"/>
                </a:moveTo>
                <a:lnTo>
                  <a:pt x="1078" y="1603"/>
                </a:lnTo>
                <a:lnTo>
                  <a:pt x="1078" y="1601"/>
                </a:lnTo>
                <a:close/>
                <a:moveTo>
                  <a:pt x="1056" y="1628"/>
                </a:moveTo>
                <a:lnTo>
                  <a:pt x="1054" y="1630"/>
                </a:lnTo>
                <a:lnTo>
                  <a:pt x="1056" y="1628"/>
                </a:lnTo>
                <a:close/>
                <a:moveTo>
                  <a:pt x="1180" y="1383"/>
                </a:moveTo>
                <a:lnTo>
                  <a:pt x="1182" y="1383"/>
                </a:lnTo>
                <a:lnTo>
                  <a:pt x="1180" y="1383"/>
                </a:lnTo>
                <a:close/>
                <a:moveTo>
                  <a:pt x="1153" y="1438"/>
                </a:moveTo>
                <a:lnTo>
                  <a:pt x="1155" y="1438"/>
                </a:lnTo>
                <a:lnTo>
                  <a:pt x="1153" y="1438"/>
                </a:lnTo>
                <a:close/>
                <a:moveTo>
                  <a:pt x="1551" y="1087"/>
                </a:moveTo>
                <a:lnTo>
                  <a:pt x="1552" y="1087"/>
                </a:lnTo>
                <a:lnTo>
                  <a:pt x="1551" y="1089"/>
                </a:lnTo>
                <a:lnTo>
                  <a:pt x="1551" y="1087"/>
                </a:lnTo>
                <a:close/>
                <a:moveTo>
                  <a:pt x="910" y="1788"/>
                </a:moveTo>
                <a:lnTo>
                  <a:pt x="910" y="1790"/>
                </a:lnTo>
                <a:lnTo>
                  <a:pt x="910" y="1788"/>
                </a:lnTo>
                <a:close/>
                <a:moveTo>
                  <a:pt x="1297" y="1159"/>
                </a:moveTo>
                <a:lnTo>
                  <a:pt x="1299" y="1157"/>
                </a:lnTo>
                <a:lnTo>
                  <a:pt x="1299" y="1159"/>
                </a:lnTo>
                <a:lnTo>
                  <a:pt x="1297" y="1161"/>
                </a:lnTo>
                <a:lnTo>
                  <a:pt x="1297" y="1159"/>
                </a:lnTo>
                <a:close/>
                <a:moveTo>
                  <a:pt x="908" y="1839"/>
                </a:moveTo>
                <a:lnTo>
                  <a:pt x="908" y="1841"/>
                </a:lnTo>
                <a:lnTo>
                  <a:pt x="908" y="1839"/>
                </a:lnTo>
                <a:close/>
                <a:moveTo>
                  <a:pt x="910" y="1831"/>
                </a:moveTo>
                <a:lnTo>
                  <a:pt x="910" y="1832"/>
                </a:lnTo>
                <a:lnTo>
                  <a:pt x="910" y="1831"/>
                </a:lnTo>
                <a:close/>
                <a:moveTo>
                  <a:pt x="1155" y="1448"/>
                </a:moveTo>
                <a:lnTo>
                  <a:pt x="1156" y="1448"/>
                </a:lnTo>
                <a:lnTo>
                  <a:pt x="1156" y="1450"/>
                </a:lnTo>
                <a:lnTo>
                  <a:pt x="1155" y="1450"/>
                </a:lnTo>
                <a:lnTo>
                  <a:pt x="1155" y="1448"/>
                </a:lnTo>
                <a:close/>
                <a:moveTo>
                  <a:pt x="1459" y="1103"/>
                </a:moveTo>
                <a:lnTo>
                  <a:pt x="1457" y="1104"/>
                </a:lnTo>
                <a:lnTo>
                  <a:pt x="1457" y="1103"/>
                </a:lnTo>
                <a:lnTo>
                  <a:pt x="1459" y="1103"/>
                </a:lnTo>
                <a:close/>
                <a:moveTo>
                  <a:pt x="915" y="1880"/>
                </a:moveTo>
                <a:lnTo>
                  <a:pt x="915" y="1882"/>
                </a:lnTo>
                <a:lnTo>
                  <a:pt x="915" y="1880"/>
                </a:lnTo>
                <a:close/>
                <a:moveTo>
                  <a:pt x="1158" y="1423"/>
                </a:moveTo>
                <a:lnTo>
                  <a:pt x="1160" y="1423"/>
                </a:lnTo>
                <a:lnTo>
                  <a:pt x="1160" y="1424"/>
                </a:lnTo>
                <a:lnTo>
                  <a:pt x="1158" y="1424"/>
                </a:lnTo>
                <a:lnTo>
                  <a:pt x="1158" y="1423"/>
                </a:lnTo>
                <a:close/>
                <a:moveTo>
                  <a:pt x="1071" y="1620"/>
                </a:moveTo>
                <a:lnTo>
                  <a:pt x="1070" y="1620"/>
                </a:lnTo>
                <a:lnTo>
                  <a:pt x="1071" y="1620"/>
                </a:lnTo>
                <a:close/>
                <a:moveTo>
                  <a:pt x="1093" y="1574"/>
                </a:moveTo>
                <a:lnTo>
                  <a:pt x="1095" y="1574"/>
                </a:lnTo>
                <a:lnTo>
                  <a:pt x="1093" y="1574"/>
                </a:lnTo>
                <a:close/>
                <a:moveTo>
                  <a:pt x="1107" y="1560"/>
                </a:moveTo>
                <a:lnTo>
                  <a:pt x="1109" y="1560"/>
                </a:lnTo>
                <a:lnTo>
                  <a:pt x="1107" y="1560"/>
                </a:lnTo>
                <a:close/>
                <a:moveTo>
                  <a:pt x="934" y="1928"/>
                </a:moveTo>
                <a:lnTo>
                  <a:pt x="935" y="1928"/>
                </a:lnTo>
                <a:lnTo>
                  <a:pt x="934" y="1928"/>
                </a:lnTo>
                <a:close/>
                <a:moveTo>
                  <a:pt x="1496" y="1067"/>
                </a:moveTo>
                <a:lnTo>
                  <a:pt x="1498" y="1065"/>
                </a:lnTo>
                <a:lnTo>
                  <a:pt x="1498" y="1067"/>
                </a:lnTo>
                <a:lnTo>
                  <a:pt x="1496" y="1067"/>
                </a:lnTo>
                <a:close/>
                <a:moveTo>
                  <a:pt x="1003" y="1659"/>
                </a:moveTo>
                <a:lnTo>
                  <a:pt x="1005" y="1659"/>
                </a:lnTo>
                <a:lnTo>
                  <a:pt x="1005" y="1661"/>
                </a:lnTo>
                <a:lnTo>
                  <a:pt x="1003" y="1661"/>
                </a:lnTo>
                <a:lnTo>
                  <a:pt x="1003" y="1659"/>
                </a:lnTo>
                <a:close/>
                <a:moveTo>
                  <a:pt x="1138" y="1537"/>
                </a:moveTo>
                <a:lnTo>
                  <a:pt x="1139" y="1537"/>
                </a:lnTo>
                <a:lnTo>
                  <a:pt x="1139" y="1538"/>
                </a:lnTo>
                <a:lnTo>
                  <a:pt x="1138" y="1538"/>
                </a:lnTo>
                <a:lnTo>
                  <a:pt x="1138" y="1537"/>
                </a:lnTo>
                <a:close/>
                <a:moveTo>
                  <a:pt x="905" y="1831"/>
                </a:moveTo>
                <a:lnTo>
                  <a:pt x="905" y="1832"/>
                </a:lnTo>
                <a:lnTo>
                  <a:pt x="905" y="1831"/>
                </a:lnTo>
                <a:close/>
                <a:moveTo>
                  <a:pt x="906" y="1805"/>
                </a:moveTo>
                <a:lnTo>
                  <a:pt x="908" y="1805"/>
                </a:lnTo>
                <a:lnTo>
                  <a:pt x="906" y="1805"/>
                </a:lnTo>
                <a:close/>
                <a:moveTo>
                  <a:pt x="913" y="1846"/>
                </a:moveTo>
                <a:lnTo>
                  <a:pt x="915" y="1846"/>
                </a:lnTo>
                <a:lnTo>
                  <a:pt x="915" y="1848"/>
                </a:lnTo>
                <a:lnTo>
                  <a:pt x="913" y="1848"/>
                </a:lnTo>
                <a:lnTo>
                  <a:pt x="913" y="1846"/>
                </a:lnTo>
                <a:close/>
                <a:moveTo>
                  <a:pt x="1182" y="1385"/>
                </a:moveTo>
                <a:lnTo>
                  <a:pt x="1183" y="1385"/>
                </a:lnTo>
                <a:lnTo>
                  <a:pt x="1182" y="1385"/>
                </a:lnTo>
                <a:close/>
                <a:moveTo>
                  <a:pt x="985" y="1686"/>
                </a:moveTo>
                <a:lnTo>
                  <a:pt x="983" y="1686"/>
                </a:lnTo>
                <a:lnTo>
                  <a:pt x="985" y="1686"/>
                </a:lnTo>
                <a:close/>
                <a:moveTo>
                  <a:pt x="927" y="1940"/>
                </a:moveTo>
                <a:lnTo>
                  <a:pt x="928" y="1940"/>
                </a:lnTo>
                <a:lnTo>
                  <a:pt x="928" y="1941"/>
                </a:lnTo>
                <a:lnTo>
                  <a:pt x="927" y="1941"/>
                </a:lnTo>
                <a:lnTo>
                  <a:pt x="927" y="1940"/>
                </a:lnTo>
                <a:close/>
                <a:moveTo>
                  <a:pt x="1107" y="1526"/>
                </a:moveTo>
                <a:lnTo>
                  <a:pt x="1107" y="1528"/>
                </a:lnTo>
                <a:lnTo>
                  <a:pt x="1107" y="1526"/>
                </a:lnTo>
                <a:close/>
                <a:moveTo>
                  <a:pt x="1161" y="1458"/>
                </a:moveTo>
                <a:lnTo>
                  <a:pt x="1161" y="1460"/>
                </a:lnTo>
                <a:lnTo>
                  <a:pt x="1161" y="1458"/>
                </a:lnTo>
                <a:close/>
                <a:moveTo>
                  <a:pt x="1117" y="1945"/>
                </a:moveTo>
                <a:lnTo>
                  <a:pt x="1117" y="1946"/>
                </a:lnTo>
                <a:lnTo>
                  <a:pt x="1117" y="1945"/>
                </a:lnTo>
                <a:close/>
                <a:moveTo>
                  <a:pt x="911" y="1756"/>
                </a:moveTo>
                <a:lnTo>
                  <a:pt x="911" y="1758"/>
                </a:lnTo>
                <a:lnTo>
                  <a:pt x="911" y="1756"/>
                </a:lnTo>
                <a:close/>
                <a:moveTo>
                  <a:pt x="1119" y="1938"/>
                </a:moveTo>
                <a:lnTo>
                  <a:pt x="1119" y="1940"/>
                </a:lnTo>
                <a:lnTo>
                  <a:pt x="1119" y="1938"/>
                </a:lnTo>
                <a:close/>
                <a:moveTo>
                  <a:pt x="1156" y="1440"/>
                </a:moveTo>
                <a:lnTo>
                  <a:pt x="1158" y="1440"/>
                </a:lnTo>
                <a:lnTo>
                  <a:pt x="1156" y="1440"/>
                </a:lnTo>
                <a:close/>
                <a:moveTo>
                  <a:pt x="908" y="1911"/>
                </a:moveTo>
                <a:lnTo>
                  <a:pt x="910" y="1911"/>
                </a:lnTo>
                <a:lnTo>
                  <a:pt x="910" y="1912"/>
                </a:lnTo>
                <a:lnTo>
                  <a:pt x="908" y="1912"/>
                </a:lnTo>
                <a:lnTo>
                  <a:pt x="908" y="1911"/>
                </a:lnTo>
                <a:close/>
                <a:moveTo>
                  <a:pt x="1170" y="1407"/>
                </a:moveTo>
                <a:lnTo>
                  <a:pt x="1172" y="1407"/>
                </a:lnTo>
                <a:lnTo>
                  <a:pt x="1172" y="1409"/>
                </a:lnTo>
                <a:lnTo>
                  <a:pt x="1170" y="1409"/>
                </a:lnTo>
                <a:lnTo>
                  <a:pt x="1170" y="1407"/>
                </a:lnTo>
                <a:close/>
                <a:moveTo>
                  <a:pt x="932" y="1878"/>
                </a:moveTo>
                <a:lnTo>
                  <a:pt x="932" y="1880"/>
                </a:lnTo>
                <a:lnTo>
                  <a:pt x="932" y="1878"/>
                </a:lnTo>
                <a:close/>
                <a:moveTo>
                  <a:pt x="1136" y="1513"/>
                </a:moveTo>
                <a:lnTo>
                  <a:pt x="1138" y="1513"/>
                </a:lnTo>
                <a:lnTo>
                  <a:pt x="1136" y="1513"/>
                </a:lnTo>
                <a:close/>
                <a:moveTo>
                  <a:pt x="922" y="1758"/>
                </a:moveTo>
                <a:lnTo>
                  <a:pt x="923" y="1758"/>
                </a:lnTo>
                <a:lnTo>
                  <a:pt x="923" y="1759"/>
                </a:lnTo>
                <a:lnTo>
                  <a:pt x="922" y="1759"/>
                </a:lnTo>
                <a:lnTo>
                  <a:pt x="922" y="1758"/>
                </a:lnTo>
                <a:close/>
                <a:moveTo>
                  <a:pt x="1104" y="1887"/>
                </a:moveTo>
                <a:lnTo>
                  <a:pt x="1104" y="1889"/>
                </a:lnTo>
                <a:lnTo>
                  <a:pt x="1104" y="1887"/>
                </a:lnTo>
                <a:close/>
                <a:moveTo>
                  <a:pt x="1020" y="1650"/>
                </a:moveTo>
                <a:lnTo>
                  <a:pt x="1019" y="1650"/>
                </a:lnTo>
                <a:lnTo>
                  <a:pt x="1020" y="1650"/>
                </a:lnTo>
                <a:close/>
                <a:moveTo>
                  <a:pt x="1138" y="1344"/>
                </a:moveTo>
                <a:lnTo>
                  <a:pt x="1139" y="1344"/>
                </a:lnTo>
                <a:lnTo>
                  <a:pt x="1139" y="1346"/>
                </a:lnTo>
                <a:lnTo>
                  <a:pt x="1138" y="1346"/>
                </a:lnTo>
                <a:lnTo>
                  <a:pt x="1138" y="1344"/>
                </a:lnTo>
                <a:close/>
                <a:moveTo>
                  <a:pt x="1041" y="1620"/>
                </a:moveTo>
                <a:lnTo>
                  <a:pt x="1042" y="1620"/>
                </a:lnTo>
                <a:lnTo>
                  <a:pt x="1042" y="1622"/>
                </a:lnTo>
                <a:lnTo>
                  <a:pt x="1041" y="1620"/>
                </a:lnTo>
                <a:close/>
                <a:moveTo>
                  <a:pt x="923" y="1861"/>
                </a:moveTo>
                <a:lnTo>
                  <a:pt x="923" y="1863"/>
                </a:lnTo>
                <a:lnTo>
                  <a:pt x="923" y="1861"/>
                </a:lnTo>
                <a:close/>
                <a:moveTo>
                  <a:pt x="1194" y="1346"/>
                </a:moveTo>
                <a:lnTo>
                  <a:pt x="1194" y="1348"/>
                </a:lnTo>
                <a:lnTo>
                  <a:pt x="1194" y="1346"/>
                </a:lnTo>
                <a:close/>
                <a:moveTo>
                  <a:pt x="1143" y="1446"/>
                </a:moveTo>
                <a:lnTo>
                  <a:pt x="1144" y="1446"/>
                </a:lnTo>
                <a:lnTo>
                  <a:pt x="1144" y="1448"/>
                </a:lnTo>
                <a:lnTo>
                  <a:pt x="1143" y="1448"/>
                </a:lnTo>
                <a:lnTo>
                  <a:pt x="1143" y="1446"/>
                </a:lnTo>
                <a:close/>
                <a:moveTo>
                  <a:pt x="934" y="1940"/>
                </a:moveTo>
                <a:lnTo>
                  <a:pt x="934" y="1941"/>
                </a:lnTo>
                <a:lnTo>
                  <a:pt x="934" y="1940"/>
                </a:lnTo>
                <a:close/>
                <a:moveTo>
                  <a:pt x="1020" y="1630"/>
                </a:moveTo>
                <a:lnTo>
                  <a:pt x="1020" y="1632"/>
                </a:lnTo>
                <a:lnTo>
                  <a:pt x="1020" y="1630"/>
                </a:lnTo>
                <a:close/>
                <a:moveTo>
                  <a:pt x="923" y="1861"/>
                </a:moveTo>
                <a:lnTo>
                  <a:pt x="923" y="1863"/>
                </a:lnTo>
                <a:lnTo>
                  <a:pt x="923" y="1861"/>
                </a:lnTo>
                <a:close/>
                <a:moveTo>
                  <a:pt x="1155" y="1487"/>
                </a:moveTo>
                <a:lnTo>
                  <a:pt x="1153" y="1489"/>
                </a:lnTo>
                <a:lnTo>
                  <a:pt x="1155" y="1487"/>
                </a:lnTo>
                <a:close/>
                <a:moveTo>
                  <a:pt x="1289" y="1174"/>
                </a:moveTo>
                <a:lnTo>
                  <a:pt x="1291" y="1174"/>
                </a:lnTo>
                <a:lnTo>
                  <a:pt x="1291" y="1176"/>
                </a:lnTo>
                <a:lnTo>
                  <a:pt x="1289" y="1176"/>
                </a:lnTo>
                <a:lnTo>
                  <a:pt x="1289" y="1174"/>
                </a:lnTo>
                <a:close/>
                <a:moveTo>
                  <a:pt x="1076" y="1599"/>
                </a:moveTo>
                <a:lnTo>
                  <a:pt x="1078" y="1599"/>
                </a:lnTo>
                <a:lnTo>
                  <a:pt x="1078" y="1601"/>
                </a:lnTo>
                <a:lnTo>
                  <a:pt x="1076" y="1601"/>
                </a:lnTo>
                <a:lnTo>
                  <a:pt x="1076" y="1599"/>
                </a:lnTo>
                <a:close/>
                <a:moveTo>
                  <a:pt x="1092" y="1579"/>
                </a:moveTo>
                <a:lnTo>
                  <a:pt x="1093" y="1579"/>
                </a:lnTo>
                <a:lnTo>
                  <a:pt x="1092" y="1579"/>
                </a:lnTo>
                <a:close/>
                <a:moveTo>
                  <a:pt x="1206" y="1354"/>
                </a:moveTo>
                <a:lnTo>
                  <a:pt x="1207" y="1353"/>
                </a:lnTo>
                <a:lnTo>
                  <a:pt x="1207" y="1354"/>
                </a:lnTo>
                <a:lnTo>
                  <a:pt x="1206" y="1354"/>
                </a:lnTo>
                <a:close/>
                <a:moveTo>
                  <a:pt x="910" y="1839"/>
                </a:moveTo>
                <a:lnTo>
                  <a:pt x="910" y="1841"/>
                </a:lnTo>
                <a:lnTo>
                  <a:pt x="910" y="1839"/>
                </a:lnTo>
                <a:close/>
                <a:moveTo>
                  <a:pt x="1027" y="1999"/>
                </a:moveTo>
                <a:lnTo>
                  <a:pt x="1029" y="1999"/>
                </a:lnTo>
                <a:lnTo>
                  <a:pt x="1029" y="2001"/>
                </a:lnTo>
                <a:lnTo>
                  <a:pt x="1027" y="2001"/>
                </a:lnTo>
                <a:lnTo>
                  <a:pt x="1027" y="1999"/>
                </a:lnTo>
                <a:close/>
                <a:moveTo>
                  <a:pt x="1144" y="1489"/>
                </a:moveTo>
                <a:lnTo>
                  <a:pt x="1146" y="1489"/>
                </a:lnTo>
                <a:lnTo>
                  <a:pt x="1146" y="1491"/>
                </a:lnTo>
                <a:lnTo>
                  <a:pt x="1144" y="1491"/>
                </a:lnTo>
                <a:lnTo>
                  <a:pt x="1144" y="1489"/>
                </a:lnTo>
                <a:close/>
                <a:moveTo>
                  <a:pt x="1019" y="1657"/>
                </a:moveTo>
                <a:lnTo>
                  <a:pt x="1020" y="1657"/>
                </a:lnTo>
                <a:lnTo>
                  <a:pt x="1020" y="1659"/>
                </a:lnTo>
                <a:lnTo>
                  <a:pt x="1019" y="1659"/>
                </a:lnTo>
                <a:lnTo>
                  <a:pt x="1019" y="1657"/>
                </a:lnTo>
                <a:close/>
                <a:moveTo>
                  <a:pt x="1248" y="1285"/>
                </a:moveTo>
                <a:lnTo>
                  <a:pt x="1250" y="1285"/>
                </a:lnTo>
                <a:lnTo>
                  <a:pt x="1248" y="1286"/>
                </a:lnTo>
                <a:lnTo>
                  <a:pt x="1248" y="1285"/>
                </a:lnTo>
                <a:close/>
                <a:moveTo>
                  <a:pt x="1574" y="1086"/>
                </a:moveTo>
                <a:lnTo>
                  <a:pt x="1576" y="1086"/>
                </a:lnTo>
                <a:lnTo>
                  <a:pt x="1576" y="1087"/>
                </a:lnTo>
                <a:lnTo>
                  <a:pt x="1574" y="1086"/>
                </a:lnTo>
                <a:close/>
                <a:moveTo>
                  <a:pt x="1386" y="1096"/>
                </a:moveTo>
                <a:lnTo>
                  <a:pt x="1386" y="1094"/>
                </a:lnTo>
                <a:lnTo>
                  <a:pt x="1387" y="1096"/>
                </a:lnTo>
                <a:lnTo>
                  <a:pt x="1386" y="1096"/>
                </a:lnTo>
                <a:close/>
                <a:moveTo>
                  <a:pt x="917" y="1861"/>
                </a:moveTo>
                <a:lnTo>
                  <a:pt x="917" y="1863"/>
                </a:lnTo>
                <a:lnTo>
                  <a:pt x="917" y="1861"/>
                </a:lnTo>
                <a:close/>
                <a:moveTo>
                  <a:pt x="1075" y="1946"/>
                </a:moveTo>
                <a:lnTo>
                  <a:pt x="1076" y="1946"/>
                </a:lnTo>
                <a:lnTo>
                  <a:pt x="1075" y="1946"/>
                </a:lnTo>
                <a:close/>
                <a:moveTo>
                  <a:pt x="1076" y="1946"/>
                </a:moveTo>
                <a:lnTo>
                  <a:pt x="1076" y="1948"/>
                </a:lnTo>
                <a:lnTo>
                  <a:pt x="1076" y="1946"/>
                </a:lnTo>
                <a:close/>
                <a:moveTo>
                  <a:pt x="928" y="1924"/>
                </a:moveTo>
                <a:lnTo>
                  <a:pt x="930" y="1924"/>
                </a:lnTo>
                <a:lnTo>
                  <a:pt x="930" y="1926"/>
                </a:lnTo>
                <a:lnTo>
                  <a:pt x="928" y="1926"/>
                </a:lnTo>
                <a:lnTo>
                  <a:pt x="928" y="1924"/>
                </a:lnTo>
                <a:close/>
                <a:moveTo>
                  <a:pt x="1097" y="1940"/>
                </a:moveTo>
                <a:lnTo>
                  <a:pt x="1098" y="1940"/>
                </a:lnTo>
                <a:lnTo>
                  <a:pt x="1098" y="1941"/>
                </a:lnTo>
                <a:lnTo>
                  <a:pt x="1097" y="1941"/>
                </a:lnTo>
                <a:lnTo>
                  <a:pt x="1097" y="1940"/>
                </a:lnTo>
                <a:close/>
                <a:moveTo>
                  <a:pt x="932" y="1824"/>
                </a:moveTo>
                <a:lnTo>
                  <a:pt x="934" y="1824"/>
                </a:lnTo>
                <a:lnTo>
                  <a:pt x="934" y="1826"/>
                </a:lnTo>
                <a:lnTo>
                  <a:pt x="932" y="1826"/>
                </a:lnTo>
                <a:lnTo>
                  <a:pt x="932" y="1824"/>
                </a:lnTo>
                <a:close/>
                <a:moveTo>
                  <a:pt x="917" y="1877"/>
                </a:moveTo>
                <a:lnTo>
                  <a:pt x="918" y="1877"/>
                </a:lnTo>
                <a:lnTo>
                  <a:pt x="918" y="1878"/>
                </a:lnTo>
                <a:lnTo>
                  <a:pt x="917" y="1878"/>
                </a:lnTo>
                <a:lnTo>
                  <a:pt x="917" y="1877"/>
                </a:lnTo>
                <a:close/>
                <a:moveTo>
                  <a:pt x="913" y="1838"/>
                </a:moveTo>
                <a:lnTo>
                  <a:pt x="913" y="1839"/>
                </a:lnTo>
                <a:lnTo>
                  <a:pt x="913" y="1838"/>
                </a:lnTo>
                <a:close/>
                <a:moveTo>
                  <a:pt x="915" y="1867"/>
                </a:moveTo>
                <a:lnTo>
                  <a:pt x="917" y="1867"/>
                </a:lnTo>
                <a:lnTo>
                  <a:pt x="917" y="1868"/>
                </a:lnTo>
                <a:lnTo>
                  <a:pt x="915" y="1868"/>
                </a:lnTo>
                <a:lnTo>
                  <a:pt x="915" y="1867"/>
                </a:lnTo>
                <a:close/>
                <a:moveTo>
                  <a:pt x="923" y="1868"/>
                </a:moveTo>
                <a:lnTo>
                  <a:pt x="925" y="1868"/>
                </a:lnTo>
                <a:lnTo>
                  <a:pt x="923" y="1868"/>
                </a:lnTo>
                <a:close/>
                <a:moveTo>
                  <a:pt x="1039" y="1622"/>
                </a:moveTo>
                <a:lnTo>
                  <a:pt x="1041" y="1622"/>
                </a:lnTo>
                <a:lnTo>
                  <a:pt x="1039" y="1622"/>
                </a:lnTo>
                <a:close/>
                <a:moveTo>
                  <a:pt x="915" y="1822"/>
                </a:moveTo>
                <a:lnTo>
                  <a:pt x="915" y="1824"/>
                </a:lnTo>
                <a:lnTo>
                  <a:pt x="913" y="1824"/>
                </a:lnTo>
                <a:lnTo>
                  <a:pt x="915" y="1822"/>
                </a:lnTo>
                <a:close/>
                <a:moveTo>
                  <a:pt x="1098" y="1912"/>
                </a:moveTo>
                <a:lnTo>
                  <a:pt x="1098" y="1914"/>
                </a:lnTo>
                <a:lnTo>
                  <a:pt x="1098" y="1912"/>
                </a:lnTo>
                <a:close/>
                <a:moveTo>
                  <a:pt x="1064" y="1958"/>
                </a:moveTo>
                <a:lnTo>
                  <a:pt x="1066" y="1958"/>
                </a:lnTo>
                <a:lnTo>
                  <a:pt x="1066" y="1960"/>
                </a:lnTo>
                <a:lnTo>
                  <a:pt x="1064" y="1960"/>
                </a:lnTo>
                <a:lnTo>
                  <a:pt x="1064" y="1958"/>
                </a:lnTo>
                <a:close/>
                <a:moveTo>
                  <a:pt x="910" y="1826"/>
                </a:moveTo>
                <a:lnTo>
                  <a:pt x="911" y="1826"/>
                </a:lnTo>
                <a:lnTo>
                  <a:pt x="911" y="1827"/>
                </a:lnTo>
                <a:lnTo>
                  <a:pt x="910" y="1827"/>
                </a:lnTo>
                <a:lnTo>
                  <a:pt x="910" y="1826"/>
                </a:lnTo>
                <a:close/>
                <a:moveTo>
                  <a:pt x="1214" y="1314"/>
                </a:moveTo>
                <a:lnTo>
                  <a:pt x="1214" y="1315"/>
                </a:lnTo>
                <a:lnTo>
                  <a:pt x="1214" y="1314"/>
                </a:lnTo>
                <a:close/>
                <a:moveTo>
                  <a:pt x="1149" y="1433"/>
                </a:moveTo>
                <a:lnTo>
                  <a:pt x="1151" y="1433"/>
                </a:lnTo>
                <a:lnTo>
                  <a:pt x="1149" y="1433"/>
                </a:lnTo>
                <a:close/>
                <a:moveTo>
                  <a:pt x="1109" y="1523"/>
                </a:moveTo>
                <a:lnTo>
                  <a:pt x="1109" y="1525"/>
                </a:lnTo>
                <a:lnTo>
                  <a:pt x="1109" y="1523"/>
                </a:lnTo>
                <a:close/>
                <a:moveTo>
                  <a:pt x="1151" y="1455"/>
                </a:moveTo>
                <a:lnTo>
                  <a:pt x="1153" y="1455"/>
                </a:lnTo>
                <a:lnTo>
                  <a:pt x="1153" y="1457"/>
                </a:lnTo>
                <a:lnTo>
                  <a:pt x="1151" y="1457"/>
                </a:lnTo>
                <a:lnTo>
                  <a:pt x="1151" y="1455"/>
                </a:lnTo>
                <a:close/>
                <a:moveTo>
                  <a:pt x="1020" y="1657"/>
                </a:moveTo>
                <a:lnTo>
                  <a:pt x="1022" y="1657"/>
                </a:lnTo>
                <a:lnTo>
                  <a:pt x="1020" y="1657"/>
                </a:lnTo>
                <a:close/>
                <a:moveTo>
                  <a:pt x="1151" y="1455"/>
                </a:moveTo>
                <a:lnTo>
                  <a:pt x="1153" y="1455"/>
                </a:lnTo>
                <a:lnTo>
                  <a:pt x="1153" y="1457"/>
                </a:lnTo>
                <a:lnTo>
                  <a:pt x="1151" y="1457"/>
                </a:lnTo>
                <a:lnTo>
                  <a:pt x="1151" y="1455"/>
                </a:lnTo>
                <a:close/>
                <a:moveTo>
                  <a:pt x="1151" y="1453"/>
                </a:moveTo>
                <a:lnTo>
                  <a:pt x="1153" y="1453"/>
                </a:lnTo>
                <a:lnTo>
                  <a:pt x="1153" y="1455"/>
                </a:lnTo>
                <a:lnTo>
                  <a:pt x="1151" y="1455"/>
                </a:lnTo>
                <a:lnTo>
                  <a:pt x="1151" y="1453"/>
                </a:lnTo>
                <a:close/>
                <a:moveTo>
                  <a:pt x="1020" y="1628"/>
                </a:moveTo>
                <a:lnTo>
                  <a:pt x="1022" y="1628"/>
                </a:lnTo>
                <a:lnTo>
                  <a:pt x="1020" y="1630"/>
                </a:lnTo>
                <a:lnTo>
                  <a:pt x="1020" y="1628"/>
                </a:lnTo>
                <a:close/>
                <a:moveTo>
                  <a:pt x="923" y="1761"/>
                </a:moveTo>
                <a:lnTo>
                  <a:pt x="925" y="1761"/>
                </a:lnTo>
                <a:lnTo>
                  <a:pt x="925" y="1763"/>
                </a:lnTo>
                <a:lnTo>
                  <a:pt x="923" y="1763"/>
                </a:lnTo>
                <a:lnTo>
                  <a:pt x="923" y="1761"/>
                </a:lnTo>
                <a:close/>
                <a:moveTo>
                  <a:pt x="1192" y="1346"/>
                </a:moveTo>
                <a:lnTo>
                  <a:pt x="1194" y="1346"/>
                </a:lnTo>
                <a:lnTo>
                  <a:pt x="1194" y="1348"/>
                </a:lnTo>
                <a:lnTo>
                  <a:pt x="1192" y="1348"/>
                </a:lnTo>
                <a:lnTo>
                  <a:pt x="1192" y="1346"/>
                </a:lnTo>
                <a:close/>
                <a:moveTo>
                  <a:pt x="1143" y="1445"/>
                </a:moveTo>
                <a:lnTo>
                  <a:pt x="1144" y="1445"/>
                </a:lnTo>
                <a:lnTo>
                  <a:pt x="1144" y="1446"/>
                </a:lnTo>
                <a:lnTo>
                  <a:pt x="1143" y="1446"/>
                </a:lnTo>
                <a:lnTo>
                  <a:pt x="1143" y="1445"/>
                </a:lnTo>
                <a:close/>
                <a:moveTo>
                  <a:pt x="1216" y="1309"/>
                </a:moveTo>
                <a:lnTo>
                  <a:pt x="1217" y="1309"/>
                </a:lnTo>
                <a:lnTo>
                  <a:pt x="1216" y="1309"/>
                </a:lnTo>
                <a:close/>
                <a:moveTo>
                  <a:pt x="1104" y="1899"/>
                </a:moveTo>
                <a:lnTo>
                  <a:pt x="1104" y="1901"/>
                </a:lnTo>
                <a:lnTo>
                  <a:pt x="1104" y="1899"/>
                </a:lnTo>
                <a:close/>
                <a:moveTo>
                  <a:pt x="1110" y="1525"/>
                </a:moveTo>
                <a:lnTo>
                  <a:pt x="1112" y="1525"/>
                </a:lnTo>
                <a:lnTo>
                  <a:pt x="1110" y="1525"/>
                </a:lnTo>
                <a:close/>
                <a:moveTo>
                  <a:pt x="1015" y="2009"/>
                </a:moveTo>
                <a:lnTo>
                  <a:pt x="1015" y="2011"/>
                </a:lnTo>
                <a:lnTo>
                  <a:pt x="1015" y="2009"/>
                </a:lnTo>
                <a:close/>
                <a:moveTo>
                  <a:pt x="1155" y="1394"/>
                </a:moveTo>
                <a:lnTo>
                  <a:pt x="1156" y="1394"/>
                </a:lnTo>
                <a:lnTo>
                  <a:pt x="1156" y="1395"/>
                </a:lnTo>
                <a:lnTo>
                  <a:pt x="1155" y="1395"/>
                </a:lnTo>
                <a:lnTo>
                  <a:pt x="1155" y="1394"/>
                </a:lnTo>
                <a:close/>
                <a:moveTo>
                  <a:pt x="1121" y="1542"/>
                </a:moveTo>
                <a:lnTo>
                  <a:pt x="1121" y="1543"/>
                </a:lnTo>
                <a:lnTo>
                  <a:pt x="1121" y="1542"/>
                </a:lnTo>
                <a:close/>
                <a:moveTo>
                  <a:pt x="1149" y="1431"/>
                </a:moveTo>
                <a:lnTo>
                  <a:pt x="1151" y="1431"/>
                </a:lnTo>
                <a:lnTo>
                  <a:pt x="1151" y="1433"/>
                </a:lnTo>
                <a:lnTo>
                  <a:pt x="1149" y="1433"/>
                </a:lnTo>
                <a:lnTo>
                  <a:pt x="1149" y="1431"/>
                </a:lnTo>
                <a:close/>
                <a:moveTo>
                  <a:pt x="1095" y="1911"/>
                </a:moveTo>
                <a:lnTo>
                  <a:pt x="1097" y="1911"/>
                </a:lnTo>
                <a:lnTo>
                  <a:pt x="1097" y="1912"/>
                </a:lnTo>
                <a:lnTo>
                  <a:pt x="1095" y="1912"/>
                </a:lnTo>
                <a:lnTo>
                  <a:pt x="1095" y="1911"/>
                </a:lnTo>
                <a:close/>
                <a:moveTo>
                  <a:pt x="906" y="1815"/>
                </a:moveTo>
                <a:lnTo>
                  <a:pt x="908" y="1815"/>
                </a:lnTo>
                <a:lnTo>
                  <a:pt x="906" y="1815"/>
                </a:lnTo>
                <a:close/>
                <a:moveTo>
                  <a:pt x="995" y="1683"/>
                </a:moveTo>
                <a:lnTo>
                  <a:pt x="995" y="1684"/>
                </a:lnTo>
                <a:lnTo>
                  <a:pt x="993" y="1684"/>
                </a:lnTo>
                <a:lnTo>
                  <a:pt x="995" y="1683"/>
                </a:lnTo>
                <a:close/>
                <a:moveTo>
                  <a:pt x="1076" y="1948"/>
                </a:moveTo>
                <a:lnTo>
                  <a:pt x="1076" y="1950"/>
                </a:lnTo>
                <a:lnTo>
                  <a:pt x="1076" y="1948"/>
                </a:lnTo>
                <a:close/>
                <a:moveTo>
                  <a:pt x="1022" y="1644"/>
                </a:moveTo>
                <a:lnTo>
                  <a:pt x="1024" y="1644"/>
                </a:lnTo>
                <a:lnTo>
                  <a:pt x="1022" y="1644"/>
                </a:lnTo>
                <a:close/>
                <a:moveTo>
                  <a:pt x="993" y="1684"/>
                </a:moveTo>
                <a:lnTo>
                  <a:pt x="991" y="1684"/>
                </a:lnTo>
                <a:lnTo>
                  <a:pt x="993" y="1684"/>
                </a:lnTo>
                <a:close/>
                <a:moveTo>
                  <a:pt x="1144" y="1489"/>
                </a:moveTo>
                <a:lnTo>
                  <a:pt x="1146" y="1489"/>
                </a:lnTo>
                <a:lnTo>
                  <a:pt x="1144" y="1489"/>
                </a:lnTo>
                <a:close/>
                <a:moveTo>
                  <a:pt x="1187" y="1372"/>
                </a:moveTo>
                <a:lnTo>
                  <a:pt x="1189" y="1372"/>
                </a:lnTo>
                <a:lnTo>
                  <a:pt x="1189" y="1373"/>
                </a:lnTo>
                <a:lnTo>
                  <a:pt x="1187" y="1373"/>
                </a:lnTo>
                <a:lnTo>
                  <a:pt x="1187" y="1372"/>
                </a:lnTo>
                <a:close/>
                <a:moveTo>
                  <a:pt x="1158" y="1424"/>
                </a:moveTo>
                <a:lnTo>
                  <a:pt x="1160" y="1424"/>
                </a:lnTo>
                <a:lnTo>
                  <a:pt x="1160" y="1426"/>
                </a:lnTo>
                <a:lnTo>
                  <a:pt x="1158" y="1426"/>
                </a:lnTo>
                <a:lnTo>
                  <a:pt x="1158" y="1424"/>
                </a:lnTo>
                <a:close/>
                <a:moveTo>
                  <a:pt x="1175" y="373"/>
                </a:moveTo>
                <a:lnTo>
                  <a:pt x="1177" y="375"/>
                </a:lnTo>
                <a:lnTo>
                  <a:pt x="1180" y="375"/>
                </a:lnTo>
                <a:lnTo>
                  <a:pt x="1180" y="376"/>
                </a:lnTo>
                <a:lnTo>
                  <a:pt x="1180" y="380"/>
                </a:lnTo>
                <a:lnTo>
                  <a:pt x="1182" y="381"/>
                </a:lnTo>
                <a:lnTo>
                  <a:pt x="1182" y="383"/>
                </a:lnTo>
                <a:lnTo>
                  <a:pt x="1183" y="387"/>
                </a:lnTo>
                <a:lnTo>
                  <a:pt x="1185" y="388"/>
                </a:lnTo>
                <a:lnTo>
                  <a:pt x="1185" y="385"/>
                </a:lnTo>
                <a:lnTo>
                  <a:pt x="1183" y="383"/>
                </a:lnTo>
                <a:lnTo>
                  <a:pt x="1185" y="381"/>
                </a:lnTo>
                <a:lnTo>
                  <a:pt x="1187" y="380"/>
                </a:lnTo>
                <a:lnTo>
                  <a:pt x="1189" y="380"/>
                </a:lnTo>
                <a:lnTo>
                  <a:pt x="1190" y="381"/>
                </a:lnTo>
                <a:lnTo>
                  <a:pt x="1192" y="381"/>
                </a:lnTo>
                <a:lnTo>
                  <a:pt x="1192" y="385"/>
                </a:lnTo>
                <a:lnTo>
                  <a:pt x="1195" y="385"/>
                </a:lnTo>
                <a:lnTo>
                  <a:pt x="1195" y="387"/>
                </a:lnTo>
                <a:lnTo>
                  <a:pt x="1197" y="388"/>
                </a:lnTo>
                <a:lnTo>
                  <a:pt x="1199" y="390"/>
                </a:lnTo>
                <a:lnTo>
                  <a:pt x="1199" y="392"/>
                </a:lnTo>
                <a:lnTo>
                  <a:pt x="1200" y="393"/>
                </a:lnTo>
                <a:lnTo>
                  <a:pt x="1202" y="397"/>
                </a:lnTo>
                <a:lnTo>
                  <a:pt x="1204" y="400"/>
                </a:lnTo>
                <a:lnTo>
                  <a:pt x="1202" y="402"/>
                </a:lnTo>
                <a:lnTo>
                  <a:pt x="1202" y="404"/>
                </a:lnTo>
                <a:lnTo>
                  <a:pt x="1200" y="407"/>
                </a:lnTo>
                <a:lnTo>
                  <a:pt x="1199" y="409"/>
                </a:lnTo>
                <a:lnTo>
                  <a:pt x="1200" y="412"/>
                </a:lnTo>
                <a:lnTo>
                  <a:pt x="1199" y="414"/>
                </a:lnTo>
                <a:lnTo>
                  <a:pt x="1200" y="414"/>
                </a:lnTo>
                <a:lnTo>
                  <a:pt x="1202" y="417"/>
                </a:lnTo>
                <a:lnTo>
                  <a:pt x="1202" y="419"/>
                </a:lnTo>
                <a:lnTo>
                  <a:pt x="1202" y="421"/>
                </a:lnTo>
                <a:lnTo>
                  <a:pt x="1202" y="422"/>
                </a:lnTo>
                <a:lnTo>
                  <a:pt x="1202" y="424"/>
                </a:lnTo>
                <a:lnTo>
                  <a:pt x="1200" y="426"/>
                </a:lnTo>
                <a:lnTo>
                  <a:pt x="1200" y="427"/>
                </a:lnTo>
                <a:lnTo>
                  <a:pt x="1202" y="426"/>
                </a:lnTo>
                <a:lnTo>
                  <a:pt x="1204" y="426"/>
                </a:lnTo>
                <a:lnTo>
                  <a:pt x="1204" y="422"/>
                </a:lnTo>
                <a:lnTo>
                  <a:pt x="1206" y="421"/>
                </a:lnTo>
                <a:lnTo>
                  <a:pt x="1206" y="419"/>
                </a:lnTo>
                <a:lnTo>
                  <a:pt x="1206" y="415"/>
                </a:lnTo>
                <a:lnTo>
                  <a:pt x="1206" y="414"/>
                </a:lnTo>
                <a:lnTo>
                  <a:pt x="1206" y="412"/>
                </a:lnTo>
                <a:lnTo>
                  <a:pt x="1206" y="410"/>
                </a:lnTo>
                <a:lnTo>
                  <a:pt x="1206" y="409"/>
                </a:lnTo>
                <a:lnTo>
                  <a:pt x="1206" y="407"/>
                </a:lnTo>
                <a:lnTo>
                  <a:pt x="1207" y="405"/>
                </a:lnTo>
                <a:lnTo>
                  <a:pt x="1209" y="407"/>
                </a:lnTo>
                <a:lnTo>
                  <a:pt x="1211" y="407"/>
                </a:lnTo>
                <a:lnTo>
                  <a:pt x="1212" y="409"/>
                </a:lnTo>
                <a:lnTo>
                  <a:pt x="1214" y="410"/>
                </a:lnTo>
                <a:lnTo>
                  <a:pt x="1216" y="412"/>
                </a:lnTo>
                <a:lnTo>
                  <a:pt x="1216" y="415"/>
                </a:lnTo>
                <a:lnTo>
                  <a:pt x="1217" y="417"/>
                </a:lnTo>
                <a:lnTo>
                  <a:pt x="1219" y="421"/>
                </a:lnTo>
                <a:lnTo>
                  <a:pt x="1217" y="421"/>
                </a:lnTo>
                <a:lnTo>
                  <a:pt x="1219" y="421"/>
                </a:lnTo>
                <a:lnTo>
                  <a:pt x="1219" y="424"/>
                </a:lnTo>
                <a:lnTo>
                  <a:pt x="1219" y="427"/>
                </a:lnTo>
                <a:lnTo>
                  <a:pt x="1219" y="429"/>
                </a:lnTo>
                <a:lnTo>
                  <a:pt x="1219" y="431"/>
                </a:lnTo>
                <a:lnTo>
                  <a:pt x="1219" y="433"/>
                </a:lnTo>
                <a:lnTo>
                  <a:pt x="1216" y="434"/>
                </a:lnTo>
                <a:lnTo>
                  <a:pt x="1216" y="436"/>
                </a:lnTo>
                <a:lnTo>
                  <a:pt x="1217" y="438"/>
                </a:lnTo>
                <a:lnTo>
                  <a:pt x="1219" y="436"/>
                </a:lnTo>
                <a:lnTo>
                  <a:pt x="1221" y="438"/>
                </a:lnTo>
                <a:lnTo>
                  <a:pt x="1221" y="441"/>
                </a:lnTo>
                <a:lnTo>
                  <a:pt x="1223" y="443"/>
                </a:lnTo>
                <a:lnTo>
                  <a:pt x="1224" y="443"/>
                </a:lnTo>
                <a:lnTo>
                  <a:pt x="1226" y="443"/>
                </a:lnTo>
                <a:lnTo>
                  <a:pt x="1228" y="439"/>
                </a:lnTo>
                <a:lnTo>
                  <a:pt x="1229" y="439"/>
                </a:lnTo>
                <a:lnTo>
                  <a:pt x="1231" y="441"/>
                </a:lnTo>
                <a:lnTo>
                  <a:pt x="1233" y="443"/>
                </a:lnTo>
                <a:lnTo>
                  <a:pt x="1236" y="441"/>
                </a:lnTo>
                <a:lnTo>
                  <a:pt x="1234" y="443"/>
                </a:lnTo>
                <a:lnTo>
                  <a:pt x="1236" y="444"/>
                </a:lnTo>
                <a:lnTo>
                  <a:pt x="1236" y="448"/>
                </a:lnTo>
                <a:lnTo>
                  <a:pt x="1238" y="448"/>
                </a:lnTo>
                <a:lnTo>
                  <a:pt x="1238" y="451"/>
                </a:lnTo>
                <a:lnTo>
                  <a:pt x="1240" y="455"/>
                </a:lnTo>
                <a:lnTo>
                  <a:pt x="1243" y="455"/>
                </a:lnTo>
                <a:lnTo>
                  <a:pt x="1243" y="453"/>
                </a:lnTo>
                <a:lnTo>
                  <a:pt x="1245" y="455"/>
                </a:lnTo>
                <a:lnTo>
                  <a:pt x="1248" y="456"/>
                </a:lnTo>
                <a:lnTo>
                  <a:pt x="1250" y="456"/>
                </a:lnTo>
                <a:lnTo>
                  <a:pt x="1250" y="458"/>
                </a:lnTo>
                <a:lnTo>
                  <a:pt x="1251" y="458"/>
                </a:lnTo>
                <a:lnTo>
                  <a:pt x="1253" y="458"/>
                </a:lnTo>
                <a:lnTo>
                  <a:pt x="1255" y="460"/>
                </a:lnTo>
                <a:lnTo>
                  <a:pt x="1257" y="460"/>
                </a:lnTo>
                <a:lnTo>
                  <a:pt x="1258" y="461"/>
                </a:lnTo>
                <a:lnTo>
                  <a:pt x="1260" y="461"/>
                </a:lnTo>
                <a:lnTo>
                  <a:pt x="1260" y="463"/>
                </a:lnTo>
                <a:lnTo>
                  <a:pt x="1262" y="461"/>
                </a:lnTo>
                <a:lnTo>
                  <a:pt x="1265" y="463"/>
                </a:lnTo>
                <a:lnTo>
                  <a:pt x="1267" y="465"/>
                </a:lnTo>
                <a:lnTo>
                  <a:pt x="1265" y="468"/>
                </a:lnTo>
                <a:lnTo>
                  <a:pt x="1267" y="470"/>
                </a:lnTo>
                <a:lnTo>
                  <a:pt x="1265" y="472"/>
                </a:lnTo>
                <a:lnTo>
                  <a:pt x="1265" y="475"/>
                </a:lnTo>
                <a:lnTo>
                  <a:pt x="1267" y="477"/>
                </a:lnTo>
                <a:lnTo>
                  <a:pt x="1265" y="477"/>
                </a:lnTo>
                <a:lnTo>
                  <a:pt x="1263" y="477"/>
                </a:lnTo>
                <a:lnTo>
                  <a:pt x="1262" y="477"/>
                </a:lnTo>
                <a:lnTo>
                  <a:pt x="1262" y="478"/>
                </a:lnTo>
                <a:lnTo>
                  <a:pt x="1260" y="478"/>
                </a:lnTo>
                <a:lnTo>
                  <a:pt x="1257" y="477"/>
                </a:lnTo>
                <a:lnTo>
                  <a:pt x="1257" y="475"/>
                </a:lnTo>
                <a:lnTo>
                  <a:pt x="1255" y="477"/>
                </a:lnTo>
                <a:lnTo>
                  <a:pt x="1255" y="478"/>
                </a:lnTo>
                <a:lnTo>
                  <a:pt x="1253" y="480"/>
                </a:lnTo>
                <a:lnTo>
                  <a:pt x="1253" y="482"/>
                </a:lnTo>
                <a:lnTo>
                  <a:pt x="1250" y="480"/>
                </a:lnTo>
                <a:lnTo>
                  <a:pt x="1248" y="480"/>
                </a:lnTo>
                <a:lnTo>
                  <a:pt x="1248" y="482"/>
                </a:lnTo>
                <a:lnTo>
                  <a:pt x="1246" y="482"/>
                </a:lnTo>
                <a:lnTo>
                  <a:pt x="1246" y="484"/>
                </a:lnTo>
                <a:lnTo>
                  <a:pt x="1245" y="484"/>
                </a:lnTo>
                <a:lnTo>
                  <a:pt x="1246" y="485"/>
                </a:lnTo>
                <a:lnTo>
                  <a:pt x="1245" y="485"/>
                </a:lnTo>
                <a:lnTo>
                  <a:pt x="1243" y="485"/>
                </a:lnTo>
                <a:lnTo>
                  <a:pt x="1241" y="485"/>
                </a:lnTo>
                <a:lnTo>
                  <a:pt x="1238" y="485"/>
                </a:lnTo>
                <a:lnTo>
                  <a:pt x="1238" y="487"/>
                </a:lnTo>
                <a:lnTo>
                  <a:pt x="1240" y="487"/>
                </a:lnTo>
                <a:lnTo>
                  <a:pt x="1243" y="489"/>
                </a:lnTo>
                <a:lnTo>
                  <a:pt x="1241" y="489"/>
                </a:lnTo>
                <a:lnTo>
                  <a:pt x="1243" y="490"/>
                </a:lnTo>
                <a:lnTo>
                  <a:pt x="1241" y="492"/>
                </a:lnTo>
                <a:lnTo>
                  <a:pt x="1243" y="495"/>
                </a:lnTo>
                <a:lnTo>
                  <a:pt x="1241" y="497"/>
                </a:lnTo>
                <a:lnTo>
                  <a:pt x="1243" y="499"/>
                </a:lnTo>
                <a:lnTo>
                  <a:pt x="1243" y="501"/>
                </a:lnTo>
                <a:lnTo>
                  <a:pt x="1240" y="501"/>
                </a:lnTo>
                <a:lnTo>
                  <a:pt x="1238" y="502"/>
                </a:lnTo>
                <a:lnTo>
                  <a:pt x="1236" y="501"/>
                </a:lnTo>
                <a:lnTo>
                  <a:pt x="1236" y="504"/>
                </a:lnTo>
                <a:lnTo>
                  <a:pt x="1234" y="504"/>
                </a:lnTo>
                <a:lnTo>
                  <a:pt x="1234" y="502"/>
                </a:lnTo>
                <a:lnTo>
                  <a:pt x="1233" y="504"/>
                </a:lnTo>
                <a:lnTo>
                  <a:pt x="1231" y="502"/>
                </a:lnTo>
                <a:lnTo>
                  <a:pt x="1233" y="504"/>
                </a:lnTo>
                <a:lnTo>
                  <a:pt x="1233" y="507"/>
                </a:lnTo>
                <a:lnTo>
                  <a:pt x="1233" y="509"/>
                </a:lnTo>
                <a:lnTo>
                  <a:pt x="1229" y="511"/>
                </a:lnTo>
                <a:lnTo>
                  <a:pt x="1229" y="512"/>
                </a:lnTo>
                <a:lnTo>
                  <a:pt x="1231" y="514"/>
                </a:lnTo>
                <a:lnTo>
                  <a:pt x="1233" y="516"/>
                </a:lnTo>
                <a:lnTo>
                  <a:pt x="1234" y="518"/>
                </a:lnTo>
                <a:lnTo>
                  <a:pt x="1233" y="521"/>
                </a:lnTo>
                <a:lnTo>
                  <a:pt x="1231" y="521"/>
                </a:lnTo>
                <a:lnTo>
                  <a:pt x="1231" y="523"/>
                </a:lnTo>
                <a:lnTo>
                  <a:pt x="1233" y="523"/>
                </a:lnTo>
                <a:lnTo>
                  <a:pt x="1234" y="526"/>
                </a:lnTo>
                <a:lnTo>
                  <a:pt x="1234" y="528"/>
                </a:lnTo>
                <a:lnTo>
                  <a:pt x="1233" y="531"/>
                </a:lnTo>
                <a:lnTo>
                  <a:pt x="1231" y="533"/>
                </a:lnTo>
                <a:lnTo>
                  <a:pt x="1228" y="533"/>
                </a:lnTo>
                <a:lnTo>
                  <a:pt x="1226" y="533"/>
                </a:lnTo>
                <a:lnTo>
                  <a:pt x="1224" y="535"/>
                </a:lnTo>
                <a:lnTo>
                  <a:pt x="1226" y="538"/>
                </a:lnTo>
                <a:lnTo>
                  <a:pt x="1226" y="540"/>
                </a:lnTo>
                <a:lnTo>
                  <a:pt x="1228" y="540"/>
                </a:lnTo>
                <a:lnTo>
                  <a:pt x="1226" y="543"/>
                </a:lnTo>
                <a:lnTo>
                  <a:pt x="1226" y="545"/>
                </a:lnTo>
                <a:lnTo>
                  <a:pt x="1224" y="545"/>
                </a:lnTo>
                <a:lnTo>
                  <a:pt x="1226" y="546"/>
                </a:lnTo>
                <a:lnTo>
                  <a:pt x="1228" y="548"/>
                </a:lnTo>
                <a:lnTo>
                  <a:pt x="1226" y="550"/>
                </a:lnTo>
                <a:lnTo>
                  <a:pt x="1228" y="553"/>
                </a:lnTo>
                <a:lnTo>
                  <a:pt x="1228" y="555"/>
                </a:lnTo>
                <a:lnTo>
                  <a:pt x="1228" y="557"/>
                </a:lnTo>
                <a:lnTo>
                  <a:pt x="1228" y="560"/>
                </a:lnTo>
                <a:lnTo>
                  <a:pt x="1226" y="562"/>
                </a:lnTo>
                <a:lnTo>
                  <a:pt x="1226" y="565"/>
                </a:lnTo>
                <a:lnTo>
                  <a:pt x="1228" y="567"/>
                </a:lnTo>
                <a:lnTo>
                  <a:pt x="1228" y="570"/>
                </a:lnTo>
                <a:lnTo>
                  <a:pt x="1228" y="574"/>
                </a:lnTo>
                <a:lnTo>
                  <a:pt x="1228" y="577"/>
                </a:lnTo>
                <a:lnTo>
                  <a:pt x="1224" y="577"/>
                </a:lnTo>
                <a:lnTo>
                  <a:pt x="1224" y="579"/>
                </a:lnTo>
                <a:lnTo>
                  <a:pt x="1221" y="577"/>
                </a:lnTo>
                <a:lnTo>
                  <a:pt x="1221" y="579"/>
                </a:lnTo>
                <a:lnTo>
                  <a:pt x="1217" y="579"/>
                </a:lnTo>
                <a:lnTo>
                  <a:pt x="1219" y="581"/>
                </a:lnTo>
                <a:lnTo>
                  <a:pt x="1217" y="582"/>
                </a:lnTo>
                <a:lnTo>
                  <a:pt x="1217" y="581"/>
                </a:lnTo>
                <a:lnTo>
                  <a:pt x="1216" y="582"/>
                </a:lnTo>
                <a:lnTo>
                  <a:pt x="1216" y="584"/>
                </a:lnTo>
                <a:lnTo>
                  <a:pt x="1217" y="586"/>
                </a:lnTo>
                <a:lnTo>
                  <a:pt x="1216" y="586"/>
                </a:lnTo>
                <a:lnTo>
                  <a:pt x="1217" y="589"/>
                </a:lnTo>
                <a:lnTo>
                  <a:pt x="1216" y="589"/>
                </a:lnTo>
                <a:lnTo>
                  <a:pt x="1216" y="592"/>
                </a:lnTo>
                <a:lnTo>
                  <a:pt x="1214" y="594"/>
                </a:lnTo>
                <a:lnTo>
                  <a:pt x="1216" y="596"/>
                </a:lnTo>
                <a:lnTo>
                  <a:pt x="1216" y="599"/>
                </a:lnTo>
                <a:lnTo>
                  <a:pt x="1216" y="601"/>
                </a:lnTo>
                <a:lnTo>
                  <a:pt x="1216" y="603"/>
                </a:lnTo>
                <a:lnTo>
                  <a:pt x="1216" y="606"/>
                </a:lnTo>
                <a:lnTo>
                  <a:pt x="1216" y="608"/>
                </a:lnTo>
                <a:lnTo>
                  <a:pt x="1214" y="611"/>
                </a:lnTo>
                <a:lnTo>
                  <a:pt x="1214" y="613"/>
                </a:lnTo>
                <a:lnTo>
                  <a:pt x="1214" y="615"/>
                </a:lnTo>
                <a:lnTo>
                  <a:pt x="1214" y="616"/>
                </a:lnTo>
                <a:lnTo>
                  <a:pt x="1212" y="618"/>
                </a:lnTo>
                <a:lnTo>
                  <a:pt x="1214" y="618"/>
                </a:lnTo>
                <a:lnTo>
                  <a:pt x="1216" y="620"/>
                </a:lnTo>
                <a:lnTo>
                  <a:pt x="1216" y="623"/>
                </a:lnTo>
                <a:lnTo>
                  <a:pt x="1214" y="625"/>
                </a:lnTo>
                <a:lnTo>
                  <a:pt x="1212" y="628"/>
                </a:lnTo>
                <a:lnTo>
                  <a:pt x="1212" y="630"/>
                </a:lnTo>
                <a:lnTo>
                  <a:pt x="1212" y="633"/>
                </a:lnTo>
                <a:lnTo>
                  <a:pt x="1209" y="633"/>
                </a:lnTo>
                <a:lnTo>
                  <a:pt x="1209" y="635"/>
                </a:lnTo>
                <a:lnTo>
                  <a:pt x="1211" y="637"/>
                </a:lnTo>
                <a:lnTo>
                  <a:pt x="1212" y="638"/>
                </a:lnTo>
                <a:lnTo>
                  <a:pt x="1212" y="640"/>
                </a:lnTo>
                <a:lnTo>
                  <a:pt x="1214" y="640"/>
                </a:lnTo>
                <a:lnTo>
                  <a:pt x="1214" y="642"/>
                </a:lnTo>
                <a:lnTo>
                  <a:pt x="1212" y="645"/>
                </a:lnTo>
                <a:lnTo>
                  <a:pt x="1214" y="647"/>
                </a:lnTo>
                <a:lnTo>
                  <a:pt x="1212" y="649"/>
                </a:lnTo>
                <a:lnTo>
                  <a:pt x="1212" y="650"/>
                </a:lnTo>
                <a:lnTo>
                  <a:pt x="1211" y="650"/>
                </a:lnTo>
                <a:lnTo>
                  <a:pt x="1211" y="652"/>
                </a:lnTo>
                <a:lnTo>
                  <a:pt x="1209" y="654"/>
                </a:lnTo>
                <a:lnTo>
                  <a:pt x="1207" y="655"/>
                </a:lnTo>
                <a:lnTo>
                  <a:pt x="1204" y="654"/>
                </a:lnTo>
                <a:lnTo>
                  <a:pt x="1204" y="650"/>
                </a:lnTo>
                <a:lnTo>
                  <a:pt x="1202" y="652"/>
                </a:lnTo>
                <a:lnTo>
                  <a:pt x="1202" y="650"/>
                </a:lnTo>
                <a:lnTo>
                  <a:pt x="1200" y="654"/>
                </a:lnTo>
                <a:lnTo>
                  <a:pt x="1200" y="655"/>
                </a:lnTo>
                <a:lnTo>
                  <a:pt x="1199" y="655"/>
                </a:lnTo>
                <a:lnTo>
                  <a:pt x="1199" y="654"/>
                </a:lnTo>
                <a:lnTo>
                  <a:pt x="1200" y="652"/>
                </a:lnTo>
                <a:lnTo>
                  <a:pt x="1200" y="650"/>
                </a:lnTo>
                <a:lnTo>
                  <a:pt x="1200" y="647"/>
                </a:lnTo>
                <a:lnTo>
                  <a:pt x="1199" y="647"/>
                </a:lnTo>
                <a:lnTo>
                  <a:pt x="1199" y="643"/>
                </a:lnTo>
                <a:lnTo>
                  <a:pt x="1197" y="643"/>
                </a:lnTo>
                <a:lnTo>
                  <a:pt x="1194" y="642"/>
                </a:lnTo>
                <a:lnTo>
                  <a:pt x="1192" y="640"/>
                </a:lnTo>
                <a:lnTo>
                  <a:pt x="1190" y="637"/>
                </a:lnTo>
                <a:lnTo>
                  <a:pt x="1189" y="637"/>
                </a:lnTo>
                <a:lnTo>
                  <a:pt x="1187" y="633"/>
                </a:lnTo>
                <a:lnTo>
                  <a:pt x="1185" y="633"/>
                </a:lnTo>
                <a:lnTo>
                  <a:pt x="1187" y="633"/>
                </a:lnTo>
                <a:lnTo>
                  <a:pt x="1183" y="632"/>
                </a:lnTo>
                <a:lnTo>
                  <a:pt x="1183" y="628"/>
                </a:lnTo>
                <a:lnTo>
                  <a:pt x="1187" y="626"/>
                </a:lnTo>
                <a:lnTo>
                  <a:pt x="1189" y="625"/>
                </a:lnTo>
                <a:lnTo>
                  <a:pt x="1190" y="626"/>
                </a:lnTo>
                <a:lnTo>
                  <a:pt x="1190" y="625"/>
                </a:lnTo>
                <a:lnTo>
                  <a:pt x="1194" y="623"/>
                </a:lnTo>
                <a:lnTo>
                  <a:pt x="1195" y="623"/>
                </a:lnTo>
                <a:lnTo>
                  <a:pt x="1195" y="625"/>
                </a:lnTo>
                <a:lnTo>
                  <a:pt x="1197" y="623"/>
                </a:lnTo>
                <a:lnTo>
                  <a:pt x="1199" y="621"/>
                </a:lnTo>
                <a:lnTo>
                  <a:pt x="1199" y="620"/>
                </a:lnTo>
                <a:lnTo>
                  <a:pt x="1197" y="620"/>
                </a:lnTo>
                <a:lnTo>
                  <a:pt x="1197" y="621"/>
                </a:lnTo>
                <a:lnTo>
                  <a:pt x="1195" y="620"/>
                </a:lnTo>
                <a:lnTo>
                  <a:pt x="1192" y="620"/>
                </a:lnTo>
                <a:lnTo>
                  <a:pt x="1192" y="616"/>
                </a:lnTo>
                <a:lnTo>
                  <a:pt x="1189" y="618"/>
                </a:lnTo>
                <a:lnTo>
                  <a:pt x="1190" y="620"/>
                </a:lnTo>
                <a:lnTo>
                  <a:pt x="1187" y="620"/>
                </a:lnTo>
                <a:lnTo>
                  <a:pt x="1187" y="621"/>
                </a:lnTo>
                <a:lnTo>
                  <a:pt x="1183" y="621"/>
                </a:lnTo>
                <a:lnTo>
                  <a:pt x="1182" y="621"/>
                </a:lnTo>
                <a:lnTo>
                  <a:pt x="1180" y="621"/>
                </a:lnTo>
                <a:lnTo>
                  <a:pt x="1177" y="620"/>
                </a:lnTo>
                <a:lnTo>
                  <a:pt x="1175" y="618"/>
                </a:lnTo>
                <a:lnTo>
                  <a:pt x="1177" y="616"/>
                </a:lnTo>
                <a:lnTo>
                  <a:pt x="1173" y="613"/>
                </a:lnTo>
                <a:lnTo>
                  <a:pt x="1175" y="611"/>
                </a:lnTo>
                <a:lnTo>
                  <a:pt x="1172" y="611"/>
                </a:lnTo>
                <a:lnTo>
                  <a:pt x="1170" y="611"/>
                </a:lnTo>
                <a:lnTo>
                  <a:pt x="1168" y="608"/>
                </a:lnTo>
                <a:lnTo>
                  <a:pt x="1165" y="609"/>
                </a:lnTo>
                <a:lnTo>
                  <a:pt x="1165" y="608"/>
                </a:lnTo>
                <a:lnTo>
                  <a:pt x="1163" y="608"/>
                </a:lnTo>
                <a:lnTo>
                  <a:pt x="1163" y="609"/>
                </a:lnTo>
                <a:lnTo>
                  <a:pt x="1163" y="608"/>
                </a:lnTo>
                <a:lnTo>
                  <a:pt x="1161" y="608"/>
                </a:lnTo>
                <a:lnTo>
                  <a:pt x="1161" y="604"/>
                </a:lnTo>
                <a:lnTo>
                  <a:pt x="1160" y="603"/>
                </a:lnTo>
                <a:lnTo>
                  <a:pt x="1161" y="601"/>
                </a:lnTo>
                <a:lnTo>
                  <a:pt x="1158" y="601"/>
                </a:lnTo>
                <a:lnTo>
                  <a:pt x="1158" y="599"/>
                </a:lnTo>
                <a:lnTo>
                  <a:pt x="1158" y="598"/>
                </a:lnTo>
                <a:lnTo>
                  <a:pt x="1156" y="596"/>
                </a:lnTo>
                <a:lnTo>
                  <a:pt x="1156" y="592"/>
                </a:lnTo>
                <a:lnTo>
                  <a:pt x="1153" y="591"/>
                </a:lnTo>
                <a:lnTo>
                  <a:pt x="1153" y="587"/>
                </a:lnTo>
                <a:lnTo>
                  <a:pt x="1156" y="587"/>
                </a:lnTo>
                <a:lnTo>
                  <a:pt x="1155" y="587"/>
                </a:lnTo>
                <a:lnTo>
                  <a:pt x="1155" y="586"/>
                </a:lnTo>
                <a:lnTo>
                  <a:pt x="1153" y="584"/>
                </a:lnTo>
                <a:lnTo>
                  <a:pt x="1153" y="582"/>
                </a:lnTo>
                <a:lnTo>
                  <a:pt x="1153" y="581"/>
                </a:lnTo>
                <a:lnTo>
                  <a:pt x="1155" y="579"/>
                </a:lnTo>
                <a:lnTo>
                  <a:pt x="1156" y="579"/>
                </a:lnTo>
                <a:lnTo>
                  <a:pt x="1158" y="577"/>
                </a:lnTo>
                <a:lnTo>
                  <a:pt x="1160" y="577"/>
                </a:lnTo>
                <a:lnTo>
                  <a:pt x="1161" y="577"/>
                </a:lnTo>
                <a:lnTo>
                  <a:pt x="1163" y="579"/>
                </a:lnTo>
                <a:lnTo>
                  <a:pt x="1163" y="581"/>
                </a:lnTo>
                <a:lnTo>
                  <a:pt x="1165" y="582"/>
                </a:lnTo>
                <a:lnTo>
                  <a:pt x="1163" y="584"/>
                </a:lnTo>
                <a:lnTo>
                  <a:pt x="1165" y="584"/>
                </a:lnTo>
                <a:lnTo>
                  <a:pt x="1166" y="584"/>
                </a:lnTo>
                <a:lnTo>
                  <a:pt x="1168" y="584"/>
                </a:lnTo>
                <a:lnTo>
                  <a:pt x="1166" y="581"/>
                </a:lnTo>
                <a:lnTo>
                  <a:pt x="1166" y="579"/>
                </a:lnTo>
                <a:lnTo>
                  <a:pt x="1168" y="579"/>
                </a:lnTo>
                <a:lnTo>
                  <a:pt x="1172" y="577"/>
                </a:lnTo>
                <a:lnTo>
                  <a:pt x="1173" y="579"/>
                </a:lnTo>
                <a:lnTo>
                  <a:pt x="1177" y="579"/>
                </a:lnTo>
                <a:lnTo>
                  <a:pt x="1178" y="581"/>
                </a:lnTo>
                <a:lnTo>
                  <a:pt x="1182" y="579"/>
                </a:lnTo>
                <a:lnTo>
                  <a:pt x="1185" y="579"/>
                </a:lnTo>
                <a:lnTo>
                  <a:pt x="1187" y="581"/>
                </a:lnTo>
                <a:lnTo>
                  <a:pt x="1187" y="582"/>
                </a:lnTo>
                <a:lnTo>
                  <a:pt x="1189" y="584"/>
                </a:lnTo>
                <a:lnTo>
                  <a:pt x="1190" y="584"/>
                </a:lnTo>
                <a:lnTo>
                  <a:pt x="1190" y="582"/>
                </a:lnTo>
                <a:lnTo>
                  <a:pt x="1190" y="581"/>
                </a:lnTo>
                <a:lnTo>
                  <a:pt x="1189" y="581"/>
                </a:lnTo>
                <a:lnTo>
                  <a:pt x="1189" y="579"/>
                </a:lnTo>
                <a:lnTo>
                  <a:pt x="1187" y="577"/>
                </a:lnTo>
                <a:lnTo>
                  <a:pt x="1185" y="575"/>
                </a:lnTo>
                <a:lnTo>
                  <a:pt x="1183" y="575"/>
                </a:lnTo>
                <a:lnTo>
                  <a:pt x="1182" y="575"/>
                </a:lnTo>
                <a:lnTo>
                  <a:pt x="1178" y="575"/>
                </a:lnTo>
                <a:lnTo>
                  <a:pt x="1177" y="574"/>
                </a:lnTo>
                <a:lnTo>
                  <a:pt x="1175" y="575"/>
                </a:lnTo>
                <a:lnTo>
                  <a:pt x="1175" y="574"/>
                </a:lnTo>
                <a:lnTo>
                  <a:pt x="1172" y="574"/>
                </a:lnTo>
                <a:lnTo>
                  <a:pt x="1170" y="574"/>
                </a:lnTo>
                <a:lnTo>
                  <a:pt x="1168" y="574"/>
                </a:lnTo>
                <a:lnTo>
                  <a:pt x="1168" y="572"/>
                </a:lnTo>
                <a:lnTo>
                  <a:pt x="1166" y="570"/>
                </a:lnTo>
                <a:lnTo>
                  <a:pt x="1168" y="569"/>
                </a:lnTo>
                <a:lnTo>
                  <a:pt x="1172" y="567"/>
                </a:lnTo>
                <a:lnTo>
                  <a:pt x="1173" y="565"/>
                </a:lnTo>
                <a:lnTo>
                  <a:pt x="1177" y="563"/>
                </a:lnTo>
                <a:lnTo>
                  <a:pt x="1180" y="563"/>
                </a:lnTo>
                <a:lnTo>
                  <a:pt x="1180" y="562"/>
                </a:lnTo>
                <a:lnTo>
                  <a:pt x="1182" y="562"/>
                </a:lnTo>
                <a:lnTo>
                  <a:pt x="1183" y="560"/>
                </a:lnTo>
                <a:lnTo>
                  <a:pt x="1187" y="560"/>
                </a:lnTo>
                <a:lnTo>
                  <a:pt x="1189" y="560"/>
                </a:lnTo>
                <a:lnTo>
                  <a:pt x="1192" y="558"/>
                </a:lnTo>
                <a:lnTo>
                  <a:pt x="1192" y="557"/>
                </a:lnTo>
                <a:lnTo>
                  <a:pt x="1195" y="557"/>
                </a:lnTo>
                <a:lnTo>
                  <a:pt x="1197" y="557"/>
                </a:lnTo>
                <a:lnTo>
                  <a:pt x="1200" y="555"/>
                </a:lnTo>
                <a:lnTo>
                  <a:pt x="1204" y="557"/>
                </a:lnTo>
                <a:lnTo>
                  <a:pt x="1206" y="557"/>
                </a:lnTo>
                <a:lnTo>
                  <a:pt x="1204" y="555"/>
                </a:lnTo>
                <a:lnTo>
                  <a:pt x="1202" y="555"/>
                </a:lnTo>
                <a:lnTo>
                  <a:pt x="1200" y="553"/>
                </a:lnTo>
                <a:lnTo>
                  <a:pt x="1199" y="552"/>
                </a:lnTo>
                <a:lnTo>
                  <a:pt x="1199" y="550"/>
                </a:lnTo>
                <a:lnTo>
                  <a:pt x="1199" y="548"/>
                </a:lnTo>
                <a:lnTo>
                  <a:pt x="1200" y="550"/>
                </a:lnTo>
                <a:lnTo>
                  <a:pt x="1202" y="548"/>
                </a:lnTo>
                <a:lnTo>
                  <a:pt x="1202" y="546"/>
                </a:lnTo>
                <a:lnTo>
                  <a:pt x="1200" y="546"/>
                </a:lnTo>
                <a:lnTo>
                  <a:pt x="1202" y="545"/>
                </a:lnTo>
                <a:lnTo>
                  <a:pt x="1200" y="545"/>
                </a:lnTo>
                <a:lnTo>
                  <a:pt x="1200" y="546"/>
                </a:lnTo>
                <a:lnTo>
                  <a:pt x="1199" y="548"/>
                </a:lnTo>
                <a:lnTo>
                  <a:pt x="1197" y="552"/>
                </a:lnTo>
                <a:lnTo>
                  <a:pt x="1194" y="552"/>
                </a:lnTo>
                <a:lnTo>
                  <a:pt x="1194" y="553"/>
                </a:lnTo>
                <a:lnTo>
                  <a:pt x="1192" y="552"/>
                </a:lnTo>
                <a:lnTo>
                  <a:pt x="1189" y="553"/>
                </a:lnTo>
                <a:lnTo>
                  <a:pt x="1187" y="555"/>
                </a:lnTo>
                <a:lnTo>
                  <a:pt x="1185" y="553"/>
                </a:lnTo>
                <a:lnTo>
                  <a:pt x="1185" y="555"/>
                </a:lnTo>
                <a:lnTo>
                  <a:pt x="1183" y="555"/>
                </a:lnTo>
                <a:lnTo>
                  <a:pt x="1182" y="555"/>
                </a:lnTo>
                <a:lnTo>
                  <a:pt x="1180" y="553"/>
                </a:lnTo>
                <a:lnTo>
                  <a:pt x="1178" y="552"/>
                </a:lnTo>
                <a:lnTo>
                  <a:pt x="1177" y="553"/>
                </a:lnTo>
                <a:lnTo>
                  <a:pt x="1177" y="552"/>
                </a:lnTo>
                <a:lnTo>
                  <a:pt x="1175" y="553"/>
                </a:lnTo>
                <a:lnTo>
                  <a:pt x="1173" y="555"/>
                </a:lnTo>
                <a:lnTo>
                  <a:pt x="1172" y="557"/>
                </a:lnTo>
                <a:lnTo>
                  <a:pt x="1172" y="558"/>
                </a:lnTo>
                <a:lnTo>
                  <a:pt x="1170" y="558"/>
                </a:lnTo>
                <a:lnTo>
                  <a:pt x="1168" y="560"/>
                </a:lnTo>
                <a:lnTo>
                  <a:pt x="1166" y="560"/>
                </a:lnTo>
                <a:lnTo>
                  <a:pt x="1165" y="562"/>
                </a:lnTo>
                <a:lnTo>
                  <a:pt x="1163" y="560"/>
                </a:lnTo>
                <a:lnTo>
                  <a:pt x="1163" y="562"/>
                </a:lnTo>
                <a:lnTo>
                  <a:pt x="1160" y="563"/>
                </a:lnTo>
                <a:lnTo>
                  <a:pt x="1158" y="563"/>
                </a:lnTo>
                <a:lnTo>
                  <a:pt x="1155" y="562"/>
                </a:lnTo>
                <a:lnTo>
                  <a:pt x="1153" y="563"/>
                </a:lnTo>
                <a:lnTo>
                  <a:pt x="1153" y="567"/>
                </a:lnTo>
                <a:lnTo>
                  <a:pt x="1151" y="563"/>
                </a:lnTo>
                <a:lnTo>
                  <a:pt x="1149" y="565"/>
                </a:lnTo>
                <a:lnTo>
                  <a:pt x="1148" y="563"/>
                </a:lnTo>
                <a:lnTo>
                  <a:pt x="1148" y="562"/>
                </a:lnTo>
                <a:lnTo>
                  <a:pt x="1149" y="560"/>
                </a:lnTo>
                <a:lnTo>
                  <a:pt x="1149" y="558"/>
                </a:lnTo>
                <a:lnTo>
                  <a:pt x="1146" y="557"/>
                </a:lnTo>
                <a:lnTo>
                  <a:pt x="1148" y="555"/>
                </a:lnTo>
                <a:lnTo>
                  <a:pt x="1146" y="553"/>
                </a:lnTo>
                <a:lnTo>
                  <a:pt x="1148" y="553"/>
                </a:lnTo>
                <a:lnTo>
                  <a:pt x="1146" y="553"/>
                </a:lnTo>
                <a:lnTo>
                  <a:pt x="1146" y="552"/>
                </a:lnTo>
                <a:lnTo>
                  <a:pt x="1146" y="548"/>
                </a:lnTo>
                <a:lnTo>
                  <a:pt x="1146" y="545"/>
                </a:lnTo>
                <a:lnTo>
                  <a:pt x="1146" y="543"/>
                </a:lnTo>
                <a:lnTo>
                  <a:pt x="1146" y="541"/>
                </a:lnTo>
                <a:lnTo>
                  <a:pt x="1144" y="540"/>
                </a:lnTo>
                <a:lnTo>
                  <a:pt x="1144" y="538"/>
                </a:lnTo>
                <a:lnTo>
                  <a:pt x="1146" y="538"/>
                </a:lnTo>
                <a:lnTo>
                  <a:pt x="1146" y="536"/>
                </a:lnTo>
                <a:lnTo>
                  <a:pt x="1148" y="536"/>
                </a:lnTo>
                <a:lnTo>
                  <a:pt x="1151" y="535"/>
                </a:lnTo>
                <a:lnTo>
                  <a:pt x="1151" y="536"/>
                </a:lnTo>
                <a:lnTo>
                  <a:pt x="1153" y="538"/>
                </a:lnTo>
                <a:lnTo>
                  <a:pt x="1153" y="540"/>
                </a:lnTo>
                <a:lnTo>
                  <a:pt x="1155" y="541"/>
                </a:lnTo>
                <a:lnTo>
                  <a:pt x="1155" y="545"/>
                </a:lnTo>
                <a:lnTo>
                  <a:pt x="1156" y="546"/>
                </a:lnTo>
                <a:lnTo>
                  <a:pt x="1158" y="545"/>
                </a:lnTo>
                <a:lnTo>
                  <a:pt x="1156" y="543"/>
                </a:lnTo>
                <a:lnTo>
                  <a:pt x="1158" y="541"/>
                </a:lnTo>
                <a:lnTo>
                  <a:pt x="1155" y="540"/>
                </a:lnTo>
                <a:lnTo>
                  <a:pt x="1155" y="536"/>
                </a:lnTo>
                <a:lnTo>
                  <a:pt x="1155" y="535"/>
                </a:lnTo>
                <a:lnTo>
                  <a:pt x="1156" y="535"/>
                </a:lnTo>
                <a:lnTo>
                  <a:pt x="1160" y="535"/>
                </a:lnTo>
                <a:lnTo>
                  <a:pt x="1161" y="533"/>
                </a:lnTo>
                <a:lnTo>
                  <a:pt x="1165" y="533"/>
                </a:lnTo>
                <a:lnTo>
                  <a:pt x="1168" y="535"/>
                </a:lnTo>
                <a:lnTo>
                  <a:pt x="1166" y="531"/>
                </a:lnTo>
                <a:lnTo>
                  <a:pt x="1168" y="529"/>
                </a:lnTo>
                <a:lnTo>
                  <a:pt x="1170" y="528"/>
                </a:lnTo>
                <a:lnTo>
                  <a:pt x="1170" y="526"/>
                </a:lnTo>
                <a:lnTo>
                  <a:pt x="1172" y="524"/>
                </a:lnTo>
                <a:lnTo>
                  <a:pt x="1173" y="523"/>
                </a:lnTo>
                <a:lnTo>
                  <a:pt x="1175" y="523"/>
                </a:lnTo>
                <a:lnTo>
                  <a:pt x="1178" y="524"/>
                </a:lnTo>
                <a:lnTo>
                  <a:pt x="1180" y="523"/>
                </a:lnTo>
                <a:lnTo>
                  <a:pt x="1178" y="521"/>
                </a:lnTo>
                <a:lnTo>
                  <a:pt x="1175" y="519"/>
                </a:lnTo>
                <a:lnTo>
                  <a:pt x="1177" y="518"/>
                </a:lnTo>
                <a:lnTo>
                  <a:pt x="1178" y="516"/>
                </a:lnTo>
                <a:lnTo>
                  <a:pt x="1178" y="514"/>
                </a:lnTo>
                <a:lnTo>
                  <a:pt x="1180" y="512"/>
                </a:lnTo>
                <a:lnTo>
                  <a:pt x="1182" y="512"/>
                </a:lnTo>
                <a:lnTo>
                  <a:pt x="1185" y="512"/>
                </a:lnTo>
                <a:lnTo>
                  <a:pt x="1187" y="512"/>
                </a:lnTo>
                <a:lnTo>
                  <a:pt x="1189" y="512"/>
                </a:lnTo>
                <a:lnTo>
                  <a:pt x="1190" y="514"/>
                </a:lnTo>
                <a:lnTo>
                  <a:pt x="1194" y="514"/>
                </a:lnTo>
                <a:lnTo>
                  <a:pt x="1197" y="512"/>
                </a:lnTo>
                <a:lnTo>
                  <a:pt x="1197" y="511"/>
                </a:lnTo>
                <a:lnTo>
                  <a:pt x="1199" y="509"/>
                </a:lnTo>
                <a:lnTo>
                  <a:pt x="1200" y="507"/>
                </a:lnTo>
                <a:lnTo>
                  <a:pt x="1202" y="506"/>
                </a:lnTo>
                <a:lnTo>
                  <a:pt x="1204" y="506"/>
                </a:lnTo>
                <a:lnTo>
                  <a:pt x="1204" y="504"/>
                </a:lnTo>
                <a:lnTo>
                  <a:pt x="1204" y="502"/>
                </a:lnTo>
                <a:lnTo>
                  <a:pt x="1202" y="504"/>
                </a:lnTo>
                <a:lnTo>
                  <a:pt x="1199" y="506"/>
                </a:lnTo>
                <a:lnTo>
                  <a:pt x="1197" y="509"/>
                </a:lnTo>
                <a:lnTo>
                  <a:pt x="1195" y="507"/>
                </a:lnTo>
                <a:lnTo>
                  <a:pt x="1195" y="509"/>
                </a:lnTo>
                <a:lnTo>
                  <a:pt x="1192" y="507"/>
                </a:lnTo>
                <a:lnTo>
                  <a:pt x="1192" y="504"/>
                </a:lnTo>
                <a:lnTo>
                  <a:pt x="1189" y="506"/>
                </a:lnTo>
                <a:lnTo>
                  <a:pt x="1187" y="504"/>
                </a:lnTo>
                <a:lnTo>
                  <a:pt x="1189" y="504"/>
                </a:lnTo>
                <a:lnTo>
                  <a:pt x="1189" y="501"/>
                </a:lnTo>
                <a:lnTo>
                  <a:pt x="1189" y="497"/>
                </a:lnTo>
                <a:lnTo>
                  <a:pt x="1190" y="495"/>
                </a:lnTo>
                <a:lnTo>
                  <a:pt x="1190" y="494"/>
                </a:lnTo>
                <a:lnTo>
                  <a:pt x="1192" y="492"/>
                </a:lnTo>
                <a:lnTo>
                  <a:pt x="1192" y="490"/>
                </a:lnTo>
                <a:lnTo>
                  <a:pt x="1192" y="489"/>
                </a:lnTo>
                <a:lnTo>
                  <a:pt x="1195" y="489"/>
                </a:lnTo>
                <a:lnTo>
                  <a:pt x="1195" y="487"/>
                </a:lnTo>
                <a:lnTo>
                  <a:pt x="1194" y="485"/>
                </a:lnTo>
                <a:lnTo>
                  <a:pt x="1190" y="487"/>
                </a:lnTo>
                <a:lnTo>
                  <a:pt x="1190" y="485"/>
                </a:lnTo>
                <a:lnTo>
                  <a:pt x="1189" y="482"/>
                </a:lnTo>
                <a:lnTo>
                  <a:pt x="1189" y="484"/>
                </a:lnTo>
                <a:lnTo>
                  <a:pt x="1189" y="487"/>
                </a:lnTo>
                <a:lnTo>
                  <a:pt x="1187" y="489"/>
                </a:lnTo>
                <a:lnTo>
                  <a:pt x="1187" y="492"/>
                </a:lnTo>
                <a:lnTo>
                  <a:pt x="1187" y="494"/>
                </a:lnTo>
                <a:lnTo>
                  <a:pt x="1187" y="495"/>
                </a:lnTo>
                <a:lnTo>
                  <a:pt x="1185" y="497"/>
                </a:lnTo>
                <a:lnTo>
                  <a:pt x="1183" y="499"/>
                </a:lnTo>
                <a:lnTo>
                  <a:pt x="1182" y="499"/>
                </a:lnTo>
                <a:lnTo>
                  <a:pt x="1182" y="501"/>
                </a:lnTo>
                <a:lnTo>
                  <a:pt x="1182" y="502"/>
                </a:lnTo>
                <a:lnTo>
                  <a:pt x="1178" y="504"/>
                </a:lnTo>
                <a:lnTo>
                  <a:pt x="1175" y="506"/>
                </a:lnTo>
                <a:lnTo>
                  <a:pt x="1173" y="506"/>
                </a:lnTo>
                <a:lnTo>
                  <a:pt x="1172" y="504"/>
                </a:lnTo>
                <a:lnTo>
                  <a:pt x="1170" y="502"/>
                </a:lnTo>
                <a:lnTo>
                  <a:pt x="1170" y="499"/>
                </a:lnTo>
                <a:lnTo>
                  <a:pt x="1168" y="495"/>
                </a:lnTo>
                <a:lnTo>
                  <a:pt x="1166" y="494"/>
                </a:lnTo>
                <a:lnTo>
                  <a:pt x="1168" y="495"/>
                </a:lnTo>
                <a:lnTo>
                  <a:pt x="1168" y="494"/>
                </a:lnTo>
                <a:lnTo>
                  <a:pt x="1172" y="492"/>
                </a:lnTo>
                <a:lnTo>
                  <a:pt x="1172" y="490"/>
                </a:lnTo>
                <a:lnTo>
                  <a:pt x="1173" y="489"/>
                </a:lnTo>
                <a:lnTo>
                  <a:pt x="1172" y="485"/>
                </a:lnTo>
                <a:lnTo>
                  <a:pt x="1172" y="482"/>
                </a:lnTo>
                <a:lnTo>
                  <a:pt x="1170" y="478"/>
                </a:lnTo>
                <a:lnTo>
                  <a:pt x="1172" y="478"/>
                </a:lnTo>
                <a:lnTo>
                  <a:pt x="1172" y="475"/>
                </a:lnTo>
                <a:lnTo>
                  <a:pt x="1168" y="473"/>
                </a:lnTo>
                <a:lnTo>
                  <a:pt x="1168" y="475"/>
                </a:lnTo>
                <a:lnTo>
                  <a:pt x="1168" y="478"/>
                </a:lnTo>
                <a:lnTo>
                  <a:pt x="1168" y="480"/>
                </a:lnTo>
                <a:lnTo>
                  <a:pt x="1166" y="480"/>
                </a:lnTo>
                <a:lnTo>
                  <a:pt x="1166" y="484"/>
                </a:lnTo>
                <a:lnTo>
                  <a:pt x="1168" y="484"/>
                </a:lnTo>
                <a:lnTo>
                  <a:pt x="1168" y="487"/>
                </a:lnTo>
                <a:lnTo>
                  <a:pt x="1168" y="490"/>
                </a:lnTo>
                <a:lnTo>
                  <a:pt x="1166" y="489"/>
                </a:lnTo>
                <a:lnTo>
                  <a:pt x="1165" y="492"/>
                </a:lnTo>
                <a:lnTo>
                  <a:pt x="1165" y="494"/>
                </a:lnTo>
                <a:lnTo>
                  <a:pt x="1165" y="495"/>
                </a:lnTo>
                <a:lnTo>
                  <a:pt x="1165" y="494"/>
                </a:lnTo>
                <a:lnTo>
                  <a:pt x="1163" y="494"/>
                </a:lnTo>
                <a:lnTo>
                  <a:pt x="1163" y="492"/>
                </a:lnTo>
                <a:lnTo>
                  <a:pt x="1161" y="490"/>
                </a:lnTo>
                <a:lnTo>
                  <a:pt x="1163" y="489"/>
                </a:lnTo>
                <a:lnTo>
                  <a:pt x="1161" y="489"/>
                </a:lnTo>
                <a:lnTo>
                  <a:pt x="1161" y="485"/>
                </a:lnTo>
                <a:lnTo>
                  <a:pt x="1161" y="484"/>
                </a:lnTo>
                <a:lnTo>
                  <a:pt x="1160" y="482"/>
                </a:lnTo>
                <a:lnTo>
                  <a:pt x="1160" y="484"/>
                </a:lnTo>
                <a:lnTo>
                  <a:pt x="1158" y="482"/>
                </a:lnTo>
                <a:lnTo>
                  <a:pt x="1160" y="485"/>
                </a:lnTo>
                <a:lnTo>
                  <a:pt x="1158" y="487"/>
                </a:lnTo>
                <a:lnTo>
                  <a:pt x="1155" y="487"/>
                </a:lnTo>
                <a:lnTo>
                  <a:pt x="1158" y="490"/>
                </a:lnTo>
                <a:lnTo>
                  <a:pt x="1158" y="494"/>
                </a:lnTo>
                <a:lnTo>
                  <a:pt x="1158" y="497"/>
                </a:lnTo>
                <a:lnTo>
                  <a:pt x="1160" y="499"/>
                </a:lnTo>
                <a:lnTo>
                  <a:pt x="1158" y="497"/>
                </a:lnTo>
                <a:lnTo>
                  <a:pt x="1160" y="499"/>
                </a:lnTo>
                <a:lnTo>
                  <a:pt x="1156" y="497"/>
                </a:lnTo>
                <a:lnTo>
                  <a:pt x="1156" y="501"/>
                </a:lnTo>
                <a:lnTo>
                  <a:pt x="1155" y="502"/>
                </a:lnTo>
                <a:lnTo>
                  <a:pt x="1153" y="504"/>
                </a:lnTo>
                <a:lnTo>
                  <a:pt x="1155" y="504"/>
                </a:lnTo>
                <a:lnTo>
                  <a:pt x="1158" y="504"/>
                </a:lnTo>
                <a:lnTo>
                  <a:pt x="1160" y="506"/>
                </a:lnTo>
                <a:lnTo>
                  <a:pt x="1161" y="507"/>
                </a:lnTo>
                <a:lnTo>
                  <a:pt x="1163" y="511"/>
                </a:lnTo>
                <a:lnTo>
                  <a:pt x="1163" y="512"/>
                </a:lnTo>
                <a:lnTo>
                  <a:pt x="1161" y="511"/>
                </a:lnTo>
                <a:lnTo>
                  <a:pt x="1160" y="512"/>
                </a:lnTo>
                <a:lnTo>
                  <a:pt x="1156" y="511"/>
                </a:lnTo>
                <a:lnTo>
                  <a:pt x="1156" y="512"/>
                </a:lnTo>
                <a:lnTo>
                  <a:pt x="1155" y="511"/>
                </a:lnTo>
                <a:lnTo>
                  <a:pt x="1153" y="509"/>
                </a:lnTo>
                <a:lnTo>
                  <a:pt x="1153" y="511"/>
                </a:lnTo>
                <a:lnTo>
                  <a:pt x="1153" y="512"/>
                </a:lnTo>
                <a:lnTo>
                  <a:pt x="1153" y="516"/>
                </a:lnTo>
                <a:lnTo>
                  <a:pt x="1155" y="514"/>
                </a:lnTo>
                <a:lnTo>
                  <a:pt x="1155" y="516"/>
                </a:lnTo>
                <a:lnTo>
                  <a:pt x="1156" y="518"/>
                </a:lnTo>
                <a:lnTo>
                  <a:pt x="1153" y="521"/>
                </a:lnTo>
                <a:lnTo>
                  <a:pt x="1153" y="523"/>
                </a:lnTo>
                <a:lnTo>
                  <a:pt x="1151" y="521"/>
                </a:lnTo>
                <a:lnTo>
                  <a:pt x="1151" y="519"/>
                </a:lnTo>
                <a:lnTo>
                  <a:pt x="1151" y="521"/>
                </a:lnTo>
                <a:lnTo>
                  <a:pt x="1151" y="519"/>
                </a:lnTo>
                <a:lnTo>
                  <a:pt x="1149" y="519"/>
                </a:lnTo>
                <a:lnTo>
                  <a:pt x="1149" y="521"/>
                </a:lnTo>
                <a:lnTo>
                  <a:pt x="1149" y="524"/>
                </a:lnTo>
                <a:lnTo>
                  <a:pt x="1148" y="521"/>
                </a:lnTo>
                <a:lnTo>
                  <a:pt x="1146" y="523"/>
                </a:lnTo>
                <a:lnTo>
                  <a:pt x="1148" y="524"/>
                </a:lnTo>
                <a:lnTo>
                  <a:pt x="1148" y="526"/>
                </a:lnTo>
                <a:lnTo>
                  <a:pt x="1146" y="528"/>
                </a:lnTo>
                <a:lnTo>
                  <a:pt x="1143" y="528"/>
                </a:lnTo>
                <a:lnTo>
                  <a:pt x="1141" y="526"/>
                </a:lnTo>
                <a:lnTo>
                  <a:pt x="1138" y="524"/>
                </a:lnTo>
                <a:lnTo>
                  <a:pt x="1136" y="526"/>
                </a:lnTo>
                <a:lnTo>
                  <a:pt x="1136" y="528"/>
                </a:lnTo>
                <a:lnTo>
                  <a:pt x="1134" y="528"/>
                </a:lnTo>
                <a:lnTo>
                  <a:pt x="1132" y="524"/>
                </a:lnTo>
                <a:lnTo>
                  <a:pt x="1132" y="523"/>
                </a:lnTo>
                <a:lnTo>
                  <a:pt x="1134" y="519"/>
                </a:lnTo>
                <a:lnTo>
                  <a:pt x="1131" y="518"/>
                </a:lnTo>
                <a:lnTo>
                  <a:pt x="1132" y="518"/>
                </a:lnTo>
                <a:lnTo>
                  <a:pt x="1132" y="514"/>
                </a:lnTo>
                <a:lnTo>
                  <a:pt x="1131" y="514"/>
                </a:lnTo>
                <a:lnTo>
                  <a:pt x="1131" y="512"/>
                </a:lnTo>
                <a:lnTo>
                  <a:pt x="1131" y="514"/>
                </a:lnTo>
                <a:lnTo>
                  <a:pt x="1127" y="514"/>
                </a:lnTo>
                <a:lnTo>
                  <a:pt x="1127" y="512"/>
                </a:lnTo>
                <a:lnTo>
                  <a:pt x="1126" y="509"/>
                </a:lnTo>
                <a:lnTo>
                  <a:pt x="1124" y="507"/>
                </a:lnTo>
                <a:lnTo>
                  <a:pt x="1122" y="504"/>
                </a:lnTo>
                <a:lnTo>
                  <a:pt x="1126" y="504"/>
                </a:lnTo>
                <a:lnTo>
                  <a:pt x="1127" y="504"/>
                </a:lnTo>
                <a:lnTo>
                  <a:pt x="1131" y="504"/>
                </a:lnTo>
                <a:lnTo>
                  <a:pt x="1134" y="502"/>
                </a:lnTo>
                <a:lnTo>
                  <a:pt x="1136" y="502"/>
                </a:lnTo>
                <a:lnTo>
                  <a:pt x="1136" y="501"/>
                </a:lnTo>
                <a:lnTo>
                  <a:pt x="1138" y="501"/>
                </a:lnTo>
                <a:lnTo>
                  <a:pt x="1138" y="497"/>
                </a:lnTo>
                <a:lnTo>
                  <a:pt x="1136" y="497"/>
                </a:lnTo>
                <a:lnTo>
                  <a:pt x="1134" y="501"/>
                </a:lnTo>
                <a:lnTo>
                  <a:pt x="1132" y="501"/>
                </a:lnTo>
                <a:lnTo>
                  <a:pt x="1131" y="502"/>
                </a:lnTo>
                <a:lnTo>
                  <a:pt x="1131" y="501"/>
                </a:lnTo>
                <a:lnTo>
                  <a:pt x="1129" y="501"/>
                </a:lnTo>
                <a:lnTo>
                  <a:pt x="1126" y="501"/>
                </a:lnTo>
                <a:lnTo>
                  <a:pt x="1124" y="501"/>
                </a:lnTo>
                <a:lnTo>
                  <a:pt x="1122" y="499"/>
                </a:lnTo>
                <a:lnTo>
                  <a:pt x="1122" y="495"/>
                </a:lnTo>
                <a:lnTo>
                  <a:pt x="1121" y="497"/>
                </a:lnTo>
                <a:lnTo>
                  <a:pt x="1117" y="495"/>
                </a:lnTo>
                <a:lnTo>
                  <a:pt x="1115" y="492"/>
                </a:lnTo>
                <a:lnTo>
                  <a:pt x="1114" y="490"/>
                </a:lnTo>
                <a:lnTo>
                  <a:pt x="1115" y="489"/>
                </a:lnTo>
                <a:lnTo>
                  <a:pt x="1114" y="487"/>
                </a:lnTo>
                <a:lnTo>
                  <a:pt x="1112" y="487"/>
                </a:lnTo>
                <a:lnTo>
                  <a:pt x="1109" y="485"/>
                </a:lnTo>
                <a:lnTo>
                  <a:pt x="1110" y="484"/>
                </a:lnTo>
                <a:lnTo>
                  <a:pt x="1112" y="480"/>
                </a:lnTo>
                <a:lnTo>
                  <a:pt x="1114" y="477"/>
                </a:lnTo>
                <a:lnTo>
                  <a:pt x="1115" y="478"/>
                </a:lnTo>
                <a:lnTo>
                  <a:pt x="1115" y="477"/>
                </a:lnTo>
                <a:lnTo>
                  <a:pt x="1114" y="475"/>
                </a:lnTo>
                <a:lnTo>
                  <a:pt x="1112" y="475"/>
                </a:lnTo>
                <a:lnTo>
                  <a:pt x="1110" y="475"/>
                </a:lnTo>
                <a:lnTo>
                  <a:pt x="1109" y="472"/>
                </a:lnTo>
                <a:lnTo>
                  <a:pt x="1109" y="470"/>
                </a:lnTo>
                <a:lnTo>
                  <a:pt x="1107" y="470"/>
                </a:lnTo>
                <a:lnTo>
                  <a:pt x="1105" y="468"/>
                </a:lnTo>
                <a:lnTo>
                  <a:pt x="1105" y="467"/>
                </a:lnTo>
                <a:lnTo>
                  <a:pt x="1109" y="465"/>
                </a:lnTo>
                <a:lnTo>
                  <a:pt x="1112" y="467"/>
                </a:lnTo>
                <a:lnTo>
                  <a:pt x="1114" y="468"/>
                </a:lnTo>
                <a:lnTo>
                  <a:pt x="1115" y="470"/>
                </a:lnTo>
                <a:lnTo>
                  <a:pt x="1117" y="470"/>
                </a:lnTo>
                <a:lnTo>
                  <a:pt x="1121" y="472"/>
                </a:lnTo>
                <a:lnTo>
                  <a:pt x="1124" y="470"/>
                </a:lnTo>
                <a:lnTo>
                  <a:pt x="1126" y="472"/>
                </a:lnTo>
                <a:lnTo>
                  <a:pt x="1124" y="468"/>
                </a:lnTo>
                <a:lnTo>
                  <a:pt x="1124" y="467"/>
                </a:lnTo>
                <a:lnTo>
                  <a:pt x="1122" y="463"/>
                </a:lnTo>
                <a:lnTo>
                  <a:pt x="1121" y="463"/>
                </a:lnTo>
                <a:lnTo>
                  <a:pt x="1119" y="465"/>
                </a:lnTo>
                <a:lnTo>
                  <a:pt x="1117" y="467"/>
                </a:lnTo>
                <a:lnTo>
                  <a:pt x="1115" y="465"/>
                </a:lnTo>
                <a:lnTo>
                  <a:pt x="1117" y="463"/>
                </a:lnTo>
                <a:lnTo>
                  <a:pt x="1115" y="463"/>
                </a:lnTo>
                <a:lnTo>
                  <a:pt x="1115" y="461"/>
                </a:lnTo>
                <a:lnTo>
                  <a:pt x="1114" y="461"/>
                </a:lnTo>
                <a:lnTo>
                  <a:pt x="1112" y="458"/>
                </a:lnTo>
                <a:lnTo>
                  <a:pt x="1110" y="458"/>
                </a:lnTo>
                <a:lnTo>
                  <a:pt x="1112" y="456"/>
                </a:lnTo>
                <a:lnTo>
                  <a:pt x="1112" y="455"/>
                </a:lnTo>
                <a:lnTo>
                  <a:pt x="1114" y="455"/>
                </a:lnTo>
                <a:lnTo>
                  <a:pt x="1114" y="453"/>
                </a:lnTo>
                <a:lnTo>
                  <a:pt x="1114" y="450"/>
                </a:lnTo>
                <a:lnTo>
                  <a:pt x="1114" y="448"/>
                </a:lnTo>
                <a:lnTo>
                  <a:pt x="1115" y="448"/>
                </a:lnTo>
                <a:lnTo>
                  <a:pt x="1117" y="450"/>
                </a:lnTo>
                <a:lnTo>
                  <a:pt x="1119" y="448"/>
                </a:lnTo>
                <a:lnTo>
                  <a:pt x="1115" y="446"/>
                </a:lnTo>
                <a:lnTo>
                  <a:pt x="1117" y="443"/>
                </a:lnTo>
                <a:lnTo>
                  <a:pt x="1115" y="441"/>
                </a:lnTo>
                <a:lnTo>
                  <a:pt x="1117" y="439"/>
                </a:lnTo>
                <a:lnTo>
                  <a:pt x="1114" y="441"/>
                </a:lnTo>
                <a:lnTo>
                  <a:pt x="1112" y="439"/>
                </a:lnTo>
                <a:lnTo>
                  <a:pt x="1114" y="441"/>
                </a:lnTo>
                <a:lnTo>
                  <a:pt x="1112" y="441"/>
                </a:lnTo>
                <a:lnTo>
                  <a:pt x="1114" y="444"/>
                </a:lnTo>
                <a:lnTo>
                  <a:pt x="1114" y="446"/>
                </a:lnTo>
                <a:lnTo>
                  <a:pt x="1112" y="446"/>
                </a:lnTo>
                <a:lnTo>
                  <a:pt x="1112" y="444"/>
                </a:lnTo>
                <a:lnTo>
                  <a:pt x="1112" y="443"/>
                </a:lnTo>
                <a:lnTo>
                  <a:pt x="1110" y="441"/>
                </a:lnTo>
                <a:lnTo>
                  <a:pt x="1110" y="439"/>
                </a:lnTo>
                <a:lnTo>
                  <a:pt x="1110" y="438"/>
                </a:lnTo>
                <a:lnTo>
                  <a:pt x="1109" y="438"/>
                </a:lnTo>
                <a:lnTo>
                  <a:pt x="1109" y="441"/>
                </a:lnTo>
                <a:lnTo>
                  <a:pt x="1107" y="443"/>
                </a:lnTo>
                <a:lnTo>
                  <a:pt x="1109" y="443"/>
                </a:lnTo>
                <a:lnTo>
                  <a:pt x="1110" y="444"/>
                </a:lnTo>
                <a:lnTo>
                  <a:pt x="1110" y="446"/>
                </a:lnTo>
                <a:lnTo>
                  <a:pt x="1110" y="450"/>
                </a:lnTo>
                <a:lnTo>
                  <a:pt x="1110" y="451"/>
                </a:lnTo>
                <a:lnTo>
                  <a:pt x="1109" y="451"/>
                </a:lnTo>
                <a:lnTo>
                  <a:pt x="1110" y="451"/>
                </a:lnTo>
                <a:lnTo>
                  <a:pt x="1109" y="453"/>
                </a:lnTo>
                <a:lnTo>
                  <a:pt x="1107" y="455"/>
                </a:lnTo>
                <a:lnTo>
                  <a:pt x="1104" y="455"/>
                </a:lnTo>
                <a:lnTo>
                  <a:pt x="1104" y="453"/>
                </a:lnTo>
                <a:lnTo>
                  <a:pt x="1104" y="450"/>
                </a:lnTo>
                <a:lnTo>
                  <a:pt x="1102" y="448"/>
                </a:lnTo>
                <a:lnTo>
                  <a:pt x="1102" y="446"/>
                </a:lnTo>
                <a:lnTo>
                  <a:pt x="1102" y="443"/>
                </a:lnTo>
                <a:lnTo>
                  <a:pt x="1100" y="443"/>
                </a:lnTo>
                <a:lnTo>
                  <a:pt x="1100" y="439"/>
                </a:lnTo>
                <a:lnTo>
                  <a:pt x="1098" y="438"/>
                </a:lnTo>
                <a:lnTo>
                  <a:pt x="1098" y="436"/>
                </a:lnTo>
                <a:lnTo>
                  <a:pt x="1098" y="434"/>
                </a:lnTo>
                <a:lnTo>
                  <a:pt x="1098" y="433"/>
                </a:lnTo>
                <a:lnTo>
                  <a:pt x="1098" y="431"/>
                </a:lnTo>
                <a:lnTo>
                  <a:pt x="1098" y="427"/>
                </a:lnTo>
                <a:lnTo>
                  <a:pt x="1098" y="426"/>
                </a:lnTo>
                <a:lnTo>
                  <a:pt x="1097" y="424"/>
                </a:lnTo>
                <a:lnTo>
                  <a:pt x="1098" y="422"/>
                </a:lnTo>
                <a:lnTo>
                  <a:pt x="1097" y="424"/>
                </a:lnTo>
                <a:lnTo>
                  <a:pt x="1095" y="422"/>
                </a:lnTo>
                <a:lnTo>
                  <a:pt x="1095" y="421"/>
                </a:lnTo>
                <a:lnTo>
                  <a:pt x="1095" y="419"/>
                </a:lnTo>
                <a:lnTo>
                  <a:pt x="1097" y="417"/>
                </a:lnTo>
                <a:lnTo>
                  <a:pt x="1098" y="417"/>
                </a:lnTo>
                <a:lnTo>
                  <a:pt x="1098" y="419"/>
                </a:lnTo>
                <a:lnTo>
                  <a:pt x="1100" y="417"/>
                </a:lnTo>
                <a:lnTo>
                  <a:pt x="1104" y="419"/>
                </a:lnTo>
                <a:lnTo>
                  <a:pt x="1102" y="417"/>
                </a:lnTo>
                <a:lnTo>
                  <a:pt x="1100" y="417"/>
                </a:lnTo>
                <a:lnTo>
                  <a:pt x="1098" y="415"/>
                </a:lnTo>
                <a:lnTo>
                  <a:pt x="1097" y="415"/>
                </a:lnTo>
                <a:lnTo>
                  <a:pt x="1098" y="412"/>
                </a:lnTo>
                <a:lnTo>
                  <a:pt x="1100" y="410"/>
                </a:lnTo>
                <a:lnTo>
                  <a:pt x="1102" y="412"/>
                </a:lnTo>
                <a:lnTo>
                  <a:pt x="1105" y="412"/>
                </a:lnTo>
                <a:lnTo>
                  <a:pt x="1107" y="412"/>
                </a:lnTo>
                <a:lnTo>
                  <a:pt x="1105" y="410"/>
                </a:lnTo>
                <a:lnTo>
                  <a:pt x="1104" y="409"/>
                </a:lnTo>
                <a:lnTo>
                  <a:pt x="1104" y="407"/>
                </a:lnTo>
                <a:lnTo>
                  <a:pt x="1102" y="405"/>
                </a:lnTo>
                <a:lnTo>
                  <a:pt x="1102" y="402"/>
                </a:lnTo>
                <a:lnTo>
                  <a:pt x="1104" y="402"/>
                </a:lnTo>
                <a:lnTo>
                  <a:pt x="1102" y="400"/>
                </a:lnTo>
                <a:lnTo>
                  <a:pt x="1105" y="400"/>
                </a:lnTo>
                <a:lnTo>
                  <a:pt x="1107" y="402"/>
                </a:lnTo>
                <a:lnTo>
                  <a:pt x="1107" y="400"/>
                </a:lnTo>
                <a:lnTo>
                  <a:pt x="1107" y="397"/>
                </a:lnTo>
                <a:lnTo>
                  <a:pt x="1109" y="397"/>
                </a:lnTo>
                <a:lnTo>
                  <a:pt x="1109" y="398"/>
                </a:lnTo>
                <a:lnTo>
                  <a:pt x="1109" y="395"/>
                </a:lnTo>
                <a:lnTo>
                  <a:pt x="1112" y="395"/>
                </a:lnTo>
                <a:lnTo>
                  <a:pt x="1112" y="397"/>
                </a:lnTo>
                <a:lnTo>
                  <a:pt x="1110" y="398"/>
                </a:lnTo>
                <a:lnTo>
                  <a:pt x="1114" y="400"/>
                </a:lnTo>
                <a:lnTo>
                  <a:pt x="1114" y="402"/>
                </a:lnTo>
                <a:lnTo>
                  <a:pt x="1115" y="405"/>
                </a:lnTo>
                <a:lnTo>
                  <a:pt x="1114" y="405"/>
                </a:lnTo>
                <a:lnTo>
                  <a:pt x="1115" y="405"/>
                </a:lnTo>
                <a:lnTo>
                  <a:pt x="1114" y="407"/>
                </a:lnTo>
                <a:lnTo>
                  <a:pt x="1117" y="410"/>
                </a:lnTo>
                <a:lnTo>
                  <a:pt x="1117" y="409"/>
                </a:lnTo>
                <a:lnTo>
                  <a:pt x="1117" y="405"/>
                </a:lnTo>
                <a:lnTo>
                  <a:pt x="1119" y="409"/>
                </a:lnTo>
                <a:lnTo>
                  <a:pt x="1117" y="409"/>
                </a:lnTo>
                <a:lnTo>
                  <a:pt x="1119" y="410"/>
                </a:lnTo>
                <a:lnTo>
                  <a:pt x="1119" y="407"/>
                </a:lnTo>
                <a:lnTo>
                  <a:pt x="1119" y="404"/>
                </a:lnTo>
                <a:lnTo>
                  <a:pt x="1117" y="402"/>
                </a:lnTo>
                <a:lnTo>
                  <a:pt x="1115" y="398"/>
                </a:lnTo>
                <a:lnTo>
                  <a:pt x="1117" y="397"/>
                </a:lnTo>
                <a:lnTo>
                  <a:pt x="1117" y="395"/>
                </a:lnTo>
                <a:lnTo>
                  <a:pt x="1119" y="395"/>
                </a:lnTo>
                <a:lnTo>
                  <a:pt x="1121" y="393"/>
                </a:lnTo>
                <a:lnTo>
                  <a:pt x="1121" y="395"/>
                </a:lnTo>
                <a:lnTo>
                  <a:pt x="1121" y="397"/>
                </a:lnTo>
                <a:lnTo>
                  <a:pt x="1122" y="400"/>
                </a:lnTo>
                <a:lnTo>
                  <a:pt x="1124" y="400"/>
                </a:lnTo>
                <a:lnTo>
                  <a:pt x="1124" y="398"/>
                </a:lnTo>
                <a:lnTo>
                  <a:pt x="1127" y="398"/>
                </a:lnTo>
                <a:lnTo>
                  <a:pt x="1129" y="397"/>
                </a:lnTo>
                <a:lnTo>
                  <a:pt x="1131" y="395"/>
                </a:lnTo>
                <a:lnTo>
                  <a:pt x="1132" y="395"/>
                </a:lnTo>
                <a:lnTo>
                  <a:pt x="1134" y="393"/>
                </a:lnTo>
                <a:lnTo>
                  <a:pt x="1136" y="393"/>
                </a:lnTo>
                <a:lnTo>
                  <a:pt x="1138" y="392"/>
                </a:lnTo>
                <a:lnTo>
                  <a:pt x="1139" y="390"/>
                </a:lnTo>
                <a:lnTo>
                  <a:pt x="1141" y="390"/>
                </a:lnTo>
                <a:lnTo>
                  <a:pt x="1141" y="392"/>
                </a:lnTo>
                <a:lnTo>
                  <a:pt x="1143" y="395"/>
                </a:lnTo>
                <a:lnTo>
                  <a:pt x="1143" y="397"/>
                </a:lnTo>
                <a:lnTo>
                  <a:pt x="1143" y="398"/>
                </a:lnTo>
                <a:lnTo>
                  <a:pt x="1141" y="400"/>
                </a:lnTo>
                <a:lnTo>
                  <a:pt x="1143" y="402"/>
                </a:lnTo>
                <a:lnTo>
                  <a:pt x="1141" y="404"/>
                </a:lnTo>
                <a:lnTo>
                  <a:pt x="1139" y="405"/>
                </a:lnTo>
                <a:lnTo>
                  <a:pt x="1141" y="405"/>
                </a:lnTo>
                <a:lnTo>
                  <a:pt x="1139" y="405"/>
                </a:lnTo>
                <a:lnTo>
                  <a:pt x="1138" y="405"/>
                </a:lnTo>
                <a:lnTo>
                  <a:pt x="1136" y="405"/>
                </a:lnTo>
                <a:lnTo>
                  <a:pt x="1134" y="405"/>
                </a:lnTo>
                <a:lnTo>
                  <a:pt x="1132" y="405"/>
                </a:lnTo>
                <a:lnTo>
                  <a:pt x="1129" y="407"/>
                </a:lnTo>
                <a:lnTo>
                  <a:pt x="1129" y="409"/>
                </a:lnTo>
                <a:lnTo>
                  <a:pt x="1127" y="410"/>
                </a:lnTo>
                <a:lnTo>
                  <a:pt x="1127" y="412"/>
                </a:lnTo>
                <a:lnTo>
                  <a:pt x="1126" y="412"/>
                </a:lnTo>
                <a:lnTo>
                  <a:pt x="1124" y="414"/>
                </a:lnTo>
                <a:lnTo>
                  <a:pt x="1126" y="414"/>
                </a:lnTo>
                <a:lnTo>
                  <a:pt x="1124" y="415"/>
                </a:lnTo>
                <a:lnTo>
                  <a:pt x="1122" y="415"/>
                </a:lnTo>
                <a:lnTo>
                  <a:pt x="1121" y="415"/>
                </a:lnTo>
                <a:lnTo>
                  <a:pt x="1121" y="417"/>
                </a:lnTo>
                <a:lnTo>
                  <a:pt x="1121" y="419"/>
                </a:lnTo>
                <a:lnTo>
                  <a:pt x="1124" y="421"/>
                </a:lnTo>
                <a:lnTo>
                  <a:pt x="1126" y="417"/>
                </a:lnTo>
                <a:lnTo>
                  <a:pt x="1127" y="417"/>
                </a:lnTo>
                <a:lnTo>
                  <a:pt x="1127" y="415"/>
                </a:lnTo>
                <a:lnTo>
                  <a:pt x="1131" y="414"/>
                </a:lnTo>
                <a:lnTo>
                  <a:pt x="1132" y="414"/>
                </a:lnTo>
                <a:lnTo>
                  <a:pt x="1134" y="414"/>
                </a:lnTo>
                <a:lnTo>
                  <a:pt x="1136" y="415"/>
                </a:lnTo>
                <a:lnTo>
                  <a:pt x="1138" y="417"/>
                </a:lnTo>
                <a:lnTo>
                  <a:pt x="1136" y="419"/>
                </a:lnTo>
                <a:lnTo>
                  <a:pt x="1134" y="421"/>
                </a:lnTo>
                <a:lnTo>
                  <a:pt x="1134" y="422"/>
                </a:lnTo>
                <a:lnTo>
                  <a:pt x="1132" y="426"/>
                </a:lnTo>
                <a:lnTo>
                  <a:pt x="1136" y="426"/>
                </a:lnTo>
                <a:lnTo>
                  <a:pt x="1136" y="427"/>
                </a:lnTo>
                <a:lnTo>
                  <a:pt x="1138" y="426"/>
                </a:lnTo>
                <a:lnTo>
                  <a:pt x="1136" y="424"/>
                </a:lnTo>
                <a:lnTo>
                  <a:pt x="1138" y="424"/>
                </a:lnTo>
                <a:lnTo>
                  <a:pt x="1141" y="426"/>
                </a:lnTo>
                <a:lnTo>
                  <a:pt x="1141" y="429"/>
                </a:lnTo>
                <a:lnTo>
                  <a:pt x="1143" y="431"/>
                </a:lnTo>
                <a:lnTo>
                  <a:pt x="1143" y="433"/>
                </a:lnTo>
                <a:lnTo>
                  <a:pt x="1144" y="433"/>
                </a:lnTo>
                <a:lnTo>
                  <a:pt x="1144" y="434"/>
                </a:lnTo>
                <a:lnTo>
                  <a:pt x="1144" y="436"/>
                </a:lnTo>
                <a:lnTo>
                  <a:pt x="1144" y="438"/>
                </a:lnTo>
                <a:lnTo>
                  <a:pt x="1144" y="439"/>
                </a:lnTo>
                <a:lnTo>
                  <a:pt x="1146" y="438"/>
                </a:lnTo>
                <a:lnTo>
                  <a:pt x="1146" y="441"/>
                </a:lnTo>
                <a:lnTo>
                  <a:pt x="1146" y="438"/>
                </a:lnTo>
                <a:lnTo>
                  <a:pt x="1148" y="434"/>
                </a:lnTo>
                <a:lnTo>
                  <a:pt x="1148" y="433"/>
                </a:lnTo>
                <a:lnTo>
                  <a:pt x="1144" y="431"/>
                </a:lnTo>
                <a:lnTo>
                  <a:pt x="1146" y="429"/>
                </a:lnTo>
                <a:lnTo>
                  <a:pt x="1144" y="427"/>
                </a:lnTo>
                <a:lnTo>
                  <a:pt x="1146" y="426"/>
                </a:lnTo>
                <a:lnTo>
                  <a:pt x="1144" y="424"/>
                </a:lnTo>
                <a:lnTo>
                  <a:pt x="1143" y="422"/>
                </a:lnTo>
                <a:lnTo>
                  <a:pt x="1144" y="422"/>
                </a:lnTo>
                <a:lnTo>
                  <a:pt x="1143" y="419"/>
                </a:lnTo>
                <a:lnTo>
                  <a:pt x="1143" y="417"/>
                </a:lnTo>
                <a:lnTo>
                  <a:pt x="1143" y="415"/>
                </a:lnTo>
                <a:lnTo>
                  <a:pt x="1146" y="412"/>
                </a:lnTo>
                <a:lnTo>
                  <a:pt x="1148" y="412"/>
                </a:lnTo>
                <a:lnTo>
                  <a:pt x="1146" y="410"/>
                </a:lnTo>
                <a:lnTo>
                  <a:pt x="1149" y="409"/>
                </a:lnTo>
                <a:lnTo>
                  <a:pt x="1148" y="407"/>
                </a:lnTo>
                <a:lnTo>
                  <a:pt x="1148" y="405"/>
                </a:lnTo>
                <a:lnTo>
                  <a:pt x="1148" y="404"/>
                </a:lnTo>
                <a:lnTo>
                  <a:pt x="1149" y="402"/>
                </a:lnTo>
                <a:lnTo>
                  <a:pt x="1149" y="400"/>
                </a:lnTo>
                <a:lnTo>
                  <a:pt x="1151" y="398"/>
                </a:lnTo>
                <a:lnTo>
                  <a:pt x="1151" y="397"/>
                </a:lnTo>
                <a:lnTo>
                  <a:pt x="1155" y="397"/>
                </a:lnTo>
                <a:lnTo>
                  <a:pt x="1156" y="398"/>
                </a:lnTo>
                <a:lnTo>
                  <a:pt x="1158" y="402"/>
                </a:lnTo>
                <a:lnTo>
                  <a:pt x="1158" y="404"/>
                </a:lnTo>
                <a:lnTo>
                  <a:pt x="1160" y="405"/>
                </a:lnTo>
                <a:lnTo>
                  <a:pt x="1160" y="409"/>
                </a:lnTo>
                <a:lnTo>
                  <a:pt x="1161" y="410"/>
                </a:lnTo>
                <a:lnTo>
                  <a:pt x="1163" y="412"/>
                </a:lnTo>
                <a:lnTo>
                  <a:pt x="1163" y="417"/>
                </a:lnTo>
                <a:lnTo>
                  <a:pt x="1163" y="419"/>
                </a:lnTo>
                <a:lnTo>
                  <a:pt x="1165" y="421"/>
                </a:lnTo>
                <a:lnTo>
                  <a:pt x="1165" y="422"/>
                </a:lnTo>
                <a:lnTo>
                  <a:pt x="1166" y="422"/>
                </a:lnTo>
                <a:lnTo>
                  <a:pt x="1166" y="424"/>
                </a:lnTo>
                <a:lnTo>
                  <a:pt x="1166" y="426"/>
                </a:lnTo>
                <a:lnTo>
                  <a:pt x="1166" y="427"/>
                </a:lnTo>
                <a:lnTo>
                  <a:pt x="1166" y="429"/>
                </a:lnTo>
                <a:lnTo>
                  <a:pt x="1166" y="431"/>
                </a:lnTo>
                <a:lnTo>
                  <a:pt x="1168" y="433"/>
                </a:lnTo>
                <a:lnTo>
                  <a:pt x="1168" y="434"/>
                </a:lnTo>
                <a:lnTo>
                  <a:pt x="1170" y="436"/>
                </a:lnTo>
                <a:lnTo>
                  <a:pt x="1170" y="439"/>
                </a:lnTo>
                <a:lnTo>
                  <a:pt x="1172" y="441"/>
                </a:lnTo>
                <a:lnTo>
                  <a:pt x="1173" y="443"/>
                </a:lnTo>
                <a:lnTo>
                  <a:pt x="1173" y="444"/>
                </a:lnTo>
                <a:lnTo>
                  <a:pt x="1173" y="443"/>
                </a:lnTo>
                <a:lnTo>
                  <a:pt x="1172" y="446"/>
                </a:lnTo>
                <a:lnTo>
                  <a:pt x="1172" y="448"/>
                </a:lnTo>
                <a:lnTo>
                  <a:pt x="1172" y="450"/>
                </a:lnTo>
                <a:lnTo>
                  <a:pt x="1172" y="451"/>
                </a:lnTo>
                <a:lnTo>
                  <a:pt x="1172" y="453"/>
                </a:lnTo>
                <a:lnTo>
                  <a:pt x="1173" y="453"/>
                </a:lnTo>
                <a:lnTo>
                  <a:pt x="1173" y="450"/>
                </a:lnTo>
                <a:lnTo>
                  <a:pt x="1175" y="448"/>
                </a:lnTo>
                <a:lnTo>
                  <a:pt x="1177" y="450"/>
                </a:lnTo>
                <a:lnTo>
                  <a:pt x="1177" y="451"/>
                </a:lnTo>
                <a:lnTo>
                  <a:pt x="1178" y="455"/>
                </a:lnTo>
                <a:lnTo>
                  <a:pt x="1178" y="456"/>
                </a:lnTo>
                <a:lnTo>
                  <a:pt x="1180" y="456"/>
                </a:lnTo>
                <a:lnTo>
                  <a:pt x="1180" y="458"/>
                </a:lnTo>
                <a:lnTo>
                  <a:pt x="1180" y="460"/>
                </a:lnTo>
                <a:lnTo>
                  <a:pt x="1182" y="463"/>
                </a:lnTo>
                <a:lnTo>
                  <a:pt x="1183" y="465"/>
                </a:lnTo>
                <a:lnTo>
                  <a:pt x="1183" y="467"/>
                </a:lnTo>
                <a:lnTo>
                  <a:pt x="1185" y="468"/>
                </a:lnTo>
                <a:lnTo>
                  <a:pt x="1187" y="467"/>
                </a:lnTo>
                <a:lnTo>
                  <a:pt x="1185" y="465"/>
                </a:lnTo>
                <a:lnTo>
                  <a:pt x="1185" y="463"/>
                </a:lnTo>
                <a:lnTo>
                  <a:pt x="1183" y="460"/>
                </a:lnTo>
                <a:lnTo>
                  <a:pt x="1183" y="458"/>
                </a:lnTo>
                <a:lnTo>
                  <a:pt x="1182" y="456"/>
                </a:lnTo>
                <a:lnTo>
                  <a:pt x="1183" y="455"/>
                </a:lnTo>
                <a:lnTo>
                  <a:pt x="1182" y="453"/>
                </a:lnTo>
                <a:lnTo>
                  <a:pt x="1182" y="451"/>
                </a:lnTo>
                <a:lnTo>
                  <a:pt x="1180" y="451"/>
                </a:lnTo>
                <a:lnTo>
                  <a:pt x="1180" y="450"/>
                </a:lnTo>
                <a:lnTo>
                  <a:pt x="1180" y="446"/>
                </a:lnTo>
                <a:lnTo>
                  <a:pt x="1178" y="444"/>
                </a:lnTo>
                <a:lnTo>
                  <a:pt x="1178" y="443"/>
                </a:lnTo>
                <a:lnTo>
                  <a:pt x="1178" y="441"/>
                </a:lnTo>
                <a:lnTo>
                  <a:pt x="1177" y="439"/>
                </a:lnTo>
                <a:lnTo>
                  <a:pt x="1175" y="436"/>
                </a:lnTo>
                <a:lnTo>
                  <a:pt x="1175" y="434"/>
                </a:lnTo>
                <a:lnTo>
                  <a:pt x="1175" y="431"/>
                </a:lnTo>
                <a:lnTo>
                  <a:pt x="1175" y="427"/>
                </a:lnTo>
                <a:lnTo>
                  <a:pt x="1173" y="426"/>
                </a:lnTo>
                <a:lnTo>
                  <a:pt x="1173" y="422"/>
                </a:lnTo>
                <a:lnTo>
                  <a:pt x="1173" y="421"/>
                </a:lnTo>
                <a:lnTo>
                  <a:pt x="1173" y="419"/>
                </a:lnTo>
                <a:lnTo>
                  <a:pt x="1173" y="415"/>
                </a:lnTo>
                <a:lnTo>
                  <a:pt x="1172" y="415"/>
                </a:lnTo>
                <a:lnTo>
                  <a:pt x="1172" y="414"/>
                </a:lnTo>
                <a:lnTo>
                  <a:pt x="1172" y="410"/>
                </a:lnTo>
                <a:lnTo>
                  <a:pt x="1172" y="409"/>
                </a:lnTo>
                <a:lnTo>
                  <a:pt x="1170" y="409"/>
                </a:lnTo>
                <a:lnTo>
                  <a:pt x="1170" y="407"/>
                </a:lnTo>
                <a:lnTo>
                  <a:pt x="1168" y="404"/>
                </a:lnTo>
                <a:lnTo>
                  <a:pt x="1170" y="404"/>
                </a:lnTo>
                <a:lnTo>
                  <a:pt x="1168" y="402"/>
                </a:lnTo>
                <a:lnTo>
                  <a:pt x="1168" y="398"/>
                </a:lnTo>
                <a:lnTo>
                  <a:pt x="1168" y="397"/>
                </a:lnTo>
                <a:lnTo>
                  <a:pt x="1166" y="395"/>
                </a:lnTo>
                <a:lnTo>
                  <a:pt x="1168" y="393"/>
                </a:lnTo>
                <a:lnTo>
                  <a:pt x="1166" y="392"/>
                </a:lnTo>
                <a:lnTo>
                  <a:pt x="1168" y="392"/>
                </a:lnTo>
                <a:lnTo>
                  <a:pt x="1166" y="390"/>
                </a:lnTo>
                <a:lnTo>
                  <a:pt x="1168" y="388"/>
                </a:lnTo>
                <a:lnTo>
                  <a:pt x="1170" y="390"/>
                </a:lnTo>
                <a:lnTo>
                  <a:pt x="1172" y="390"/>
                </a:lnTo>
                <a:lnTo>
                  <a:pt x="1173" y="388"/>
                </a:lnTo>
                <a:lnTo>
                  <a:pt x="1173" y="390"/>
                </a:lnTo>
                <a:lnTo>
                  <a:pt x="1175" y="390"/>
                </a:lnTo>
                <a:lnTo>
                  <a:pt x="1173" y="388"/>
                </a:lnTo>
                <a:lnTo>
                  <a:pt x="1172" y="387"/>
                </a:lnTo>
                <a:lnTo>
                  <a:pt x="1170" y="385"/>
                </a:lnTo>
                <a:lnTo>
                  <a:pt x="1172" y="381"/>
                </a:lnTo>
                <a:lnTo>
                  <a:pt x="1172" y="378"/>
                </a:lnTo>
                <a:lnTo>
                  <a:pt x="1172" y="376"/>
                </a:lnTo>
                <a:lnTo>
                  <a:pt x="1173" y="376"/>
                </a:lnTo>
                <a:lnTo>
                  <a:pt x="1175" y="373"/>
                </a:lnTo>
                <a:close/>
                <a:moveTo>
                  <a:pt x="1221" y="334"/>
                </a:moveTo>
                <a:lnTo>
                  <a:pt x="1224" y="332"/>
                </a:lnTo>
                <a:lnTo>
                  <a:pt x="1224" y="336"/>
                </a:lnTo>
                <a:lnTo>
                  <a:pt x="1226" y="339"/>
                </a:lnTo>
                <a:lnTo>
                  <a:pt x="1228" y="337"/>
                </a:lnTo>
                <a:lnTo>
                  <a:pt x="1229" y="337"/>
                </a:lnTo>
                <a:lnTo>
                  <a:pt x="1231" y="341"/>
                </a:lnTo>
                <a:lnTo>
                  <a:pt x="1233" y="342"/>
                </a:lnTo>
                <a:lnTo>
                  <a:pt x="1233" y="344"/>
                </a:lnTo>
                <a:lnTo>
                  <a:pt x="1234" y="346"/>
                </a:lnTo>
                <a:lnTo>
                  <a:pt x="1233" y="347"/>
                </a:lnTo>
                <a:lnTo>
                  <a:pt x="1234" y="347"/>
                </a:lnTo>
                <a:lnTo>
                  <a:pt x="1236" y="346"/>
                </a:lnTo>
                <a:lnTo>
                  <a:pt x="1236" y="347"/>
                </a:lnTo>
                <a:lnTo>
                  <a:pt x="1238" y="349"/>
                </a:lnTo>
                <a:lnTo>
                  <a:pt x="1238" y="351"/>
                </a:lnTo>
                <a:lnTo>
                  <a:pt x="1238" y="354"/>
                </a:lnTo>
                <a:lnTo>
                  <a:pt x="1241" y="353"/>
                </a:lnTo>
                <a:lnTo>
                  <a:pt x="1243" y="353"/>
                </a:lnTo>
                <a:lnTo>
                  <a:pt x="1243" y="351"/>
                </a:lnTo>
                <a:lnTo>
                  <a:pt x="1245" y="351"/>
                </a:lnTo>
                <a:lnTo>
                  <a:pt x="1245" y="349"/>
                </a:lnTo>
                <a:lnTo>
                  <a:pt x="1245" y="353"/>
                </a:lnTo>
                <a:lnTo>
                  <a:pt x="1245" y="351"/>
                </a:lnTo>
                <a:lnTo>
                  <a:pt x="1246" y="347"/>
                </a:lnTo>
                <a:lnTo>
                  <a:pt x="1248" y="347"/>
                </a:lnTo>
                <a:lnTo>
                  <a:pt x="1248" y="349"/>
                </a:lnTo>
                <a:lnTo>
                  <a:pt x="1250" y="349"/>
                </a:lnTo>
                <a:lnTo>
                  <a:pt x="1250" y="347"/>
                </a:lnTo>
                <a:lnTo>
                  <a:pt x="1251" y="346"/>
                </a:lnTo>
                <a:lnTo>
                  <a:pt x="1251" y="347"/>
                </a:lnTo>
                <a:lnTo>
                  <a:pt x="1253" y="351"/>
                </a:lnTo>
                <a:lnTo>
                  <a:pt x="1251" y="353"/>
                </a:lnTo>
                <a:lnTo>
                  <a:pt x="1251" y="354"/>
                </a:lnTo>
                <a:lnTo>
                  <a:pt x="1250" y="358"/>
                </a:lnTo>
                <a:lnTo>
                  <a:pt x="1250" y="359"/>
                </a:lnTo>
                <a:lnTo>
                  <a:pt x="1251" y="359"/>
                </a:lnTo>
                <a:lnTo>
                  <a:pt x="1253" y="356"/>
                </a:lnTo>
                <a:lnTo>
                  <a:pt x="1255" y="358"/>
                </a:lnTo>
                <a:lnTo>
                  <a:pt x="1257" y="358"/>
                </a:lnTo>
                <a:lnTo>
                  <a:pt x="1258" y="361"/>
                </a:lnTo>
                <a:lnTo>
                  <a:pt x="1258" y="363"/>
                </a:lnTo>
                <a:lnTo>
                  <a:pt x="1258" y="364"/>
                </a:lnTo>
                <a:lnTo>
                  <a:pt x="1260" y="364"/>
                </a:lnTo>
                <a:lnTo>
                  <a:pt x="1260" y="366"/>
                </a:lnTo>
                <a:lnTo>
                  <a:pt x="1260" y="368"/>
                </a:lnTo>
                <a:lnTo>
                  <a:pt x="1262" y="370"/>
                </a:lnTo>
                <a:lnTo>
                  <a:pt x="1263" y="366"/>
                </a:lnTo>
                <a:lnTo>
                  <a:pt x="1262" y="364"/>
                </a:lnTo>
                <a:lnTo>
                  <a:pt x="1263" y="366"/>
                </a:lnTo>
                <a:lnTo>
                  <a:pt x="1265" y="364"/>
                </a:lnTo>
                <a:lnTo>
                  <a:pt x="1262" y="363"/>
                </a:lnTo>
                <a:lnTo>
                  <a:pt x="1262" y="361"/>
                </a:lnTo>
                <a:lnTo>
                  <a:pt x="1263" y="363"/>
                </a:lnTo>
                <a:lnTo>
                  <a:pt x="1263" y="361"/>
                </a:lnTo>
                <a:lnTo>
                  <a:pt x="1262" y="361"/>
                </a:lnTo>
                <a:lnTo>
                  <a:pt x="1260" y="358"/>
                </a:lnTo>
                <a:lnTo>
                  <a:pt x="1262" y="358"/>
                </a:lnTo>
                <a:lnTo>
                  <a:pt x="1262" y="356"/>
                </a:lnTo>
                <a:lnTo>
                  <a:pt x="1262" y="354"/>
                </a:lnTo>
                <a:lnTo>
                  <a:pt x="1260" y="353"/>
                </a:lnTo>
                <a:lnTo>
                  <a:pt x="1262" y="351"/>
                </a:lnTo>
                <a:lnTo>
                  <a:pt x="1260" y="349"/>
                </a:lnTo>
                <a:lnTo>
                  <a:pt x="1260" y="346"/>
                </a:lnTo>
                <a:lnTo>
                  <a:pt x="1260" y="344"/>
                </a:lnTo>
                <a:lnTo>
                  <a:pt x="1262" y="342"/>
                </a:lnTo>
                <a:lnTo>
                  <a:pt x="1260" y="341"/>
                </a:lnTo>
                <a:lnTo>
                  <a:pt x="1258" y="339"/>
                </a:lnTo>
                <a:lnTo>
                  <a:pt x="1257" y="337"/>
                </a:lnTo>
                <a:lnTo>
                  <a:pt x="1257" y="334"/>
                </a:lnTo>
                <a:lnTo>
                  <a:pt x="1258" y="332"/>
                </a:lnTo>
                <a:lnTo>
                  <a:pt x="1260" y="330"/>
                </a:lnTo>
                <a:lnTo>
                  <a:pt x="1262" y="332"/>
                </a:lnTo>
                <a:lnTo>
                  <a:pt x="1262" y="336"/>
                </a:lnTo>
                <a:lnTo>
                  <a:pt x="1262" y="337"/>
                </a:lnTo>
                <a:lnTo>
                  <a:pt x="1263" y="339"/>
                </a:lnTo>
                <a:lnTo>
                  <a:pt x="1262" y="337"/>
                </a:lnTo>
                <a:lnTo>
                  <a:pt x="1262" y="334"/>
                </a:lnTo>
                <a:lnTo>
                  <a:pt x="1263" y="334"/>
                </a:lnTo>
                <a:lnTo>
                  <a:pt x="1263" y="330"/>
                </a:lnTo>
                <a:lnTo>
                  <a:pt x="1262" y="327"/>
                </a:lnTo>
                <a:lnTo>
                  <a:pt x="1260" y="325"/>
                </a:lnTo>
                <a:lnTo>
                  <a:pt x="1260" y="324"/>
                </a:lnTo>
                <a:lnTo>
                  <a:pt x="1262" y="324"/>
                </a:lnTo>
                <a:lnTo>
                  <a:pt x="1263" y="325"/>
                </a:lnTo>
                <a:lnTo>
                  <a:pt x="1265" y="327"/>
                </a:lnTo>
                <a:lnTo>
                  <a:pt x="1268" y="327"/>
                </a:lnTo>
                <a:lnTo>
                  <a:pt x="1270" y="329"/>
                </a:lnTo>
                <a:lnTo>
                  <a:pt x="1270" y="332"/>
                </a:lnTo>
                <a:lnTo>
                  <a:pt x="1267" y="332"/>
                </a:lnTo>
                <a:lnTo>
                  <a:pt x="1270" y="334"/>
                </a:lnTo>
                <a:lnTo>
                  <a:pt x="1268" y="336"/>
                </a:lnTo>
                <a:lnTo>
                  <a:pt x="1268" y="337"/>
                </a:lnTo>
                <a:lnTo>
                  <a:pt x="1268" y="336"/>
                </a:lnTo>
                <a:lnTo>
                  <a:pt x="1270" y="336"/>
                </a:lnTo>
                <a:lnTo>
                  <a:pt x="1272" y="337"/>
                </a:lnTo>
                <a:lnTo>
                  <a:pt x="1270" y="337"/>
                </a:lnTo>
                <a:lnTo>
                  <a:pt x="1272" y="341"/>
                </a:lnTo>
                <a:lnTo>
                  <a:pt x="1272" y="344"/>
                </a:lnTo>
                <a:lnTo>
                  <a:pt x="1268" y="346"/>
                </a:lnTo>
                <a:lnTo>
                  <a:pt x="1268" y="347"/>
                </a:lnTo>
                <a:lnTo>
                  <a:pt x="1268" y="351"/>
                </a:lnTo>
                <a:lnTo>
                  <a:pt x="1268" y="353"/>
                </a:lnTo>
                <a:lnTo>
                  <a:pt x="1272" y="356"/>
                </a:lnTo>
                <a:lnTo>
                  <a:pt x="1272" y="354"/>
                </a:lnTo>
                <a:lnTo>
                  <a:pt x="1270" y="351"/>
                </a:lnTo>
                <a:lnTo>
                  <a:pt x="1274" y="351"/>
                </a:lnTo>
                <a:lnTo>
                  <a:pt x="1272" y="349"/>
                </a:lnTo>
                <a:lnTo>
                  <a:pt x="1274" y="351"/>
                </a:lnTo>
                <a:lnTo>
                  <a:pt x="1275" y="353"/>
                </a:lnTo>
                <a:lnTo>
                  <a:pt x="1275" y="351"/>
                </a:lnTo>
                <a:lnTo>
                  <a:pt x="1272" y="347"/>
                </a:lnTo>
                <a:lnTo>
                  <a:pt x="1274" y="349"/>
                </a:lnTo>
                <a:lnTo>
                  <a:pt x="1275" y="347"/>
                </a:lnTo>
                <a:lnTo>
                  <a:pt x="1275" y="351"/>
                </a:lnTo>
                <a:lnTo>
                  <a:pt x="1277" y="353"/>
                </a:lnTo>
                <a:lnTo>
                  <a:pt x="1279" y="354"/>
                </a:lnTo>
                <a:lnTo>
                  <a:pt x="1279" y="353"/>
                </a:lnTo>
                <a:lnTo>
                  <a:pt x="1279" y="351"/>
                </a:lnTo>
                <a:lnTo>
                  <a:pt x="1279" y="349"/>
                </a:lnTo>
                <a:lnTo>
                  <a:pt x="1280" y="349"/>
                </a:lnTo>
                <a:lnTo>
                  <a:pt x="1280" y="347"/>
                </a:lnTo>
                <a:lnTo>
                  <a:pt x="1279" y="346"/>
                </a:lnTo>
                <a:lnTo>
                  <a:pt x="1279" y="344"/>
                </a:lnTo>
                <a:lnTo>
                  <a:pt x="1280" y="344"/>
                </a:lnTo>
                <a:lnTo>
                  <a:pt x="1279" y="342"/>
                </a:lnTo>
                <a:lnTo>
                  <a:pt x="1277" y="339"/>
                </a:lnTo>
                <a:lnTo>
                  <a:pt x="1279" y="341"/>
                </a:lnTo>
                <a:lnTo>
                  <a:pt x="1280" y="342"/>
                </a:lnTo>
                <a:lnTo>
                  <a:pt x="1280" y="341"/>
                </a:lnTo>
                <a:lnTo>
                  <a:pt x="1282" y="341"/>
                </a:lnTo>
                <a:lnTo>
                  <a:pt x="1280" y="341"/>
                </a:lnTo>
                <a:lnTo>
                  <a:pt x="1280" y="337"/>
                </a:lnTo>
                <a:lnTo>
                  <a:pt x="1282" y="339"/>
                </a:lnTo>
                <a:lnTo>
                  <a:pt x="1284" y="341"/>
                </a:lnTo>
                <a:lnTo>
                  <a:pt x="1285" y="341"/>
                </a:lnTo>
                <a:lnTo>
                  <a:pt x="1284" y="337"/>
                </a:lnTo>
                <a:lnTo>
                  <a:pt x="1287" y="339"/>
                </a:lnTo>
                <a:lnTo>
                  <a:pt x="1284" y="336"/>
                </a:lnTo>
                <a:lnTo>
                  <a:pt x="1287" y="336"/>
                </a:lnTo>
                <a:lnTo>
                  <a:pt x="1284" y="336"/>
                </a:lnTo>
                <a:lnTo>
                  <a:pt x="1282" y="334"/>
                </a:lnTo>
                <a:lnTo>
                  <a:pt x="1284" y="332"/>
                </a:lnTo>
                <a:lnTo>
                  <a:pt x="1287" y="332"/>
                </a:lnTo>
                <a:lnTo>
                  <a:pt x="1289" y="334"/>
                </a:lnTo>
                <a:lnTo>
                  <a:pt x="1289" y="336"/>
                </a:lnTo>
                <a:lnTo>
                  <a:pt x="1287" y="337"/>
                </a:lnTo>
                <a:lnTo>
                  <a:pt x="1287" y="341"/>
                </a:lnTo>
                <a:lnTo>
                  <a:pt x="1289" y="339"/>
                </a:lnTo>
                <a:lnTo>
                  <a:pt x="1291" y="337"/>
                </a:lnTo>
                <a:lnTo>
                  <a:pt x="1291" y="336"/>
                </a:lnTo>
                <a:lnTo>
                  <a:pt x="1291" y="332"/>
                </a:lnTo>
                <a:lnTo>
                  <a:pt x="1292" y="330"/>
                </a:lnTo>
                <a:lnTo>
                  <a:pt x="1292" y="332"/>
                </a:lnTo>
                <a:lnTo>
                  <a:pt x="1292" y="336"/>
                </a:lnTo>
                <a:lnTo>
                  <a:pt x="1294" y="337"/>
                </a:lnTo>
                <a:lnTo>
                  <a:pt x="1292" y="341"/>
                </a:lnTo>
                <a:lnTo>
                  <a:pt x="1296" y="339"/>
                </a:lnTo>
                <a:lnTo>
                  <a:pt x="1297" y="339"/>
                </a:lnTo>
                <a:lnTo>
                  <a:pt x="1297" y="337"/>
                </a:lnTo>
                <a:lnTo>
                  <a:pt x="1301" y="336"/>
                </a:lnTo>
                <a:lnTo>
                  <a:pt x="1299" y="337"/>
                </a:lnTo>
                <a:lnTo>
                  <a:pt x="1299" y="341"/>
                </a:lnTo>
                <a:lnTo>
                  <a:pt x="1302" y="341"/>
                </a:lnTo>
                <a:lnTo>
                  <a:pt x="1302" y="339"/>
                </a:lnTo>
                <a:lnTo>
                  <a:pt x="1304" y="339"/>
                </a:lnTo>
                <a:lnTo>
                  <a:pt x="1306" y="342"/>
                </a:lnTo>
                <a:lnTo>
                  <a:pt x="1306" y="339"/>
                </a:lnTo>
                <a:lnTo>
                  <a:pt x="1308" y="339"/>
                </a:lnTo>
                <a:lnTo>
                  <a:pt x="1306" y="342"/>
                </a:lnTo>
                <a:lnTo>
                  <a:pt x="1308" y="344"/>
                </a:lnTo>
                <a:lnTo>
                  <a:pt x="1309" y="342"/>
                </a:lnTo>
                <a:lnTo>
                  <a:pt x="1309" y="344"/>
                </a:lnTo>
                <a:lnTo>
                  <a:pt x="1311" y="341"/>
                </a:lnTo>
                <a:lnTo>
                  <a:pt x="1314" y="341"/>
                </a:lnTo>
                <a:lnTo>
                  <a:pt x="1318" y="339"/>
                </a:lnTo>
                <a:lnTo>
                  <a:pt x="1321" y="339"/>
                </a:lnTo>
                <a:lnTo>
                  <a:pt x="1323" y="341"/>
                </a:lnTo>
                <a:lnTo>
                  <a:pt x="1325" y="344"/>
                </a:lnTo>
                <a:lnTo>
                  <a:pt x="1325" y="346"/>
                </a:lnTo>
                <a:lnTo>
                  <a:pt x="1326" y="346"/>
                </a:lnTo>
                <a:lnTo>
                  <a:pt x="1326" y="347"/>
                </a:lnTo>
                <a:lnTo>
                  <a:pt x="1330" y="347"/>
                </a:lnTo>
                <a:lnTo>
                  <a:pt x="1330" y="351"/>
                </a:lnTo>
                <a:lnTo>
                  <a:pt x="1330" y="353"/>
                </a:lnTo>
                <a:lnTo>
                  <a:pt x="1331" y="354"/>
                </a:lnTo>
                <a:lnTo>
                  <a:pt x="1330" y="356"/>
                </a:lnTo>
                <a:lnTo>
                  <a:pt x="1330" y="358"/>
                </a:lnTo>
                <a:lnTo>
                  <a:pt x="1331" y="359"/>
                </a:lnTo>
                <a:lnTo>
                  <a:pt x="1333" y="361"/>
                </a:lnTo>
                <a:lnTo>
                  <a:pt x="1333" y="363"/>
                </a:lnTo>
                <a:lnTo>
                  <a:pt x="1333" y="366"/>
                </a:lnTo>
                <a:lnTo>
                  <a:pt x="1333" y="370"/>
                </a:lnTo>
                <a:lnTo>
                  <a:pt x="1331" y="371"/>
                </a:lnTo>
                <a:lnTo>
                  <a:pt x="1330" y="371"/>
                </a:lnTo>
                <a:lnTo>
                  <a:pt x="1330" y="373"/>
                </a:lnTo>
                <a:lnTo>
                  <a:pt x="1328" y="375"/>
                </a:lnTo>
                <a:lnTo>
                  <a:pt x="1328" y="376"/>
                </a:lnTo>
                <a:lnTo>
                  <a:pt x="1326" y="376"/>
                </a:lnTo>
                <a:lnTo>
                  <a:pt x="1326" y="380"/>
                </a:lnTo>
                <a:lnTo>
                  <a:pt x="1326" y="381"/>
                </a:lnTo>
                <a:lnTo>
                  <a:pt x="1323" y="385"/>
                </a:lnTo>
                <a:lnTo>
                  <a:pt x="1321" y="387"/>
                </a:lnTo>
                <a:lnTo>
                  <a:pt x="1321" y="388"/>
                </a:lnTo>
                <a:lnTo>
                  <a:pt x="1319" y="390"/>
                </a:lnTo>
                <a:lnTo>
                  <a:pt x="1318" y="392"/>
                </a:lnTo>
                <a:lnTo>
                  <a:pt x="1318" y="395"/>
                </a:lnTo>
                <a:lnTo>
                  <a:pt x="1319" y="395"/>
                </a:lnTo>
                <a:lnTo>
                  <a:pt x="1321" y="398"/>
                </a:lnTo>
                <a:lnTo>
                  <a:pt x="1319" y="402"/>
                </a:lnTo>
                <a:lnTo>
                  <a:pt x="1318" y="405"/>
                </a:lnTo>
                <a:lnTo>
                  <a:pt x="1316" y="409"/>
                </a:lnTo>
                <a:lnTo>
                  <a:pt x="1314" y="410"/>
                </a:lnTo>
                <a:lnTo>
                  <a:pt x="1313" y="412"/>
                </a:lnTo>
                <a:lnTo>
                  <a:pt x="1309" y="410"/>
                </a:lnTo>
                <a:lnTo>
                  <a:pt x="1309" y="412"/>
                </a:lnTo>
                <a:lnTo>
                  <a:pt x="1306" y="414"/>
                </a:lnTo>
                <a:lnTo>
                  <a:pt x="1304" y="415"/>
                </a:lnTo>
                <a:lnTo>
                  <a:pt x="1302" y="417"/>
                </a:lnTo>
                <a:lnTo>
                  <a:pt x="1301" y="419"/>
                </a:lnTo>
                <a:lnTo>
                  <a:pt x="1299" y="421"/>
                </a:lnTo>
                <a:lnTo>
                  <a:pt x="1299" y="424"/>
                </a:lnTo>
                <a:lnTo>
                  <a:pt x="1299" y="426"/>
                </a:lnTo>
                <a:lnTo>
                  <a:pt x="1296" y="427"/>
                </a:lnTo>
                <a:lnTo>
                  <a:pt x="1292" y="427"/>
                </a:lnTo>
                <a:lnTo>
                  <a:pt x="1289" y="427"/>
                </a:lnTo>
                <a:lnTo>
                  <a:pt x="1287" y="427"/>
                </a:lnTo>
                <a:lnTo>
                  <a:pt x="1285" y="426"/>
                </a:lnTo>
                <a:lnTo>
                  <a:pt x="1282" y="426"/>
                </a:lnTo>
                <a:lnTo>
                  <a:pt x="1280" y="426"/>
                </a:lnTo>
                <a:lnTo>
                  <a:pt x="1279" y="426"/>
                </a:lnTo>
                <a:lnTo>
                  <a:pt x="1279" y="424"/>
                </a:lnTo>
                <a:lnTo>
                  <a:pt x="1277" y="421"/>
                </a:lnTo>
                <a:lnTo>
                  <a:pt x="1275" y="419"/>
                </a:lnTo>
                <a:lnTo>
                  <a:pt x="1272" y="419"/>
                </a:lnTo>
                <a:lnTo>
                  <a:pt x="1268" y="421"/>
                </a:lnTo>
                <a:lnTo>
                  <a:pt x="1265" y="422"/>
                </a:lnTo>
                <a:lnTo>
                  <a:pt x="1262" y="421"/>
                </a:lnTo>
                <a:lnTo>
                  <a:pt x="1260" y="421"/>
                </a:lnTo>
                <a:lnTo>
                  <a:pt x="1257" y="421"/>
                </a:lnTo>
                <a:lnTo>
                  <a:pt x="1255" y="421"/>
                </a:lnTo>
                <a:lnTo>
                  <a:pt x="1253" y="422"/>
                </a:lnTo>
                <a:lnTo>
                  <a:pt x="1251" y="422"/>
                </a:lnTo>
                <a:lnTo>
                  <a:pt x="1250" y="422"/>
                </a:lnTo>
                <a:lnTo>
                  <a:pt x="1248" y="422"/>
                </a:lnTo>
                <a:lnTo>
                  <a:pt x="1248" y="419"/>
                </a:lnTo>
                <a:lnTo>
                  <a:pt x="1246" y="417"/>
                </a:lnTo>
                <a:lnTo>
                  <a:pt x="1245" y="417"/>
                </a:lnTo>
                <a:lnTo>
                  <a:pt x="1243" y="417"/>
                </a:lnTo>
                <a:lnTo>
                  <a:pt x="1240" y="417"/>
                </a:lnTo>
                <a:lnTo>
                  <a:pt x="1238" y="415"/>
                </a:lnTo>
                <a:lnTo>
                  <a:pt x="1236" y="415"/>
                </a:lnTo>
                <a:lnTo>
                  <a:pt x="1234" y="412"/>
                </a:lnTo>
                <a:lnTo>
                  <a:pt x="1233" y="412"/>
                </a:lnTo>
                <a:lnTo>
                  <a:pt x="1233" y="410"/>
                </a:lnTo>
                <a:lnTo>
                  <a:pt x="1231" y="410"/>
                </a:lnTo>
                <a:lnTo>
                  <a:pt x="1229" y="409"/>
                </a:lnTo>
                <a:lnTo>
                  <a:pt x="1229" y="405"/>
                </a:lnTo>
                <a:lnTo>
                  <a:pt x="1229" y="404"/>
                </a:lnTo>
                <a:lnTo>
                  <a:pt x="1233" y="402"/>
                </a:lnTo>
                <a:lnTo>
                  <a:pt x="1236" y="402"/>
                </a:lnTo>
                <a:lnTo>
                  <a:pt x="1238" y="404"/>
                </a:lnTo>
                <a:lnTo>
                  <a:pt x="1238" y="405"/>
                </a:lnTo>
                <a:lnTo>
                  <a:pt x="1241" y="405"/>
                </a:lnTo>
                <a:lnTo>
                  <a:pt x="1243" y="407"/>
                </a:lnTo>
                <a:lnTo>
                  <a:pt x="1246" y="405"/>
                </a:lnTo>
                <a:lnTo>
                  <a:pt x="1248" y="407"/>
                </a:lnTo>
                <a:lnTo>
                  <a:pt x="1250" y="407"/>
                </a:lnTo>
                <a:lnTo>
                  <a:pt x="1251" y="407"/>
                </a:lnTo>
                <a:lnTo>
                  <a:pt x="1253" y="405"/>
                </a:lnTo>
                <a:lnTo>
                  <a:pt x="1251" y="405"/>
                </a:lnTo>
                <a:lnTo>
                  <a:pt x="1250" y="405"/>
                </a:lnTo>
                <a:lnTo>
                  <a:pt x="1248" y="404"/>
                </a:lnTo>
                <a:lnTo>
                  <a:pt x="1246" y="402"/>
                </a:lnTo>
                <a:lnTo>
                  <a:pt x="1243" y="404"/>
                </a:lnTo>
                <a:lnTo>
                  <a:pt x="1241" y="402"/>
                </a:lnTo>
                <a:lnTo>
                  <a:pt x="1241" y="400"/>
                </a:lnTo>
                <a:lnTo>
                  <a:pt x="1240" y="398"/>
                </a:lnTo>
                <a:lnTo>
                  <a:pt x="1241" y="397"/>
                </a:lnTo>
                <a:lnTo>
                  <a:pt x="1243" y="397"/>
                </a:lnTo>
                <a:lnTo>
                  <a:pt x="1246" y="395"/>
                </a:lnTo>
                <a:lnTo>
                  <a:pt x="1250" y="393"/>
                </a:lnTo>
                <a:lnTo>
                  <a:pt x="1251" y="393"/>
                </a:lnTo>
                <a:lnTo>
                  <a:pt x="1255" y="393"/>
                </a:lnTo>
                <a:lnTo>
                  <a:pt x="1255" y="390"/>
                </a:lnTo>
                <a:lnTo>
                  <a:pt x="1255" y="388"/>
                </a:lnTo>
                <a:lnTo>
                  <a:pt x="1257" y="387"/>
                </a:lnTo>
                <a:lnTo>
                  <a:pt x="1255" y="387"/>
                </a:lnTo>
                <a:lnTo>
                  <a:pt x="1255" y="388"/>
                </a:lnTo>
                <a:lnTo>
                  <a:pt x="1253" y="388"/>
                </a:lnTo>
                <a:lnTo>
                  <a:pt x="1255" y="385"/>
                </a:lnTo>
                <a:lnTo>
                  <a:pt x="1257" y="383"/>
                </a:lnTo>
                <a:lnTo>
                  <a:pt x="1255" y="383"/>
                </a:lnTo>
                <a:lnTo>
                  <a:pt x="1251" y="383"/>
                </a:lnTo>
                <a:lnTo>
                  <a:pt x="1250" y="387"/>
                </a:lnTo>
                <a:lnTo>
                  <a:pt x="1250" y="385"/>
                </a:lnTo>
                <a:lnTo>
                  <a:pt x="1248" y="385"/>
                </a:lnTo>
                <a:lnTo>
                  <a:pt x="1246" y="387"/>
                </a:lnTo>
                <a:lnTo>
                  <a:pt x="1245" y="387"/>
                </a:lnTo>
                <a:lnTo>
                  <a:pt x="1243" y="388"/>
                </a:lnTo>
                <a:lnTo>
                  <a:pt x="1240" y="388"/>
                </a:lnTo>
                <a:lnTo>
                  <a:pt x="1238" y="390"/>
                </a:lnTo>
                <a:lnTo>
                  <a:pt x="1238" y="388"/>
                </a:lnTo>
                <a:lnTo>
                  <a:pt x="1236" y="390"/>
                </a:lnTo>
                <a:lnTo>
                  <a:pt x="1234" y="390"/>
                </a:lnTo>
                <a:lnTo>
                  <a:pt x="1233" y="392"/>
                </a:lnTo>
                <a:lnTo>
                  <a:pt x="1228" y="393"/>
                </a:lnTo>
                <a:lnTo>
                  <a:pt x="1228" y="395"/>
                </a:lnTo>
                <a:lnTo>
                  <a:pt x="1226" y="395"/>
                </a:lnTo>
                <a:lnTo>
                  <a:pt x="1226" y="397"/>
                </a:lnTo>
                <a:lnTo>
                  <a:pt x="1224" y="393"/>
                </a:lnTo>
                <a:lnTo>
                  <a:pt x="1221" y="393"/>
                </a:lnTo>
                <a:lnTo>
                  <a:pt x="1217" y="393"/>
                </a:lnTo>
                <a:lnTo>
                  <a:pt x="1216" y="395"/>
                </a:lnTo>
                <a:lnTo>
                  <a:pt x="1216" y="397"/>
                </a:lnTo>
                <a:lnTo>
                  <a:pt x="1214" y="397"/>
                </a:lnTo>
                <a:lnTo>
                  <a:pt x="1214" y="393"/>
                </a:lnTo>
                <a:lnTo>
                  <a:pt x="1212" y="392"/>
                </a:lnTo>
                <a:lnTo>
                  <a:pt x="1211" y="390"/>
                </a:lnTo>
                <a:lnTo>
                  <a:pt x="1212" y="393"/>
                </a:lnTo>
                <a:lnTo>
                  <a:pt x="1211" y="392"/>
                </a:lnTo>
                <a:lnTo>
                  <a:pt x="1209" y="392"/>
                </a:lnTo>
                <a:lnTo>
                  <a:pt x="1209" y="393"/>
                </a:lnTo>
                <a:lnTo>
                  <a:pt x="1209" y="392"/>
                </a:lnTo>
                <a:lnTo>
                  <a:pt x="1207" y="390"/>
                </a:lnTo>
                <a:lnTo>
                  <a:pt x="1206" y="388"/>
                </a:lnTo>
                <a:lnTo>
                  <a:pt x="1206" y="385"/>
                </a:lnTo>
                <a:lnTo>
                  <a:pt x="1204" y="385"/>
                </a:lnTo>
                <a:lnTo>
                  <a:pt x="1202" y="383"/>
                </a:lnTo>
                <a:lnTo>
                  <a:pt x="1204" y="380"/>
                </a:lnTo>
                <a:lnTo>
                  <a:pt x="1206" y="380"/>
                </a:lnTo>
                <a:lnTo>
                  <a:pt x="1207" y="378"/>
                </a:lnTo>
                <a:lnTo>
                  <a:pt x="1211" y="378"/>
                </a:lnTo>
                <a:lnTo>
                  <a:pt x="1209" y="378"/>
                </a:lnTo>
                <a:lnTo>
                  <a:pt x="1211" y="376"/>
                </a:lnTo>
                <a:lnTo>
                  <a:pt x="1207" y="376"/>
                </a:lnTo>
                <a:lnTo>
                  <a:pt x="1209" y="375"/>
                </a:lnTo>
                <a:lnTo>
                  <a:pt x="1209" y="373"/>
                </a:lnTo>
                <a:lnTo>
                  <a:pt x="1209" y="375"/>
                </a:lnTo>
                <a:lnTo>
                  <a:pt x="1212" y="376"/>
                </a:lnTo>
                <a:lnTo>
                  <a:pt x="1212" y="375"/>
                </a:lnTo>
                <a:lnTo>
                  <a:pt x="1211" y="375"/>
                </a:lnTo>
                <a:lnTo>
                  <a:pt x="1211" y="373"/>
                </a:lnTo>
                <a:lnTo>
                  <a:pt x="1212" y="373"/>
                </a:lnTo>
                <a:lnTo>
                  <a:pt x="1212" y="370"/>
                </a:lnTo>
                <a:lnTo>
                  <a:pt x="1212" y="371"/>
                </a:lnTo>
                <a:lnTo>
                  <a:pt x="1211" y="373"/>
                </a:lnTo>
                <a:lnTo>
                  <a:pt x="1207" y="371"/>
                </a:lnTo>
                <a:lnTo>
                  <a:pt x="1204" y="373"/>
                </a:lnTo>
                <a:lnTo>
                  <a:pt x="1202" y="371"/>
                </a:lnTo>
                <a:lnTo>
                  <a:pt x="1200" y="368"/>
                </a:lnTo>
                <a:lnTo>
                  <a:pt x="1202" y="370"/>
                </a:lnTo>
                <a:lnTo>
                  <a:pt x="1204" y="368"/>
                </a:lnTo>
                <a:lnTo>
                  <a:pt x="1202" y="368"/>
                </a:lnTo>
                <a:lnTo>
                  <a:pt x="1202" y="366"/>
                </a:lnTo>
                <a:lnTo>
                  <a:pt x="1200" y="368"/>
                </a:lnTo>
                <a:lnTo>
                  <a:pt x="1199" y="364"/>
                </a:lnTo>
                <a:lnTo>
                  <a:pt x="1199" y="368"/>
                </a:lnTo>
                <a:lnTo>
                  <a:pt x="1197" y="364"/>
                </a:lnTo>
                <a:lnTo>
                  <a:pt x="1195" y="364"/>
                </a:lnTo>
                <a:lnTo>
                  <a:pt x="1197" y="363"/>
                </a:lnTo>
                <a:lnTo>
                  <a:pt x="1199" y="361"/>
                </a:lnTo>
                <a:lnTo>
                  <a:pt x="1199" y="359"/>
                </a:lnTo>
                <a:lnTo>
                  <a:pt x="1199" y="361"/>
                </a:lnTo>
                <a:lnTo>
                  <a:pt x="1200" y="359"/>
                </a:lnTo>
                <a:lnTo>
                  <a:pt x="1202" y="359"/>
                </a:lnTo>
                <a:lnTo>
                  <a:pt x="1204" y="359"/>
                </a:lnTo>
                <a:lnTo>
                  <a:pt x="1204" y="358"/>
                </a:lnTo>
                <a:lnTo>
                  <a:pt x="1204" y="359"/>
                </a:lnTo>
                <a:lnTo>
                  <a:pt x="1206" y="359"/>
                </a:lnTo>
                <a:lnTo>
                  <a:pt x="1209" y="361"/>
                </a:lnTo>
                <a:lnTo>
                  <a:pt x="1209" y="359"/>
                </a:lnTo>
                <a:lnTo>
                  <a:pt x="1209" y="358"/>
                </a:lnTo>
                <a:lnTo>
                  <a:pt x="1212" y="359"/>
                </a:lnTo>
                <a:lnTo>
                  <a:pt x="1211" y="359"/>
                </a:lnTo>
                <a:lnTo>
                  <a:pt x="1212" y="361"/>
                </a:lnTo>
                <a:lnTo>
                  <a:pt x="1214" y="363"/>
                </a:lnTo>
                <a:lnTo>
                  <a:pt x="1216" y="364"/>
                </a:lnTo>
                <a:lnTo>
                  <a:pt x="1217" y="366"/>
                </a:lnTo>
                <a:lnTo>
                  <a:pt x="1219" y="364"/>
                </a:lnTo>
                <a:lnTo>
                  <a:pt x="1219" y="361"/>
                </a:lnTo>
                <a:lnTo>
                  <a:pt x="1217" y="361"/>
                </a:lnTo>
                <a:lnTo>
                  <a:pt x="1221" y="361"/>
                </a:lnTo>
                <a:lnTo>
                  <a:pt x="1217" y="359"/>
                </a:lnTo>
                <a:lnTo>
                  <a:pt x="1216" y="359"/>
                </a:lnTo>
                <a:lnTo>
                  <a:pt x="1216" y="358"/>
                </a:lnTo>
                <a:lnTo>
                  <a:pt x="1214" y="356"/>
                </a:lnTo>
                <a:lnTo>
                  <a:pt x="1214" y="354"/>
                </a:lnTo>
                <a:lnTo>
                  <a:pt x="1212" y="351"/>
                </a:lnTo>
                <a:lnTo>
                  <a:pt x="1212" y="349"/>
                </a:lnTo>
                <a:lnTo>
                  <a:pt x="1211" y="347"/>
                </a:lnTo>
                <a:lnTo>
                  <a:pt x="1211" y="346"/>
                </a:lnTo>
                <a:lnTo>
                  <a:pt x="1214" y="346"/>
                </a:lnTo>
                <a:lnTo>
                  <a:pt x="1216" y="347"/>
                </a:lnTo>
                <a:lnTo>
                  <a:pt x="1217" y="349"/>
                </a:lnTo>
                <a:lnTo>
                  <a:pt x="1217" y="351"/>
                </a:lnTo>
                <a:lnTo>
                  <a:pt x="1219" y="353"/>
                </a:lnTo>
                <a:lnTo>
                  <a:pt x="1221" y="354"/>
                </a:lnTo>
                <a:lnTo>
                  <a:pt x="1224" y="354"/>
                </a:lnTo>
                <a:lnTo>
                  <a:pt x="1221" y="351"/>
                </a:lnTo>
                <a:lnTo>
                  <a:pt x="1223" y="349"/>
                </a:lnTo>
                <a:lnTo>
                  <a:pt x="1223" y="347"/>
                </a:lnTo>
                <a:lnTo>
                  <a:pt x="1221" y="346"/>
                </a:lnTo>
                <a:lnTo>
                  <a:pt x="1223" y="344"/>
                </a:lnTo>
                <a:lnTo>
                  <a:pt x="1221" y="344"/>
                </a:lnTo>
                <a:lnTo>
                  <a:pt x="1223" y="342"/>
                </a:lnTo>
                <a:lnTo>
                  <a:pt x="1224" y="341"/>
                </a:lnTo>
                <a:lnTo>
                  <a:pt x="1221" y="341"/>
                </a:lnTo>
                <a:lnTo>
                  <a:pt x="1219" y="339"/>
                </a:lnTo>
                <a:lnTo>
                  <a:pt x="1217" y="341"/>
                </a:lnTo>
                <a:lnTo>
                  <a:pt x="1216" y="341"/>
                </a:lnTo>
                <a:lnTo>
                  <a:pt x="1216" y="337"/>
                </a:lnTo>
                <a:lnTo>
                  <a:pt x="1216" y="334"/>
                </a:lnTo>
                <a:lnTo>
                  <a:pt x="1217" y="334"/>
                </a:lnTo>
                <a:lnTo>
                  <a:pt x="1219" y="336"/>
                </a:lnTo>
                <a:lnTo>
                  <a:pt x="1217" y="334"/>
                </a:lnTo>
                <a:lnTo>
                  <a:pt x="1217" y="330"/>
                </a:lnTo>
                <a:lnTo>
                  <a:pt x="1219" y="330"/>
                </a:lnTo>
                <a:lnTo>
                  <a:pt x="1221" y="334"/>
                </a:lnTo>
                <a:close/>
                <a:moveTo>
                  <a:pt x="1296" y="506"/>
                </a:moveTo>
                <a:lnTo>
                  <a:pt x="1297" y="507"/>
                </a:lnTo>
                <a:lnTo>
                  <a:pt x="1299" y="509"/>
                </a:lnTo>
                <a:lnTo>
                  <a:pt x="1301" y="511"/>
                </a:lnTo>
                <a:lnTo>
                  <a:pt x="1301" y="516"/>
                </a:lnTo>
                <a:lnTo>
                  <a:pt x="1302" y="519"/>
                </a:lnTo>
                <a:lnTo>
                  <a:pt x="1302" y="521"/>
                </a:lnTo>
                <a:lnTo>
                  <a:pt x="1304" y="523"/>
                </a:lnTo>
                <a:lnTo>
                  <a:pt x="1306" y="524"/>
                </a:lnTo>
                <a:lnTo>
                  <a:pt x="1309" y="528"/>
                </a:lnTo>
                <a:lnTo>
                  <a:pt x="1311" y="529"/>
                </a:lnTo>
                <a:lnTo>
                  <a:pt x="1313" y="531"/>
                </a:lnTo>
                <a:lnTo>
                  <a:pt x="1314" y="528"/>
                </a:lnTo>
                <a:lnTo>
                  <a:pt x="1318" y="528"/>
                </a:lnTo>
                <a:lnTo>
                  <a:pt x="1318" y="526"/>
                </a:lnTo>
                <a:lnTo>
                  <a:pt x="1321" y="526"/>
                </a:lnTo>
                <a:lnTo>
                  <a:pt x="1323" y="526"/>
                </a:lnTo>
                <a:lnTo>
                  <a:pt x="1325" y="528"/>
                </a:lnTo>
                <a:lnTo>
                  <a:pt x="1325" y="529"/>
                </a:lnTo>
                <a:lnTo>
                  <a:pt x="1325" y="531"/>
                </a:lnTo>
                <a:lnTo>
                  <a:pt x="1323" y="533"/>
                </a:lnTo>
                <a:lnTo>
                  <a:pt x="1323" y="536"/>
                </a:lnTo>
                <a:lnTo>
                  <a:pt x="1323" y="540"/>
                </a:lnTo>
                <a:lnTo>
                  <a:pt x="1325" y="541"/>
                </a:lnTo>
                <a:lnTo>
                  <a:pt x="1326" y="543"/>
                </a:lnTo>
                <a:lnTo>
                  <a:pt x="1325" y="545"/>
                </a:lnTo>
                <a:lnTo>
                  <a:pt x="1325" y="546"/>
                </a:lnTo>
                <a:lnTo>
                  <a:pt x="1325" y="548"/>
                </a:lnTo>
                <a:lnTo>
                  <a:pt x="1325" y="552"/>
                </a:lnTo>
                <a:lnTo>
                  <a:pt x="1325" y="553"/>
                </a:lnTo>
                <a:lnTo>
                  <a:pt x="1321" y="555"/>
                </a:lnTo>
                <a:lnTo>
                  <a:pt x="1321" y="557"/>
                </a:lnTo>
                <a:lnTo>
                  <a:pt x="1321" y="558"/>
                </a:lnTo>
                <a:lnTo>
                  <a:pt x="1321" y="560"/>
                </a:lnTo>
                <a:lnTo>
                  <a:pt x="1319" y="563"/>
                </a:lnTo>
                <a:lnTo>
                  <a:pt x="1319" y="565"/>
                </a:lnTo>
                <a:lnTo>
                  <a:pt x="1318" y="567"/>
                </a:lnTo>
                <a:lnTo>
                  <a:pt x="1318" y="569"/>
                </a:lnTo>
                <a:lnTo>
                  <a:pt x="1316" y="572"/>
                </a:lnTo>
                <a:lnTo>
                  <a:pt x="1313" y="574"/>
                </a:lnTo>
                <a:lnTo>
                  <a:pt x="1314" y="575"/>
                </a:lnTo>
                <a:lnTo>
                  <a:pt x="1313" y="575"/>
                </a:lnTo>
                <a:lnTo>
                  <a:pt x="1311" y="577"/>
                </a:lnTo>
                <a:lnTo>
                  <a:pt x="1311" y="581"/>
                </a:lnTo>
                <a:lnTo>
                  <a:pt x="1309" y="582"/>
                </a:lnTo>
                <a:lnTo>
                  <a:pt x="1308" y="584"/>
                </a:lnTo>
                <a:lnTo>
                  <a:pt x="1306" y="586"/>
                </a:lnTo>
                <a:lnTo>
                  <a:pt x="1306" y="587"/>
                </a:lnTo>
                <a:lnTo>
                  <a:pt x="1304" y="586"/>
                </a:lnTo>
                <a:lnTo>
                  <a:pt x="1304" y="584"/>
                </a:lnTo>
                <a:lnTo>
                  <a:pt x="1304" y="581"/>
                </a:lnTo>
                <a:lnTo>
                  <a:pt x="1306" y="579"/>
                </a:lnTo>
                <a:lnTo>
                  <a:pt x="1306" y="575"/>
                </a:lnTo>
                <a:lnTo>
                  <a:pt x="1304" y="575"/>
                </a:lnTo>
                <a:lnTo>
                  <a:pt x="1302" y="575"/>
                </a:lnTo>
                <a:lnTo>
                  <a:pt x="1302" y="572"/>
                </a:lnTo>
                <a:lnTo>
                  <a:pt x="1304" y="572"/>
                </a:lnTo>
                <a:lnTo>
                  <a:pt x="1306" y="569"/>
                </a:lnTo>
                <a:lnTo>
                  <a:pt x="1304" y="567"/>
                </a:lnTo>
                <a:lnTo>
                  <a:pt x="1302" y="565"/>
                </a:lnTo>
                <a:lnTo>
                  <a:pt x="1301" y="562"/>
                </a:lnTo>
                <a:lnTo>
                  <a:pt x="1302" y="560"/>
                </a:lnTo>
                <a:lnTo>
                  <a:pt x="1301" y="560"/>
                </a:lnTo>
                <a:lnTo>
                  <a:pt x="1297" y="558"/>
                </a:lnTo>
                <a:lnTo>
                  <a:pt x="1296" y="560"/>
                </a:lnTo>
                <a:lnTo>
                  <a:pt x="1296" y="562"/>
                </a:lnTo>
                <a:lnTo>
                  <a:pt x="1294" y="562"/>
                </a:lnTo>
                <a:lnTo>
                  <a:pt x="1292" y="563"/>
                </a:lnTo>
                <a:lnTo>
                  <a:pt x="1291" y="565"/>
                </a:lnTo>
                <a:lnTo>
                  <a:pt x="1291" y="567"/>
                </a:lnTo>
                <a:lnTo>
                  <a:pt x="1287" y="569"/>
                </a:lnTo>
                <a:lnTo>
                  <a:pt x="1285" y="569"/>
                </a:lnTo>
                <a:lnTo>
                  <a:pt x="1284" y="569"/>
                </a:lnTo>
                <a:lnTo>
                  <a:pt x="1282" y="572"/>
                </a:lnTo>
                <a:lnTo>
                  <a:pt x="1280" y="572"/>
                </a:lnTo>
                <a:lnTo>
                  <a:pt x="1279" y="574"/>
                </a:lnTo>
                <a:lnTo>
                  <a:pt x="1275" y="575"/>
                </a:lnTo>
                <a:lnTo>
                  <a:pt x="1274" y="575"/>
                </a:lnTo>
                <a:lnTo>
                  <a:pt x="1272" y="575"/>
                </a:lnTo>
                <a:lnTo>
                  <a:pt x="1272" y="574"/>
                </a:lnTo>
                <a:lnTo>
                  <a:pt x="1272" y="570"/>
                </a:lnTo>
                <a:lnTo>
                  <a:pt x="1270" y="569"/>
                </a:lnTo>
                <a:lnTo>
                  <a:pt x="1272" y="569"/>
                </a:lnTo>
                <a:lnTo>
                  <a:pt x="1270" y="569"/>
                </a:lnTo>
                <a:lnTo>
                  <a:pt x="1272" y="567"/>
                </a:lnTo>
                <a:lnTo>
                  <a:pt x="1270" y="565"/>
                </a:lnTo>
                <a:lnTo>
                  <a:pt x="1272" y="563"/>
                </a:lnTo>
                <a:lnTo>
                  <a:pt x="1274" y="563"/>
                </a:lnTo>
                <a:lnTo>
                  <a:pt x="1275" y="562"/>
                </a:lnTo>
                <a:lnTo>
                  <a:pt x="1275" y="560"/>
                </a:lnTo>
                <a:lnTo>
                  <a:pt x="1275" y="558"/>
                </a:lnTo>
                <a:lnTo>
                  <a:pt x="1275" y="557"/>
                </a:lnTo>
                <a:lnTo>
                  <a:pt x="1275" y="553"/>
                </a:lnTo>
                <a:lnTo>
                  <a:pt x="1275" y="552"/>
                </a:lnTo>
                <a:lnTo>
                  <a:pt x="1275" y="548"/>
                </a:lnTo>
                <a:lnTo>
                  <a:pt x="1277" y="546"/>
                </a:lnTo>
                <a:lnTo>
                  <a:pt x="1277" y="545"/>
                </a:lnTo>
                <a:lnTo>
                  <a:pt x="1277" y="541"/>
                </a:lnTo>
                <a:lnTo>
                  <a:pt x="1277" y="540"/>
                </a:lnTo>
                <a:lnTo>
                  <a:pt x="1279" y="536"/>
                </a:lnTo>
                <a:lnTo>
                  <a:pt x="1279" y="535"/>
                </a:lnTo>
                <a:lnTo>
                  <a:pt x="1277" y="535"/>
                </a:lnTo>
                <a:lnTo>
                  <a:pt x="1275" y="533"/>
                </a:lnTo>
                <a:lnTo>
                  <a:pt x="1272" y="533"/>
                </a:lnTo>
                <a:lnTo>
                  <a:pt x="1270" y="529"/>
                </a:lnTo>
                <a:lnTo>
                  <a:pt x="1267" y="528"/>
                </a:lnTo>
                <a:lnTo>
                  <a:pt x="1265" y="526"/>
                </a:lnTo>
                <a:lnTo>
                  <a:pt x="1263" y="526"/>
                </a:lnTo>
                <a:lnTo>
                  <a:pt x="1263" y="523"/>
                </a:lnTo>
                <a:lnTo>
                  <a:pt x="1267" y="521"/>
                </a:lnTo>
                <a:lnTo>
                  <a:pt x="1268" y="519"/>
                </a:lnTo>
                <a:lnTo>
                  <a:pt x="1270" y="518"/>
                </a:lnTo>
                <a:lnTo>
                  <a:pt x="1272" y="516"/>
                </a:lnTo>
                <a:lnTo>
                  <a:pt x="1274" y="514"/>
                </a:lnTo>
                <a:lnTo>
                  <a:pt x="1275" y="514"/>
                </a:lnTo>
                <a:lnTo>
                  <a:pt x="1277" y="512"/>
                </a:lnTo>
                <a:lnTo>
                  <a:pt x="1279" y="512"/>
                </a:lnTo>
                <a:lnTo>
                  <a:pt x="1282" y="512"/>
                </a:lnTo>
                <a:lnTo>
                  <a:pt x="1284" y="512"/>
                </a:lnTo>
                <a:lnTo>
                  <a:pt x="1287" y="511"/>
                </a:lnTo>
                <a:lnTo>
                  <a:pt x="1289" y="509"/>
                </a:lnTo>
                <a:lnTo>
                  <a:pt x="1291" y="509"/>
                </a:lnTo>
                <a:lnTo>
                  <a:pt x="1291" y="507"/>
                </a:lnTo>
                <a:lnTo>
                  <a:pt x="1292" y="506"/>
                </a:lnTo>
                <a:lnTo>
                  <a:pt x="1294" y="506"/>
                </a:lnTo>
                <a:lnTo>
                  <a:pt x="1296" y="506"/>
                </a:lnTo>
                <a:close/>
                <a:moveTo>
                  <a:pt x="1267" y="484"/>
                </a:moveTo>
                <a:lnTo>
                  <a:pt x="1268" y="485"/>
                </a:lnTo>
                <a:lnTo>
                  <a:pt x="1268" y="482"/>
                </a:lnTo>
                <a:lnTo>
                  <a:pt x="1272" y="480"/>
                </a:lnTo>
                <a:lnTo>
                  <a:pt x="1272" y="482"/>
                </a:lnTo>
                <a:lnTo>
                  <a:pt x="1274" y="480"/>
                </a:lnTo>
                <a:lnTo>
                  <a:pt x="1274" y="484"/>
                </a:lnTo>
                <a:lnTo>
                  <a:pt x="1275" y="482"/>
                </a:lnTo>
                <a:lnTo>
                  <a:pt x="1277" y="485"/>
                </a:lnTo>
                <a:lnTo>
                  <a:pt x="1277" y="487"/>
                </a:lnTo>
                <a:lnTo>
                  <a:pt x="1279" y="489"/>
                </a:lnTo>
                <a:lnTo>
                  <a:pt x="1280" y="490"/>
                </a:lnTo>
                <a:lnTo>
                  <a:pt x="1280" y="492"/>
                </a:lnTo>
                <a:lnTo>
                  <a:pt x="1280" y="495"/>
                </a:lnTo>
                <a:lnTo>
                  <a:pt x="1282" y="497"/>
                </a:lnTo>
                <a:lnTo>
                  <a:pt x="1282" y="499"/>
                </a:lnTo>
                <a:lnTo>
                  <a:pt x="1282" y="501"/>
                </a:lnTo>
                <a:lnTo>
                  <a:pt x="1282" y="504"/>
                </a:lnTo>
                <a:lnTo>
                  <a:pt x="1282" y="506"/>
                </a:lnTo>
                <a:lnTo>
                  <a:pt x="1282" y="507"/>
                </a:lnTo>
                <a:lnTo>
                  <a:pt x="1279" y="507"/>
                </a:lnTo>
                <a:lnTo>
                  <a:pt x="1277" y="511"/>
                </a:lnTo>
                <a:lnTo>
                  <a:pt x="1275" y="509"/>
                </a:lnTo>
                <a:lnTo>
                  <a:pt x="1274" y="511"/>
                </a:lnTo>
                <a:lnTo>
                  <a:pt x="1272" y="511"/>
                </a:lnTo>
                <a:lnTo>
                  <a:pt x="1268" y="512"/>
                </a:lnTo>
                <a:lnTo>
                  <a:pt x="1267" y="514"/>
                </a:lnTo>
                <a:lnTo>
                  <a:pt x="1267" y="516"/>
                </a:lnTo>
                <a:lnTo>
                  <a:pt x="1265" y="514"/>
                </a:lnTo>
                <a:lnTo>
                  <a:pt x="1262" y="514"/>
                </a:lnTo>
                <a:lnTo>
                  <a:pt x="1260" y="514"/>
                </a:lnTo>
                <a:lnTo>
                  <a:pt x="1262" y="511"/>
                </a:lnTo>
                <a:lnTo>
                  <a:pt x="1262" y="509"/>
                </a:lnTo>
                <a:lnTo>
                  <a:pt x="1258" y="507"/>
                </a:lnTo>
                <a:lnTo>
                  <a:pt x="1257" y="507"/>
                </a:lnTo>
                <a:lnTo>
                  <a:pt x="1258" y="507"/>
                </a:lnTo>
                <a:lnTo>
                  <a:pt x="1258" y="506"/>
                </a:lnTo>
                <a:lnTo>
                  <a:pt x="1258" y="504"/>
                </a:lnTo>
                <a:lnTo>
                  <a:pt x="1258" y="501"/>
                </a:lnTo>
                <a:lnTo>
                  <a:pt x="1257" y="499"/>
                </a:lnTo>
                <a:lnTo>
                  <a:pt x="1257" y="497"/>
                </a:lnTo>
                <a:lnTo>
                  <a:pt x="1255" y="497"/>
                </a:lnTo>
                <a:lnTo>
                  <a:pt x="1253" y="495"/>
                </a:lnTo>
                <a:lnTo>
                  <a:pt x="1251" y="495"/>
                </a:lnTo>
                <a:lnTo>
                  <a:pt x="1248" y="495"/>
                </a:lnTo>
                <a:lnTo>
                  <a:pt x="1250" y="492"/>
                </a:lnTo>
                <a:lnTo>
                  <a:pt x="1253" y="490"/>
                </a:lnTo>
                <a:lnTo>
                  <a:pt x="1257" y="489"/>
                </a:lnTo>
                <a:lnTo>
                  <a:pt x="1260" y="487"/>
                </a:lnTo>
                <a:lnTo>
                  <a:pt x="1262" y="487"/>
                </a:lnTo>
                <a:lnTo>
                  <a:pt x="1263" y="485"/>
                </a:lnTo>
                <a:lnTo>
                  <a:pt x="1262" y="482"/>
                </a:lnTo>
                <a:lnTo>
                  <a:pt x="1263" y="480"/>
                </a:lnTo>
                <a:lnTo>
                  <a:pt x="1265" y="480"/>
                </a:lnTo>
                <a:lnTo>
                  <a:pt x="1267" y="484"/>
                </a:lnTo>
                <a:close/>
                <a:moveTo>
                  <a:pt x="1411" y="317"/>
                </a:moveTo>
                <a:lnTo>
                  <a:pt x="1408" y="319"/>
                </a:lnTo>
                <a:lnTo>
                  <a:pt x="1406" y="320"/>
                </a:lnTo>
                <a:lnTo>
                  <a:pt x="1403" y="322"/>
                </a:lnTo>
                <a:lnTo>
                  <a:pt x="1401" y="322"/>
                </a:lnTo>
                <a:lnTo>
                  <a:pt x="1401" y="324"/>
                </a:lnTo>
                <a:lnTo>
                  <a:pt x="1399" y="324"/>
                </a:lnTo>
                <a:lnTo>
                  <a:pt x="1398" y="325"/>
                </a:lnTo>
                <a:lnTo>
                  <a:pt x="1398" y="327"/>
                </a:lnTo>
                <a:lnTo>
                  <a:pt x="1394" y="330"/>
                </a:lnTo>
                <a:lnTo>
                  <a:pt x="1393" y="330"/>
                </a:lnTo>
                <a:lnTo>
                  <a:pt x="1391" y="332"/>
                </a:lnTo>
                <a:lnTo>
                  <a:pt x="1389" y="329"/>
                </a:lnTo>
                <a:lnTo>
                  <a:pt x="1387" y="329"/>
                </a:lnTo>
                <a:lnTo>
                  <a:pt x="1387" y="327"/>
                </a:lnTo>
                <a:lnTo>
                  <a:pt x="1387" y="324"/>
                </a:lnTo>
                <a:lnTo>
                  <a:pt x="1389" y="319"/>
                </a:lnTo>
                <a:lnTo>
                  <a:pt x="1393" y="315"/>
                </a:lnTo>
                <a:lnTo>
                  <a:pt x="1394" y="310"/>
                </a:lnTo>
                <a:lnTo>
                  <a:pt x="1401" y="305"/>
                </a:lnTo>
                <a:lnTo>
                  <a:pt x="1404" y="303"/>
                </a:lnTo>
                <a:lnTo>
                  <a:pt x="1406" y="305"/>
                </a:lnTo>
                <a:lnTo>
                  <a:pt x="1408" y="307"/>
                </a:lnTo>
                <a:lnTo>
                  <a:pt x="1410" y="308"/>
                </a:lnTo>
                <a:lnTo>
                  <a:pt x="1411" y="308"/>
                </a:lnTo>
                <a:lnTo>
                  <a:pt x="1413" y="312"/>
                </a:lnTo>
                <a:lnTo>
                  <a:pt x="1413" y="315"/>
                </a:lnTo>
                <a:lnTo>
                  <a:pt x="1411" y="317"/>
                </a:lnTo>
                <a:close/>
                <a:moveTo>
                  <a:pt x="1093" y="472"/>
                </a:moveTo>
                <a:lnTo>
                  <a:pt x="1097" y="473"/>
                </a:lnTo>
                <a:lnTo>
                  <a:pt x="1098" y="473"/>
                </a:lnTo>
                <a:lnTo>
                  <a:pt x="1100" y="475"/>
                </a:lnTo>
                <a:lnTo>
                  <a:pt x="1100" y="477"/>
                </a:lnTo>
                <a:lnTo>
                  <a:pt x="1098" y="480"/>
                </a:lnTo>
                <a:lnTo>
                  <a:pt x="1100" y="482"/>
                </a:lnTo>
                <a:lnTo>
                  <a:pt x="1104" y="484"/>
                </a:lnTo>
                <a:lnTo>
                  <a:pt x="1104" y="485"/>
                </a:lnTo>
                <a:lnTo>
                  <a:pt x="1102" y="487"/>
                </a:lnTo>
                <a:lnTo>
                  <a:pt x="1102" y="489"/>
                </a:lnTo>
                <a:lnTo>
                  <a:pt x="1104" y="490"/>
                </a:lnTo>
                <a:lnTo>
                  <a:pt x="1104" y="494"/>
                </a:lnTo>
                <a:lnTo>
                  <a:pt x="1105" y="494"/>
                </a:lnTo>
                <a:lnTo>
                  <a:pt x="1105" y="497"/>
                </a:lnTo>
                <a:lnTo>
                  <a:pt x="1107" y="499"/>
                </a:lnTo>
                <a:lnTo>
                  <a:pt x="1105" y="501"/>
                </a:lnTo>
                <a:lnTo>
                  <a:pt x="1109" y="501"/>
                </a:lnTo>
                <a:lnTo>
                  <a:pt x="1109" y="504"/>
                </a:lnTo>
                <a:lnTo>
                  <a:pt x="1110" y="507"/>
                </a:lnTo>
                <a:lnTo>
                  <a:pt x="1114" y="509"/>
                </a:lnTo>
                <a:lnTo>
                  <a:pt x="1115" y="509"/>
                </a:lnTo>
                <a:lnTo>
                  <a:pt x="1115" y="512"/>
                </a:lnTo>
                <a:lnTo>
                  <a:pt x="1115" y="514"/>
                </a:lnTo>
                <a:lnTo>
                  <a:pt x="1117" y="516"/>
                </a:lnTo>
                <a:lnTo>
                  <a:pt x="1117" y="519"/>
                </a:lnTo>
                <a:lnTo>
                  <a:pt x="1119" y="519"/>
                </a:lnTo>
                <a:lnTo>
                  <a:pt x="1119" y="521"/>
                </a:lnTo>
                <a:lnTo>
                  <a:pt x="1119" y="523"/>
                </a:lnTo>
                <a:lnTo>
                  <a:pt x="1121" y="524"/>
                </a:lnTo>
                <a:lnTo>
                  <a:pt x="1121" y="528"/>
                </a:lnTo>
                <a:lnTo>
                  <a:pt x="1117" y="526"/>
                </a:lnTo>
                <a:lnTo>
                  <a:pt x="1115" y="526"/>
                </a:lnTo>
                <a:lnTo>
                  <a:pt x="1115" y="524"/>
                </a:lnTo>
                <a:lnTo>
                  <a:pt x="1114" y="523"/>
                </a:lnTo>
                <a:lnTo>
                  <a:pt x="1114" y="519"/>
                </a:lnTo>
                <a:lnTo>
                  <a:pt x="1114" y="518"/>
                </a:lnTo>
                <a:lnTo>
                  <a:pt x="1112" y="518"/>
                </a:lnTo>
                <a:lnTo>
                  <a:pt x="1110" y="514"/>
                </a:lnTo>
                <a:lnTo>
                  <a:pt x="1110" y="512"/>
                </a:lnTo>
                <a:lnTo>
                  <a:pt x="1109" y="511"/>
                </a:lnTo>
                <a:lnTo>
                  <a:pt x="1107" y="509"/>
                </a:lnTo>
                <a:lnTo>
                  <a:pt x="1105" y="507"/>
                </a:lnTo>
                <a:lnTo>
                  <a:pt x="1104" y="509"/>
                </a:lnTo>
                <a:lnTo>
                  <a:pt x="1102" y="507"/>
                </a:lnTo>
                <a:lnTo>
                  <a:pt x="1102" y="506"/>
                </a:lnTo>
                <a:lnTo>
                  <a:pt x="1100" y="502"/>
                </a:lnTo>
                <a:lnTo>
                  <a:pt x="1102" y="501"/>
                </a:lnTo>
                <a:lnTo>
                  <a:pt x="1100" y="499"/>
                </a:lnTo>
                <a:lnTo>
                  <a:pt x="1100" y="497"/>
                </a:lnTo>
                <a:lnTo>
                  <a:pt x="1098" y="494"/>
                </a:lnTo>
                <a:lnTo>
                  <a:pt x="1098" y="492"/>
                </a:lnTo>
                <a:lnTo>
                  <a:pt x="1097" y="490"/>
                </a:lnTo>
                <a:lnTo>
                  <a:pt x="1097" y="489"/>
                </a:lnTo>
                <a:lnTo>
                  <a:pt x="1095" y="485"/>
                </a:lnTo>
                <a:lnTo>
                  <a:pt x="1093" y="484"/>
                </a:lnTo>
                <a:lnTo>
                  <a:pt x="1093" y="482"/>
                </a:lnTo>
                <a:lnTo>
                  <a:pt x="1093" y="478"/>
                </a:lnTo>
                <a:lnTo>
                  <a:pt x="1093" y="475"/>
                </a:lnTo>
                <a:lnTo>
                  <a:pt x="1092" y="472"/>
                </a:lnTo>
                <a:lnTo>
                  <a:pt x="1093" y="472"/>
                </a:lnTo>
                <a:close/>
                <a:moveTo>
                  <a:pt x="658" y="1019"/>
                </a:moveTo>
                <a:lnTo>
                  <a:pt x="658" y="1021"/>
                </a:lnTo>
                <a:lnTo>
                  <a:pt x="655" y="1023"/>
                </a:lnTo>
                <a:lnTo>
                  <a:pt x="655" y="1026"/>
                </a:lnTo>
                <a:lnTo>
                  <a:pt x="655" y="1028"/>
                </a:lnTo>
                <a:lnTo>
                  <a:pt x="653" y="1030"/>
                </a:lnTo>
                <a:lnTo>
                  <a:pt x="651" y="1030"/>
                </a:lnTo>
                <a:lnTo>
                  <a:pt x="650" y="1030"/>
                </a:lnTo>
                <a:lnTo>
                  <a:pt x="648" y="1030"/>
                </a:lnTo>
                <a:lnTo>
                  <a:pt x="646" y="1030"/>
                </a:lnTo>
                <a:lnTo>
                  <a:pt x="645" y="1030"/>
                </a:lnTo>
                <a:lnTo>
                  <a:pt x="643" y="1031"/>
                </a:lnTo>
                <a:lnTo>
                  <a:pt x="641" y="1030"/>
                </a:lnTo>
                <a:lnTo>
                  <a:pt x="638" y="1030"/>
                </a:lnTo>
                <a:lnTo>
                  <a:pt x="638" y="1031"/>
                </a:lnTo>
                <a:lnTo>
                  <a:pt x="634" y="1031"/>
                </a:lnTo>
                <a:lnTo>
                  <a:pt x="634" y="1033"/>
                </a:lnTo>
                <a:lnTo>
                  <a:pt x="633" y="1035"/>
                </a:lnTo>
                <a:lnTo>
                  <a:pt x="631" y="1035"/>
                </a:lnTo>
                <a:lnTo>
                  <a:pt x="629" y="1035"/>
                </a:lnTo>
                <a:lnTo>
                  <a:pt x="628" y="1036"/>
                </a:lnTo>
                <a:lnTo>
                  <a:pt x="626" y="1036"/>
                </a:lnTo>
                <a:lnTo>
                  <a:pt x="626" y="1035"/>
                </a:lnTo>
                <a:lnTo>
                  <a:pt x="626" y="1033"/>
                </a:lnTo>
                <a:lnTo>
                  <a:pt x="628" y="1033"/>
                </a:lnTo>
                <a:lnTo>
                  <a:pt x="629" y="1031"/>
                </a:lnTo>
                <a:lnTo>
                  <a:pt x="631" y="1030"/>
                </a:lnTo>
                <a:lnTo>
                  <a:pt x="634" y="1030"/>
                </a:lnTo>
                <a:lnTo>
                  <a:pt x="636" y="1028"/>
                </a:lnTo>
                <a:lnTo>
                  <a:pt x="639" y="1028"/>
                </a:lnTo>
                <a:lnTo>
                  <a:pt x="641" y="1028"/>
                </a:lnTo>
                <a:lnTo>
                  <a:pt x="643" y="1026"/>
                </a:lnTo>
                <a:lnTo>
                  <a:pt x="645" y="1023"/>
                </a:lnTo>
                <a:lnTo>
                  <a:pt x="646" y="1023"/>
                </a:lnTo>
                <a:lnTo>
                  <a:pt x="648" y="1021"/>
                </a:lnTo>
                <a:lnTo>
                  <a:pt x="650" y="1021"/>
                </a:lnTo>
                <a:lnTo>
                  <a:pt x="651" y="1019"/>
                </a:lnTo>
                <a:lnTo>
                  <a:pt x="655" y="1019"/>
                </a:lnTo>
                <a:lnTo>
                  <a:pt x="658" y="1019"/>
                </a:lnTo>
                <a:close/>
                <a:moveTo>
                  <a:pt x="1369" y="431"/>
                </a:moveTo>
                <a:lnTo>
                  <a:pt x="1370" y="429"/>
                </a:lnTo>
                <a:lnTo>
                  <a:pt x="1370" y="431"/>
                </a:lnTo>
                <a:lnTo>
                  <a:pt x="1374" y="429"/>
                </a:lnTo>
                <a:lnTo>
                  <a:pt x="1377" y="429"/>
                </a:lnTo>
                <a:lnTo>
                  <a:pt x="1379" y="431"/>
                </a:lnTo>
                <a:lnTo>
                  <a:pt x="1381" y="433"/>
                </a:lnTo>
                <a:lnTo>
                  <a:pt x="1382" y="433"/>
                </a:lnTo>
                <a:lnTo>
                  <a:pt x="1386" y="433"/>
                </a:lnTo>
                <a:lnTo>
                  <a:pt x="1387" y="431"/>
                </a:lnTo>
                <a:lnTo>
                  <a:pt x="1389" y="429"/>
                </a:lnTo>
                <a:lnTo>
                  <a:pt x="1391" y="429"/>
                </a:lnTo>
                <a:lnTo>
                  <a:pt x="1389" y="431"/>
                </a:lnTo>
                <a:lnTo>
                  <a:pt x="1387" y="433"/>
                </a:lnTo>
                <a:lnTo>
                  <a:pt x="1386" y="434"/>
                </a:lnTo>
                <a:lnTo>
                  <a:pt x="1386" y="436"/>
                </a:lnTo>
                <a:lnTo>
                  <a:pt x="1382" y="436"/>
                </a:lnTo>
                <a:lnTo>
                  <a:pt x="1381" y="436"/>
                </a:lnTo>
                <a:lnTo>
                  <a:pt x="1379" y="433"/>
                </a:lnTo>
                <a:lnTo>
                  <a:pt x="1376" y="433"/>
                </a:lnTo>
                <a:lnTo>
                  <a:pt x="1374" y="436"/>
                </a:lnTo>
                <a:lnTo>
                  <a:pt x="1372" y="436"/>
                </a:lnTo>
                <a:lnTo>
                  <a:pt x="1370" y="438"/>
                </a:lnTo>
                <a:lnTo>
                  <a:pt x="1370" y="439"/>
                </a:lnTo>
                <a:lnTo>
                  <a:pt x="1369" y="441"/>
                </a:lnTo>
                <a:lnTo>
                  <a:pt x="1369" y="444"/>
                </a:lnTo>
                <a:lnTo>
                  <a:pt x="1367" y="443"/>
                </a:lnTo>
                <a:lnTo>
                  <a:pt x="1364" y="443"/>
                </a:lnTo>
                <a:lnTo>
                  <a:pt x="1364" y="441"/>
                </a:lnTo>
                <a:lnTo>
                  <a:pt x="1365" y="439"/>
                </a:lnTo>
                <a:lnTo>
                  <a:pt x="1365" y="438"/>
                </a:lnTo>
                <a:lnTo>
                  <a:pt x="1367" y="436"/>
                </a:lnTo>
                <a:lnTo>
                  <a:pt x="1369" y="434"/>
                </a:lnTo>
                <a:lnTo>
                  <a:pt x="1370" y="434"/>
                </a:lnTo>
                <a:lnTo>
                  <a:pt x="1370" y="431"/>
                </a:lnTo>
                <a:lnTo>
                  <a:pt x="1369" y="431"/>
                </a:lnTo>
                <a:close/>
                <a:moveTo>
                  <a:pt x="1243" y="444"/>
                </a:moveTo>
                <a:lnTo>
                  <a:pt x="1245" y="444"/>
                </a:lnTo>
                <a:lnTo>
                  <a:pt x="1246" y="443"/>
                </a:lnTo>
                <a:lnTo>
                  <a:pt x="1248" y="444"/>
                </a:lnTo>
                <a:lnTo>
                  <a:pt x="1251" y="446"/>
                </a:lnTo>
                <a:lnTo>
                  <a:pt x="1251" y="448"/>
                </a:lnTo>
                <a:lnTo>
                  <a:pt x="1250" y="451"/>
                </a:lnTo>
                <a:lnTo>
                  <a:pt x="1248" y="450"/>
                </a:lnTo>
                <a:lnTo>
                  <a:pt x="1246" y="451"/>
                </a:lnTo>
                <a:lnTo>
                  <a:pt x="1246" y="453"/>
                </a:lnTo>
                <a:lnTo>
                  <a:pt x="1243" y="451"/>
                </a:lnTo>
                <a:lnTo>
                  <a:pt x="1241" y="450"/>
                </a:lnTo>
                <a:lnTo>
                  <a:pt x="1241" y="448"/>
                </a:lnTo>
                <a:lnTo>
                  <a:pt x="1241" y="444"/>
                </a:lnTo>
                <a:lnTo>
                  <a:pt x="1240" y="443"/>
                </a:lnTo>
                <a:lnTo>
                  <a:pt x="1243" y="444"/>
                </a:lnTo>
                <a:close/>
                <a:moveTo>
                  <a:pt x="1270" y="807"/>
                </a:moveTo>
                <a:lnTo>
                  <a:pt x="1272" y="808"/>
                </a:lnTo>
                <a:lnTo>
                  <a:pt x="1275" y="812"/>
                </a:lnTo>
                <a:lnTo>
                  <a:pt x="1275" y="814"/>
                </a:lnTo>
                <a:lnTo>
                  <a:pt x="1274" y="815"/>
                </a:lnTo>
                <a:lnTo>
                  <a:pt x="1274" y="819"/>
                </a:lnTo>
                <a:lnTo>
                  <a:pt x="1272" y="820"/>
                </a:lnTo>
                <a:lnTo>
                  <a:pt x="1270" y="819"/>
                </a:lnTo>
                <a:lnTo>
                  <a:pt x="1268" y="819"/>
                </a:lnTo>
                <a:lnTo>
                  <a:pt x="1268" y="817"/>
                </a:lnTo>
                <a:lnTo>
                  <a:pt x="1267" y="815"/>
                </a:lnTo>
                <a:lnTo>
                  <a:pt x="1265" y="812"/>
                </a:lnTo>
                <a:lnTo>
                  <a:pt x="1265" y="810"/>
                </a:lnTo>
                <a:lnTo>
                  <a:pt x="1268" y="808"/>
                </a:lnTo>
                <a:lnTo>
                  <a:pt x="1270" y="808"/>
                </a:lnTo>
                <a:lnTo>
                  <a:pt x="1270" y="807"/>
                </a:lnTo>
                <a:close/>
                <a:moveTo>
                  <a:pt x="1350" y="456"/>
                </a:moveTo>
                <a:lnTo>
                  <a:pt x="1353" y="458"/>
                </a:lnTo>
                <a:lnTo>
                  <a:pt x="1353" y="461"/>
                </a:lnTo>
                <a:lnTo>
                  <a:pt x="1350" y="463"/>
                </a:lnTo>
                <a:lnTo>
                  <a:pt x="1350" y="461"/>
                </a:lnTo>
                <a:lnTo>
                  <a:pt x="1347" y="460"/>
                </a:lnTo>
                <a:lnTo>
                  <a:pt x="1345" y="460"/>
                </a:lnTo>
                <a:lnTo>
                  <a:pt x="1345" y="458"/>
                </a:lnTo>
                <a:lnTo>
                  <a:pt x="1345" y="456"/>
                </a:lnTo>
                <a:lnTo>
                  <a:pt x="1343" y="455"/>
                </a:lnTo>
                <a:lnTo>
                  <a:pt x="1342" y="453"/>
                </a:lnTo>
                <a:lnTo>
                  <a:pt x="1343" y="450"/>
                </a:lnTo>
                <a:lnTo>
                  <a:pt x="1345" y="450"/>
                </a:lnTo>
                <a:lnTo>
                  <a:pt x="1347" y="453"/>
                </a:lnTo>
                <a:lnTo>
                  <a:pt x="1348" y="455"/>
                </a:lnTo>
                <a:lnTo>
                  <a:pt x="1350" y="456"/>
                </a:lnTo>
                <a:close/>
                <a:moveTo>
                  <a:pt x="1202" y="346"/>
                </a:moveTo>
                <a:lnTo>
                  <a:pt x="1206" y="346"/>
                </a:lnTo>
                <a:lnTo>
                  <a:pt x="1206" y="347"/>
                </a:lnTo>
                <a:lnTo>
                  <a:pt x="1207" y="347"/>
                </a:lnTo>
                <a:lnTo>
                  <a:pt x="1206" y="349"/>
                </a:lnTo>
                <a:lnTo>
                  <a:pt x="1207" y="349"/>
                </a:lnTo>
                <a:lnTo>
                  <a:pt x="1207" y="351"/>
                </a:lnTo>
                <a:lnTo>
                  <a:pt x="1207" y="353"/>
                </a:lnTo>
                <a:lnTo>
                  <a:pt x="1204" y="354"/>
                </a:lnTo>
                <a:lnTo>
                  <a:pt x="1202" y="353"/>
                </a:lnTo>
                <a:lnTo>
                  <a:pt x="1199" y="351"/>
                </a:lnTo>
                <a:lnTo>
                  <a:pt x="1199" y="347"/>
                </a:lnTo>
                <a:lnTo>
                  <a:pt x="1200" y="347"/>
                </a:lnTo>
                <a:lnTo>
                  <a:pt x="1199" y="347"/>
                </a:lnTo>
                <a:lnTo>
                  <a:pt x="1200" y="344"/>
                </a:lnTo>
                <a:lnTo>
                  <a:pt x="1202" y="346"/>
                </a:lnTo>
                <a:close/>
                <a:moveTo>
                  <a:pt x="1340" y="339"/>
                </a:moveTo>
                <a:lnTo>
                  <a:pt x="1343" y="341"/>
                </a:lnTo>
                <a:lnTo>
                  <a:pt x="1343" y="342"/>
                </a:lnTo>
                <a:lnTo>
                  <a:pt x="1343" y="344"/>
                </a:lnTo>
                <a:lnTo>
                  <a:pt x="1342" y="346"/>
                </a:lnTo>
                <a:lnTo>
                  <a:pt x="1340" y="344"/>
                </a:lnTo>
                <a:lnTo>
                  <a:pt x="1338" y="342"/>
                </a:lnTo>
                <a:lnTo>
                  <a:pt x="1338" y="341"/>
                </a:lnTo>
                <a:lnTo>
                  <a:pt x="1340" y="339"/>
                </a:lnTo>
                <a:close/>
                <a:moveTo>
                  <a:pt x="1231" y="421"/>
                </a:moveTo>
                <a:lnTo>
                  <a:pt x="1233" y="422"/>
                </a:lnTo>
                <a:lnTo>
                  <a:pt x="1234" y="422"/>
                </a:lnTo>
                <a:lnTo>
                  <a:pt x="1238" y="424"/>
                </a:lnTo>
                <a:lnTo>
                  <a:pt x="1240" y="426"/>
                </a:lnTo>
                <a:lnTo>
                  <a:pt x="1240" y="427"/>
                </a:lnTo>
                <a:lnTo>
                  <a:pt x="1238" y="426"/>
                </a:lnTo>
                <a:lnTo>
                  <a:pt x="1236" y="426"/>
                </a:lnTo>
                <a:lnTo>
                  <a:pt x="1233" y="426"/>
                </a:lnTo>
                <a:lnTo>
                  <a:pt x="1231" y="427"/>
                </a:lnTo>
                <a:lnTo>
                  <a:pt x="1231" y="426"/>
                </a:lnTo>
                <a:lnTo>
                  <a:pt x="1231" y="424"/>
                </a:lnTo>
                <a:lnTo>
                  <a:pt x="1229" y="422"/>
                </a:lnTo>
                <a:lnTo>
                  <a:pt x="1231" y="421"/>
                </a:lnTo>
                <a:close/>
                <a:moveTo>
                  <a:pt x="1097" y="405"/>
                </a:moveTo>
                <a:lnTo>
                  <a:pt x="1100" y="405"/>
                </a:lnTo>
                <a:lnTo>
                  <a:pt x="1102" y="409"/>
                </a:lnTo>
                <a:lnTo>
                  <a:pt x="1098" y="410"/>
                </a:lnTo>
                <a:lnTo>
                  <a:pt x="1097" y="410"/>
                </a:lnTo>
                <a:lnTo>
                  <a:pt x="1095" y="410"/>
                </a:lnTo>
                <a:lnTo>
                  <a:pt x="1097" y="407"/>
                </a:lnTo>
                <a:lnTo>
                  <a:pt x="1098" y="407"/>
                </a:lnTo>
                <a:lnTo>
                  <a:pt x="1095" y="405"/>
                </a:lnTo>
                <a:lnTo>
                  <a:pt x="1097" y="405"/>
                </a:lnTo>
                <a:close/>
                <a:moveTo>
                  <a:pt x="1359" y="640"/>
                </a:moveTo>
                <a:lnTo>
                  <a:pt x="1357" y="640"/>
                </a:lnTo>
                <a:lnTo>
                  <a:pt x="1357" y="637"/>
                </a:lnTo>
                <a:lnTo>
                  <a:pt x="1359" y="635"/>
                </a:lnTo>
                <a:lnTo>
                  <a:pt x="1359" y="632"/>
                </a:lnTo>
                <a:lnTo>
                  <a:pt x="1359" y="630"/>
                </a:lnTo>
                <a:lnTo>
                  <a:pt x="1360" y="628"/>
                </a:lnTo>
                <a:lnTo>
                  <a:pt x="1360" y="626"/>
                </a:lnTo>
                <a:lnTo>
                  <a:pt x="1362" y="625"/>
                </a:lnTo>
                <a:lnTo>
                  <a:pt x="1362" y="623"/>
                </a:lnTo>
                <a:lnTo>
                  <a:pt x="1362" y="621"/>
                </a:lnTo>
                <a:lnTo>
                  <a:pt x="1362" y="620"/>
                </a:lnTo>
                <a:lnTo>
                  <a:pt x="1364" y="618"/>
                </a:lnTo>
                <a:lnTo>
                  <a:pt x="1364" y="620"/>
                </a:lnTo>
                <a:lnTo>
                  <a:pt x="1362" y="621"/>
                </a:lnTo>
                <a:lnTo>
                  <a:pt x="1362" y="625"/>
                </a:lnTo>
                <a:lnTo>
                  <a:pt x="1360" y="628"/>
                </a:lnTo>
                <a:lnTo>
                  <a:pt x="1360" y="630"/>
                </a:lnTo>
                <a:lnTo>
                  <a:pt x="1360" y="632"/>
                </a:lnTo>
                <a:lnTo>
                  <a:pt x="1359" y="635"/>
                </a:lnTo>
                <a:lnTo>
                  <a:pt x="1359" y="638"/>
                </a:lnTo>
                <a:lnTo>
                  <a:pt x="1359" y="640"/>
                </a:lnTo>
                <a:close/>
                <a:moveTo>
                  <a:pt x="1231" y="312"/>
                </a:moveTo>
                <a:lnTo>
                  <a:pt x="1233" y="312"/>
                </a:lnTo>
                <a:lnTo>
                  <a:pt x="1233" y="310"/>
                </a:lnTo>
                <a:lnTo>
                  <a:pt x="1236" y="312"/>
                </a:lnTo>
                <a:lnTo>
                  <a:pt x="1234" y="312"/>
                </a:lnTo>
                <a:lnTo>
                  <a:pt x="1233" y="312"/>
                </a:lnTo>
                <a:lnTo>
                  <a:pt x="1233" y="313"/>
                </a:lnTo>
                <a:lnTo>
                  <a:pt x="1231" y="312"/>
                </a:lnTo>
                <a:lnTo>
                  <a:pt x="1229" y="312"/>
                </a:lnTo>
                <a:lnTo>
                  <a:pt x="1229" y="310"/>
                </a:lnTo>
                <a:lnTo>
                  <a:pt x="1228" y="308"/>
                </a:lnTo>
                <a:lnTo>
                  <a:pt x="1229" y="308"/>
                </a:lnTo>
                <a:lnTo>
                  <a:pt x="1231" y="310"/>
                </a:lnTo>
                <a:lnTo>
                  <a:pt x="1231" y="312"/>
                </a:lnTo>
                <a:close/>
                <a:moveTo>
                  <a:pt x="1224" y="329"/>
                </a:moveTo>
                <a:lnTo>
                  <a:pt x="1224" y="330"/>
                </a:lnTo>
                <a:lnTo>
                  <a:pt x="1223" y="332"/>
                </a:lnTo>
                <a:lnTo>
                  <a:pt x="1221" y="330"/>
                </a:lnTo>
                <a:lnTo>
                  <a:pt x="1221" y="329"/>
                </a:lnTo>
                <a:lnTo>
                  <a:pt x="1223" y="327"/>
                </a:lnTo>
                <a:lnTo>
                  <a:pt x="1224" y="329"/>
                </a:lnTo>
                <a:close/>
                <a:moveTo>
                  <a:pt x="1284" y="330"/>
                </a:moveTo>
                <a:lnTo>
                  <a:pt x="1280" y="330"/>
                </a:lnTo>
                <a:lnTo>
                  <a:pt x="1280" y="327"/>
                </a:lnTo>
                <a:lnTo>
                  <a:pt x="1280" y="325"/>
                </a:lnTo>
                <a:lnTo>
                  <a:pt x="1282" y="325"/>
                </a:lnTo>
                <a:lnTo>
                  <a:pt x="1284" y="327"/>
                </a:lnTo>
                <a:lnTo>
                  <a:pt x="1284" y="329"/>
                </a:lnTo>
                <a:lnTo>
                  <a:pt x="1284" y="330"/>
                </a:lnTo>
                <a:close/>
                <a:moveTo>
                  <a:pt x="1240" y="312"/>
                </a:moveTo>
                <a:lnTo>
                  <a:pt x="1240" y="313"/>
                </a:lnTo>
                <a:lnTo>
                  <a:pt x="1236" y="315"/>
                </a:lnTo>
                <a:lnTo>
                  <a:pt x="1236" y="312"/>
                </a:lnTo>
                <a:lnTo>
                  <a:pt x="1238" y="310"/>
                </a:lnTo>
                <a:lnTo>
                  <a:pt x="1240" y="312"/>
                </a:lnTo>
                <a:close/>
                <a:moveTo>
                  <a:pt x="1238" y="429"/>
                </a:moveTo>
                <a:lnTo>
                  <a:pt x="1238" y="431"/>
                </a:lnTo>
                <a:lnTo>
                  <a:pt x="1240" y="429"/>
                </a:lnTo>
                <a:lnTo>
                  <a:pt x="1240" y="433"/>
                </a:lnTo>
                <a:lnTo>
                  <a:pt x="1241" y="434"/>
                </a:lnTo>
                <a:lnTo>
                  <a:pt x="1238" y="434"/>
                </a:lnTo>
                <a:lnTo>
                  <a:pt x="1238" y="436"/>
                </a:lnTo>
                <a:lnTo>
                  <a:pt x="1236" y="434"/>
                </a:lnTo>
                <a:lnTo>
                  <a:pt x="1240" y="433"/>
                </a:lnTo>
                <a:lnTo>
                  <a:pt x="1238" y="431"/>
                </a:lnTo>
                <a:lnTo>
                  <a:pt x="1238" y="433"/>
                </a:lnTo>
                <a:lnTo>
                  <a:pt x="1236" y="431"/>
                </a:lnTo>
                <a:lnTo>
                  <a:pt x="1238" y="429"/>
                </a:lnTo>
                <a:close/>
                <a:moveTo>
                  <a:pt x="1097" y="400"/>
                </a:moveTo>
                <a:lnTo>
                  <a:pt x="1098" y="400"/>
                </a:lnTo>
                <a:lnTo>
                  <a:pt x="1100" y="404"/>
                </a:lnTo>
                <a:lnTo>
                  <a:pt x="1097" y="404"/>
                </a:lnTo>
                <a:lnTo>
                  <a:pt x="1095" y="402"/>
                </a:lnTo>
                <a:lnTo>
                  <a:pt x="1097" y="400"/>
                </a:lnTo>
                <a:close/>
                <a:moveTo>
                  <a:pt x="1462" y="298"/>
                </a:moveTo>
                <a:lnTo>
                  <a:pt x="1459" y="298"/>
                </a:lnTo>
                <a:lnTo>
                  <a:pt x="1457" y="298"/>
                </a:lnTo>
                <a:lnTo>
                  <a:pt x="1459" y="296"/>
                </a:lnTo>
                <a:lnTo>
                  <a:pt x="1461" y="296"/>
                </a:lnTo>
                <a:lnTo>
                  <a:pt x="1462" y="298"/>
                </a:lnTo>
                <a:close/>
                <a:moveTo>
                  <a:pt x="1229" y="315"/>
                </a:moveTo>
                <a:lnTo>
                  <a:pt x="1233" y="315"/>
                </a:lnTo>
                <a:lnTo>
                  <a:pt x="1231" y="317"/>
                </a:lnTo>
                <a:lnTo>
                  <a:pt x="1233" y="319"/>
                </a:lnTo>
                <a:lnTo>
                  <a:pt x="1231" y="319"/>
                </a:lnTo>
                <a:lnTo>
                  <a:pt x="1229" y="319"/>
                </a:lnTo>
                <a:lnTo>
                  <a:pt x="1228" y="317"/>
                </a:lnTo>
                <a:lnTo>
                  <a:pt x="1229" y="315"/>
                </a:lnTo>
                <a:close/>
                <a:moveTo>
                  <a:pt x="1282" y="322"/>
                </a:moveTo>
                <a:lnTo>
                  <a:pt x="1280" y="324"/>
                </a:lnTo>
                <a:lnTo>
                  <a:pt x="1279" y="322"/>
                </a:lnTo>
                <a:lnTo>
                  <a:pt x="1280" y="320"/>
                </a:lnTo>
                <a:lnTo>
                  <a:pt x="1282" y="322"/>
                </a:lnTo>
                <a:close/>
                <a:moveTo>
                  <a:pt x="1394" y="421"/>
                </a:moveTo>
                <a:lnTo>
                  <a:pt x="1398" y="419"/>
                </a:lnTo>
                <a:lnTo>
                  <a:pt x="1398" y="421"/>
                </a:lnTo>
                <a:lnTo>
                  <a:pt x="1396" y="422"/>
                </a:lnTo>
                <a:lnTo>
                  <a:pt x="1398" y="422"/>
                </a:lnTo>
                <a:lnTo>
                  <a:pt x="1396" y="422"/>
                </a:lnTo>
                <a:lnTo>
                  <a:pt x="1394" y="421"/>
                </a:lnTo>
                <a:close/>
                <a:moveTo>
                  <a:pt x="1206" y="376"/>
                </a:moveTo>
                <a:lnTo>
                  <a:pt x="1206" y="378"/>
                </a:lnTo>
                <a:lnTo>
                  <a:pt x="1204" y="378"/>
                </a:lnTo>
                <a:lnTo>
                  <a:pt x="1202" y="380"/>
                </a:lnTo>
                <a:lnTo>
                  <a:pt x="1202" y="378"/>
                </a:lnTo>
                <a:lnTo>
                  <a:pt x="1206" y="376"/>
                </a:lnTo>
                <a:close/>
                <a:moveTo>
                  <a:pt x="1316" y="582"/>
                </a:moveTo>
                <a:lnTo>
                  <a:pt x="1314" y="584"/>
                </a:lnTo>
                <a:lnTo>
                  <a:pt x="1313" y="584"/>
                </a:lnTo>
                <a:lnTo>
                  <a:pt x="1314" y="582"/>
                </a:lnTo>
                <a:lnTo>
                  <a:pt x="1316" y="581"/>
                </a:lnTo>
                <a:lnTo>
                  <a:pt x="1316" y="582"/>
                </a:lnTo>
                <a:close/>
                <a:moveTo>
                  <a:pt x="1245" y="341"/>
                </a:moveTo>
                <a:lnTo>
                  <a:pt x="1243" y="342"/>
                </a:lnTo>
                <a:lnTo>
                  <a:pt x="1245" y="339"/>
                </a:lnTo>
                <a:lnTo>
                  <a:pt x="1245" y="341"/>
                </a:lnTo>
                <a:close/>
                <a:moveTo>
                  <a:pt x="1204" y="659"/>
                </a:moveTo>
                <a:lnTo>
                  <a:pt x="1207" y="660"/>
                </a:lnTo>
                <a:lnTo>
                  <a:pt x="1206" y="662"/>
                </a:lnTo>
                <a:lnTo>
                  <a:pt x="1206" y="660"/>
                </a:lnTo>
                <a:lnTo>
                  <a:pt x="1206" y="659"/>
                </a:lnTo>
                <a:lnTo>
                  <a:pt x="1204" y="659"/>
                </a:lnTo>
                <a:close/>
                <a:moveTo>
                  <a:pt x="1149" y="378"/>
                </a:moveTo>
                <a:lnTo>
                  <a:pt x="1151" y="376"/>
                </a:lnTo>
                <a:lnTo>
                  <a:pt x="1149" y="378"/>
                </a:lnTo>
                <a:close/>
                <a:moveTo>
                  <a:pt x="1263" y="477"/>
                </a:moveTo>
                <a:lnTo>
                  <a:pt x="1265" y="478"/>
                </a:lnTo>
                <a:lnTo>
                  <a:pt x="1265" y="480"/>
                </a:lnTo>
                <a:lnTo>
                  <a:pt x="1263" y="480"/>
                </a:lnTo>
                <a:lnTo>
                  <a:pt x="1263" y="477"/>
                </a:lnTo>
                <a:close/>
                <a:moveTo>
                  <a:pt x="1166" y="567"/>
                </a:moveTo>
                <a:lnTo>
                  <a:pt x="1166" y="569"/>
                </a:lnTo>
                <a:lnTo>
                  <a:pt x="1165" y="565"/>
                </a:lnTo>
                <a:lnTo>
                  <a:pt x="1163" y="563"/>
                </a:lnTo>
                <a:lnTo>
                  <a:pt x="1165" y="565"/>
                </a:lnTo>
                <a:lnTo>
                  <a:pt x="1166" y="567"/>
                </a:lnTo>
                <a:close/>
                <a:moveTo>
                  <a:pt x="1229" y="419"/>
                </a:moveTo>
                <a:lnTo>
                  <a:pt x="1231" y="419"/>
                </a:lnTo>
                <a:lnTo>
                  <a:pt x="1228" y="421"/>
                </a:lnTo>
                <a:lnTo>
                  <a:pt x="1229" y="419"/>
                </a:lnTo>
                <a:close/>
                <a:moveTo>
                  <a:pt x="1258" y="448"/>
                </a:moveTo>
                <a:lnTo>
                  <a:pt x="1255" y="450"/>
                </a:lnTo>
                <a:lnTo>
                  <a:pt x="1255" y="448"/>
                </a:lnTo>
                <a:lnTo>
                  <a:pt x="1255" y="450"/>
                </a:lnTo>
                <a:lnTo>
                  <a:pt x="1258" y="448"/>
                </a:lnTo>
                <a:close/>
                <a:moveTo>
                  <a:pt x="1228" y="330"/>
                </a:moveTo>
                <a:lnTo>
                  <a:pt x="1226" y="330"/>
                </a:lnTo>
                <a:lnTo>
                  <a:pt x="1226" y="329"/>
                </a:lnTo>
                <a:lnTo>
                  <a:pt x="1228" y="330"/>
                </a:lnTo>
                <a:close/>
                <a:moveTo>
                  <a:pt x="1105" y="395"/>
                </a:moveTo>
                <a:lnTo>
                  <a:pt x="1104" y="393"/>
                </a:lnTo>
                <a:lnTo>
                  <a:pt x="1104" y="392"/>
                </a:lnTo>
                <a:lnTo>
                  <a:pt x="1105" y="395"/>
                </a:lnTo>
                <a:close/>
                <a:moveTo>
                  <a:pt x="1160" y="487"/>
                </a:moveTo>
                <a:lnTo>
                  <a:pt x="1161" y="487"/>
                </a:lnTo>
                <a:lnTo>
                  <a:pt x="1160" y="489"/>
                </a:lnTo>
                <a:lnTo>
                  <a:pt x="1160" y="487"/>
                </a:lnTo>
                <a:close/>
                <a:moveTo>
                  <a:pt x="1267" y="451"/>
                </a:moveTo>
                <a:lnTo>
                  <a:pt x="1268" y="451"/>
                </a:lnTo>
                <a:lnTo>
                  <a:pt x="1267" y="451"/>
                </a:lnTo>
                <a:lnTo>
                  <a:pt x="1267" y="453"/>
                </a:lnTo>
                <a:lnTo>
                  <a:pt x="1267" y="451"/>
                </a:lnTo>
                <a:close/>
                <a:moveTo>
                  <a:pt x="1229" y="398"/>
                </a:moveTo>
                <a:lnTo>
                  <a:pt x="1228" y="398"/>
                </a:lnTo>
                <a:lnTo>
                  <a:pt x="1229" y="398"/>
                </a:lnTo>
                <a:lnTo>
                  <a:pt x="1231" y="398"/>
                </a:lnTo>
                <a:lnTo>
                  <a:pt x="1229" y="398"/>
                </a:lnTo>
                <a:close/>
                <a:moveTo>
                  <a:pt x="1206" y="376"/>
                </a:moveTo>
                <a:lnTo>
                  <a:pt x="1207" y="376"/>
                </a:lnTo>
                <a:lnTo>
                  <a:pt x="1206" y="378"/>
                </a:lnTo>
                <a:lnTo>
                  <a:pt x="1206" y="375"/>
                </a:lnTo>
                <a:lnTo>
                  <a:pt x="1206" y="376"/>
                </a:lnTo>
                <a:close/>
                <a:moveTo>
                  <a:pt x="1291" y="332"/>
                </a:moveTo>
                <a:lnTo>
                  <a:pt x="1289" y="330"/>
                </a:lnTo>
                <a:lnTo>
                  <a:pt x="1291" y="330"/>
                </a:lnTo>
                <a:lnTo>
                  <a:pt x="1291" y="332"/>
                </a:lnTo>
                <a:close/>
                <a:moveTo>
                  <a:pt x="1253" y="427"/>
                </a:moveTo>
                <a:lnTo>
                  <a:pt x="1255" y="427"/>
                </a:lnTo>
                <a:lnTo>
                  <a:pt x="1255" y="429"/>
                </a:lnTo>
                <a:lnTo>
                  <a:pt x="1253" y="427"/>
                </a:lnTo>
                <a:close/>
                <a:moveTo>
                  <a:pt x="1105" y="397"/>
                </a:moveTo>
                <a:lnTo>
                  <a:pt x="1105" y="398"/>
                </a:lnTo>
                <a:lnTo>
                  <a:pt x="1104" y="398"/>
                </a:lnTo>
                <a:lnTo>
                  <a:pt x="1105" y="397"/>
                </a:lnTo>
                <a:close/>
                <a:moveTo>
                  <a:pt x="1231" y="436"/>
                </a:moveTo>
                <a:lnTo>
                  <a:pt x="1228" y="438"/>
                </a:lnTo>
                <a:lnTo>
                  <a:pt x="1228" y="436"/>
                </a:lnTo>
                <a:lnTo>
                  <a:pt x="1231" y="436"/>
                </a:lnTo>
                <a:close/>
                <a:moveTo>
                  <a:pt x="1107" y="395"/>
                </a:moveTo>
                <a:lnTo>
                  <a:pt x="1109" y="393"/>
                </a:lnTo>
                <a:lnTo>
                  <a:pt x="1107" y="395"/>
                </a:lnTo>
                <a:close/>
                <a:moveTo>
                  <a:pt x="1299" y="575"/>
                </a:moveTo>
                <a:lnTo>
                  <a:pt x="1301" y="575"/>
                </a:lnTo>
                <a:lnTo>
                  <a:pt x="1299" y="577"/>
                </a:lnTo>
                <a:lnTo>
                  <a:pt x="1299" y="575"/>
                </a:lnTo>
                <a:close/>
                <a:moveTo>
                  <a:pt x="1241" y="433"/>
                </a:moveTo>
                <a:lnTo>
                  <a:pt x="1240" y="433"/>
                </a:lnTo>
                <a:lnTo>
                  <a:pt x="1241" y="431"/>
                </a:lnTo>
                <a:lnTo>
                  <a:pt x="1241" y="433"/>
                </a:lnTo>
                <a:close/>
                <a:moveTo>
                  <a:pt x="1107" y="393"/>
                </a:moveTo>
                <a:lnTo>
                  <a:pt x="1105" y="393"/>
                </a:lnTo>
                <a:lnTo>
                  <a:pt x="1107" y="392"/>
                </a:lnTo>
                <a:lnTo>
                  <a:pt x="1107" y="393"/>
                </a:lnTo>
                <a:close/>
                <a:moveTo>
                  <a:pt x="1262" y="516"/>
                </a:moveTo>
                <a:lnTo>
                  <a:pt x="1258" y="516"/>
                </a:lnTo>
                <a:lnTo>
                  <a:pt x="1260" y="516"/>
                </a:lnTo>
                <a:lnTo>
                  <a:pt x="1260" y="514"/>
                </a:lnTo>
                <a:lnTo>
                  <a:pt x="1262" y="516"/>
                </a:lnTo>
                <a:close/>
                <a:moveTo>
                  <a:pt x="1308" y="319"/>
                </a:moveTo>
                <a:lnTo>
                  <a:pt x="1308" y="320"/>
                </a:lnTo>
                <a:lnTo>
                  <a:pt x="1308" y="319"/>
                </a:lnTo>
                <a:close/>
                <a:moveTo>
                  <a:pt x="1309" y="341"/>
                </a:moveTo>
                <a:lnTo>
                  <a:pt x="1311" y="339"/>
                </a:lnTo>
                <a:lnTo>
                  <a:pt x="1309" y="341"/>
                </a:lnTo>
                <a:close/>
                <a:moveTo>
                  <a:pt x="1202" y="373"/>
                </a:moveTo>
                <a:lnTo>
                  <a:pt x="1200" y="373"/>
                </a:lnTo>
                <a:lnTo>
                  <a:pt x="1200" y="371"/>
                </a:lnTo>
                <a:lnTo>
                  <a:pt x="1202" y="373"/>
                </a:lnTo>
                <a:close/>
                <a:moveTo>
                  <a:pt x="1121" y="501"/>
                </a:moveTo>
                <a:lnTo>
                  <a:pt x="1121" y="499"/>
                </a:lnTo>
                <a:lnTo>
                  <a:pt x="1121" y="501"/>
                </a:lnTo>
                <a:close/>
                <a:moveTo>
                  <a:pt x="1377" y="443"/>
                </a:moveTo>
                <a:lnTo>
                  <a:pt x="1377" y="444"/>
                </a:lnTo>
                <a:lnTo>
                  <a:pt x="1377" y="443"/>
                </a:lnTo>
                <a:close/>
                <a:moveTo>
                  <a:pt x="1224" y="409"/>
                </a:moveTo>
                <a:lnTo>
                  <a:pt x="1223" y="409"/>
                </a:lnTo>
                <a:lnTo>
                  <a:pt x="1224" y="407"/>
                </a:lnTo>
                <a:lnTo>
                  <a:pt x="1224" y="409"/>
                </a:lnTo>
                <a:close/>
                <a:moveTo>
                  <a:pt x="1255" y="356"/>
                </a:moveTo>
                <a:lnTo>
                  <a:pt x="1257" y="356"/>
                </a:lnTo>
                <a:lnTo>
                  <a:pt x="1257" y="358"/>
                </a:lnTo>
                <a:lnTo>
                  <a:pt x="1255" y="356"/>
                </a:lnTo>
                <a:close/>
                <a:moveTo>
                  <a:pt x="1296" y="589"/>
                </a:moveTo>
                <a:lnTo>
                  <a:pt x="1296" y="591"/>
                </a:lnTo>
                <a:lnTo>
                  <a:pt x="1294" y="591"/>
                </a:lnTo>
                <a:lnTo>
                  <a:pt x="1296" y="589"/>
                </a:lnTo>
                <a:close/>
                <a:moveTo>
                  <a:pt x="1379" y="446"/>
                </a:moveTo>
                <a:lnTo>
                  <a:pt x="1376" y="444"/>
                </a:lnTo>
                <a:lnTo>
                  <a:pt x="1379" y="446"/>
                </a:lnTo>
                <a:close/>
                <a:moveTo>
                  <a:pt x="1102" y="482"/>
                </a:moveTo>
                <a:lnTo>
                  <a:pt x="1100" y="482"/>
                </a:lnTo>
                <a:lnTo>
                  <a:pt x="1100" y="480"/>
                </a:lnTo>
                <a:lnTo>
                  <a:pt x="1100" y="478"/>
                </a:lnTo>
                <a:lnTo>
                  <a:pt x="1102" y="482"/>
                </a:lnTo>
                <a:close/>
                <a:moveTo>
                  <a:pt x="1246" y="424"/>
                </a:moveTo>
                <a:lnTo>
                  <a:pt x="1246" y="426"/>
                </a:lnTo>
                <a:lnTo>
                  <a:pt x="1245" y="424"/>
                </a:lnTo>
                <a:lnTo>
                  <a:pt x="1246" y="424"/>
                </a:lnTo>
                <a:close/>
                <a:moveTo>
                  <a:pt x="1297" y="608"/>
                </a:moveTo>
                <a:lnTo>
                  <a:pt x="1296" y="608"/>
                </a:lnTo>
                <a:lnTo>
                  <a:pt x="1297" y="608"/>
                </a:lnTo>
                <a:close/>
              </a:path>
            </a:pathLst>
          </a:custGeom>
          <a:solidFill>
            <a:srgbClr val="1B456E"/>
          </a:solidFill>
          <a:ln w="3175">
            <a:solidFill>
              <a:srgbClr val="1B456E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03855F6-6143-F78B-62AE-2307616A2F38}"/>
              </a:ext>
            </a:extLst>
          </p:cNvPr>
          <p:cNvSpPr/>
          <p:nvPr/>
        </p:nvSpPr>
        <p:spPr>
          <a:xfrm>
            <a:off x="6414693" y="6091220"/>
            <a:ext cx="186167" cy="186167"/>
          </a:xfrm>
          <a:prstGeom prst="ellipse">
            <a:avLst/>
          </a:prstGeom>
          <a:solidFill>
            <a:srgbClr val="00A9F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FD49541-5A42-D6F1-73E9-3D595855C217}"/>
              </a:ext>
            </a:extLst>
          </p:cNvPr>
          <p:cNvSpPr/>
          <p:nvPr/>
        </p:nvSpPr>
        <p:spPr>
          <a:xfrm>
            <a:off x="5441546" y="5874965"/>
            <a:ext cx="186167" cy="186167"/>
          </a:xfrm>
          <a:prstGeom prst="ellipse">
            <a:avLst/>
          </a:prstGeom>
          <a:solidFill>
            <a:srgbClr val="00A9F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768BEF6-44C0-8262-6E41-0BDA5D13A742}"/>
              </a:ext>
            </a:extLst>
          </p:cNvPr>
          <p:cNvSpPr/>
          <p:nvPr/>
        </p:nvSpPr>
        <p:spPr>
          <a:xfrm>
            <a:off x="3566527" y="6091220"/>
            <a:ext cx="186167" cy="186167"/>
          </a:xfrm>
          <a:prstGeom prst="ellipse">
            <a:avLst/>
          </a:prstGeom>
          <a:solidFill>
            <a:srgbClr val="00A9F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AD58055-9A1D-F343-0BEC-04D732A7B26D}"/>
              </a:ext>
            </a:extLst>
          </p:cNvPr>
          <p:cNvSpPr/>
          <p:nvPr/>
        </p:nvSpPr>
        <p:spPr>
          <a:xfrm>
            <a:off x="4669425" y="5125284"/>
            <a:ext cx="186167" cy="186167"/>
          </a:xfrm>
          <a:prstGeom prst="ellipse">
            <a:avLst/>
          </a:prstGeom>
          <a:solidFill>
            <a:srgbClr val="00A9F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69B7A79-7A09-4C46-3455-A6598B1E265D}"/>
              </a:ext>
            </a:extLst>
          </p:cNvPr>
          <p:cNvSpPr/>
          <p:nvPr/>
        </p:nvSpPr>
        <p:spPr>
          <a:xfrm>
            <a:off x="4474796" y="4620690"/>
            <a:ext cx="186167" cy="186167"/>
          </a:xfrm>
          <a:prstGeom prst="ellipse">
            <a:avLst/>
          </a:prstGeom>
          <a:solidFill>
            <a:srgbClr val="00A9F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E849B6B-8FED-35A1-4C0F-FDCBC96E65F6}"/>
              </a:ext>
            </a:extLst>
          </p:cNvPr>
          <p:cNvSpPr/>
          <p:nvPr/>
        </p:nvSpPr>
        <p:spPr>
          <a:xfrm>
            <a:off x="4871262" y="4705258"/>
            <a:ext cx="186167" cy="186167"/>
          </a:xfrm>
          <a:prstGeom prst="ellipse">
            <a:avLst/>
          </a:prstGeom>
          <a:solidFill>
            <a:srgbClr val="00A9F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7D550E0-C2D6-4F4D-84D4-5D76826D7E59}"/>
              </a:ext>
            </a:extLst>
          </p:cNvPr>
          <p:cNvSpPr/>
          <p:nvPr/>
        </p:nvSpPr>
        <p:spPr>
          <a:xfrm>
            <a:off x="4474796" y="5838921"/>
            <a:ext cx="186167" cy="186167"/>
          </a:xfrm>
          <a:prstGeom prst="ellipse">
            <a:avLst/>
          </a:prstGeom>
          <a:solidFill>
            <a:srgbClr val="00A9F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045C5AA-632F-396F-BF0D-0EB6E2E6A740}"/>
              </a:ext>
            </a:extLst>
          </p:cNvPr>
          <p:cNvSpPr/>
          <p:nvPr/>
        </p:nvSpPr>
        <p:spPr>
          <a:xfrm>
            <a:off x="4006246" y="5945738"/>
            <a:ext cx="186167" cy="186167"/>
          </a:xfrm>
          <a:prstGeom prst="ellipse">
            <a:avLst/>
          </a:prstGeom>
          <a:solidFill>
            <a:srgbClr val="00A9F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3ACCA4D-B962-DF1D-F644-3F636D511E4C}"/>
              </a:ext>
            </a:extLst>
          </p:cNvPr>
          <p:cNvSpPr/>
          <p:nvPr/>
        </p:nvSpPr>
        <p:spPr>
          <a:xfrm>
            <a:off x="5904318" y="4797033"/>
            <a:ext cx="186167" cy="186167"/>
          </a:xfrm>
          <a:prstGeom prst="ellipse">
            <a:avLst/>
          </a:prstGeom>
          <a:solidFill>
            <a:srgbClr val="00A9F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325AD98-7029-F8E7-ED92-5E0EDDEBFDC7}"/>
              </a:ext>
            </a:extLst>
          </p:cNvPr>
          <p:cNvSpPr/>
          <p:nvPr/>
        </p:nvSpPr>
        <p:spPr>
          <a:xfrm>
            <a:off x="5190506" y="5021953"/>
            <a:ext cx="186167" cy="186167"/>
          </a:xfrm>
          <a:prstGeom prst="ellipse">
            <a:avLst/>
          </a:prstGeom>
          <a:solidFill>
            <a:srgbClr val="00A9F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FFDA4A31-5A46-2DE2-BB0F-D82805DCCD3C}"/>
              </a:ext>
            </a:extLst>
          </p:cNvPr>
          <p:cNvSpPr/>
          <p:nvPr/>
        </p:nvSpPr>
        <p:spPr>
          <a:xfrm>
            <a:off x="6783764" y="5688798"/>
            <a:ext cx="186167" cy="186167"/>
          </a:xfrm>
          <a:prstGeom prst="ellipse">
            <a:avLst/>
          </a:prstGeom>
          <a:solidFill>
            <a:srgbClr val="00A9F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D0DA8FF-03CF-8C6C-5AE2-D361A0F5F41C}"/>
              </a:ext>
            </a:extLst>
          </p:cNvPr>
          <p:cNvSpPr/>
          <p:nvPr/>
        </p:nvSpPr>
        <p:spPr>
          <a:xfrm>
            <a:off x="4381713" y="4426062"/>
            <a:ext cx="186167" cy="186167"/>
          </a:xfrm>
          <a:prstGeom prst="ellipse">
            <a:avLst/>
          </a:prstGeom>
          <a:solidFill>
            <a:srgbClr val="00A9F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4A6C39DB-11B1-04E5-D6F3-275700CF6023}"/>
              </a:ext>
            </a:extLst>
          </p:cNvPr>
          <p:cNvSpPr/>
          <p:nvPr/>
        </p:nvSpPr>
        <p:spPr>
          <a:xfrm>
            <a:off x="5097423" y="4705258"/>
            <a:ext cx="186167" cy="186167"/>
          </a:xfrm>
          <a:prstGeom prst="ellipse">
            <a:avLst/>
          </a:prstGeom>
          <a:solidFill>
            <a:srgbClr val="00A9F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DF23FEF1-EC2A-A4A3-6B27-BC7AFFACB8A9}"/>
              </a:ext>
            </a:extLst>
          </p:cNvPr>
          <p:cNvSpPr/>
          <p:nvPr/>
        </p:nvSpPr>
        <p:spPr>
          <a:xfrm>
            <a:off x="8826007" y="1033211"/>
            <a:ext cx="147388" cy="147388"/>
          </a:xfrm>
          <a:prstGeom prst="ellipse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EF02A1E-C482-74CB-E660-F3ABA493DBE9}"/>
              </a:ext>
            </a:extLst>
          </p:cNvPr>
          <p:cNvSpPr txBox="1"/>
          <p:nvPr/>
        </p:nvSpPr>
        <p:spPr>
          <a:xfrm>
            <a:off x="9026421" y="1019601"/>
            <a:ext cx="2610843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91987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nnounced airport CAPEX invest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34CB8-7521-41EA-1016-5F647670C83A}"/>
              </a:ext>
            </a:extLst>
          </p:cNvPr>
          <p:cNvSpPr txBox="1"/>
          <p:nvPr/>
        </p:nvSpPr>
        <p:spPr>
          <a:xfrm>
            <a:off x="515183" y="1822721"/>
            <a:ext cx="2216923" cy="49244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b="1" dirty="0"/>
              <a:t>AMS</a:t>
            </a:r>
            <a:r>
              <a:rPr lang="en-US" dirty="0"/>
              <a:t> terminal upgrade and expansion | ~$11b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B4D165D-BD08-249D-1099-8FDF5929A332}"/>
              </a:ext>
            </a:extLst>
          </p:cNvPr>
          <p:cNvSpPr txBox="1"/>
          <p:nvPr/>
        </p:nvSpPr>
        <p:spPr>
          <a:xfrm>
            <a:off x="515183" y="3427954"/>
            <a:ext cx="2216923" cy="73866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b="1" dirty="0"/>
              <a:t>LHR</a:t>
            </a:r>
            <a:r>
              <a:rPr lang="en-US" dirty="0"/>
              <a:t> terminal and airfield expansion | $30-65b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8FBDB14-4908-E29F-44BA-0E2FC196DFCA}"/>
              </a:ext>
            </a:extLst>
          </p:cNvPr>
          <p:cNvSpPr txBox="1"/>
          <p:nvPr/>
        </p:nvSpPr>
        <p:spPr>
          <a:xfrm>
            <a:off x="515183" y="5156297"/>
            <a:ext cx="2216923" cy="73866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b="1" dirty="0"/>
              <a:t>AENA </a:t>
            </a:r>
            <a:r>
              <a:rPr lang="en-US" dirty="0"/>
              <a:t>network</a:t>
            </a:r>
            <a:r>
              <a:rPr lang="en-US" b="1" dirty="0"/>
              <a:t> </a:t>
            </a:r>
            <a:r>
              <a:rPr lang="en-US" dirty="0"/>
              <a:t>airports expansion incl. BCN and MAD | ~$14b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87259D3-8D09-2FA9-326A-263CF2F683F8}"/>
              </a:ext>
            </a:extLst>
          </p:cNvPr>
          <p:cNvSpPr txBox="1"/>
          <p:nvPr/>
        </p:nvSpPr>
        <p:spPr>
          <a:xfrm>
            <a:off x="9387145" y="5156297"/>
            <a:ext cx="2216923" cy="73866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b="1" dirty="0"/>
              <a:t>CDG</a:t>
            </a:r>
            <a:r>
              <a:rPr lang="en-US" dirty="0"/>
              <a:t> terminal and airfield expansion and upgrades | ~$10b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2D8D89-4DCA-81BE-52D6-3DA5A1F2635D}"/>
              </a:ext>
            </a:extLst>
          </p:cNvPr>
          <p:cNvSpPr txBox="1"/>
          <p:nvPr/>
        </p:nvSpPr>
        <p:spPr>
          <a:xfrm>
            <a:off x="9387145" y="1699610"/>
            <a:ext cx="2216923" cy="73866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b="1" dirty="0"/>
              <a:t>FRA</a:t>
            </a:r>
            <a:r>
              <a:rPr lang="en-US" dirty="0"/>
              <a:t> terminal construction and upgrade | ~$7bn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17C02C5-2140-5613-72D1-92629BC1C62B}"/>
              </a:ext>
            </a:extLst>
          </p:cNvPr>
          <p:cNvSpPr txBox="1"/>
          <p:nvPr/>
        </p:nvSpPr>
        <p:spPr>
          <a:xfrm>
            <a:off x="9387145" y="3551064"/>
            <a:ext cx="2216923" cy="49244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b="1" dirty="0"/>
              <a:t>CPK</a:t>
            </a:r>
            <a:r>
              <a:rPr lang="en-US" dirty="0"/>
              <a:t> greenfield multi-modal hub| ~$30bn</a:t>
            </a:r>
          </a:p>
        </p:txBody>
      </p:sp>
      <p:sp>
        <p:nvSpPr>
          <p:cNvPr id="42" name="5. Source">
            <a:extLst>
              <a:ext uri="{FF2B5EF4-FFF2-40B4-BE49-F238E27FC236}">
                <a16:creationId xmlns:a16="http://schemas.microsoft.com/office/drawing/2014/main" id="{9ED50036-4AE1-73C8-3472-218FB41ECD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900" dirty="0"/>
              <a:t>Source: Momberger Airport Information</a:t>
            </a:r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826F9786-A30A-D3C4-2912-60483C56D21E}"/>
              </a:ext>
            </a:extLst>
          </p:cNvPr>
          <p:cNvCxnSpPr>
            <a:cxnSpLocks/>
            <a:stCxn id="30" idx="3"/>
            <a:endCxn id="17" idx="0"/>
          </p:cNvCxnSpPr>
          <p:nvPr/>
        </p:nvCxnSpPr>
        <p:spPr>
          <a:xfrm>
            <a:off x="2906670" y="2068942"/>
            <a:ext cx="2057676" cy="2636316"/>
          </a:xfrm>
          <a:prstGeom prst="bentConnector2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38ACADA9-51E6-BB32-24D0-CE85262F0DE1}"/>
              </a:ext>
            </a:extLst>
          </p:cNvPr>
          <p:cNvCxnSpPr>
            <a:cxnSpLocks/>
            <a:stCxn id="33" idx="3"/>
            <a:endCxn id="16" idx="2"/>
          </p:cNvCxnSpPr>
          <p:nvPr/>
        </p:nvCxnSpPr>
        <p:spPr>
          <a:xfrm>
            <a:off x="2906670" y="3797286"/>
            <a:ext cx="1568126" cy="916488"/>
          </a:xfrm>
          <a:prstGeom prst="bentConnector3">
            <a:avLst>
              <a:gd name="adj1" fmla="val 50000"/>
            </a:avLst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nector: Elbow 73">
            <a:extLst>
              <a:ext uri="{FF2B5EF4-FFF2-40B4-BE49-F238E27FC236}">
                <a16:creationId xmlns:a16="http://schemas.microsoft.com/office/drawing/2014/main" id="{50D26E9A-9CAD-9FCC-7045-068498022A15}"/>
              </a:ext>
            </a:extLst>
          </p:cNvPr>
          <p:cNvCxnSpPr>
            <a:cxnSpLocks/>
            <a:stCxn id="35" idx="3"/>
            <a:endCxn id="19" idx="0"/>
          </p:cNvCxnSpPr>
          <p:nvPr/>
        </p:nvCxnSpPr>
        <p:spPr>
          <a:xfrm>
            <a:off x="2906670" y="5525629"/>
            <a:ext cx="1192660" cy="420109"/>
          </a:xfrm>
          <a:prstGeom prst="bentConnector2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nector: Elbow 76">
            <a:extLst>
              <a:ext uri="{FF2B5EF4-FFF2-40B4-BE49-F238E27FC236}">
                <a16:creationId xmlns:a16="http://schemas.microsoft.com/office/drawing/2014/main" id="{074A51CA-CC61-E0D2-4222-FD0B74DBD2B0}"/>
              </a:ext>
            </a:extLst>
          </p:cNvPr>
          <p:cNvCxnSpPr>
            <a:cxnSpLocks/>
            <a:stCxn id="15" idx="6"/>
            <a:endCxn id="41" idx="1"/>
          </p:cNvCxnSpPr>
          <p:nvPr/>
        </p:nvCxnSpPr>
        <p:spPr>
          <a:xfrm>
            <a:off x="4855592" y="5218368"/>
            <a:ext cx="4356989" cy="307261"/>
          </a:xfrm>
          <a:prstGeom prst="bentConnector3">
            <a:avLst>
              <a:gd name="adj1" fmla="val 50000"/>
            </a:avLst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nector: Elbow 80">
            <a:extLst>
              <a:ext uri="{FF2B5EF4-FFF2-40B4-BE49-F238E27FC236}">
                <a16:creationId xmlns:a16="http://schemas.microsoft.com/office/drawing/2014/main" id="{E8C848E5-5AF4-1174-B2CE-A5E26CC7C12F}"/>
              </a:ext>
            </a:extLst>
          </p:cNvPr>
          <p:cNvCxnSpPr>
            <a:cxnSpLocks/>
            <a:stCxn id="20" idx="6"/>
            <a:endCxn id="40" idx="1"/>
          </p:cNvCxnSpPr>
          <p:nvPr/>
        </p:nvCxnSpPr>
        <p:spPr>
          <a:xfrm flipV="1">
            <a:off x="6090485" y="3797286"/>
            <a:ext cx="3122096" cy="1092831"/>
          </a:xfrm>
          <a:prstGeom prst="bentConnector3">
            <a:avLst>
              <a:gd name="adj1" fmla="val 50000"/>
            </a:avLst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A3CECAD4-0E47-CBDB-AE71-B7C924F8DF07}"/>
              </a:ext>
            </a:extLst>
          </p:cNvPr>
          <p:cNvCxnSpPr>
            <a:cxnSpLocks/>
          </p:cNvCxnSpPr>
          <p:nvPr/>
        </p:nvCxnSpPr>
        <p:spPr>
          <a:xfrm flipV="1">
            <a:off x="5376673" y="2068942"/>
            <a:ext cx="3835908" cy="3046095"/>
          </a:xfrm>
          <a:prstGeom prst="bentConnector3">
            <a:avLst>
              <a:gd name="adj1" fmla="val 8346"/>
            </a:avLst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78349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5935261"/>
              </p:ext>
            </p:ext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53" imgH="353" progId="TCLayout.ActiveDocument.1">
                  <p:embed/>
                </p:oleObj>
              </mc:Choice>
              <mc:Fallback>
                <p:oleObj name="think-cell Slide" r:id="rId12" imgW="353" imgH="353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42E8AA4-871D-4544-8ABA-7E74332B369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4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736" y="198311"/>
            <a:ext cx="11082528" cy="71558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solidFill>
                  <a:srgbClr val="FFFFFF"/>
                </a:solidFill>
              </a:rPr>
              <a:t>C1 | European airports pursue growth amid complex expansion challenges</a:t>
            </a:r>
            <a:endParaRPr lang="en-US" b="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24788B3-21FF-0498-0922-6A898DED0E0E}"/>
              </a:ext>
            </a:extLst>
          </p:cNvPr>
          <p:cNvSpPr txBox="1">
            <a:spLocks/>
          </p:cNvSpPr>
          <p:nvPr/>
        </p:nvSpPr>
        <p:spPr>
          <a:xfrm>
            <a:off x="5949811" y="1647035"/>
            <a:ext cx="4358202" cy="277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1800" b="1" dirty="0"/>
              <a:t>Typical European Hub airport figures</a:t>
            </a:r>
          </a:p>
        </p:txBody>
      </p:sp>
      <p:cxnSp>
        <p:nvCxnSpPr>
          <p:cNvPr id="9" name="GreyLineContentSeparatorDefault 13">
            <a:extLst>
              <a:ext uri="{FF2B5EF4-FFF2-40B4-BE49-F238E27FC236}">
                <a16:creationId xmlns:a16="http://schemas.microsoft.com/office/drawing/2014/main" id="{2AAE84AB-8361-836E-F2AD-65C6D8C1A628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54737" y="3094036"/>
            <a:ext cx="11082528" cy="0"/>
          </a:xfrm>
          <a:prstGeom prst="straightConnector1">
            <a:avLst/>
          </a:prstGeom>
          <a:ln w="6350" cap="flat">
            <a:solidFill>
              <a:srgbClr val="75757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reyLineContentSeparatorDefault 13">
            <a:extLst>
              <a:ext uri="{FF2B5EF4-FFF2-40B4-BE49-F238E27FC236}">
                <a16:creationId xmlns:a16="http://schemas.microsoft.com/office/drawing/2014/main" id="{45940511-A11E-E1EF-2396-0E012183A888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54737" y="4247932"/>
            <a:ext cx="11082528" cy="0"/>
          </a:xfrm>
          <a:prstGeom prst="straightConnector1">
            <a:avLst/>
          </a:prstGeom>
          <a:ln w="6350" cap="flat">
            <a:solidFill>
              <a:srgbClr val="75757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reyLineContentSeparatorDefault 13">
            <a:extLst>
              <a:ext uri="{FF2B5EF4-FFF2-40B4-BE49-F238E27FC236}">
                <a16:creationId xmlns:a16="http://schemas.microsoft.com/office/drawing/2014/main" id="{0F187AF8-CAC2-8121-8740-E1F08C1D1F77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54737" y="5278718"/>
            <a:ext cx="11082528" cy="0"/>
          </a:xfrm>
          <a:prstGeom prst="straightConnector1">
            <a:avLst/>
          </a:prstGeom>
          <a:ln w="6350" cap="flat">
            <a:solidFill>
              <a:srgbClr val="75757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CustomIcon">
            <a:extLst>
              <a:ext uri="{FF2B5EF4-FFF2-40B4-BE49-F238E27FC236}">
                <a16:creationId xmlns:a16="http://schemas.microsoft.com/office/drawing/2014/main" id="{8D42D087-0B25-775A-5A7B-60D59773AB8F}"/>
              </a:ext>
            </a:extLst>
          </p:cNvPr>
          <p:cNvGrpSpPr>
            <a:grpSpLocks/>
          </p:cNvGrpSpPr>
          <p:nvPr>
            <p:custDataLst>
              <p:tags r:id="rId6"/>
            </p:custDataLst>
          </p:nvPr>
        </p:nvGrpSpPr>
        <p:grpSpPr>
          <a:xfrm>
            <a:off x="554737" y="2086201"/>
            <a:ext cx="725478" cy="725478"/>
            <a:chOff x="-205105" y="-205105"/>
            <a:chExt cx="1019810" cy="1019810"/>
          </a:xfrm>
          <a:solidFill>
            <a:schemeClr val="tx1"/>
          </a:solidFill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ECDAA057-8366-E4F0-41B8-797BF7A96D5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grpFill/>
            <a:ln w="1270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err="1">
                <a:solidFill>
                  <a:schemeClr val="bg1"/>
                </a:solidFill>
              </a:endParaRPr>
            </a:p>
          </p:txBody>
        </p:sp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4F258E79-6CF2-7005-399F-A9F71DD32A82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73244CC4-CF22-D314-9639-B1EB36E0517B}"/>
              </a:ext>
            </a:extLst>
          </p:cNvPr>
          <p:cNvSpPr txBox="1">
            <a:spLocks/>
          </p:cNvSpPr>
          <p:nvPr/>
        </p:nvSpPr>
        <p:spPr>
          <a:xfrm>
            <a:off x="1454525" y="2270150"/>
            <a:ext cx="3811742" cy="276999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>
              <a:buClr>
                <a:srgbClr val="FFFFFF"/>
              </a:buClr>
            </a:pPr>
            <a:r>
              <a:rPr lang="en-US" sz="1800" b="1" dirty="0"/>
              <a:t>Stakeholder align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22D0CCE-5567-7B30-0D7B-6D8C27B09074}"/>
              </a:ext>
            </a:extLst>
          </p:cNvPr>
          <p:cNvSpPr txBox="1">
            <a:spLocks/>
          </p:cNvSpPr>
          <p:nvPr/>
        </p:nvSpPr>
        <p:spPr>
          <a:xfrm>
            <a:off x="8041758" y="2198745"/>
            <a:ext cx="359550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600" dirty="0"/>
              <a:t>of internal and external consultations to start a new project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CE2A02C-C970-93C9-C479-093576A581EE}"/>
              </a:ext>
            </a:extLst>
          </p:cNvPr>
          <p:cNvSpPr txBox="1">
            <a:spLocks/>
          </p:cNvSpPr>
          <p:nvPr/>
        </p:nvSpPr>
        <p:spPr>
          <a:xfrm>
            <a:off x="5949812" y="2198745"/>
            <a:ext cx="2009384" cy="3847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>
              <a:buClr>
                <a:srgbClr val="FFFFFF"/>
              </a:buClr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10s-100s</a:t>
            </a:r>
            <a:endParaRPr lang="en-US" sz="28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9EF60C0-BFCE-6098-A54D-FA0C5B88DCBE}"/>
              </a:ext>
            </a:extLst>
          </p:cNvPr>
          <p:cNvSpPr txBox="1">
            <a:spLocks/>
          </p:cNvSpPr>
          <p:nvPr/>
        </p:nvSpPr>
        <p:spPr>
          <a:xfrm>
            <a:off x="8041758" y="3368029"/>
            <a:ext cx="359550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 defTabSz="895350">
              <a:buClr>
                <a:schemeClr val="tx2"/>
              </a:buClr>
              <a:buSzPct val="100000"/>
              <a:defRPr sz="2041" baseline="0"/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400"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400"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400"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600"/>
              <a:t>Hour airside construction windows with full daily demobilization</a:t>
            </a:r>
          </a:p>
        </p:txBody>
      </p:sp>
      <p:grpSp>
        <p:nvGrpSpPr>
          <p:cNvPr id="64" name="CustomIcon">
            <a:extLst>
              <a:ext uri="{FF2B5EF4-FFF2-40B4-BE49-F238E27FC236}">
                <a16:creationId xmlns:a16="http://schemas.microsoft.com/office/drawing/2014/main" id="{D7A965F7-3814-4E76-E942-8E847B536C5F}"/>
              </a:ext>
            </a:extLst>
          </p:cNvPr>
          <p:cNvGrpSpPr>
            <a:grpSpLocks/>
          </p:cNvGrpSpPr>
          <p:nvPr>
            <p:custDataLst>
              <p:tags r:id="rId7"/>
            </p:custDataLst>
          </p:nvPr>
        </p:nvGrpSpPr>
        <p:grpSpPr>
          <a:xfrm>
            <a:off x="554737" y="3240097"/>
            <a:ext cx="725478" cy="725478"/>
            <a:chOff x="-205105" y="-205105"/>
            <a:chExt cx="1019810" cy="1019810"/>
          </a:xfrm>
          <a:solidFill>
            <a:schemeClr val="tx1"/>
          </a:solidFill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2F7F3666-9273-9402-1525-09708D628B3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grpFill/>
            <a:ln w="1270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err="1">
                <a:solidFill>
                  <a:schemeClr val="bg1"/>
                </a:solidFill>
              </a:endParaRPr>
            </a:p>
          </p:txBody>
        </p:sp>
        <p:pic>
          <p:nvPicPr>
            <p:cNvPr id="63" name="Graphic 62">
              <a:extLst>
                <a:ext uri="{FF2B5EF4-FFF2-40B4-BE49-F238E27FC236}">
                  <a16:creationId xmlns:a16="http://schemas.microsoft.com/office/drawing/2014/main" id="{1C640CAD-4B20-3C24-17A4-2301109C715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9EBF454A-3D71-B780-FCC5-1A71E3431DF4}"/>
              </a:ext>
            </a:extLst>
          </p:cNvPr>
          <p:cNvSpPr txBox="1">
            <a:spLocks/>
          </p:cNvSpPr>
          <p:nvPr/>
        </p:nvSpPr>
        <p:spPr>
          <a:xfrm>
            <a:off x="1454525" y="3465092"/>
            <a:ext cx="3811742" cy="276999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>
              <a:buClr>
                <a:srgbClr val="FFFFFF"/>
              </a:buClr>
            </a:pPr>
            <a:r>
              <a:rPr lang="en-US" sz="1800" b="1" dirty="0"/>
              <a:t>Operational environmen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BA7C9A8-4988-1F1D-B3D8-2810909D6C34}"/>
              </a:ext>
            </a:extLst>
          </p:cNvPr>
          <p:cNvSpPr txBox="1">
            <a:spLocks/>
          </p:cNvSpPr>
          <p:nvPr/>
        </p:nvSpPr>
        <p:spPr>
          <a:xfrm>
            <a:off x="5949812" y="3368029"/>
            <a:ext cx="2009384" cy="38472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>
              <a:buClr>
                <a:srgbClr val="FFFFFF"/>
              </a:buClr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4-6</a:t>
            </a:r>
            <a:endParaRPr lang="en-US" sz="28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8041758" y="4511351"/>
            <a:ext cx="359550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600" dirty="0"/>
              <a:t>Projects with major cost and/or schedule overruns</a:t>
            </a:r>
          </a:p>
        </p:txBody>
      </p:sp>
      <p:grpSp>
        <p:nvGrpSpPr>
          <p:cNvPr id="68" name="CustomIcon">
            <a:extLst>
              <a:ext uri="{FF2B5EF4-FFF2-40B4-BE49-F238E27FC236}">
                <a16:creationId xmlns:a16="http://schemas.microsoft.com/office/drawing/2014/main" id="{D733544E-E9E1-7CED-B713-929160099520}"/>
              </a:ext>
            </a:extLst>
          </p:cNvPr>
          <p:cNvGrpSpPr>
            <a:grpSpLocks/>
          </p:cNvGrpSpPr>
          <p:nvPr>
            <p:custDataLst>
              <p:tags r:id="rId8"/>
            </p:custDataLst>
          </p:nvPr>
        </p:nvGrpSpPr>
        <p:grpSpPr>
          <a:xfrm>
            <a:off x="554737" y="4393993"/>
            <a:ext cx="725478" cy="725478"/>
            <a:chOff x="-205105" y="-205105"/>
            <a:chExt cx="1019810" cy="1019810"/>
          </a:xfrm>
          <a:solidFill>
            <a:schemeClr val="tx1"/>
          </a:solidFill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D869CCD5-B5AF-139F-CC8E-7971300DEAE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grpFill/>
            <a:ln w="1270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err="1">
                <a:solidFill>
                  <a:schemeClr val="bg1"/>
                </a:solidFill>
              </a:endParaRPr>
            </a:p>
          </p:txBody>
        </p:sp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8FA41659-CF99-BB14-5C10-9F57626F49A9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6C3BFF1F-E225-9331-023E-087D90D9C705}"/>
              </a:ext>
            </a:extLst>
          </p:cNvPr>
          <p:cNvSpPr txBox="1">
            <a:spLocks/>
          </p:cNvSpPr>
          <p:nvPr/>
        </p:nvSpPr>
        <p:spPr>
          <a:xfrm>
            <a:off x="1454525" y="4594048"/>
            <a:ext cx="3811742" cy="276999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>
              <a:buClr>
                <a:srgbClr val="FFFFFF"/>
              </a:buClr>
            </a:pPr>
            <a:r>
              <a:rPr lang="en-US" sz="1800" b="1" dirty="0"/>
              <a:t>Cost and schedule predictability</a:t>
            </a:r>
          </a:p>
        </p:txBody>
      </p:sp>
      <p:sp>
        <p:nvSpPr>
          <p:cNvPr id="28" name="TextBox 27"/>
          <p:cNvSpPr txBox="1">
            <a:spLocks/>
          </p:cNvSpPr>
          <p:nvPr/>
        </p:nvSpPr>
        <p:spPr>
          <a:xfrm>
            <a:off x="5949812" y="4511351"/>
            <a:ext cx="2009384" cy="38472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>
              <a:buClr>
                <a:srgbClr val="FFFFFF"/>
              </a:buClr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80-90%</a:t>
            </a:r>
            <a:endParaRPr lang="en-US" sz="28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29" name="TextBox 28"/>
          <p:cNvSpPr txBox="1">
            <a:spLocks/>
          </p:cNvSpPr>
          <p:nvPr/>
        </p:nvSpPr>
        <p:spPr>
          <a:xfrm>
            <a:off x="5949812" y="5553643"/>
            <a:ext cx="2009384" cy="38472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>
              <a:buClr>
                <a:srgbClr val="FFFFFF"/>
              </a:buClr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2x</a:t>
            </a:r>
            <a:endParaRPr lang="en-US" sz="28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30" name="TextBox 29"/>
          <p:cNvSpPr txBox="1">
            <a:spLocks/>
          </p:cNvSpPr>
          <p:nvPr/>
        </p:nvSpPr>
        <p:spPr>
          <a:xfrm>
            <a:off x="8041758" y="5553643"/>
            <a:ext cx="359550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600"/>
              <a:t>Expected passenger growth by 2040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7AE6368-F021-AD1A-DC04-90FB3102B068}"/>
              </a:ext>
            </a:extLst>
          </p:cNvPr>
          <p:cNvGrpSpPr/>
          <p:nvPr/>
        </p:nvGrpSpPr>
        <p:grpSpPr>
          <a:xfrm>
            <a:off x="554737" y="5424778"/>
            <a:ext cx="725478" cy="725478"/>
            <a:chOff x="459586" y="4957109"/>
            <a:chExt cx="725478" cy="725478"/>
          </a:xfrm>
          <a:solidFill>
            <a:schemeClr val="tx1"/>
          </a:solidFill>
        </p:grpSpPr>
        <p:sp>
          <p:nvSpPr>
            <p:cNvPr id="47" name="IconEnclosure">
              <a:extLst>
                <a:ext uri="{FF2B5EF4-FFF2-40B4-BE49-F238E27FC236}">
                  <a16:creationId xmlns:a16="http://schemas.microsoft.com/office/drawing/2014/main" id="{8BE524E5-BB4B-4284-8722-C90F329DFFD7}"/>
                </a:ext>
              </a:extLst>
            </p:cNvPr>
            <p:cNvSpPr/>
            <p:nvPr/>
          </p:nvSpPr>
          <p:spPr>
            <a:xfrm>
              <a:off x="459586" y="4957109"/>
              <a:ext cx="725478" cy="725478"/>
            </a:xfrm>
            <a:prstGeom prst="ellipse">
              <a:avLst/>
            </a:prstGeom>
            <a:grpFill/>
            <a:ln w="12700" cap="sq" cmpd="sng" algn="ctr">
              <a:solidFill>
                <a:schemeClr val="bg2"/>
              </a:solidFill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clip" horzOverflow="clip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err="1">
                <a:solidFill>
                  <a:schemeClr val="bg1"/>
                </a:solidFill>
              </a:endParaRPr>
            </a:p>
          </p:txBody>
        </p:sp>
        <p:pic>
          <p:nvPicPr>
            <p:cNvPr id="48" name="preEnclosure">
              <a:extLst>
                <a:ext uri="{FF2B5EF4-FFF2-40B4-BE49-F238E27FC236}">
                  <a16:creationId xmlns:a16="http://schemas.microsoft.com/office/drawing/2014/main" id="{F8B9503E-3467-62B8-3CE5-1EEE0C78F61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94768" y="5092291"/>
              <a:ext cx="435287" cy="435287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6CBF3B2E-FCAA-67DC-36C7-2F9A0F519E53}"/>
              </a:ext>
            </a:extLst>
          </p:cNvPr>
          <p:cNvSpPr txBox="1">
            <a:spLocks/>
          </p:cNvSpPr>
          <p:nvPr/>
        </p:nvSpPr>
        <p:spPr>
          <a:xfrm>
            <a:off x="1454525" y="5670999"/>
            <a:ext cx="3811742" cy="276999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>
              <a:buClr>
                <a:srgbClr val="FFFFFF"/>
              </a:buClr>
            </a:pPr>
            <a:r>
              <a:rPr lang="en-US" sz="1800" b="1" dirty="0"/>
              <a:t>Future growt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DB7BD00-19B6-DF69-F8FC-252CB9CDF4AF}"/>
              </a:ext>
            </a:extLst>
          </p:cNvPr>
          <p:cNvSpPr txBox="1"/>
          <p:nvPr/>
        </p:nvSpPr>
        <p:spPr>
          <a:xfrm>
            <a:off x="554735" y="1647036"/>
            <a:ext cx="748702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1800" b="1" dirty="0"/>
              <a:t>CAPEX challenges at airports</a:t>
            </a:r>
          </a:p>
        </p:txBody>
      </p:sp>
      <p:cxnSp>
        <p:nvCxnSpPr>
          <p:cNvPr id="8" name="GreyLineContentSeparatorDefault 13">
            <a:extLst>
              <a:ext uri="{FF2B5EF4-FFF2-40B4-BE49-F238E27FC236}">
                <a16:creationId xmlns:a16="http://schemas.microsoft.com/office/drawing/2014/main" id="{D17DE18C-F030-9F94-731E-029A20D10695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7" y="1978217"/>
            <a:ext cx="11082528" cy="0"/>
          </a:xfrm>
          <a:prstGeom prst="straightConnector1">
            <a:avLst/>
          </a:prstGeom>
          <a:ln w="12700" cap="flat">
            <a:solidFill>
              <a:srgbClr val="75757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D0DE3C13-9C07-FD3E-66CF-D9F01DCE1BFD}"/>
              </a:ext>
            </a:extLst>
          </p:cNvPr>
          <p:cNvSpPr txBox="1">
            <a:spLocks/>
          </p:cNvSpPr>
          <p:nvPr/>
        </p:nvSpPr>
        <p:spPr>
          <a:xfrm>
            <a:off x="12567388" y="2086201"/>
            <a:ext cx="4323145" cy="86177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>
              <a:buClr>
                <a:srgbClr val="FFFFFF"/>
              </a:buClr>
            </a:pPr>
            <a:r>
              <a:rPr lang="en-US" dirty="0"/>
              <a:t>Airports are </a:t>
            </a:r>
            <a:r>
              <a:rPr lang="en-US" b="1" dirty="0"/>
              <a:t>regulated environments with multiple stakeholders and high public visibility </a:t>
            </a:r>
            <a:r>
              <a:rPr lang="en-GB" dirty="0"/>
              <a:t>(e.g., airlines, border control, airport operations, commercial business partners) </a:t>
            </a:r>
            <a:r>
              <a:rPr lang="en-US" dirty="0"/>
              <a:t>that often have conflicting objectiv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D44D08F-B6B3-4F49-727A-2A8702E5D7FA}"/>
              </a:ext>
            </a:extLst>
          </p:cNvPr>
          <p:cNvSpPr txBox="1">
            <a:spLocks/>
          </p:cNvSpPr>
          <p:nvPr/>
        </p:nvSpPr>
        <p:spPr>
          <a:xfrm>
            <a:off x="12567388" y="3240097"/>
            <a:ext cx="4323145" cy="6463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>
              <a:buClr>
                <a:srgbClr val="FFFFFF"/>
              </a:buClr>
            </a:pPr>
            <a:r>
              <a:rPr lang="en-US"/>
              <a:t>Moreover, many projects are executed in a </a:t>
            </a:r>
            <a:r>
              <a:rPr lang="en-US" b="1"/>
              <a:t>highly complex 24/7 live operational environment</a:t>
            </a:r>
            <a:r>
              <a:rPr lang="en-US"/>
              <a:t> with limited ability to absorb shutdowns and other disruption </a:t>
            </a:r>
            <a:endParaRPr lang="en-US" b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61F7EC6-ADF0-21C2-FD56-B54CA21835B0}"/>
              </a:ext>
            </a:extLst>
          </p:cNvPr>
          <p:cNvSpPr txBox="1">
            <a:spLocks/>
          </p:cNvSpPr>
          <p:nvPr/>
        </p:nvSpPr>
        <p:spPr>
          <a:xfrm>
            <a:off x="12567388" y="4393993"/>
            <a:ext cx="4323145" cy="6463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>
              <a:buClr>
                <a:srgbClr val="FFFFFF"/>
              </a:buClr>
            </a:pPr>
            <a:r>
              <a:rPr lang="en-US" dirty="0"/>
              <a:t>As a result, budgets and timelines are higher/longer versus comparable non-airport construction and even with these buffers, </a:t>
            </a:r>
            <a:r>
              <a:rPr lang="en-US" b="1" dirty="0"/>
              <a:t>project overruns </a:t>
            </a:r>
            <a:r>
              <a:rPr lang="en-US" dirty="0"/>
              <a:t>are common</a:t>
            </a:r>
            <a:endParaRPr lang="en-US" b="1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52ED43D-CB54-66A6-5539-F7BEE8BA8B1A}"/>
              </a:ext>
            </a:extLst>
          </p:cNvPr>
          <p:cNvSpPr txBox="1">
            <a:spLocks/>
          </p:cNvSpPr>
          <p:nvPr/>
        </p:nvSpPr>
        <p:spPr>
          <a:xfrm>
            <a:off x="12567388" y="5424778"/>
            <a:ext cx="4323145" cy="6463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>
              <a:buClr>
                <a:srgbClr val="FFFFFF"/>
              </a:buClr>
            </a:pPr>
            <a:r>
              <a:rPr lang="en-US" dirty="0"/>
              <a:t>This problem will increase as airport infrastructure investment is accelerating due to </a:t>
            </a:r>
            <a:r>
              <a:rPr lang="en-US" b="1" dirty="0"/>
              <a:t>passenger </a:t>
            </a:r>
            <a:br>
              <a:rPr lang="en-US" b="1" dirty="0"/>
            </a:br>
            <a:r>
              <a:rPr lang="en-US" b="1" dirty="0"/>
              <a:t>demand growth</a:t>
            </a:r>
          </a:p>
        </p:txBody>
      </p:sp>
    </p:spTree>
    <p:extLst>
      <p:ext uri="{BB962C8B-B14F-4D97-AF65-F5344CB8AC3E}">
        <p14:creationId xmlns:p14="http://schemas.microsoft.com/office/powerpoint/2010/main" val="21418677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C0068E-5FA5-D76C-6FE4-41D207315D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9" name="Object 2" hidden="1">
            <a:extLst>
              <a:ext uri="{FF2B5EF4-FFF2-40B4-BE49-F238E27FC236}">
                <a16:creationId xmlns:a16="http://schemas.microsoft.com/office/drawing/2014/main" id="{963D2B1E-EB67-0CC5-F6D2-B5B15FE672BE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29" name="Object 2" hidden="1">
                        <a:extLst>
                          <a:ext uri="{FF2B5EF4-FFF2-40B4-BE49-F238E27FC236}">
                            <a16:creationId xmlns:a16="http://schemas.microsoft.com/office/drawing/2014/main" id="{963D2B1E-EB67-0CC5-F6D2-B5B15FE672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7B8920A1-34A4-31F1-90E2-E34086963AD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47688" y="998100"/>
            <a:ext cx="4931568" cy="9158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GB" sz="3200" noProof="0" dirty="0"/>
              <a:t>Opportunities for airpor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3F40AD1-D085-7BCB-395E-6341120B37C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47689" y="2302298"/>
            <a:ext cx="5324474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1200"/>
              </a:spcBef>
              <a:buSzPct val="100000"/>
            </a:pPr>
            <a:endParaRPr lang="en-GB" sz="2000" b="1" noProof="0" dirty="0">
              <a:solidFill>
                <a:schemeClr val="accent2"/>
              </a:solidFill>
              <a:latin typeface="Arial"/>
              <a:cs typeface="Arial"/>
              <a:sym typeface="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4F325F4-75BC-AF9E-47D4-0407D0B5B5C7}"/>
              </a:ext>
            </a:extLst>
          </p:cNvPr>
          <p:cNvSpPr txBox="1"/>
          <p:nvPr/>
        </p:nvSpPr>
        <p:spPr>
          <a:xfrm>
            <a:off x="554736" y="2456186"/>
            <a:ext cx="4064000" cy="328551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en-GB" noProof="0" dirty="0"/>
              <a:t>Continue focus on non-aero revenues, as demand slows and LCC growth increases pressure on aero revenues</a:t>
            </a:r>
          </a:p>
          <a:p>
            <a:pPr>
              <a:spcAft>
                <a:spcPts val="1200"/>
              </a:spcAft>
            </a:pPr>
            <a:r>
              <a:rPr lang="en-GB" noProof="0" dirty="0"/>
              <a:t>Opportunities in premium services, property, innovative retail formats</a:t>
            </a:r>
          </a:p>
          <a:p>
            <a:pPr>
              <a:spcAft>
                <a:spcPts val="1200"/>
              </a:spcAft>
            </a:pPr>
            <a:r>
              <a:rPr lang="en-GB" noProof="0" dirty="0"/>
              <a:t>Cost management remains crucial, and new technologies can support next wave of automation</a:t>
            </a:r>
          </a:p>
          <a:p>
            <a:pPr>
              <a:spcAft>
                <a:spcPts val="1200"/>
              </a:spcAft>
            </a:pPr>
            <a:r>
              <a:rPr lang="en-GB" noProof="0" dirty="0"/>
              <a:t>Potential new business models, providing more services along the ecosystem, driven by automation technologi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12CCD94-8FFA-1246-F307-FE9E75D73A55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0151" r="43505"/>
          <a:stretch>
            <a:fillRect/>
          </a:stretch>
        </p:blipFill>
        <p:spPr>
          <a:xfrm>
            <a:off x="6541875" y="0"/>
            <a:ext cx="5650125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1121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037531-53D8-C033-0759-4AE9E9EBD5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9" name="Object 2" hidden="1">
            <a:extLst>
              <a:ext uri="{FF2B5EF4-FFF2-40B4-BE49-F238E27FC236}">
                <a16:creationId xmlns:a16="http://schemas.microsoft.com/office/drawing/2014/main" id="{7C94C5C1-2143-B8D7-4F99-076F1A2AC3D0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6314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29" name="Object 2" hidden="1">
                        <a:extLst>
                          <a:ext uri="{FF2B5EF4-FFF2-40B4-BE49-F238E27FC236}">
                            <a16:creationId xmlns:a16="http://schemas.microsoft.com/office/drawing/2014/main" id="{7C94C5C1-2143-B8D7-4F99-076F1A2AC3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Oval 37">
            <a:extLst>
              <a:ext uri="{FF2B5EF4-FFF2-40B4-BE49-F238E27FC236}">
                <a16:creationId xmlns:a16="http://schemas.microsoft.com/office/drawing/2014/main" id="{36671C3E-2873-6CC0-944D-68B6A729EF01}"/>
              </a:ext>
            </a:extLst>
          </p:cNvPr>
          <p:cNvSpPr/>
          <p:nvPr/>
        </p:nvSpPr>
        <p:spPr>
          <a:xfrm>
            <a:off x="566312" y="348656"/>
            <a:ext cx="4758269" cy="4758269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BA62AE2D-6BC5-6334-E151-421E37EB6E4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6452762" y="1516383"/>
            <a:ext cx="11082528" cy="9158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br>
              <a:rPr lang="en-GB" sz="3200" noProof="0" dirty="0"/>
            </a:br>
            <a:r>
              <a:rPr lang="en-GB" sz="3200" noProof="0" dirty="0"/>
              <a:t>3 topics for today</a:t>
            </a:r>
            <a:endParaRPr lang="en-GB" sz="3200" b="0" noProof="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144BC88-4B71-F321-636D-618D7C0D66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6968E3B-7E1F-6096-4BB6-D26CF23B3872}"/>
              </a:ext>
            </a:extLst>
          </p:cNvPr>
          <p:cNvSpPr txBox="1">
            <a:spLocks/>
          </p:cNvSpPr>
          <p:nvPr/>
        </p:nvSpPr>
        <p:spPr>
          <a:xfrm>
            <a:off x="6452762" y="2943245"/>
            <a:ext cx="5172926" cy="369332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tate of the industry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3074DC1-B8EE-46C6-8C95-3C863F358F2B}"/>
              </a:ext>
            </a:extLst>
          </p:cNvPr>
          <p:cNvSpPr txBox="1">
            <a:spLocks/>
          </p:cNvSpPr>
          <p:nvPr/>
        </p:nvSpPr>
        <p:spPr>
          <a:xfrm>
            <a:off x="6452762" y="3569711"/>
            <a:ext cx="5172926" cy="369332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Key trend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B8895B07-944A-156C-2976-FDAB5930BA0E}"/>
              </a:ext>
            </a:extLst>
          </p:cNvPr>
          <p:cNvSpPr txBox="1">
            <a:spLocks/>
          </p:cNvSpPr>
          <p:nvPr/>
        </p:nvSpPr>
        <p:spPr>
          <a:xfrm>
            <a:off x="6452762" y="4196177"/>
            <a:ext cx="5172926" cy="369332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pportunitie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1F260B1-FDAC-AEF0-2960-44E16C2CE247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0151" r="43505"/>
          <a:stretch>
            <a:fillRect/>
          </a:stretch>
        </p:blipFill>
        <p:spPr>
          <a:xfrm>
            <a:off x="0" y="0"/>
            <a:ext cx="5650125" cy="6858000"/>
          </a:xfrm>
          <a:prstGeom prst="rect">
            <a:avLst/>
          </a:prstGeom>
        </p:spPr>
      </p:pic>
      <p:pic>
        <p:nvPicPr>
          <p:cNvPr id="3" name="Picture Placeholder 4">
            <a:extLst>
              <a:ext uri="{FF2B5EF4-FFF2-40B4-BE49-F238E27FC236}">
                <a16:creationId xmlns:a16="http://schemas.microsoft.com/office/drawing/2014/main" id="{4D18EF72-B0DB-68BD-EBEE-5417B04DF2DA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41988" t="4748" r="16038" b="4748"/>
          <a:stretch>
            <a:fillRect/>
          </a:stretch>
        </p:blipFill>
        <p:spPr>
          <a:xfrm>
            <a:off x="0" y="0"/>
            <a:ext cx="5650125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05953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94C774A-CB0C-4331-E125-40DB1553888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1436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4C774A-CB0C-4331-E125-40DB155388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094744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8145CF-A76C-69C4-0A85-DDDAC8951A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2255A107-48A0-F607-00D9-9C741246B1B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4202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235" imgH="212" progId="TCLayout.ActiveDocument.1">
                  <p:embed/>
                </p:oleObj>
              </mc:Choice>
              <mc:Fallback>
                <p:oleObj name="think-cell Slide" r:id="rId39" imgW="235" imgH="212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2255A107-48A0-F607-00D9-9C741246B1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37EBDFB3-F705-A85A-68E6-AFB0E84883FA}"/>
              </a:ext>
            </a:extLst>
          </p:cNvPr>
          <p:cNvSpPr/>
          <p:nvPr/>
        </p:nvSpPr>
        <p:spPr>
          <a:xfrm>
            <a:off x="5155874" y="1712913"/>
            <a:ext cx="670567" cy="4318607"/>
          </a:xfrm>
          <a:prstGeom prst="rect">
            <a:avLst/>
          </a:prstGeom>
          <a:solidFill>
            <a:schemeClr val="bg1">
              <a:lumMod val="10000"/>
              <a:lumOff val="90000"/>
              <a:alpha val="37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68D2B850-B9A2-B8D6-32A0-8E1022F441DD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56102"/>
            <a:ext cx="11082528" cy="35779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GB" noProof="0" dirty="0"/>
              <a:t>In 2024 airports created economic losses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8D65F96F-41DE-8AA4-B792-BC8472F1C58C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0"/>
            <a:ext cx="11082528" cy="2462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0">
            <a:noAutofit/>
          </a:bodyPr>
          <a:lstStyle/>
          <a:p>
            <a:r>
              <a:rPr lang="en-GB" noProof="0" dirty="0">
                <a:cs typeface="Arial"/>
              </a:rPr>
              <a:t>Economic profit, USD billion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5DEF0D-DB8B-63AF-4204-8EBD9E21C34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2" name="5. Source">
            <a:extLst>
              <a:ext uri="{FF2B5EF4-FFF2-40B4-BE49-F238E27FC236}">
                <a16:creationId xmlns:a16="http://schemas.microsoft.com/office/drawing/2014/main" id="{26075CE2-A21A-15E3-3A91-A2AB9D6C905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Source: CapitalIQ; The Airline Analyst; Bloomberg;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GSCi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; IATA; ACI; Company reports</a:t>
            </a:r>
          </a:p>
        </p:txBody>
      </p:sp>
      <p:sp>
        <p:nvSpPr>
          <p:cNvPr id="13" name="4. Footnote">
            <a:extLst>
              <a:ext uri="{FF2B5EF4-FFF2-40B4-BE49-F238E27FC236}">
                <a16:creationId xmlns:a16="http://schemas.microsoft.com/office/drawing/2014/main" id="{081F7733-C597-E1BF-35E3-D04FE04CB9D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3971" y="6155918"/>
            <a:ext cx="9706041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 sz="800">
                <a:cs typeface="Arial" panose="020B0604020202020204" pitchFamily="34" charset="0"/>
              </a:defRPr>
            </a:lvl1pPr>
          </a:lstStyle>
          <a:p>
            <a:r>
              <a:rPr lang="en-GB" dirty="0"/>
              <a:t>Based on invested capital including goodwill, extrapolated to total industry. Not a zero-sum setup, possible for all subsectors and the ecosystem as total to be positive;   </a:t>
            </a:r>
          </a:p>
          <a:p>
            <a:r>
              <a:rPr lang="en-GB" dirty="0"/>
              <a:t>Computed as cumulative economic profit divided by cumulative sector revenue over the period;   3. Air Navigation Service Providers; 4. Typically value creating, but 2024 saw relatively lower crude oil prices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C7F16A5-16BA-2C39-FDCC-DE6BE826FFFC}"/>
              </a:ext>
            </a:extLst>
          </p:cNvPr>
          <p:cNvGrpSpPr/>
          <p:nvPr/>
        </p:nvGrpSpPr>
        <p:grpSpPr>
          <a:xfrm>
            <a:off x="554736" y="4635499"/>
            <a:ext cx="10092543" cy="646331"/>
            <a:chOff x="554736" y="4447713"/>
            <a:chExt cx="10092543" cy="646331"/>
          </a:xfrm>
        </p:grpSpPr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327210C9-185F-C6FF-09F7-BAC4AE20F796}"/>
                </a:ext>
              </a:extLst>
            </p:cNvPr>
            <p:cNvSpPr txBox="1">
              <a:spLocks/>
            </p:cNvSpPr>
            <p:nvPr/>
          </p:nvSpPr>
          <p:spPr>
            <a:xfrm>
              <a:off x="554736" y="4447713"/>
              <a:ext cx="1257880" cy="64633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GB" sz="1400" b="1" noProof="0" dirty="0"/>
                <a:t>Economic profit/</a:t>
              </a:r>
              <a:br>
                <a:rPr lang="en-GB" sz="1400" b="1" noProof="0" dirty="0"/>
              </a:br>
              <a:r>
                <a:rPr lang="en-GB" sz="1400" b="1" noProof="0" dirty="0"/>
                <a:t>revenue</a:t>
              </a:r>
              <a:r>
                <a:rPr lang="en-GB" sz="1400" b="1" baseline="30000" noProof="0" dirty="0"/>
                <a:t>2</a:t>
              </a:r>
              <a:r>
                <a:rPr lang="en-GB" sz="1400" b="1" noProof="0" dirty="0"/>
                <a:t>, </a:t>
              </a:r>
              <a:r>
                <a:rPr lang="en-GB" sz="1400" noProof="0" dirty="0"/>
                <a:t>%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0B62176E-AE02-BC99-8903-7BC5C9934902}"/>
                </a:ext>
              </a:extLst>
            </p:cNvPr>
            <p:cNvGrpSpPr/>
            <p:nvPr/>
          </p:nvGrpSpPr>
          <p:grpSpPr>
            <a:xfrm>
              <a:off x="1973997" y="4612615"/>
              <a:ext cx="8673282" cy="316527"/>
              <a:chOff x="1973997" y="4612615"/>
              <a:chExt cx="8673282" cy="316527"/>
            </a:xfrm>
          </p:grpSpPr>
          <p:sp>
            <p:nvSpPr>
              <p:cNvPr id="167" name="TextBox 166">
                <a:extLst>
                  <a:ext uri="{FF2B5EF4-FFF2-40B4-BE49-F238E27FC236}">
                    <a16:creationId xmlns:a16="http://schemas.microsoft.com/office/drawing/2014/main" id="{EE57FA35-9EA7-F4B6-7D14-81F3FA63E2C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973997" y="4682921"/>
                <a:ext cx="478472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ctr" anchorCtr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latin typeface="KLM Noa Light" panose="020B0403030000020004" pitchFamily="34" charset="0"/>
                    <a:cs typeface="Arial" panose="020B0604020202020204" pitchFamily="34" charset="0"/>
                    <a:sym typeface="KLM Noa Light" panose="020B0403030000020004" pitchFamily="34" charset="0"/>
                  </a:defRPr>
                </a:lvl1pPr>
                <a:lvl2pPr marL="182880" lvl="1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2pPr>
                <a:lvl3pPr marL="365760" lvl="2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Barlow Medium" panose="00000600000000000000" pitchFamily="2" charset="0"/>
                  <a:buChar char="–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3pPr>
                <a:lvl4pPr marL="548640" lvl="3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4pPr>
                <a:lvl5pPr marL="731520" lvl="4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Barlow Medium" panose="00000600000000000000" pitchFamily="2" charset="0"/>
                  <a:buChar char="–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en-GB" sz="1400" noProof="0" dirty="0">
                    <a:latin typeface="+mn-lt"/>
                    <a:cs typeface="+mn-cs"/>
                  </a:rPr>
                  <a:t>-3.5%</a:t>
                </a: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43477E94-0273-F190-A55B-9EA56F2704C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973997" y="4612615"/>
                <a:ext cx="478472" cy="45720"/>
              </a:xfrm>
              <a:prstGeom prst="rect">
                <a:avLst/>
              </a:prstGeom>
              <a:solidFill>
                <a:schemeClr val="accent1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GB" sz="1400" noProof="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1" name="TextBox 170">
                <a:extLst>
                  <a:ext uri="{FF2B5EF4-FFF2-40B4-BE49-F238E27FC236}">
                    <a16:creationId xmlns:a16="http://schemas.microsoft.com/office/drawing/2014/main" id="{E9DCCE6E-931C-4BBC-A718-55B7D7D06D8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612959" y="4682921"/>
                <a:ext cx="478472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ctr" anchorCtr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latin typeface="KLM Noa Light" panose="020B0403030000020004" pitchFamily="34" charset="0"/>
                    <a:cs typeface="Arial" panose="020B0604020202020204" pitchFamily="34" charset="0"/>
                    <a:sym typeface="KLM Noa Light" panose="020B0403030000020004" pitchFamily="34" charset="0"/>
                  </a:defRPr>
                </a:lvl1pPr>
                <a:lvl2pPr marL="182880" lvl="1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2pPr>
                <a:lvl3pPr marL="365760" lvl="2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Barlow Medium" panose="00000600000000000000" pitchFamily="2" charset="0"/>
                  <a:buChar char="–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3pPr>
                <a:lvl4pPr marL="548640" lvl="3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4pPr>
                <a:lvl5pPr marL="731520" lvl="4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Barlow Medium" panose="00000600000000000000" pitchFamily="2" charset="0"/>
                  <a:buChar char="–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en-GB" sz="1400" noProof="0" dirty="0">
                    <a:latin typeface="+mn-lt"/>
                    <a:cs typeface="+mn-cs"/>
                  </a:rPr>
                  <a:t>+3.1%</a:t>
                </a: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6F80E1C8-51F0-EF4E-40DA-A88C02ED69B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612959" y="4612615"/>
                <a:ext cx="478472" cy="45720"/>
              </a:xfrm>
              <a:prstGeom prst="rect">
                <a:avLst/>
              </a:prstGeom>
              <a:solidFill>
                <a:schemeClr val="accent2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GB" sz="1400" noProof="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5" name="TextBox 174">
                <a:extLst>
                  <a:ext uri="{FF2B5EF4-FFF2-40B4-BE49-F238E27FC236}">
                    <a16:creationId xmlns:a16="http://schemas.microsoft.com/office/drawing/2014/main" id="{B7E882C4-B718-6E30-4AE0-673AD52379D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32440" y="4682921"/>
                <a:ext cx="478472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ctr" anchorCtr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latin typeface="KLM Noa Light" panose="020B0403030000020004" pitchFamily="34" charset="0"/>
                    <a:cs typeface="Arial" panose="020B0604020202020204" pitchFamily="34" charset="0"/>
                    <a:sym typeface="KLM Noa Light" panose="020B0403030000020004" pitchFamily="34" charset="0"/>
                  </a:defRPr>
                </a:lvl1pPr>
                <a:lvl2pPr marL="182880" lvl="1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2pPr>
                <a:lvl3pPr marL="365760" lvl="2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Barlow Medium" panose="00000600000000000000" pitchFamily="2" charset="0"/>
                  <a:buChar char="–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3pPr>
                <a:lvl4pPr marL="548640" lvl="3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4pPr>
                <a:lvl5pPr marL="731520" lvl="4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Barlow Medium" panose="00000600000000000000" pitchFamily="2" charset="0"/>
                  <a:buChar char="–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en-GB" sz="1400" noProof="0" dirty="0">
                    <a:latin typeface="+mn-lt"/>
                    <a:cs typeface="+mn-cs"/>
                  </a:rPr>
                  <a:t>-0.1%</a:t>
                </a:r>
              </a:p>
            </p:txBody>
          </p:sp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4094C79B-8545-DDDE-B1F1-3D0FAB8C2D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432440" y="4612615"/>
                <a:ext cx="478472" cy="45720"/>
              </a:xfrm>
              <a:prstGeom prst="rect">
                <a:avLst/>
              </a:prstGeom>
              <a:solidFill>
                <a:schemeClr val="tx1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GB" sz="1400" noProof="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9" name="TextBox 178">
                <a:extLst>
                  <a:ext uri="{FF2B5EF4-FFF2-40B4-BE49-F238E27FC236}">
                    <a16:creationId xmlns:a16="http://schemas.microsoft.com/office/drawing/2014/main" id="{08B6D52A-CEED-6683-FCE8-EA796FB533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251921" y="4682921"/>
                <a:ext cx="478472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ctr" anchorCtr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latin typeface="KLM Noa Light" panose="020B0403030000020004" pitchFamily="34" charset="0"/>
                    <a:cs typeface="Arial" panose="020B0604020202020204" pitchFamily="34" charset="0"/>
                    <a:sym typeface="KLM Noa Light" panose="020B0403030000020004" pitchFamily="34" charset="0"/>
                  </a:defRPr>
                </a:lvl1pPr>
                <a:lvl2pPr marL="182880" lvl="1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2pPr>
                <a:lvl3pPr marL="365760" lvl="2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Barlow Medium" panose="00000600000000000000" pitchFamily="2" charset="0"/>
                  <a:buChar char="–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3pPr>
                <a:lvl4pPr marL="548640" lvl="3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4pPr>
                <a:lvl5pPr marL="731520" lvl="4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Barlow Medium" panose="00000600000000000000" pitchFamily="2" charset="0"/>
                  <a:buChar char="–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en-GB" sz="1400" noProof="0" dirty="0">
                    <a:latin typeface="+mn-lt"/>
                    <a:cs typeface="+mn-cs"/>
                  </a:rPr>
                  <a:t>-2.8%</a:t>
                </a:r>
              </a:p>
            </p:txBody>
          </p:sp>
          <p:sp>
            <p:nvSpPr>
              <p:cNvPr id="180" name="Rectangle 179">
                <a:extLst>
                  <a:ext uri="{FF2B5EF4-FFF2-40B4-BE49-F238E27FC236}">
                    <a16:creationId xmlns:a16="http://schemas.microsoft.com/office/drawing/2014/main" id="{BA48BD47-321F-7AE4-DC51-1D5A80A2B3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1921" y="4612615"/>
                <a:ext cx="478472" cy="45720"/>
              </a:xfrm>
              <a:prstGeom prst="rect">
                <a:avLst/>
              </a:prstGeom>
              <a:solidFill>
                <a:schemeClr val="tx1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GB" sz="1400" noProof="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3" name="TextBox 182">
                <a:extLst>
                  <a:ext uri="{FF2B5EF4-FFF2-40B4-BE49-F238E27FC236}">
                    <a16:creationId xmlns:a16="http://schemas.microsoft.com/office/drawing/2014/main" id="{2A07782B-D13E-26BD-ACA8-E401E6CF742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71402" y="4682921"/>
                <a:ext cx="478472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ctr" anchorCtr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latin typeface="KLM Noa Light" panose="020B0403030000020004" pitchFamily="34" charset="0"/>
                    <a:cs typeface="Arial" panose="020B0604020202020204" pitchFamily="34" charset="0"/>
                    <a:sym typeface="KLM Noa Light" panose="020B0403030000020004" pitchFamily="34" charset="0"/>
                  </a:defRPr>
                </a:lvl1pPr>
                <a:lvl2pPr marL="182880" lvl="1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2pPr>
                <a:lvl3pPr marL="365760" lvl="2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Barlow Medium" panose="00000600000000000000" pitchFamily="2" charset="0"/>
                  <a:buChar char="–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3pPr>
                <a:lvl4pPr marL="548640" lvl="3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4pPr>
                <a:lvl5pPr marL="731520" lvl="4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Barlow Medium" panose="00000600000000000000" pitchFamily="2" charset="0"/>
                  <a:buChar char="–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en-GB" sz="1400" noProof="0" dirty="0">
                    <a:latin typeface="+mn-lt"/>
                    <a:cs typeface="+mn-cs"/>
                  </a:rPr>
                  <a:t>+1.1%</a:t>
                </a:r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5CDACF87-8008-E542-89D2-F27E116A09D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071402" y="4612615"/>
                <a:ext cx="478472" cy="45720"/>
              </a:xfrm>
              <a:prstGeom prst="rect">
                <a:avLst/>
              </a:prstGeom>
              <a:solidFill>
                <a:schemeClr val="accent2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GB" sz="1400" noProof="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7" name="TextBox 186">
                <a:extLst>
                  <a:ext uri="{FF2B5EF4-FFF2-40B4-BE49-F238E27FC236}">
                    <a16:creationId xmlns:a16="http://schemas.microsoft.com/office/drawing/2014/main" id="{3B17CE4A-15D6-7343-6702-F3A6B009264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90883" y="4682921"/>
                <a:ext cx="478472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ctr" anchorCtr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latin typeface="KLM Noa Light" panose="020B0403030000020004" pitchFamily="34" charset="0"/>
                    <a:cs typeface="Arial" panose="020B0604020202020204" pitchFamily="34" charset="0"/>
                    <a:sym typeface="KLM Noa Light" panose="020B0403030000020004" pitchFamily="34" charset="0"/>
                  </a:defRPr>
                </a:lvl1pPr>
                <a:lvl2pPr marL="182880" lvl="1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2pPr>
                <a:lvl3pPr marL="365760" lvl="2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Barlow Medium" panose="00000600000000000000" pitchFamily="2" charset="0"/>
                  <a:buChar char="–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3pPr>
                <a:lvl4pPr marL="548640" lvl="3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4pPr>
                <a:lvl5pPr marL="731520" lvl="4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Barlow Medium" panose="00000600000000000000" pitchFamily="2" charset="0"/>
                  <a:buChar char="–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en-GB" sz="1400" noProof="0" dirty="0">
                    <a:latin typeface="+mn-lt"/>
                    <a:cs typeface="+mn-cs"/>
                  </a:rPr>
                  <a:t>-0.7%</a:t>
                </a:r>
              </a:p>
            </p:txBody>
          </p:sp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88EB2B5D-C8EE-AE6D-1344-1C5027B7D9B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890883" y="4612615"/>
                <a:ext cx="478472" cy="45720"/>
              </a:xfrm>
              <a:prstGeom prst="rect">
                <a:avLst/>
              </a:prstGeom>
              <a:solidFill>
                <a:schemeClr val="tx1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GB" sz="1400" noProof="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1" name="TextBox 190">
                <a:extLst>
                  <a:ext uri="{FF2B5EF4-FFF2-40B4-BE49-F238E27FC236}">
                    <a16:creationId xmlns:a16="http://schemas.microsoft.com/office/drawing/2014/main" id="{3B30811B-DAAF-B255-D7C4-DCFE924EFE4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710364" y="4682921"/>
                <a:ext cx="478472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ctr" anchorCtr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latin typeface="KLM Noa Light" panose="020B0403030000020004" pitchFamily="34" charset="0"/>
                    <a:cs typeface="Arial" panose="020B0604020202020204" pitchFamily="34" charset="0"/>
                    <a:sym typeface="KLM Noa Light" panose="020B0403030000020004" pitchFamily="34" charset="0"/>
                  </a:defRPr>
                </a:lvl1pPr>
                <a:lvl2pPr marL="182880" lvl="1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2pPr>
                <a:lvl3pPr marL="365760" lvl="2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Barlow Medium" panose="00000600000000000000" pitchFamily="2" charset="0"/>
                  <a:buChar char="–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3pPr>
                <a:lvl4pPr marL="548640" lvl="3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4pPr>
                <a:lvl5pPr marL="731520" lvl="4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Barlow Medium" panose="00000600000000000000" pitchFamily="2" charset="0"/>
                  <a:buChar char="–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en-GB" sz="1400" noProof="0" dirty="0">
                    <a:latin typeface="+mn-lt"/>
                    <a:cs typeface="+mn-cs"/>
                  </a:rPr>
                  <a:t>+0.1%</a:t>
                </a: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C865EB4A-0C6C-625B-C539-07E329D615C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710364" y="4612615"/>
                <a:ext cx="478472" cy="45720"/>
              </a:xfrm>
              <a:prstGeom prst="rect">
                <a:avLst/>
              </a:prstGeom>
              <a:solidFill>
                <a:schemeClr val="accent2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GB" sz="1400" noProof="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5" name="TextBox 194">
                <a:extLst>
                  <a:ext uri="{FF2B5EF4-FFF2-40B4-BE49-F238E27FC236}">
                    <a16:creationId xmlns:a16="http://schemas.microsoft.com/office/drawing/2014/main" id="{60ED769E-6B8D-D4E2-42A4-29EE3C0BC37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529845" y="4682921"/>
                <a:ext cx="478472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ctr" anchorCtr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latin typeface="KLM Noa Light" panose="020B0403030000020004" pitchFamily="34" charset="0"/>
                    <a:cs typeface="Arial" panose="020B0604020202020204" pitchFamily="34" charset="0"/>
                    <a:sym typeface="KLM Noa Light" panose="020B0403030000020004" pitchFamily="34" charset="0"/>
                  </a:defRPr>
                </a:lvl1pPr>
                <a:lvl2pPr marL="182880" lvl="1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2pPr>
                <a:lvl3pPr marL="365760" lvl="2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Barlow Medium" panose="00000600000000000000" pitchFamily="2" charset="0"/>
                  <a:buChar char="–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3pPr>
                <a:lvl4pPr marL="548640" lvl="3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4pPr>
                <a:lvl5pPr marL="731520" lvl="4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Barlow Medium" panose="00000600000000000000" pitchFamily="2" charset="0"/>
                  <a:buChar char="–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en-GB" sz="1400" noProof="0" dirty="0">
                    <a:latin typeface="+mn-lt"/>
                    <a:cs typeface="+mn-cs"/>
                  </a:rPr>
                  <a:t>-1.0%</a:t>
                </a:r>
              </a:p>
            </p:txBody>
          </p:sp>
          <p:sp>
            <p:nvSpPr>
              <p:cNvPr id="196" name="Rectangle 195">
                <a:extLst>
                  <a:ext uri="{FF2B5EF4-FFF2-40B4-BE49-F238E27FC236}">
                    <a16:creationId xmlns:a16="http://schemas.microsoft.com/office/drawing/2014/main" id="{401CCDFB-4A6B-CD88-F732-465F414C9A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529845" y="4612615"/>
                <a:ext cx="478472" cy="45720"/>
              </a:xfrm>
              <a:prstGeom prst="rect">
                <a:avLst/>
              </a:prstGeom>
              <a:solidFill>
                <a:schemeClr val="tx1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GB" sz="1400" noProof="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9" name="TextBox 198">
                <a:extLst>
                  <a:ext uri="{FF2B5EF4-FFF2-40B4-BE49-F238E27FC236}">
                    <a16:creationId xmlns:a16="http://schemas.microsoft.com/office/drawing/2014/main" id="{37BEAF95-124F-DF50-1DB9-A3B10F26C92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168807" y="4682921"/>
                <a:ext cx="478472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ctr" anchorCtr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latin typeface="KLM Noa Light" panose="020B0403030000020004" pitchFamily="34" charset="0"/>
                    <a:cs typeface="Arial" panose="020B0604020202020204" pitchFamily="34" charset="0"/>
                    <a:sym typeface="KLM Noa Light" panose="020B0403030000020004" pitchFamily="34" charset="0"/>
                  </a:defRPr>
                </a:lvl1pPr>
                <a:lvl2pPr marL="182880" lvl="1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2pPr>
                <a:lvl3pPr marL="365760" lvl="2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Barlow Medium" panose="00000600000000000000" pitchFamily="2" charset="0"/>
                  <a:buChar char="–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3pPr>
                <a:lvl4pPr marL="548640" lvl="3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4pPr>
                <a:lvl5pPr marL="731520" lvl="4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Barlow Medium" panose="00000600000000000000" pitchFamily="2" charset="0"/>
                  <a:buChar char="–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en-GB" sz="1400" noProof="0" dirty="0">
                    <a:latin typeface="+mn-lt"/>
                    <a:cs typeface="+mn-cs"/>
                  </a:rPr>
                  <a:t>+3.2%</a:t>
                </a:r>
              </a:p>
            </p:txBody>
          </p:sp>
          <p:sp>
            <p:nvSpPr>
              <p:cNvPr id="200" name="Rectangle 199">
                <a:extLst>
                  <a:ext uri="{FF2B5EF4-FFF2-40B4-BE49-F238E27FC236}">
                    <a16:creationId xmlns:a16="http://schemas.microsoft.com/office/drawing/2014/main" id="{BC68A675-8E6B-1895-D608-65B3A7EC1E9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168807" y="4612615"/>
                <a:ext cx="478472" cy="45720"/>
              </a:xfrm>
              <a:prstGeom prst="rect">
                <a:avLst/>
              </a:prstGeom>
              <a:solidFill>
                <a:schemeClr val="accent2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GB" sz="1400" noProof="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3" name="Rectangle 202">
                <a:extLst>
                  <a:ext uri="{FF2B5EF4-FFF2-40B4-BE49-F238E27FC236}">
                    <a16:creationId xmlns:a16="http://schemas.microsoft.com/office/drawing/2014/main" id="{ECE4D5D1-EE06-9899-45FF-D8B935DDB8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349326" y="4612615"/>
                <a:ext cx="478472" cy="45720"/>
              </a:xfrm>
              <a:prstGeom prst="rect">
                <a:avLst/>
              </a:prstGeom>
              <a:solidFill>
                <a:schemeClr val="accent2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GB" sz="1400" noProof="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4" name="TextBox 203">
                <a:extLst>
                  <a:ext uri="{FF2B5EF4-FFF2-40B4-BE49-F238E27FC236}">
                    <a16:creationId xmlns:a16="http://schemas.microsoft.com/office/drawing/2014/main" id="{0FACE65C-F137-CEF4-FC37-18EC1CEC42E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349326" y="4682921"/>
                <a:ext cx="478472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ctr" anchorCtr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latin typeface="KLM Noa Light" panose="020B0403030000020004" pitchFamily="34" charset="0"/>
                    <a:cs typeface="Arial" panose="020B0604020202020204" pitchFamily="34" charset="0"/>
                    <a:sym typeface="KLM Noa Light" panose="020B0403030000020004" pitchFamily="34" charset="0"/>
                  </a:defRPr>
                </a:lvl1pPr>
                <a:lvl2pPr marL="182880" lvl="1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2pPr>
                <a:lvl3pPr marL="365760" lvl="2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Barlow Medium" panose="00000600000000000000" pitchFamily="2" charset="0"/>
                  <a:buChar char="–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3pPr>
                <a:lvl4pPr marL="548640" lvl="3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4pPr>
                <a:lvl5pPr marL="731520" lvl="4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Barlow Medium" panose="00000600000000000000" pitchFamily="2" charset="0"/>
                  <a:buChar char="–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en-GB" sz="1400" noProof="0" dirty="0">
                    <a:latin typeface="+mn-lt"/>
                    <a:cs typeface="+mn-cs"/>
                  </a:rPr>
                  <a:t>+2.8%</a:t>
                </a:r>
              </a:p>
            </p:txBody>
          </p:sp>
          <p:sp>
            <p:nvSpPr>
              <p:cNvPr id="207" name="TextBox 206">
                <a:extLst>
                  <a:ext uri="{FF2B5EF4-FFF2-40B4-BE49-F238E27FC236}">
                    <a16:creationId xmlns:a16="http://schemas.microsoft.com/office/drawing/2014/main" id="{AA9A50B0-F7FF-FF9D-3D5B-DA066E61C65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793478" y="4682921"/>
                <a:ext cx="478472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ctr" anchorCtr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latin typeface="KLM Noa Light" panose="020B0403030000020004" pitchFamily="34" charset="0"/>
                    <a:cs typeface="Arial" panose="020B0604020202020204" pitchFamily="34" charset="0"/>
                    <a:sym typeface="KLM Noa Light" panose="020B0403030000020004" pitchFamily="34" charset="0"/>
                  </a:defRPr>
                </a:lvl1pPr>
                <a:lvl2pPr marL="182880" lvl="1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2pPr>
                <a:lvl3pPr marL="365760" lvl="2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Barlow Medium" panose="00000600000000000000" pitchFamily="2" charset="0"/>
                  <a:buChar char="–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3pPr>
                <a:lvl4pPr marL="548640" lvl="3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4pPr>
                <a:lvl5pPr marL="731520" lvl="4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 typeface="Barlow Medium" panose="00000600000000000000" pitchFamily="2" charset="0"/>
                  <a:buChar char="–"/>
                  <a:defRPr lang="en-US" sz="1600" dirty="0">
                    <a:latin typeface="KLM Noa Light" panose="020B0403030000020004" pitchFamily="34" charset="0"/>
                    <a:sym typeface="KLM Noa Light" panose="020B0403030000020004" pitchFamily="34" charset="0"/>
                  </a:defRPr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en-GB" sz="1400" noProof="0" dirty="0">
                    <a:latin typeface="+mn-lt"/>
                    <a:cs typeface="+mn-cs"/>
                  </a:rPr>
                  <a:t>+1.4%</a:t>
                </a:r>
              </a:p>
            </p:txBody>
          </p:sp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2D5AE6E5-C840-4D5F-CA56-CA5FA7A98E0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793478" y="4612615"/>
                <a:ext cx="478472" cy="45720"/>
              </a:xfrm>
              <a:prstGeom prst="rect">
                <a:avLst/>
              </a:prstGeom>
              <a:solidFill>
                <a:schemeClr val="accent2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GB" sz="1400" noProof="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69" name="TextBox 168">
            <a:extLst>
              <a:ext uri="{FF2B5EF4-FFF2-40B4-BE49-F238E27FC236}">
                <a16:creationId xmlns:a16="http://schemas.microsoft.com/office/drawing/2014/main" id="{B280BF59-C5F8-F175-A527-F55A6641A420}"/>
              </a:ext>
            </a:extLst>
          </p:cNvPr>
          <p:cNvSpPr txBox="1">
            <a:spLocks/>
          </p:cNvSpPr>
          <p:nvPr/>
        </p:nvSpPr>
        <p:spPr>
          <a:xfrm>
            <a:off x="1973997" y="5620397"/>
            <a:ext cx="478472" cy="246221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KLM Noa Light" panose="020B0403030000020004" pitchFamily="34" charset="0"/>
                <a:cs typeface="Arial" panose="020B0604020202020204" pitchFamily="34" charset="0"/>
                <a:sym typeface="KLM Noa Light" panose="020B04030300000200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sz="1400" noProof="0" dirty="0">
                <a:latin typeface="+mn-lt"/>
                <a:cs typeface="+mn-cs"/>
              </a:rPr>
              <a:t>-5.4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34CE5115-45E3-6407-95E0-7E5CA4F04E50}"/>
              </a:ext>
            </a:extLst>
          </p:cNvPr>
          <p:cNvSpPr>
            <a:spLocks/>
          </p:cNvSpPr>
          <p:nvPr/>
        </p:nvSpPr>
        <p:spPr>
          <a:xfrm>
            <a:off x="1973997" y="5550091"/>
            <a:ext cx="478472" cy="45720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109A4F95-09B4-4C1A-5557-80F986824E35}"/>
              </a:ext>
            </a:extLst>
          </p:cNvPr>
          <p:cNvSpPr txBox="1">
            <a:spLocks/>
          </p:cNvSpPr>
          <p:nvPr/>
        </p:nvSpPr>
        <p:spPr>
          <a:xfrm>
            <a:off x="3612959" y="5620397"/>
            <a:ext cx="478472" cy="246221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KLM Noa Light" panose="020B0403030000020004" pitchFamily="34" charset="0"/>
                <a:cs typeface="Arial" panose="020B0604020202020204" pitchFamily="34" charset="0"/>
                <a:sym typeface="KLM Noa Light" panose="020B04030300000200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sz="1400" noProof="0" dirty="0">
                <a:latin typeface="+mn-lt"/>
                <a:cs typeface="+mn-cs"/>
              </a:rPr>
              <a:t>-0.7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4A2A4D81-96A9-A9A8-EAAE-4806EF0BA983}"/>
              </a:ext>
            </a:extLst>
          </p:cNvPr>
          <p:cNvSpPr>
            <a:spLocks/>
          </p:cNvSpPr>
          <p:nvPr/>
        </p:nvSpPr>
        <p:spPr>
          <a:xfrm>
            <a:off x="3612959" y="5550091"/>
            <a:ext cx="478472" cy="45720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541EC641-2682-E803-E956-50F559E47C91}"/>
              </a:ext>
            </a:extLst>
          </p:cNvPr>
          <p:cNvSpPr txBox="1">
            <a:spLocks/>
          </p:cNvSpPr>
          <p:nvPr/>
        </p:nvSpPr>
        <p:spPr>
          <a:xfrm>
            <a:off x="4432440" y="5620397"/>
            <a:ext cx="478472" cy="246221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KLM Noa Light" panose="020B0403030000020004" pitchFamily="34" charset="0"/>
                <a:cs typeface="Arial" panose="020B0604020202020204" pitchFamily="34" charset="0"/>
                <a:sym typeface="KLM Noa Light" panose="020B04030300000200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sz="1400" noProof="0" dirty="0">
                <a:latin typeface="+mn-lt"/>
                <a:cs typeface="+mn-cs"/>
              </a:rPr>
              <a:t>-2.0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8E212861-11C4-E22A-199D-4863B37473F3}"/>
              </a:ext>
            </a:extLst>
          </p:cNvPr>
          <p:cNvSpPr>
            <a:spLocks/>
          </p:cNvSpPr>
          <p:nvPr/>
        </p:nvSpPr>
        <p:spPr>
          <a:xfrm>
            <a:off x="4432440" y="5550091"/>
            <a:ext cx="478472" cy="45720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E855745A-E9A9-2BDC-5DCE-8BEA59CCC53B}"/>
              </a:ext>
            </a:extLst>
          </p:cNvPr>
          <p:cNvSpPr txBox="1">
            <a:spLocks/>
          </p:cNvSpPr>
          <p:nvPr/>
        </p:nvSpPr>
        <p:spPr>
          <a:xfrm>
            <a:off x="5251921" y="5620397"/>
            <a:ext cx="478472" cy="246221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KLM Noa Light" panose="020B0403030000020004" pitchFamily="34" charset="0"/>
                <a:cs typeface="Arial" panose="020B0604020202020204" pitchFamily="34" charset="0"/>
                <a:sym typeface="KLM Noa Light" panose="020B04030300000200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sz="1400" noProof="0" dirty="0">
                <a:latin typeface="+mn-lt"/>
                <a:cs typeface="+mn-cs"/>
              </a:rPr>
              <a:t>-6.6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E8225F2F-4CCD-C0E6-5531-900D1F126D56}"/>
              </a:ext>
            </a:extLst>
          </p:cNvPr>
          <p:cNvSpPr>
            <a:spLocks/>
          </p:cNvSpPr>
          <p:nvPr/>
        </p:nvSpPr>
        <p:spPr>
          <a:xfrm>
            <a:off x="5251921" y="5550091"/>
            <a:ext cx="478472" cy="45720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3D9ED5FD-1AC7-4CBD-C77F-1D1818842228}"/>
              </a:ext>
            </a:extLst>
          </p:cNvPr>
          <p:cNvSpPr txBox="1">
            <a:spLocks/>
          </p:cNvSpPr>
          <p:nvPr/>
        </p:nvSpPr>
        <p:spPr>
          <a:xfrm>
            <a:off x="6071402" y="5620397"/>
            <a:ext cx="478472" cy="246221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KLM Noa Light" panose="020B0403030000020004" pitchFamily="34" charset="0"/>
                <a:cs typeface="Arial" panose="020B0604020202020204" pitchFamily="34" charset="0"/>
                <a:sym typeface="KLM Noa Light" panose="020B04030300000200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sz="1400" noProof="0" dirty="0">
                <a:latin typeface="+mn-lt"/>
                <a:cs typeface="+mn-cs"/>
              </a:rPr>
              <a:t>-0.3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0F49BDD1-348D-10EC-C478-C7F8E82C9644}"/>
              </a:ext>
            </a:extLst>
          </p:cNvPr>
          <p:cNvSpPr>
            <a:spLocks/>
          </p:cNvSpPr>
          <p:nvPr/>
        </p:nvSpPr>
        <p:spPr>
          <a:xfrm>
            <a:off x="6071402" y="5550091"/>
            <a:ext cx="478472" cy="45720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612A1A51-6843-23A3-0002-874F941D71B3}"/>
              </a:ext>
            </a:extLst>
          </p:cNvPr>
          <p:cNvSpPr txBox="1">
            <a:spLocks/>
          </p:cNvSpPr>
          <p:nvPr/>
        </p:nvSpPr>
        <p:spPr>
          <a:xfrm>
            <a:off x="6890883" y="5620397"/>
            <a:ext cx="478472" cy="246221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KLM Noa Light" panose="020B0403030000020004" pitchFamily="34" charset="0"/>
                <a:cs typeface="Arial" panose="020B0604020202020204" pitchFamily="34" charset="0"/>
                <a:sym typeface="KLM Noa Light" panose="020B04030300000200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sz="1400" noProof="0" dirty="0">
                <a:latin typeface="+mn-lt"/>
                <a:cs typeface="+mn-cs"/>
              </a:rPr>
              <a:t>-1.3</a:t>
            </a: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7CDB69BC-059C-0734-E29C-82EBEF0D9973}"/>
              </a:ext>
            </a:extLst>
          </p:cNvPr>
          <p:cNvSpPr>
            <a:spLocks/>
          </p:cNvSpPr>
          <p:nvPr/>
        </p:nvSpPr>
        <p:spPr>
          <a:xfrm>
            <a:off x="6890883" y="5550091"/>
            <a:ext cx="478472" cy="45720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7252781A-7BD8-D088-51AA-D469CF72EA60}"/>
              </a:ext>
            </a:extLst>
          </p:cNvPr>
          <p:cNvSpPr txBox="1">
            <a:spLocks/>
          </p:cNvSpPr>
          <p:nvPr/>
        </p:nvSpPr>
        <p:spPr>
          <a:xfrm>
            <a:off x="7710364" y="5620397"/>
            <a:ext cx="478472" cy="246221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KLM Noa Light" panose="020B0403030000020004" pitchFamily="34" charset="0"/>
                <a:cs typeface="Arial" panose="020B0604020202020204" pitchFamily="34" charset="0"/>
                <a:sym typeface="KLM Noa Light" panose="020B04030300000200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sz="1400" noProof="0" dirty="0">
                <a:latin typeface="+mn-lt"/>
                <a:cs typeface="+mn-cs"/>
              </a:rPr>
              <a:t>-0.2</a:t>
            </a: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F4ACA2FD-54BD-2938-776D-F788956C5E6B}"/>
              </a:ext>
            </a:extLst>
          </p:cNvPr>
          <p:cNvSpPr>
            <a:spLocks/>
          </p:cNvSpPr>
          <p:nvPr/>
        </p:nvSpPr>
        <p:spPr>
          <a:xfrm>
            <a:off x="7710364" y="5550091"/>
            <a:ext cx="478472" cy="45720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BE28D4CB-B9F2-5AF7-2618-553310AF90D9}"/>
              </a:ext>
            </a:extLst>
          </p:cNvPr>
          <p:cNvSpPr txBox="1">
            <a:spLocks/>
          </p:cNvSpPr>
          <p:nvPr/>
        </p:nvSpPr>
        <p:spPr>
          <a:xfrm>
            <a:off x="8529845" y="5620397"/>
            <a:ext cx="478472" cy="246221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KLM Noa Light" panose="020B0403030000020004" pitchFamily="34" charset="0"/>
                <a:cs typeface="Arial" panose="020B0604020202020204" pitchFamily="34" charset="0"/>
                <a:sym typeface="KLM Noa Light" panose="020B04030300000200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sz="1400" noProof="0" dirty="0">
                <a:latin typeface="+mn-lt"/>
                <a:cs typeface="+mn-cs"/>
              </a:rPr>
              <a:t>+11.0</a:t>
            </a: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5D3F83B8-3783-F6D6-1A70-62C8C1F9AA38}"/>
              </a:ext>
            </a:extLst>
          </p:cNvPr>
          <p:cNvSpPr>
            <a:spLocks/>
          </p:cNvSpPr>
          <p:nvPr/>
        </p:nvSpPr>
        <p:spPr>
          <a:xfrm>
            <a:off x="8529845" y="5550091"/>
            <a:ext cx="478472" cy="4572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86CA6195-86BF-241D-19B2-987D2210E7B2}"/>
              </a:ext>
            </a:extLst>
          </p:cNvPr>
          <p:cNvSpPr txBox="1">
            <a:spLocks/>
          </p:cNvSpPr>
          <p:nvPr/>
        </p:nvSpPr>
        <p:spPr>
          <a:xfrm>
            <a:off x="10168807" y="5620397"/>
            <a:ext cx="478472" cy="246221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KLM Noa Light" panose="020B0403030000020004" pitchFamily="34" charset="0"/>
                <a:cs typeface="Arial" panose="020B0604020202020204" pitchFamily="34" charset="0"/>
                <a:sym typeface="KLM Noa Light" panose="020B04030300000200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sz="1400" noProof="0" dirty="0">
                <a:latin typeface="+mn-lt"/>
                <a:cs typeface="+mn-cs"/>
              </a:rPr>
              <a:t>+0.2</a:t>
            </a: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6686536D-5F3D-6150-02E2-0C904A20B8E9}"/>
              </a:ext>
            </a:extLst>
          </p:cNvPr>
          <p:cNvSpPr>
            <a:spLocks/>
          </p:cNvSpPr>
          <p:nvPr/>
        </p:nvSpPr>
        <p:spPr>
          <a:xfrm>
            <a:off x="10168807" y="5550091"/>
            <a:ext cx="478472" cy="45720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70514C9E-536B-C194-059E-5BD63C8BBA48}"/>
              </a:ext>
            </a:extLst>
          </p:cNvPr>
          <p:cNvSpPr>
            <a:spLocks/>
          </p:cNvSpPr>
          <p:nvPr/>
        </p:nvSpPr>
        <p:spPr>
          <a:xfrm>
            <a:off x="9349326" y="5550091"/>
            <a:ext cx="478472" cy="45720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3021E1A0-06E0-CEF4-C962-2879CEC773B9}"/>
              </a:ext>
            </a:extLst>
          </p:cNvPr>
          <p:cNvSpPr txBox="1">
            <a:spLocks/>
          </p:cNvSpPr>
          <p:nvPr/>
        </p:nvSpPr>
        <p:spPr>
          <a:xfrm>
            <a:off x="9349326" y="5620397"/>
            <a:ext cx="478472" cy="246221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KLM Noa Light" panose="020B0403030000020004" pitchFamily="34" charset="0"/>
                <a:cs typeface="Arial" panose="020B0604020202020204" pitchFamily="34" charset="0"/>
                <a:sym typeface="KLM Noa Light" panose="020B04030300000200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sz="1400" noProof="0" dirty="0">
                <a:latin typeface="+mn-lt"/>
                <a:cs typeface="+mn-cs"/>
              </a:rPr>
              <a:t>+1.3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D015016F-C742-CFCE-0E8B-EC0687E1C5B7}"/>
              </a:ext>
            </a:extLst>
          </p:cNvPr>
          <p:cNvSpPr txBox="1">
            <a:spLocks/>
          </p:cNvSpPr>
          <p:nvPr/>
        </p:nvSpPr>
        <p:spPr>
          <a:xfrm>
            <a:off x="2793478" y="5620397"/>
            <a:ext cx="478472" cy="246221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KLM Noa Light" panose="020B0403030000020004" pitchFamily="34" charset="0"/>
                <a:cs typeface="Arial" panose="020B0604020202020204" pitchFamily="34" charset="0"/>
                <a:sym typeface="KLM Noa Light" panose="020B04030300000200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sz="1400" noProof="0" dirty="0">
                <a:latin typeface="+mn-lt"/>
                <a:cs typeface="+mn-cs"/>
              </a:rPr>
              <a:t>+0.8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A2DFF673-E8F3-3F76-97CA-C24441B85951}"/>
              </a:ext>
            </a:extLst>
          </p:cNvPr>
          <p:cNvSpPr>
            <a:spLocks/>
          </p:cNvSpPr>
          <p:nvPr/>
        </p:nvSpPr>
        <p:spPr>
          <a:xfrm>
            <a:off x="2793478" y="5550091"/>
            <a:ext cx="478472" cy="45720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682979DA-74DD-2C29-DF17-61452478EBD7}"/>
              </a:ext>
            </a:extLst>
          </p:cNvPr>
          <p:cNvSpPr txBox="1">
            <a:spLocks/>
          </p:cNvSpPr>
          <p:nvPr/>
        </p:nvSpPr>
        <p:spPr>
          <a:xfrm>
            <a:off x="554736" y="5385189"/>
            <a:ext cx="1257880" cy="6463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1400" b="1" noProof="0" dirty="0"/>
              <a:t>Change vs. av. </a:t>
            </a:r>
            <a:br>
              <a:rPr lang="en-GB" sz="1400" b="1" noProof="0" dirty="0"/>
            </a:br>
            <a:r>
              <a:rPr lang="en-GB" sz="1400" b="1" noProof="0" dirty="0"/>
              <a:t>2012-2019, </a:t>
            </a:r>
            <a:r>
              <a:rPr lang="en-GB" sz="1400" noProof="0" dirty="0"/>
              <a:t>USD </a:t>
            </a:r>
            <a:r>
              <a:rPr lang="en-GB" sz="1400" noProof="0" dirty="0" err="1"/>
              <a:t>bln</a:t>
            </a:r>
            <a:endParaRPr lang="en-GB" sz="1400" noProof="0" dirty="0"/>
          </a:p>
        </p:txBody>
      </p: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1F674A2F-A1F4-46F8-7500-E9F9B509811C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4144963" y="1966913"/>
            <a:ext cx="2333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A1298384-B4EB-A853-DC29-224F994A8D81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10701338" y="3378200"/>
            <a:ext cx="2333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F09F3358-DE30-7DF1-E0B6-2FDC7C223996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9882188" y="3413125"/>
            <a:ext cx="2333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0CB941FD-5CDA-83C2-C889-081889FA4A9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9061450" y="3749675"/>
            <a:ext cx="2333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B709349B-72DC-8D98-BC66-1ABE05C513B2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8242300" y="2555875"/>
            <a:ext cx="2333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DB6F2586-A77F-CBC3-3C74-CE880D421979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7423150" y="2551113"/>
            <a:ext cx="2333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FBEBBAA6-FD3B-1563-835B-9E34573B6F8C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6604000" y="2517775"/>
            <a:ext cx="2333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942DA952-CD72-F096-0729-FF48A04D74EA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2505075" y="2174875"/>
            <a:ext cx="2333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20431351-9465-58DC-0BE7-FE88E4D024A6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5783263" y="2538413"/>
            <a:ext cx="2333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6EA29CCD-5820-1A1F-FE91-B7F46BE838C1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4964113" y="2003425"/>
            <a:ext cx="2333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56DDF7CE-7256-343B-E481-81F6421337DE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3325813" y="2071688"/>
            <a:ext cx="2333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3" name="Rectangle 222">
            <a:extLst>
              <a:ext uri="{FF2B5EF4-FFF2-40B4-BE49-F238E27FC236}">
                <a16:creationId xmlns:a16="http://schemas.microsoft.com/office/drawing/2014/main" id="{51F5A070-5694-B0AB-8CC8-11C25075590C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7656513" y="2551113"/>
            <a:ext cx="585788" cy="4763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noProof="0" dirty="0">
              <a:solidFill>
                <a:schemeClr val="bg1"/>
              </a:solidFill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B1777793-9576-061B-7E1F-13283B84FBF1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991892527"/>
              </p:ext>
            </p:extLst>
          </p:nvPr>
        </p:nvGraphicFramePr>
        <p:xfrm>
          <a:off x="1720850" y="1411288"/>
          <a:ext cx="9999663" cy="2776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41CA23F6-64C8-9C5C-379C-D0BAA1E1B92D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10160000" y="4046538"/>
            <a:ext cx="496888" cy="63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785F208-38A5-4130-B0AD-EF3D710A86BE}" type="datetime'''''''G''''''''D''''S ''/&#10;''tr''ave''l te''''''ch'''">
              <a:rPr lang="en-GB" sz="1400" noProof="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GDS /
travel tech</a:t>
            </a:fld>
            <a:endParaRPr lang="en-GB" sz="1400" noProof="0" dirty="0">
              <a:cs typeface="+mn-cs"/>
            </a:endParaRPr>
          </a:p>
        </p:txBody>
      </p:sp>
      <p:sp>
        <p:nvSpPr>
          <p:cNvPr id="234" name="Text Placeholder 2">
            <a:extLst>
              <a:ext uri="{FF2B5EF4-FFF2-40B4-BE49-F238E27FC236}">
                <a16:creationId xmlns:a16="http://schemas.microsoft.com/office/drawing/2014/main" id="{89329B5E-801A-0D41-C685-9B78589EAF0E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9164638" y="4046537"/>
            <a:ext cx="849313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AEF75CD-948D-45F2-B4CE-A65415B9FC14}" type="datetime'''''F''re''igh''t'''''''''''' ''f''o''r''''''wa''r''d''''ers'">
              <a:rPr lang="en-GB" sz="1400" noProof="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Freight forwarders</a:t>
            </a:fld>
            <a:endParaRPr lang="en-GB" sz="1400" noProof="0" dirty="0">
              <a:cs typeface="+mn-cs"/>
            </a:endParaRPr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F4BEB70C-35C6-987D-2476-14B48135AE37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0812463" y="4046538"/>
            <a:ext cx="830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E161B70-8A85-450E-B8F5-A31F21783A70}" type="datetime'''''''A''''g''''''gr''''''''''''''e''ga''''t''e'''''''''''''">
              <a:rPr lang="en-GB" sz="1400" noProof="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ggregate</a:t>
            </a:fld>
            <a:endParaRPr lang="en-GB" sz="1400" noProof="0" dirty="0">
              <a:cs typeface="+mn-cs"/>
            </a:endParaRPr>
          </a:p>
        </p:txBody>
      </p:sp>
      <p:sp>
        <p:nvSpPr>
          <p:cNvPr id="233" name="Text Placeholder 2">
            <a:extLst>
              <a:ext uri="{FF2B5EF4-FFF2-40B4-BE49-F238E27FC236}">
                <a16:creationId xmlns:a16="http://schemas.microsoft.com/office/drawing/2014/main" id="{60FB9838-9CD7-66EE-1479-F9C5ED9FCD2A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8470900" y="4046538"/>
            <a:ext cx="5953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299A9DA-F028-4DCF-AA78-C3AE1D0F7CBF}" type="datetime'''''Ai''''''''''''r''''''li''''n''e''''''''''''''''''''s'''''">
              <a:rPr lang="en-GB" sz="1400" noProof="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irlines</a:t>
            </a:fld>
            <a:endParaRPr lang="en-GB" sz="1400" noProof="0" dirty="0">
              <a:cs typeface="+mn-cs"/>
            </a:endParaRPr>
          </a:p>
        </p:txBody>
      </p:sp>
      <p:sp>
        <p:nvSpPr>
          <p:cNvPr id="232" name="Text Placeholder 2">
            <a:extLst>
              <a:ext uri="{FF2B5EF4-FFF2-40B4-BE49-F238E27FC236}">
                <a16:creationId xmlns:a16="http://schemas.microsoft.com/office/drawing/2014/main" id="{AC9E1EE3-F8F6-7E7A-5A13-F2F87201ED40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7735887" y="4046538"/>
            <a:ext cx="4270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948FE41-5593-436B-8620-6E2D4237910D}" type="datetime'''M''''''''''''''''''''R''''''''O'''''''''''''''''">
              <a:rPr lang="en-GB" sz="1400" noProof="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RO</a:t>
            </a:fld>
            <a:endParaRPr lang="en-GB" sz="1400" noProof="0" dirty="0">
              <a:cs typeface="+mn-cs"/>
            </a:endParaRPr>
          </a:p>
        </p:txBody>
      </p:sp>
      <p:sp>
        <p:nvSpPr>
          <p:cNvPr id="231" name="Text Placeholder 2">
            <a:extLst>
              <a:ext uri="{FF2B5EF4-FFF2-40B4-BE49-F238E27FC236}">
                <a16:creationId xmlns:a16="http://schemas.microsoft.com/office/drawing/2014/main" id="{54EF922F-8E21-17F2-493F-732070868041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6797675" y="4046537"/>
            <a:ext cx="663575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B15B755-3DFA-45C7-9301-FFFA88E2ACBD}" type="datetime'G''''r''oun''''''d'' ''''''''se''''r''vic''es'''''''''">
              <a:rPr lang="en-GB" sz="1400" noProof="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Ground services</a:t>
            </a:fld>
            <a:endParaRPr lang="en-GB" sz="1400" noProof="0" dirty="0">
              <a:cs typeface="+mn-cs"/>
            </a:endParaRPr>
          </a:p>
        </p:txBody>
      </p:sp>
      <p:sp>
        <p:nvSpPr>
          <p:cNvPr id="230" name="Text Placeholder 2">
            <a:extLst>
              <a:ext uri="{FF2B5EF4-FFF2-40B4-BE49-F238E27FC236}">
                <a16:creationId xmlns:a16="http://schemas.microsoft.com/office/drawing/2014/main" id="{3FC27596-6612-B434-5D8B-D1219CF3B6D3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969000" y="4046538"/>
            <a:ext cx="6826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F049B56-3022-4163-8B1F-98BA07BAB53A}" type="datetime'C''''a''''''''''t''''''''''''''e''''r''''i''n''''g'''''">
              <a:rPr lang="en-GB" sz="1400" noProof="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atering</a:t>
            </a:fld>
            <a:endParaRPr lang="en-GB" sz="1400" noProof="0" dirty="0">
              <a:cs typeface="+mn-cs"/>
            </a:endParaRPr>
          </a:p>
        </p:txBody>
      </p:sp>
      <p:sp>
        <p:nvSpPr>
          <p:cNvPr id="229" name="Text Placeholder 2">
            <a:extLst>
              <a:ext uri="{FF2B5EF4-FFF2-40B4-BE49-F238E27FC236}">
                <a16:creationId xmlns:a16="http://schemas.microsoft.com/office/drawing/2014/main" id="{4C39BABC-0B30-E203-BB87-04EECA62A00D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5178424" y="4046538"/>
            <a:ext cx="623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ABB8A3C-AAEB-4207-9B47-62BF118C09C8}" type="datetime'''''''''''''A''''''irpo''''rts'''''''''''''''''''''''''''''">
              <a:rPr lang="en-GB" sz="1400" noProof="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irports</a:t>
            </a:fld>
            <a:endParaRPr lang="en-GB" sz="1400" noProof="0" dirty="0">
              <a:cs typeface="+mn-cs"/>
            </a:endParaRPr>
          </a:p>
        </p:txBody>
      </p:sp>
      <p:sp>
        <p:nvSpPr>
          <p:cNvPr id="228" name="Text Placeholder 2">
            <a:extLst>
              <a:ext uri="{FF2B5EF4-FFF2-40B4-BE49-F238E27FC236}">
                <a16:creationId xmlns:a16="http://schemas.microsoft.com/office/drawing/2014/main" id="{E2F65E79-C58B-986A-6C14-62A442D26CDE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217988" y="4046537"/>
            <a:ext cx="906463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65CC4C4-AA9C-4EAA-95CA-E0BF71652484}" type="datetime'F''''''u''e''''''l'''' ''pr''''odu''''''c''''ti''''on'''''">
              <a:rPr lang="en-GB" sz="1400" noProof="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Fuel production</a:t>
            </a:fld>
            <a:r>
              <a:rPr lang="en-GB" sz="1400" baseline="30000" noProof="0" dirty="0">
                <a:cs typeface="+mn-cs"/>
              </a:rPr>
              <a:t>4</a:t>
            </a:r>
            <a:r>
              <a:rPr lang="en-GB" sz="1400" noProof="0" dirty="0">
                <a:cs typeface="+mn-cs"/>
              </a:rPr>
              <a:t> </a:t>
            </a:r>
          </a:p>
        </p:txBody>
      </p:sp>
      <p:sp>
        <p:nvSpPr>
          <p:cNvPr id="227" name="Text Placeholder 2">
            <a:extLst>
              <a:ext uri="{FF2B5EF4-FFF2-40B4-BE49-F238E27FC236}">
                <a16:creationId xmlns:a16="http://schemas.microsoft.com/office/drawing/2014/main" id="{C2382D09-1AA4-D943-55FA-038D41823F8B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3568700" y="4046538"/>
            <a:ext cx="565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3E4C3B4-C300-4D44-BF0F-8FAA2FF4F20C}" type="datetime'''''''''A''''''''''''''''NS''''''''P'''''''''''''''''''''">
              <a:rPr lang="en-GB" sz="1400" noProof="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NSP</a:t>
            </a:fld>
            <a:r>
              <a:rPr lang="en-GB" sz="1400" baseline="30000" noProof="0" dirty="0">
                <a:cs typeface="+mn-cs"/>
              </a:rPr>
              <a:t>3</a:t>
            </a:r>
            <a:r>
              <a:rPr lang="en-GB" sz="1400" noProof="0" dirty="0">
                <a:cs typeface="+mn-cs"/>
              </a:rPr>
              <a:t> </a:t>
            </a:r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81F7C9B4-6130-CE63-CE00-FC23DE268630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2716213" y="4046538"/>
            <a:ext cx="633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F31404A-95F8-4D60-BE6F-8DA15F58200D}" type="datetime'''''''''''Le''''ss''''''''''o''''''''r''s'''''''''''''">
              <a:rPr lang="en-GB" sz="1400" noProof="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Lessors</a:t>
            </a:fld>
            <a:endParaRPr lang="en-GB" sz="1400" noProof="0" dirty="0">
              <a:cs typeface="+mn-cs"/>
            </a:endParaRPr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9848934E-AF12-5A83-C904-4DE6DCB9165C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2884488" y="1833563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ED5B2FA-E210-42A7-9B4F-D283FF0195E2}" type="datetime'''''''''''''''''''''''''0''''''''''''''''''''''.9'''''''''">
              <a:rPr lang="en-GB" sz="1400" noProof="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9</a:t>
            </a:fld>
            <a:endParaRPr lang="en-GB" sz="1400" noProof="0" dirty="0">
              <a:cs typeface="+mn-cs"/>
            </a:endParaRPr>
          </a:p>
        </p:txBody>
      </p: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0923DF4B-44F6-EC41-DD53-4FA6B2375423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3703638" y="1728788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3B707FD-A5CA-4050-B961-1F90B91A52F3}" type="datetime'''''''''''0''''''''''.''''''9'''''''''''''''''''''''''''''">
              <a:rPr lang="en-GB" sz="1400" noProof="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9</a:t>
            </a:fld>
            <a:endParaRPr lang="en-GB" sz="1400" noProof="0" dirty="0">
              <a:cs typeface="+mn-cs"/>
            </a:endParaRPr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F0EF3B28-49E9-E77B-BB4C-F3CBC7575FFB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6162675" y="2279650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128EDA7-AE33-421D-9A40-D8302E37E2F1}" type="datetime'''''''''''''0.''''''''''2'''''">
              <a:rPr lang="en-GB" sz="1400" noProof="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2</a:t>
            </a:fld>
            <a:endParaRPr lang="en-GB" sz="1400" noProof="0" dirty="0">
              <a:cs typeface="+mn-cs"/>
            </a:endParaRPr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5DB69824-2035-D3F8-D50D-37D9216252F5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7874000" y="2581275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73F279B-B109-4289-B18F-BE3BE07F80EC}" type="datetime'''''''''''''''''''''0'''''''''''''''''''''''''''''">
              <a:rPr lang="en-GB" sz="1400" noProof="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GB" sz="1400" noProof="0" dirty="0">
              <a:cs typeface="+mn-cs"/>
            </a:endParaRPr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5A334CCB-4034-4DC8-9E7E-9FCED516CA9B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9440863" y="3175000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EA04852-6E63-41C1-9F1B-08F8572024C4}" type="datetime'''''''''''''''''2''''''''''''.''''''''''''''''''''''''8'''''">
              <a:rPr lang="en-GB" sz="1400" noProof="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.8</a:t>
            </a:fld>
            <a:endParaRPr lang="en-GB" sz="1400" noProof="0" dirty="0">
              <a:cs typeface="+mn-cs"/>
            </a:endParaRPr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9CAFFA94-719D-3497-D3CB-B60E7DB84FF6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10260013" y="3140075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3420F0E-E5AF-489B-912F-E382726A6C0F}" type="datetime'''0''''''''.''''3'''''''''''''''''''''''''''''''''''">
              <a:rPr lang="en-GB" sz="1400" noProof="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3</a:t>
            </a:fld>
            <a:endParaRPr lang="en-GB" sz="1400" noProof="0" dirty="0">
              <a:cs typeface="+mn-cs"/>
            </a:endParaRPr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id="{CC9C67F3-C04D-EFC1-1C1B-02304D36D147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1865313" y="4046537"/>
            <a:ext cx="69215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sz="1400" noProof="0" dirty="0" err="1">
                <a:cs typeface="+mn-cs"/>
              </a:rPr>
              <a:t>Manufac-turers</a:t>
            </a:r>
            <a:endParaRPr lang="en-GB" sz="1400" noProof="0" dirty="0"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9D13289-E26C-30BE-2C7C-64FB97DF2335}"/>
              </a:ext>
            </a:extLst>
          </p:cNvPr>
          <p:cNvGrpSpPr/>
          <p:nvPr/>
        </p:nvGrpSpPr>
        <p:grpSpPr>
          <a:xfrm>
            <a:off x="9531163" y="1384481"/>
            <a:ext cx="2106101" cy="153888"/>
            <a:chOff x="9474519" y="1384481"/>
            <a:chExt cx="2106101" cy="153888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299AB561-8ECF-6EEF-4DF4-2A75C7828F7F}"/>
                </a:ext>
              </a:extLst>
            </p:cNvPr>
            <p:cNvSpPr/>
            <p:nvPr/>
          </p:nvSpPr>
          <p:spPr>
            <a:xfrm>
              <a:off x="9474519" y="1384551"/>
              <a:ext cx="153749" cy="15374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1E5748A-7182-5D25-AFEA-87A207312A2B}"/>
                </a:ext>
              </a:extLst>
            </p:cNvPr>
            <p:cNvSpPr txBox="1"/>
            <p:nvPr/>
          </p:nvSpPr>
          <p:spPr>
            <a:xfrm>
              <a:off x="9712879" y="1384481"/>
              <a:ext cx="694101" cy="153888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6pPr>
              <a:lvl7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7pPr>
              <a:lvl8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8pPr>
              <a:lvl9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Positive EP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4F0DCE7-D794-02C1-1C73-3FC57D45FE65}"/>
                </a:ext>
              </a:extLst>
            </p:cNvPr>
            <p:cNvSpPr/>
            <p:nvPr/>
          </p:nvSpPr>
          <p:spPr>
            <a:xfrm>
              <a:off x="10604879" y="1384551"/>
              <a:ext cx="153749" cy="153749"/>
            </a:xfrm>
            <a:prstGeom prst="rect">
              <a:avLst/>
            </a:prstGeom>
            <a:solidFill>
              <a:schemeClr val="tx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88E87F8-D1F9-79DB-7C54-172664AB3529}"/>
                </a:ext>
              </a:extLst>
            </p:cNvPr>
            <p:cNvSpPr txBox="1"/>
            <p:nvPr/>
          </p:nvSpPr>
          <p:spPr>
            <a:xfrm>
              <a:off x="10843239" y="1384481"/>
              <a:ext cx="737381" cy="153888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6pPr>
              <a:lvl7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7pPr>
              <a:lvl8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8pPr>
              <a:lvl9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Negative EP</a:t>
              </a:r>
            </a:p>
          </p:txBody>
        </p:sp>
      </p:grp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5E69E6C-228F-B69A-4038-BFD6E1AC0341}"/>
              </a:ext>
            </a:extLst>
          </p:cNvPr>
          <p:cNvCxnSpPr>
            <a:cxnSpLocks/>
          </p:cNvCxnSpPr>
          <p:nvPr/>
        </p:nvCxnSpPr>
        <p:spPr>
          <a:xfrm>
            <a:off x="554736" y="5333510"/>
            <a:ext cx="11082528" cy="0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828134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5E5D9AB7-B4CB-41F3-8C59-B441F9818CCE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4411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3" imgW="235" imgH="212" progId="TCLayout.ActiveDocument.1">
                  <p:embed/>
                </p:oleObj>
              </mc:Choice>
              <mc:Fallback>
                <p:oleObj name="think-cell Slide" r:id="rId73" imgW="235" imgH="212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5E5D9AB7-B4CB-41F3-8C59-B441F9818C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36F4F6BE-4DE5-4165-8B30-F3F0CC44238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56102"/>
            <a:ext cx="11082528" cy="35779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rIns="0" anchor="b" anchorCtr="0">
            <a:spAutoFit/>
          </a:bodyPr>
          <a:lstStyle/>
          <a:p>
            <a:r>
              <a:rPr lang="en-US" dirty="0"/>
              <a:t>Airlines continued to show negative economic profit in 2025</a:t>
            </a:r>
          </a:p>
        </p:txBody>
      </p:sp>
      <p:sp>
        <p:nvSpPr>
          <p:cNvPr id="4" name="3. Subtitle">
            <a:extLst>
              <a:ext uri="{FF2B5EF4-FFF2-40B4-BE49-F238E27FC236}">
                <a16:creationId xmlns:a16="http://schemas.microsoft.com/office/drawing/2014/main" id="{7094F13B-58AB-48F7-8724-1A9453F5ABB9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Airline industry ROIC including goodwill vs. median WACC, 1996-2025, percent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E9C9CDA6-8457-F4D5-1D32-9AEA50C3BB34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5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5. Source">
            <a:extLst>
              <a:ext uri="{FF2B5EF4-FFF2-40B4-BE49-F238E27FC236}">
                <a16:creationId xmlns:a16="http://schemas.microsoft.com/office/drawing/2014/main" id="{F1D80ACA-49A0-4571-85B2-6ABBDF3CA6A4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54735" y="6501669"/>
            <a:ext cx="727786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895350">
              <a:tabLst>
                <a:tab pos="612775" algn="l"/>
              </a:tabLst>
            </a:pPr>
            <a:r>
              <a:rPr lang="en-US" sz="800" dirty="0"/>
              <a:t>Source: McKinsey aviation value chain mod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DB1188C-9EED-A845-E787-D721F3889C1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874713" y="1901825"/>
            <a:ext cx="0" cy="17700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CEDD72FA-B0A7-A44C-992C-CCC09FE045AD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>
            <a:off x="874713" y="35306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F65415F-9244-47FB-3AFC-97C14DF52DD6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874713" y="19065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92F9A60B-1B7C-8701-1F00-9817E5CEBE81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>
            <a:off x="1585913" y="35306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1036D1F-7BE6-EABC-1B00-A9013B13E543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874713" y="22431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068EEB80-1C17-6F19-5E90-E8D03437DFF4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>
            <a:off x="2295525" y="35306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536C7ED-9D8A-AEE6-02EC-834CED4E4E46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874713" y="25796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B465E527-C934-14CB-C506-F538B53127FA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>
            <a:off x="3006725" y="35306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BC18718-32F2-74D9-89A9-DD0740996658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874713" y="29162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DDF16A6D-2283-B074-8F54-A7CC28567469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3717925" y="35306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0B44011-854E-27DD-32C9-7BB51858205B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874713" y="32527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2B52988D-60F4-1012-12B8-20E59AF94197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>
            <a:off x="4429125" y="35306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33977F2-094B-4AC1-80FD-AC2A394060B5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874713" y="35893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285C8E88-04F2-B24D-D110-30E4A20F201C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>
            <a:off x="5138738" y="35306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C511603-C8C4-58C8-AA51-8D1E097BACEE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874713" y="39274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CF265374-241D-A9DB-D1AC-73E05A12DF22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>
            <a:off x="5849938" y="35306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57BC150-084F-29AD-52C6-178EF8B87448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874713" y="42640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64D6E83E-B3AE-889B-DA41-70331BCF0C03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>
            <a:off x="6559550" y="35306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1FFD569-ECB0-6CD4-ECD7-26E6A401E36B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874713" y="46005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EEEC6CFD-1CF8-839C-DA76-38348C29A029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auto">
          <a:xfrm>
            <a:off x="7270750" y="35306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1D6E90C-D30E-A388-036E-DAAB0E644555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874713" y="49371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76E5129C-C330-A19D-C1C4-8A7CA9AD7A9B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>
            <a:off x="7980363" y="35306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D1E897B-AFEB-4BA8-37FE-3CDAF4FBD505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874713" y="52736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ADBE25ED-3FCC-3EF2-B557-ABA317D4101B}"/>
              </a:ext>
            </a:extLst>
          </p:cNvPr>
          <p:cNvCxnSpPr>
            <a:cxnSpLocks/>
          </p:cNvCxnSpPr>
          <p:nvPr>
            <p:custDataLst>
              <p:tags r:id="rId30"/>
            </p:custDataLst>
          </p:nvPr>
        </p:nvCxnSpPr>
        <p:spPr bwMode="auto">
          <a:xfrm>
            <a:off x="8691563" y="35306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9903E8F-00D5-EC6A-A2FC-D49528198E43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874713" y="56102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336BED48-EC99-5B25-EC95-AF8E6DFDC4B1}"/>
              </a:ext>
            </a:extLst>
          </p:cNvPr>
          <p:cNvCxnSpPr>
            <a:cxnSpLocks/>
          </p:cNvCxnSpPr>
          <p:nvPr>
            <p:custDataLst>
              <p:tags r:id="rId32"/>
            </p:custDataLst>
          </p:nvPr>
        </p:nvCxnSpPr>
        <p:spPr bwMode="auto">
          <a:xfrm>
            <a:off x="9402763" y="35306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861135-8E63-BB1E-75F3-66DBDCDE1634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874713" y="59467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E8810235-D2C7-C8F5-B7F9-FC08EA2EF422}"/>
              </a:ext>
            </a:extLst>
          </p:cNvPr>
          <p:cNvCxnSpPr>
            <a:cxnSpLocks/>
          </p:cNvCxnSpPr>
          <p:nvPr>
            <p:custDataLst>
              <p:tags r:id="rId34"/>
            </p:custDataLst>
          </p:nvPr>
        </p:nvCxnSpPr>
        <p:spPr bwMode="auto">
          <a:xfrm>
            <a:off x="10113963" y="35306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375090C-2230-6678-0723-6207609AB9C2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874713" y="3836988"/>
            <a:ext cx="0" cy="21145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63ACBF73-8240-7352-0312-FC56504CAAD7}"/>
              </a:ext>
            </a:extLst>
          </p:cNvPr>
          <p:cNvCxnSpPr>
            <a:cxnSpLocks/>
          </p:cNvCxnSpPr>
          <p:nvPr>
            <p:custDataLst>
              <p:tags r:id="rId36"/>
            </p:custDataLst>
          </p:nvPr>
        </p:nvCxnSpPr>
        <p:spPr bwMode="auto">
          <a:xfrm>
            <a:off x="10823575" y="35306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528BB0F5-478F-AEFC-5DA3-4925E192DFA2}"/>
              </a:ext>
            </a:extLst>
          </p:cNvPr>
          <p:cNvCxnSpPr>
            <a:cxnSpLocks/>
          </p:cNvCxnSpPr>
          <p:nvPr>
            <p:custDataLst>
              <p:tags r:id="rId37"/>
            </p:custDataLst>
          </p:nvPr>
        </p:nvCxnSpPr>
        <p:spPr bwMode="auto">
          <a:xfrm>
            <a:off x="11534775" y="35306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0837E687-215A-8C4B-F1D8-A60EBCC03453}"/>
              </a:ext>
            </a:extLst>
          </p:cNvPr>
          <p:cNvGraphicFramePr/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3321611623"/>
              </p:ext>
            </p:extLst>
          </p:nvPr>
        </p:nvGraphicFramePr>
        <p:xfrm>
          <a:off x="792163" y="1824038"/>
          <a:ext cx="10825162" cy="4205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11436350" y="3648075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F990CAC-14B1-4F47-BAC3-F78877B7F380}" type="datetime'''''''''''''''''''''''''''''''''''''''''''''26'''''''">
              <a:rPr lang="en-US" altLang="en-US" sz="1400" smtClean="0">
                <a:effectLst/>
                <a:cs typeface="+mn-cs"/>
                <a:sym typeface="+mn-lt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en-US" sz="1400" dirty="0">
              <a:cs typeface="+mn-cs"/>
              <a:sym typeface="+mn-lt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677863" y="3648075"/>
            <a:ext cx="3937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74DE14F-3603-4804-98C6-ADBF97AB5650}" type="datetime'''''''1''''9''''''''''''''9''6'''''''">
              <a:rPr lang="en-US" altLang="en-US" sz="1400" smtClean="0">
                <a:effectLst/>
                <a:cs typeface="+mn-cs"/>
                <a:sym typeface="+mn-lt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996</a:t>
            </a:fld>
            <a:endParaRPr lang="en-US" sz="1400" dirty="0">
              <a:cs typeface="+mn-cs"/>
              <a:sym typeface="+mn-lt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90B487D7-8935-4CF5-826E-79AC7EAEFB41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501650" y="5167313"/>
            <a:ext cx="2555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BB05D2A7-AD3B-42B1-B2AA-C81BD98EC5EA}" type="datetime'''''-''''''''''''''1''0'''''''''''''''">
              <a:rPr lang="en-US" altLang="en-US" sz="1400" smtClean="0">
                <a:sym typeface="+mn-lt"/>
              </a:rPr>
              <a:pPr algn="r"/>
              <a:t>-10</a:t>
            </a:fld>
            <a:endParaRPr lang="en-US" sz="1400" dirty="0">
              <a:sym typeface="+mn-lt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6336787-D8CF-4BA4-ABC4-C050E782A8CC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600075" y="4830763"/>
            <a:ext cx="157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4B24ACBA-278D-48D3-A61C-D79FEABCAEE8}" type="datetime'''''''''''''''-''''''8'''''">
              <a:rPr lang="en-US" altLang="en-US" sz="1400" smtClean="0">
                <a:sym typeface="+mn-lt"/>
              </a:rPr>
              <a:pPr algn="r"/>
              <a:t>-8</a:t>
            </a:fld>
            <a:endParaRPr lang="en-US" sz="1400" dirty="0">
              <a:sym typeface="+mn-lt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098AD9E-152B-4D6F-933E-C9ECA7624182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600075" y="4494213"/>
            <a:ext cx="157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393724F4-3BC6-4347-99C6-959CEE397F51}" type="datetime'''''''''''''''''''''-''''''''''''''6'''''''''''''''''''''">
              <a:rPr lang="en-US" altLang="en-US" sz="1400" smtClean="0">
                <a:sym typeface="+mn-lt"/>
              </a:rPr>
              <a:pPr algn="r"/>
              <a:t>-6</a:t>
            </a:fld>
            <a:endParaRPr lang="en-US" sz="1400" dirty="0">
              <a:sym typeface="+mn-lt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4FD6D328-0F69-4390-B226-869ED23C03E9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600075" y="4157663"/>
            <a:ext cx="157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25F4CF2F-3932-4A96-AE1A-73F23828D44E}" type="datetime'''''''''''''''''''''''''''''''''''''''''''''''''''''-4'''">
              <a:rPr lang="en-US" altLang="en-US" sz="1400" smtClean="0">
                <a:sym typeface="+mn-lt"/>
              </a:rPr>
              <a:pPr algn="r"/>
              <a:t>-4</a:t>
            </a:fld>
            <a:endParaRPr lang="en-US" sz="1400" dirty="0">
              <a:sym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5765100F-9FFB-4C41-8851-A1B5B9FDC357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600075" y="3821113"/>
            <a:ext cx="157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7AB69F6F-065F-471E-A300-2D35B13F72AB}" type="datetime'''''''''''''''''''''''''''''''-''''2'">
              <a:rPr lang="en-US" altLang="en-US" sz="1400" smtClean="0">
                <a:sym typeface="+mn-lt"/>
              </a:rPr>
              <a:pPr algn="r"/>
              <a:t>-2</a:t>
            </a:fld>
            <a:endParaRPr lang="en-US" sz="1400" dirty="0">
              <a:sym typeface="+mn-lt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59122B65-39F7-4F39-A49B-92DD1F8F1401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658813" y="3482975"/>
            <a:ext cx="984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B4616C2A-C939-4E8E-BB64-ABB9AC88A9E1}" type="datetime'''''''''''''''''''''''''''''''''''''''''''''''''0'''''''''''''">
              <a:rPr lang="en-US" altLang="en-US" sz="1400" smtClean="0">
                <a:sym typeface="+mn-lt"/>
              </a:rPr>
              <a:pPr algn="r"/>
              <a:t>0</a:t>
            </a:fld>
            <a:endParaRPr lang="en-US" sz="1400" dirty="0">
              <a:sym typeface="+mn-lt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67912FF-56D0-42B1-B276-8F79C9FB2738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658813" y="3146425"/>
            <a:ext cx="984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B99D0A7B-20C3-4583-BDDE-ACC00BEF5D89}" type="datetime'''''''''''''''''''''''''''''''2'''''''''''''''''''''''''''">
              <a:rPr lang="en-US" altLang="en-US" sz="1400" smtClean="0">
                <a:sym typeface="+mn-lt"/>
              </a:rPr>
              <a:pPr algn="r"/>
              <a:t>2</a:t>
            </a:fld>
            <a:endParaRPr lang="en-US" sz="1400" dirty="0">
              <a:sym typeface="+mn-lt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BC951A74-20C3-4D39-ABCC-0DF0170974B1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658813" y="2809875"/>
            <a:ext cx="984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AF21560A-3880-44C1-B230-C312054F516F}" type="datetime'''''''''''''''''''''''''4'''''''''''''''''''''''''''''''''''">
              <a:rPr lang="en-US" altLang="en-US" sz="1400" smtClean="0">
                <a:sym typeface="+mn-lt"/>
              </a:rPr>
              <a:pPr algn="r"/>
              <a:t>4</a:t>
            </a:fld>
            <a:endParaRPr lang="en-US" sz="1400" dirty="0">
              <a:sym typeface="+mn-lt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7EC80132-3E67-4380-8464-5C1338B3F9E3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658813" y="2473325"/>
            <a:ext cx="984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DE8E55A5-9A56-40F6-AEAE-F659412FF3AB}" type="datetime'''''''''''''''''6'''''''''''''''''''''''''''''''''">
              <a:rPr lang="en-US" altLang="en-US" sz="1400" smtClean="0">
                <a:sym typeface="+mn-lt"/>
              </a:rPr>
              <a:pPr algn="r"/>
              <a:t>6</a:t>
            </a:fld>
            <a:endParaRPr lang="en-US" sz="1400" dirty="0">
              <a:sym typeface="+mn-lt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78875374-303D-4FC6-B6C1-FDB590379C20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658813" y="2136775"/>
            <a:ext cx="984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63A41A63-3E30-4DDB-8F9C-DFBEEFAEEBCC}" type="datetime'''''''''''''''8'''''''''''''''''''''''''''''''''''''">
              <a:rPr lang="en-US" altLang="en-US" sz="1400" smtClean="0">
                <a:sym typeface="+mn-lt"/>
              </a:rPr>
              <a:pPr algn="r"/>
              <a:t>8</a:t>
            </a:fld>
            <a:endParaRPr lang="en-US" sz="1400" dirty="0">
              <a:sym typeface="+mn-lt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657C04D7-E4F5-4218-BE11-D9830C4D6F81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560388" y="1800225"/>
            <a:ext cx="1968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EF5FFD8E-8A13-4FE8-9D67-A0A230B3B30B}" type="datetime'''1''''''0'''''''''''''''''''''''">
              <a:rPr lang="en-US" altLang="en-US" sz="1400" smtClean="0">
                <a:sym typeface="+mn-lt"/>
              </a:rPr>
              <a:pPr algn="r"/>
              <a:t>10</a:t>
            </a:fld>
            <a:endParaRPr lang="en-US" sz="1400" dirty="0">
              <a:sym typeface="+mn-lt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501650" y="5840413"/>
            <a:ext cx="2555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11F88372-062F-4249-973F-B8E67D47F0F8}" type="datetime'''''''''-''''''''''''''''''''''''''''''1''''''''''4'''''">
              <a:rPr lang="en-US" altLang="en-US" sz="1400" smtClean="0">
                <a:effectLst/>
                <a:cs typeface="+mn-cs"/>
                <a:sym typeface="+mn-lt"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-14</a:t>
            </a:fld>
            <a:endParaRPr lang="en-US" sz="1400" dirty="0">
              <a:cs typeface="+mn-cs"/>
              <a:sym typeface="+mn-lt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10725150" y="3648075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9E87F55-C2C8-4D62-850F-6E4E23988CFD}" type="datetime'''''''2''''''4'''''''''''''''''''''''''''''''''''''''''">
              <a:rPr lang="en-US" altLang="en-US" sz="1400" smtClean="0">
                <a:effectLst/>
                <a:cs typeface="+mn-cs"/>
                <a:sym typeface="+mn-lt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en-US" sz="1400" dirty="0">
              <a:cs typeface="+mn-cs"/>
              <a:sym typeface="+mn-lt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10015538" y="3648075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5A3DCB9-FA78-429E-AD5B-50A670C3DB60}" type="datetime'''''''''''''''''''''''2''''''''''''''''''''''''''''2'''''''">
              <a:rPr lang="en-US" altLang="en-US" sz="1400" smtClean="0">
                <a:effectLst/>
                <a:cs typeface="+mn-cs"/>
                <a:sym typeface="+mn-lt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en-US" sz="1400" dirty="0">
              <a:cs typeface="+mn-cs"/>
              <a:sym typeface="+mn-lt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9304338" y="3648075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11A766C-DCB1-4A0D-92BF-28C2AA3ACE04}" type="datetime'''''''''''''''''''2''''''''''''''''''''''''''''''0'''''''''">
              <a:rPr lang="en-US" altLang="en-US" sz="1400" smtClean="0">
                <a:effectLst/>
                <a:cs typeface="+mn-cs"/>
                <a:sym typeface="+mn-lt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sz="1400" dirty="0">
              <a:cs typeface="+mn-cs"/>
              <a:sym typeface="+mn-lt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8593138" y="3648075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32E2EC2-74BE-4A23-A8E9-119D0AD89155}" type="datetime'''''''''''''''''''''''''''''''''''''''''''18'">
              <a:rPr lang="en-US" altLang="en-US" sz="1400" smtClean="0">
                <a:effectLst/>
                <a:cs typeface="+mn-cs"/>
                <a:sym typeface="+mn-lt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en-US" sz="1400" dirty="0">
              <a:cs typeface="+mn-cs"/>
              <a:sym typeface="+mn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7881938" y="3648075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B791638-CBA7-45CA-AFC1-2C4FF5785944}" type="datetime'''''''1''''''''''''''''''''''''''''''''''''''''''6'''">
              <a:rPr lang="en-US" altLang="en-US" sz="1400" smtClean="0">
                <a:effectLst/>
                <a:cs typeface="+mn-cs"/>
                <a:sym typeface="+mn-lt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US" sz="1400" dirty="0">
              <a:cs typeface="+mn-cs"/>
              <a:sym typeface="+mn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7172325" y="3648075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2B0A654-6306-41C5-AD8B-F0D382DCA0E1}" type="datetime'''''''''''''''''''''''1''''''''''4'''''''''''''''''''">
              <a:rPr lang="en-US" altLang="en-US" sz="1400" smtClean="0">
                <a:effectLst/>
                <a:cs typeface="+mn-cs"/>
                <a:sym typeface="+mn-lt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US" sz="1400" dirty="0">
              <a:cs typeface="+mn-cs"/>
              <a:sym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6461125" y="3648075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8E84928-178F-47F7-A9B7-9E3F71F42742}" type="datetime'''''1''''''''2'''''''''''''''''''''">
              <a:rPr lang="en-US" altLang="en-US" sz="1400" smtClean="0">
                <a:effectLst/>
                <a:cs typeface="+mn-cs"/>
                <a:sym typeface="+mn-lt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US" sz="1400" dirty="0">
              <a:cs typeface="+mn-cs"/>
              <a:sym typeface="+mn-lt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5751513" y="3648075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B790751-73DA-4A48-817E-E65365EC269C}" type="datetime'''''''''1''''''''''''0'''''''''''''''''''''''''''''''''">
              <a:rPr lang="en-US" altLang="en-US" sz="1400" smtClean="0">
                <a:effectLst/>
                <a:cs typeface="+mn-cs"/>
                <a:sym typeface="+mn-lt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400" dirty="0">
              <a:cs typeface="+mn-cs"/>
              <a:sym typeface="+mn-lt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5040313" y="3648075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884111A-DC52-4C43-9E2C-7852D922F27F}" type="datetime'''''''''''''''''''''''''''''''''''''''''''''''''0''''''8'">
              <a:rPr lang="en-US" altLang="en-US" sz="1400" smtClean="0">
                <a:effectLst/>
                <a:cs typeface="+mn-cs"/>
                <a:sym typeface="+mn-lt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8</a:t>
            </a:fld>
            <a:endParaRPr lang="en-US" sz="1400" dirty="0">
              <a:cs typeface="+mn-cs"/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4330700" y="3648075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B124D6C-BE01-4DF8-9B57-880DDC7E95A5}" type="datetime'''''''''0''''''''''''''''''''''''''''''''''''6'''''''''''">
              <a:rPr lang="en-US" altLang="en-US" sz="1400" smtClean="0">
                <a:effectLst/>
                <a:cs typeface="+mn-cs"/>
                <a:sym typeface="+mn-lt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6</a:t>
            </a:fld>
            <a:endParaRPr lang="en-US" sz="1400" dirty="0">
              <a:cs typeface="+mn-cs"/>
              <a:sym typeface="+mn-lt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3619500" y="3648075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3B350E6-C1EB-4072-898A-C424AC3325AD}" type="datetime'''''''''''''''''''''''''''''''''''''''''''''''0''''''''4'''''">
              <a:rPr lang="en-US" altLang="en-US" sz="1400" smtClean="0">
                <a:effectLst/>
                <a:cs typeface="+mn-cs"/>
                <a:sym typeface="+mn-lt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4</a:t>
            </a:fld>
            <a:endParaRPr lang="en-US" sz="1400" dirty="0">
              <a:cs typeface="+mn-cs"/>
              <a:sym typeface="+mn-lt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2908300" y="3648075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E239D1D-7BC9-43EE-9EFA-D8C47D333B48}" type="datetime'''''''''''''''''''''''0''''''''''2'">
              <a:rPr lang="en-US" altLang="en-US" sz="1400" smtClean="0">
                <a:effectLst/>
                <a:cs typeface="+mn-cs"/>
                <a:sym typeface="+mn-lt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2</a:t>
            </a:fld>
            <a:endParaRPr lang="en-US" sz="1400" dirty="0">
              <a:cs typeface="+mn-cs"/>
              <a:sym typeface="+mn-lt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2197100" y="3648075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A9AF6C9-7F62-4D27-9168-E43139445CB1}" type="datetime'''''''''''''''''''''''''''''''''''''''''''0''''0'''''''''''''">
              <a:rPr lang="en-US" altLang="en-US" sz="1400" smtClean="0">
                <a:effectLst/>
                <a:cs typeface="+mn-cs"/>
                <a:sym typeface="+mn-lt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0</a:t>
            </a:fld>
            <a:endParaRPr lang="en-US" sz="1400" dirty="0">
              <a:cs typeface="+mn-cs"/>
              <a:sym typeface="+mn-lt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1487488" y="3648075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16DF3A1-4594-4DCB-AEDC-937EAB51664F}" type="datetime'''''''''''''''''''''98'''''''''''''''''''''''''''''''''''''">
              <a:rPr lang="en-US" altLang="en-US" sz="1400" smtClean="0">
                <a:effectLst/>
                <a:cs typeface="+mn-cs"/>
                <a:sym typeface="+mn-lt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98</a:t>
            </a:fld>
            <a:endParaRPr lang="en-US" sz="1400" dirty="0">
              <a:cs typeface="+mn-cs"/>
              <a:sym typeface="+mn-lt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CF30BA9-E987-4E51-90D9-2620A76A7D46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501650" y="5503863"/>
            <a:ext cx="2555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4F1C4135-0459-4216-81C8-0F98A7F9EDC6}" type="datetime'''''''''''''''''-''''1''''''''''2'''''''">
              <a:rPr lang="en-US" altLang="en-US" sz="1400" smtClean="0">
                <a:sym typeface="+mn-lt"/>
              </a:rPr>
              <a:pPr algn="r"/>
              <a:t>-12</a:t>
            </a:fld>
            <a:endParaRPr lang="en-US" sz="1400" dirty="0">
              <a:sym typeface="+mn-lt"/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AC04024A-5B74-48D8-B2B6-E3F7DDE88C21}"/>
              </a:ext>
            </a:extLst>
          </p:cNvPr>
          <p:cNvCxnSpPr/>
          <p:nvPr>
            <p:custDataLst>
              <p:tags r:id="rId68"/>
            </p:custDataLst>
          </p:nvPr>
        </p:nvCxnSpPr>
        <p:spPr bwMode="gray">
          <a:xfrm>
            <a:off x="8091488" y="1444625"/>
            <a:ext cx="285750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F07897BC-6711-4397-8479-24D142727E10}"/>
              </a:ext>
            </a:extLst>
          </p:cNvPr>
          <p:cNvCxnSpPr/>
          <p:nvPr>
            <p:custDataLst>
              <p:tags r:id="rId69"/>
            </p:custDataLst>
          </p:nvPr>
        </p:nvCxnSpPr>
        <p:spPr bwMode="gray">
          <a:xfrm>
            <a:off x="9556750" y="1444625"/>
            <a:ext cx="285750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4CBCBB8C-AA4C-418A-86D9-BAF928AAADDF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8442325" y="1360488"/>
            <a:ext cx="9985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2B4E61E-460C-4B7B-8B06-6DDD73A02617}" type="datetime'''''M''ed''''''''ia''n ''WA''''''''C''''''''''''''C'''">
              <a:rPr lang="en-US" altLang="en-US" sz="1200" smtClean="0"/>
              <a:pPr/>
              <a:t>Median WACC</a:t>
            </a:fld>
            <a:endParaRPr lang="en-US" sz="1200" dirty="0">
              <a:sym typeface="+mn-lt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560FD20-D2BA-4E39-B23E-D34A59F62618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9907588" y="1360488"/>
            <a:ext cx="16097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200" dirty="0">
                <a:sym typeface="+mn-lt"/>
              </a:rPr>
              <a:t>ROIC including goodwill</a:t>
            </a:r>
            <a:endParaRPr lang="en-US" sz="1200" dirty="0">
              <a:sym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528507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87610D-334A-FCED-EC0A-65A7E41837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3B11FEB6-29C5-4830-79B5-C0CD5DE5F48E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4792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235" imgH="212" progId="TCLayout.ActiveDocument.1">
                  <p:embed/>
                </p:oleObj>
              </mc:Choice>
              <mc:Fallback>
                <p:oleObj name="think-cell Slide" r:id="rId46" imgW="235" imgH="212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3B11FEB6-29C5-4830-79B5-C0CD5DE5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02BDBD2-1E22-9C1A-2EB9-10AAD7122C87}"/>
              </a:ext>
            </a:extLst>
          </p:cNvPr>
          <p:cNvSpPr/>
          <p:nvPr/>
        </p:nvSpPr>
        <p:spPr>
          <a:xfrm>
            <a:off x="5149133" y="1712913"/>
            <a:ext cx="684046" cy="4497387"/>
          </a:xfrm>
          <a:prstGeom prst="rect">
            <a:avLst/>
          </a:prstGeom>
          <a:solidFill>
            <a:schemeClr val="bg1">
              <a:lumMod val="10000"/>
              <a:lumOff val="90000"/>
              <a:alpha val="37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92DAE3AB-18DC-31F5-87F8-D562FE648FE5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GB" noProof="0" dirty="0"/>
              <a:t>From 2012 to 2019, airports delivered positive average </a:t>
            </a:r>
            <a:br>
              <a:rPr lang="en-GB" noProof="0" dirty="0"/>
            </a:br>
            <a:r>
              <a:rPr lang="en-GB" noProof="0" dirty="0"/>
              <a:t>Economic Profit</a:t>
            </a:r>
            <a:endParaRPr lang="en-GB" b="0" noProof="0" dirty="0"/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D6BBD53B-EEEA-C25E-9D57-A04AB1C95C1D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0"/>
            <a:ext cx="11082528" cy="2462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0">
            <a:spAutoFit/>
          </a:bodyPr>
          <a:lstStyle/>
          <a:p>
            <a:r>
              <a:rPr lang="en-GB" noProof="0" dirty="0">
                <a:cs typeface="Arial"/>
              </a:rPr>
              <a:t>Economic profit, USD billion </a:t>
            </a:r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4EE937E9-012B-94ED-0324-36E137BA17C4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5"/>
            </p:custDataLst>
          </p:nvPr>
        </p:nvSpPr>
        <p:spPr/>
        <p:txBody>
          <a:bodyPr/>
          <a:lstStyle/>
          <a:p>
            <a:endParaRPr lang="en-GB" noProof="0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BD69BC2-3D4E-CC19-96E4-4651D17337C3}"/>
              </a:ext>
            </a:extLst>
          </p:cNvPr>
          <p:cNvGrpSpPr/>
          <p:nvPr/>
        </p:nvGrpSpPr>
        <p:grpSpPr>
          <a:xfrm>
            <a:off x="9531163" y="1384481"/>
            <a:ext cx="2106101" cy="153888"/>
            <a:chOff x="9474519" y="1384481"/>
            <a:chExt cx="2106101" cy="153888"/>
          </a:xfrm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2F7BB989-C94F-3BF5-C36B-BAD0A6562FCC}"/>
                </a:ext>
              </a:extLst>
            </p:cNvPr>
            <p:cNvSpPr/>
            <p:nvPr/>
          </p:nvSpPr>
          <p:spPr>
            <a:xfrm>
              <a:off x="9474519" y="1384551"/>
              <a:ext cx="153749" cy="15374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49011E84-02BB-9999-0682-9D4B153613DD}"/>
                </a:ext>
              </a:extLst>
            </p:cNvPr>
            <p:cNvSpPr txBox="1"/>
            <p:nvPr/>
          </p:nvSpPr>
          <p:spPr>
            <a:xfrm>
              <a:off x="9712879" y="1384481"/>
              <a:ext cx="694101" cy="153888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6pPr>
              <a:lvl7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7pPr>
              <a:lvl8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8pPr>
              <a:lvl9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Positive EP</a:t>
              </a: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D25E1C43-ECCB-02ED-C3A2-6714BC3FB216}"/>
                </a:ext>
              </a:extLst>
            </p:cNvPr>
            <p:cNvSpPr/>
            <p:nvPr/>
          </p:nvSpPr>
          <p:spPr>
            <a:xfrm>
              <a:off x="10604879" y="1384551"/>
              <a:ext cx="153749" cy="153749"/>
            </a:xfrm>
            <a:prstGeom prst="rect">
              <a:avLst/>
            </a:prstGeom>
            <a:solidFill>
              <a:schemeClr val="tx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5F408868-AC28-3607-2A99-95C3021BD426}"/>
                </a:ext>
              </a:extLst>
            </p:cNvPr>
            <p:cNvSpPr txBox="1"/>
            <p:nvPr/>
          </p:nvSpPr>
          <p:spPr>
            <a:xfrm>
              <a:off x="10843239" y="1384481"/>
              <a:ext cx="737381" cy="153888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6pPr>
              <a:lvl7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7pPr>
              <a:lvl8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8pPr>
              <a:lvl9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Negative EP</a:t>
              </a:r>
            </a:p>
          </p:txBody>
        </p:sp>
      </p:grp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CE80EA2-AC3D-48AB-ED4D-2E244D766E42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6604000" y="2084388"/>
            <a:ext cx="2333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8C936E5-9CBD-5A9E-57BE-1F47B114131C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2505075" y="2882900"/>
            <a:ext cx="2333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A693CB2-AAC5-9135-9044-71CD7ACEE192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10701338" y="4478338"/>
            <a:ext cx="2333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509FA3C-09A4-238D-E487-900F6AABF4F3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9882188" y="4494213"/>
            <a:ext cx="2333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F49B866-618F-1024-7FC1-FBAAA15BD69B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9061450" y="4692650"/>
            <a:ext cx="2333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2E1F1A8-D6E9-B09B-8617-9F076FE1110D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8242300" y="1928813"/>
            <a:ext cx="2333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7CF40E-2640-F60E-D6E7-1164A9FD3524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7423150" y="1954213"/>
            <a:ext cx="2333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A1D54B4-F701-2E31-A02D-B9A8F375A7C2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5783263" y="2147888"/>
            <a:ext cx="2333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DCFD2EA-D7E9-933C-C594-8CCBF2F6C29B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4964113" y="2438400"/>
            <a:ext cx="2333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D279511-DCA4-CBFC-04C0-420E4B114CA4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4144963" y="2660650"/>
            <a:ext cx="2333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A4D653B-A32F-8620-2158-80EF1DA10F41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3325813" y="2871788"/>
            <a:ext cx="2333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1" name="Rectangle 110">
            <a:extLst>
              <a:ext uri="{FF2B5EF4-FFF2-40B4-BE49-F238E27FC236}">
                <a16:creationId xmlns:a16="http://schemas.microsoft.com/office/drawing/2014/main" id="{2472DCD5-705F-281A-2556-3C3F5850DEA0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2738438" y="2871788"/>
            <a:ext cx="587375" cy="11112"/>
          </a:xfrm>
          <a:prstGeom prst="rect">
            <a:avLst/>
          </a:prstGeom>
          <a:solidFill>
            <a:schemeClr val="accent2"/>
          </a:solidFill>
          <a:ln w="9525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sq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noProof="0" dirty="0">
              <a:solidFill>
                <a:schemeClr val="bg1"/>
              </a:solidFill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37D8A487-875E-DAF4-59D9-F67919B1808C}"/>
              </a:ext>
            </a:extLst>
          </p:cNvPr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489495040"/>
              </p:ext>
            </p:extLst>
          </p:nvPr>
        </p:nvGraphicFramePr>
        <p:xfrm>
          <a:off x="1720850" y="1846263"/>
          <a:ext cx="9999663" cy="2928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37" name="Rectangle 36">
            <a:extLst>
              <a:ext uri="{FF2B5EF4-FFF2-40B4-BE49-F238E27FC236}">
                <a16:creationId xmlns:a16="http://schemas.microsoft.com/office/drawing/2014/main" id="{1730BA29-EA16-AE42-C159-2C7B8B7E7626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8475662" y="3081338"/>
            <a:ext cx="585788" cy="34925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sq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noProof="0" dirty="0">
              <a:solidFill>
                <a:schemeClr val="bg1"/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DA574350-5882-58E6-F7ED-1D9960A2DF36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9164638" y="4989512"/>
            <a:ext cx="849313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0ECA009-0D83-4F02-8278-E832202F4E54}" type="datetime'Frei''gh''''t'''''''''' ''f''orw''ar''''''d''e''rs'''''''''''">
              <a:rPr lang="en-GB" sz="1400" noProof="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Freight forwarders</a:t>
            </a:fld>
            <a:endParaRPr lang="en-GB" sz="1400" noProof="0" dirty="0"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CD5155A8-B132-C6A9-3BA7-BA0D02D5575D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8470900" y="4989513"/>
            <a:ext cx="5953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BD448C1-F9B6-4298-9F77-D966DC4C5A21}" type="datetime'''''A''''''''ir''''''''l''''''i''''ne''''''''s'''''''''''''">
              <a:rPr lang="en-GB" sz="1400" noProof="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irlines</a:t>
            </a:fld>
            <a:endParaRPr lang="en-GB" sz="1400" noProof="0" dirty="0"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2C1E4E84-A463-8AB4-6A5B-657427B26621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0812463" y="4989513"/>
            <a:ext cx="830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9B138F3-BF02-428D-B1C2-5C36E90D7A57}" type="datetime'A''''''''g''''''g''r''''''''''''''e''''''g''''a''''''''te'">
              <a:rPr lang="en-GB" sz="1400" noProof="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ggregate</a:t>
            </a:fld>
            <a:endParaRPr lang="en-GB" sz="1400" noProof="0" dirty="0">
              <a:cs typeface="+mn-cs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8A80AA13-AA93-0379-8414-3670B29BC9B8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7735888" y="4989513"/>
            <a:ext cx="4270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1243E9E-F673-4D80-A110-60BAC884BFD2}" type="datetime'''''''''''''''''''M''''RO'">
              <a:rPr lang="en-GB" sz="1400" noProof="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RO</a:t>
            </a:fld>
            <a:endParaRPr lang="en-GB" sz="1400" noProof="0" dirty="0">
              <a:cs typeface="+mn-cs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6D65960C-8C31-F895-C69F-D46B9A2AA3BF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6797675" y="4989512"/>
            <a:ext cx="663575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7BDF0DE-262C-4CAA-A15A-13574BACFC8B}" type="datetime'''G''''rou''''n''d'' ''s''''''''e''''''r''''''vice''''''''s'">
              <a:rPr lang="en-GB" sz="1400" noProof="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Ground services</a:t>
            </a:fld>
            <a:endParaRPr lang="en-GB" sz="1400" noProof="0" dirty="0"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4E5CFE31-0358-2D6A-C69B-2A7EBECCF3D8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10160000" y="4989513"/>
            <a:ext cx="496888" cy="63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DACC9E6-E6B2-4806-BB67-87525E2F69DA}" type="datetime'''GDS ''''''/''''&#10;t''r''a''''v''''el'' ''''''te''''''ch'''''''">
              <a:rPr lang="en-GB" sz="1400" noProof="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GDS /
travel tech</a:t>
            </a:fld>
            <a:endParaRPr lang="en-GB" sz="1400" noProof="0" dirty="0">
              <a:cs typeface="+mn-c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8ED33F81-44BE-C9A9-D3DE-9A4A154613A7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969000" y="4989513"/>
            <a:ext cx="6826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8367B66-4B66-41CA-96DF-83A955212762}" type="datetime'''''''''''''''''Cate''''''''''''r''''''i''n''''g'''''''''''">
              <a:rPr lang="en-GB" sz="1400" noProof="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atering</a:t>
            </a:fld>
            <a:endParaRPr lang="en-GB" sz="1400" noProof="0" dirty="0">
              <a:cs typeface="+mn-cs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CF84F770-8BC7-AE1E-0827-3FE35A22E868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5178424" y="4989513"/>
            <a:ext cx="623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B1D083B-9654-49CF-AFF8-8BAD1748E380}" type="datetime'Ai''''''''r''''''''p''''''or''''''t''''s'''''''''''''''''''''">
              <a:rPr lang="en-GB" sz="1400" noProof="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irports</a:t>
            </a:fld>
            <a:endParaRPr lang="en-GB" sz="1400" noProof="0" dirty="0">
              <a:cs typeface="+mn-cs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9F321D32-EF8B-3CE9-CDEC-717F4A1E99C3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251324" y="4989512"/>
            <a:ext cx="83978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4AAC6B4-271D-497F-B60E-49A74543E1D8}" type="datetime'''''''F''u''e''''''''l'''''''''''''''''' pr''''o''d''uction'">
              <a:rPr lang="en-GB" sz="1400" noProof="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Fuel production</a:t>
            </a:fld>
            <a:endParaRPr lang="en-GB" sz="1400" noProof="0" dirty="0">
              <a:cs typeface="+mn-cs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CC58306-4E84-A99F-9780-358A4E623B7F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3602038" y="4989513"/>
            <a:ext cx="498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FB28CF5-C0AA-45D0-9AD5-4E5AC0EA247A}" type="datetime'''''A''''''''''''''''''''''N''''''''''''''''S''''''P'''''''''">
              <a:rPr lang="en-GB" sz="1400" noProof="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NSP</a:t>
            </a:fld>
            <a:r>
              <a:rPr lang="en-GB" sz="1400" noProof="0" dirty="0">
                <a:cs typeface="+mn-cs"/>
              </a:rPr>
              <a:t> 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13B2A3A1-6D61-94FA-C94B-E71F1568EEDB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2716213" y="4989513"/>
            <a:ext cx="633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D3726E4-3596-44B3-B2A4-ECBEF6ADD0F9}" type="datetime'''''''''''''''''''''''''Le''''ss''''''''or''''''''''s'''''''">
              <a:rPr lang="en-GB" sz="1400" noProof="0" smtClean="0"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Lessors</a:t>
            </a:fld>
            <a:endParaRPr lang="en-GB" sz="1400" noProof="0" dirty="0">
              <a:cs typeface="+mn-cs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8B1C3A87-BF48-A1A6-7F5C-61D039491B1A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2063750" y="2644775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0CB554C-75CE-4151-AA32-1400AE69133A}" type="datetime'1''''''.''''6'''''''''''''''''''''''''''''''''''''''''''''''''">
              <a:rPr lang="en-GB" sz="1400" noProof="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6</a:t>
            </a:fld>
            <a:endParaRPr lang="en-GB" sz="1400" noProof="0" dirty="0">
              <a:cs typeface="+mn-cs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E32DBF18-77F0-55D4-EF50-EE28229448B4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2884488" y="2633663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C7EF042-08AB-491C-AA26-71754D1CC252}" type="datetime'''0.''''1'''''''''''''''''''''''''''''''''''''''''''''''">
              <a:rPr lang="en-GB" sz="1400" noProof="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1</a:t>
            </a:fld>
            <a:endParaRPr lang="en-GB" sz="1400" noProof="0" dirty="0">
              <a:cs typeface="+mn-cs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FFA161D0-F246-1462-41B6-7ED45F7ADE12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3703638" y="2422525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7396970-D67B-4A48-A132-418CC6ED5A92}" type="datetime'''''''''''''1''''''''''''''''.''''''''''''''''6'''''''''''">
              <a:rPr lang="en-GB" sz="1400" noProof="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6</a:t>
            </a:fld>
            <a:endParaRPr lang="en-GB" sz="1400" noProof="0" dirty="0">
              <a:cs typeface="+mn-cs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53D1FFA-79E9-7480-3CB0-8FA74209E40C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4522788" y="2200275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F0D55B0-D011-4D54-8FCC-74A00830FF62}" type="datetime'''''''''''''1''''''''''''.7'''''''''''''''''''''''">
              <a:rPr lang="en-GB" sz="1400" noProof="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7</a:t>
            </a:fld>
            <a:endParaRPr lang="en-GB" sz="1400" noProof="0" dirty="0">
              <a:cs typeface="+mn-cs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35033A47-D91E-8E48-DBD0-C3E249B3D386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5341938" y="1909763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E03E49A-7C9E-47AC-8FF5-BAC0A3A28444}" type="datetime'2''''''.''''''''''''''''''''2'''">
              <a:rPr lang="en-GB" sz="1400" noProof="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.2</a:t>
            </a:fld>
            <a:endParaRPr lang="en-GB" sz="1400" noProof="0" dirty="0">
              <a:cs typeface="+mn-cs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106D4E38-DF47-1904-5EA0-B8A2F1BADD9A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6162675" y="1846263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94D6316-B304-4F1C-8317-7A9CEB549319}" type="datetime'''''''''''0.''''5'''''''''">
              <a:rPr lang="en-GB" sz="1400" noProof="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5</a:t>
            </a:fld>
            <a:endParaRPr lang="en-GB" sz="1400" noProof="0" dirty="0">
              <a:cs typeface="+mn-cs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F0E0F122-054F-DA62-4E4E-D885FBDA0EC5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6981825" y="1716088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22A89C7-0017-4342-86F3-DB3CC7BEC83F}" type="datetime'''''''''''''''''''''''''''''''''1''.''''''''''''''''''''0'''''">
              <a:rPr lang="en-GB" sz="1400" noProof="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0</a:t>
            </a:fld>
            <a:endParaRPr lang="en-GB" sz="1400" noProof="0" dirty="0">
              <a:cs typeface="+mn-cs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89F9381A-40FF-A936-14B8-7614B82BD65A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7800975" y="1690688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DBCDB24-A424-4451-B6FD-E10C0112B73A}" type="datetime'''''''''''''''''''''0''''''''''''''''''''''.''2'''''''''">
              <a:rPr lang="en-GB" sz="1400" noProof="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2</a:t>
            </a:fld>
            <a:endParaRPr lang="en-GB" sz="1400" noProof="0" dirty="0">
              <a:cs typeface="+mn-cs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035C0FA1-111B-4CFD-E5F0-8D4A441B999D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8540750" y="4718050"/>
            <a:ext cx="454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196374E-4695-426E-842F-0E95F6B9B700}" type="datetime'''''''''''''''''''''''''''''''''''''''-''2''''0''.''9'">
              <a:rPr lang="en-GB" sz="1400" noProof="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20.9</a:t>
            </a:fld>
            <a:endParaRPr lang="en-GB" sz="1400" noProof="0" dirty="0">
              <a:cs typeface="+mn-cs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8999CFD2-5DD6-2627-7067-A34C800FB461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9440863" y="4256088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BC481DD-CB70-4916-92DF-305E0B8BFFBA}" type="datetime'''''''''1''''''''.''''''''''''''5'''''''''''''''''''''''">
              <a:rPr lang="en-GB" sz="1400" noProof="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5</a:t>
            </a:fld>
            <a:endParaRPr lang="en-GB" sz="1400" noProof="0" dirty="0">
              <a:cs typeface="+mn-cs"/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3D77C0F2-0313-6763-D1E6-B63F23CFC1E1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10260013" y="4240213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6D86EB7-BACF-4F6D-A50E-2D9F9B1FA6CB}" type="datetime'''''''''''''''''0''.''''''''''''''''''''''''1'''''''">
              <a:rPr lang="en-GB" sz="1400" noProof="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1</a:t>
            </a:fld>
            <a:endParaRPr lang="en-GB" sz="1400" noProof="0" dirty="0">
              <a:cs typeface="+mn-cs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D3B8B090-3907-75A7-B631-B3D0E94A0C30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10999788" y="4503738"/>
            <a:ext cx="454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7DCC589-B8CD-4444-8545-E49CF409399F}" type="datetime'''''''''''''''-''''''''''''1''''0''''''''''.4'''">
              <a:rPr lang="en-GB" sz="1400" noProof="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-10.4</a:t>
            </a:fld>
            <a:endParaRPr lang="en-GB" sz="1400" noProof="0" dirty="0">
              <a:cs typeface="+mn-cs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4C3B1AEB-CCD0-4B82-E1D9-F7E96F11E896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1865313" y="4989512"/>
            <a:ext cx="69215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sz="1400" noProof="0" dirty="0" err="1">
                <a:cs typeface="+mn-cs"/>
              </a:rPr>
              <a:t>Manufac-turers</a:t>
            </a:r>
            <a:endParaRPr lang="en-GB" sz="1400" noProof="0" dirty="0"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83D7A3E-21B6-3D1A-019F-A4EE8E6F65E9}"/>
              </a:ext>
            </a:extLst>
          </p:cNvPr>
          <p:cNvSpPr txBox="1">
            <a:spLocks/>
          </p:cNvSpPr>
          <p:nvPr/>
        </p:nvSpPr>
        <p:spPr>
          <a:xfrm>
            <a:off x="554736" y="5574742"/>
            <a:ext cx="1181985" cy="64633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conomic profit  / </a:t>
            </a:r>
            <a:r>
              <a:rPr lang="en-GB" sz="1400" b="1" noProof="0" dirty="0">
                <a:solidFill>
                  <a:srgbClr val="FFFFFF"/>
                </a:solidFill>
                <a:latin typeface="Arial"/>
                <a:cs typeface="Arial"/>
              </a:rPr>
              <a:t>revenue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</a:t>
            </a:r>
            <a:r>
              <a:rPr kumimoji="0" lang="en-GB" sz="14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%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B1C328CF-13BF-05F0-76B8-756419969E2D}"/>
              </a:ext>
            </a:extLst>
          </p:cNvPr>
          <p:cNvSpPr txBox="1">
            <a:spLocks/>
          </p:cNvSpPr>
          <p:nvPr/>
        </p:nvSpPr>
        <p:spPr>
          <a:xfrm>
            <a:off x="1973997" y="5817331"/>
            <a:ext cx="478472" cy="23018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KLM Noa Light" panose="020B0403030000020004" pitchFamily="34" charset="0"/>
                <a:cs typeface="Arial" panose="020B0604020202020204" pitchFamily="34" charset="0"/>
                <a:sym typeface="KLM Noa Light" panose="020B04030300000200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sz="1400" noProof="0" dirty="0">
                <a:latin typeface="+mn-lt"/>
                <a:cs typeface="+mn-cs"/>
              </a:rPr>
              <a:t>+1.1%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CD6DE2B5-1B27-49E0-445B-949BE2175F42}"/>
              </a:ext>
            </a:extLst>
          </p:cNvPr>
          <p:cNvSpPr>
            <a:spLocks/>
          </p:cNvSpPr>
          <p:nvPr/>
        </p:nvSpPr>
        <p:spPr>
          <a:xfrm>
            <a:off x="1973997" y="5748295"/>
            <a:ext cx="478472" cy="44450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FD346D96-A2F4-D8EE-36D6-18AF79109E39}"/>
              </a:ext>
            </a:extLst>
          </p:cNvPr>
          <p:cNvSpPr txBox="1">
            <a:spLocks/>
          </p:cNvSpPr>
          <p:nvPr/>
        </p:nvSpPr>
        <p:spPr>
          <a:xfrm>
            <a:off x="3612959" y="5817331"/>
            <a:ext cx="478472" cy="23018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KLM Noa Light" panose="020B0403030000020004" pitchFamily="34" charset="0"/>
                <a:cs typeface="Arial" panose="020B0604020202020204" pitchFamily="34" charset="0"/>
                <a:sym typeface="KLM Noa Light" panose="020B04030300000200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sz="1400" noProof="0" dirty="0">
                <a:latin typeface="+mn-lt"/>
                <a:cs typeface="+mn-cs"/>
              </a:rPr>
              <a:t>+6.0%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16D4A60E-1C67-725A-39E5-7FCA637B031D}"/>
              </a:ext>
            </a:extLst>
          </p:cNvPr>
          <p:cNvSpPr>
            <a:spLocks/>
          </p:cNvSpPr>
          <p:nvPr/>
        </p:nvSpPr>
        <p:spPr>
          <a:xfrm>
            <a:off x="3612959" y="5748295"/>
            <a:ext cx="478472" cy="44450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0ACB5BA1-4A66-E436-7C4B-444B1BF10F65}"/>
              </a:ext>
            </a:extLst>
          </p:cNvPr>
          <p:cNvSpPr txBox="1">
            <a:spLocks/>
          </p:cNvSpPr>
          <p:nvPr/>
        </p:nvSpPr>
        <p:spPr>
          <a:xfrm>
            <a:off x="4432440" y="5817331"/>
            <a:ext cx="478472" cy="23018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KLM Noa Light" panose="020B0403030000020004" pitchFamily="34" charset="0"/>
                <a:cs typeface="Arial" panose="020B0604020202020204" pitchFamily="34" charset="0"/>
                <a:sym typeface="KLM Noa Light" panose="020B04030300000200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sz="1400" noProof="0" dirty="0">
                <a:latin typeface="+mn-lt"/>
                <a:cs typeface="+mn-cs"/>
              </a:rPr>
              <a:t>+0.9%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B7D8582A-1915-1FBA-A609-023B2A5B2F17}"/>
              </a:ext>
            </a:extLst>
          </p:cNvPr>
          <p:cNvSpPr>
            <a:spLocks/>
          </p:cNvSpPr>
          <p:nvPr/>
        </p:nvSpPr>
        <p:spPr>
          <a:xfrm>
            <a:off x="4432440" y="5748295"/>
            <a:ext cx="478472" cy="44450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2BE3800E-7EE9-0AAC-C183-E755EDAF606F}"/>
              </a:ext>
            </a:extLst>
          </p:cNvPr>
          <p:cNvSpPr txBox="1">
            <a:spLocks/>
          </p:cNvSpPr>
          <p:nvPr/>
        </p:nvSpPr>
        <p:spPr>
          <a:xfrm>
            <a:off x="5251921" y="5817331"/>
            <a:ext cx="478472" cy="23018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KLM Noa Light" panose="020B0403030000020004" pitchFamily="34" charset="0"/>
                <a:cs typeface="Arial" panose="020B0604020202020204" pitchFamily="34" charset="0"/>
                <a:sym typeface="KLM Noa Light" panose="020B04030300000200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sz="1400" noProof="0" dirty="0">
                <a:latin typeface="+mn-lt"/>
                <a:cs typeface="+mn-cs"/>
              </a:rPr>
              <a:t>+1.6%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028186B7-3199-3159-6DD9-CCC2F8A16A4B}"/>
              </a:ext>
            </a:extLst>
          </p:cNvPr>
          <p:cNvSpPr>
            <a:spLocks/>
          </p:cNvSpPr>
          <p:nvPr/>
        </p:nvSpPr>
        <p:spPr>
          <a:xfrm>
            <a:off x="5251921" y="5748295"/>
            <a:ext cx="478472" cy="44450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16A59C31-DBF8-B6D9-6332-29E3FB52A89E}"/>
              </a:ext>
            </a:extLst>
          </p:cNvPr>
          <p:cNvSpPr txBox="1">
            <a:spLocks/>
          </p:cNvSpPr>
          <p:nvPr/>
        </p:nvSpPr>
        <p:spPr>
          <a:xfrm>
            <a:off x="6071402" y="5817331"/>
            <a:ext cx="478472" cy="23018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KLM Noa Light" panose="020B0403030000020004" pitchFamily="34" charset="0"/>
                <a:cs typeface="Arial" panose="020B0604020202020204" pitchFamily="34" charset="0"/>
                <a:sym typeface="KLM Noa Light" panose="020B04030300000200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sz="1400" noProof="0" dirty="0">
                <a:latin typeface="+mn-lt"/>
                <a:cs typeface="+mn-cs"/>
              </a:rPr>
              <a:t>+3.1%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C7D82CC7-E6DA-4F33-F066-407E817B0432}"/>
              </a:ext>
            </a:extLst>
          </p:cNvPr>
          <p:cNvSpPr>
            <a:spLocks/>
          </p:cNvSpPr>
          <p:nvPr/>
        </p:nvSpPr>
        <p:spPr>
          <a:xfrm>
            <a:off x="6071402" y="5748295"/>
            <a:ext cx="478472" cy="44450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A0BD178B-FCC6-A4D5-3E1E-BFF47715E3FB}"/>
              </a:ext>
            </a:extLst>
          </p:cNvPr>
          <p:cNvSpPr txBox="1">
            <a:spLocks/>
          </p:cNvSpPr>
          <p:nvPr/>
        </p:nvSpPr>
        <p:spPr>
          <a:xfrm>
            <a:off x="6890883" y="5817331"/>
            <a:ext cx="478472" cy="23018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KLM Noa Light" panose="020B0403030000020004" pitchFamily="34" charset="0"/>
                <a:cs typeface="Arial" panose="020B0604020202020204" pitchFamily="34" charset="0"/>
                <a:sym typeface="KLM Noa Light" panose="020B04030300000200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sz="1400" noProof="0" dirty="0">
                <a:latin typeface="+mn-lt"/>
                <a:cs typeface="+mn-cs"/>
              </a:rPr>
              <a:t>+3.4%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F8C6732A-F72D-6498-253F-28B306E777FC}"/>
              </a:ext>
            </a:extLst>
          </p:cNvPr>
          <p:cNvSpPr>
            <a:spLocks/>
          </p:cNvSpPr>
          <p:nvPr/>
        </p:nvSpPr>
        <p:spPr>
          <a:xfrm>
            <a:off x="6890883" y="5748295"/>
            <a:ext cx="478472" cy="44450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64E1F36D-9F90-E19A-53A4-9C367CC399EC}"/>
              </a:ext>
            </a:extLst>
          </p:cNvPr>
          <p:cNvSpPr txBox="1">
            <a:spLocks/>
          </p:cNvSpPr>
          <p:nvPr/>
        </p:nvSpPr>
        <p:spPr>
          <a:xfrm>
            <a:off x="7710364" y="5817331"/>
            <a:ext cx="478472" cy="23018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KLM Noa Light" panose="020B0403030000020004" pitchFamily="34" charset="0"/>
                <a:cs typeface="Arial" panose="020B0604020202020204" pitchFamily="34" charset="0"/>
                <a:sym typeface="KLM Noa Light" panose="020B04030300000200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sz="1400" noProof="0" dirty="0">
                <a:latin typeface="+mn-lt"/>
                <a:cs typeface="+mn-cs"/>
              </a:rPr>
              <a:t>+0.6%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A162C154-D0E6-84A2-F70A-DDD2FCD32FF0}"/>
              </a:ext>
            </a:extLst>
          </p:cNvPr>
          <p:cNvSpPr>
            <a:spLocks/>
          </p:cNvSpPr>
          <p:nvPr/>
        </p:nvSpPr>
        <p:spPr>
          <a:xfrm>
            <a:off x="7710364" y="5748295"/>
            <a:ext cx="478472" cy="44450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BB1464C4-F79B-B6DA-16B0-5C039B76E807}"/>
              </a:ext>
            </a:extLst>
          </p:cNvPr>
          <p:cNvSpPr txBox="1">
            <a:spLocks/>
          </p:cNvSpPr>
          <p:nvPr/>
        </p:nvSpPr>
        <p:spPr>
          <a:xfrm>
            <a:off x="8529845" y="5817331"/>
            <a:ext cx="478472" cy="23018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KLM Noa Light" panose="020B0403030000020004" pitchFamily="34" charset="0"/>
                <a:cs typeface="Arial" panose="020B0604020202020204" pitchFamily="34" charset="0"/>
                <a:sym typeface="KLM Noa Light" panose="020B04030300000200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sz="1400" noProof="0" dirty="0">
                <a:latin typeface="+mn-lt"/>
                <a:cs typeface="+mn-cs"/>
              </a:rPr>
              <a:t>-2.8%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C7FFA906-590E-51FF-BA93-324BB7272E01}"/>
              </a:ext>
            </a:extLst>
          </p:cNvPr>
          <p:cNvSpPr>
            <a:spLocks/>
          </p:cNvSpPr>
          <p:nvPr/>
        </p:nvSpPr>
        <p:spPr>
          <a:xfrm>
            <a:off x="8529845" y="5748295"/>
            <a:ext cx="478472" cy="444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CB46F3D0-69DE-0037-4D54-D7DD43D485D5}"/>
              </a:ext>
            </a:extLst>
          </p:cNvPr>
          <p:cNvSpPr txBox="1">
            <a:spLocks/>
          </p:cNvSpPr>
          <p:nvPr/>
        </p:nvSpPr>
        <p:spPr>
          <a:xfrm>
            <a:off x="10168807" y="5817331"/>
            <a:ext cx="478472" cy="23018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KLM Noa Light" panose="020B0403030000020004" pitchFamily="34" charset="0"/>
                <a:cs typeface="Arial" panose="020B0604020202020204" pitchFamily="34" charset="0"/>
                <a:sym typeface="KLM Noa Light" panose="020B04030300000200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sz="1400" noProof="0" dirty="0">
                <a:latin typeface="+mn-lt"/>
                <a:cs typeface="+mn-cs"/>
              </a:rPr>
              <a:t>+1.5%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70F08675-37BA-983B-FE2A-8784614AF060}"/>
              </a:ext>
            </a:extLst>
          </p:cNvPr>
          <p:cNvSpPr>
            <a:spLocks/>
          </p:cNvSpPr>
          <p:nvPr/>
        </p:nvSpPr>
        <p:spPr>
          <a:xfrm>
            <a:off x="10168807" y="5748295"/>
            <a:ext cx="478472" cy="44450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0915118C-5511-04A1-C5E8-70F543AE4364}"/>
              </a:ext>
            </a:extLst>
          </p:cNvPr>
          <p:cNvSpPr>
            <a:spLocks/>
          </p:cNvSpPr>
          <p:nvPr/>
        </p:nvSpPr>
        <p:spPr>
          <a:xfrm>
            <a:off x="9349326" y="5748295"/>
            <a:ext cx="478472" cy="44450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1995755D-C89D-08E3-1C6E-CAE0CFA25E7E}"/>
              </a:ext>
            </a:extLst>
          </p:cNvPr>
          <p:cNvSpPr txBox="1">
            <a:spLocks/>
          </p:cNvSpPr>
          <p:nvPr/>
        </p:nvSpPr>
        <p:spPr>
          <a:xfrm>
            <a:off x="9349326" y="5817331"/>
            <a:ext cx="478472" cy="23018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KLM Noa Light" panose="020B0403030000020004" pitchFamily="34" charset="0"/>
                <a:cs typeface="Arial" panose="020B0604020202020204" pitchFamily="34" charset="0"/>
                <a:sym typeface="KLM Noa Light" panose="020B04030300000200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sz="1400" noProof="0" dirty="0">
                <a:latin typeface="+mn-lt"/>
                <a:cs typeface="+mn-cs"/>
              </a:rPr>
              <a:t>+1.6%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8BEF24B-5F7F-99AC-93EF-1B2BAACB69F3}"/>
              </a:ext>
            </a:extLst>
          </p:cNvPr>
          <p:cNvSpPr txBox="1">
            <a:spLocks/>
          </p:cNvSpPr>
          <p:nvPr/>
        </p:nvSpPr>
        <p:spPr>
          <a:xfrm>
            <a:off x="2793478" y="5817331"/>
            <a:ext cx="478472" cy="23018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KLM Noa Light" panose="020B0403030000020004" pitchFamily="34" charset="0"/>
                <a:cs typeface="Arial" panose="020B0604020202020204" pitchFamily="34" charset="0"/>
                <a:sym typeface="KLM Noa Light" panose="020B04030300000200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Barlow Medium" panose="00000600000000000000" pitchFamily="2" charset="0"/>
              <a:buChar char="–"/>
              <a:defRPr lang="en-US" sz="1600" dirty="0">
                <a:latin typeface="KLM Noa Light" panose="020B0403030000020004" pitchFamily="34" charset="0"/>
                <a:sym typeface="KLM Noa Light" panose="020B04030300000200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sz="1400" noProof="0" dirty="0">
                <a:latin typeface="+mn-lt"/>
                <a:cs typeface="+mn-cs"/>
              </a:rPr>
              <a:t>+0.2%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5FE435BF-9EB8-93F9-0418-13AE1F16029C}"/>
              </a:ext>
            </a:extLst>
          </p:cNvPr>
          <p:cNvSpPr>
            <a:spLocks/>
          </p:cNvSpPr>
          <p:nvPr/>
        </p:nvSpPr>
        <p:spPr>
          <a:xfrm>
            <a:off x="2793478" y="5748295"/>
            <a:ext cx="478472" cy="44450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5" name="5. Source">
            <a:extLst>
              <a:ext uri="{FF2B5EF4-FFF2-40B4-BE49-F238E27FC236}">
                <a16:creationId xmlns:a16="http://schemas.microsoft.com/office/drawing/2014/main" id="{792E4CFA-574F-AA58-6887-C31D412A6143}"/>
              </a:ext>
            </a:extLst>
          </p:cNvPr>
          <p:cNvSpPr txBox="1"/>
          <p:nvPr>
            <p:custDataLst>
              <p:tags r:id="rId4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Source: CapitalIQ; The Airline Analyst; Bloomberg;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GSCi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; IATA; ACI; Company report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7569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48BED59-FD97-4ED0-B086-E9128569917E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4603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235" imgH="212" progId="TCLayout.ActiveDocument.1">
                  <p:embed/>
                </p:oleObj>
              </mc:Choice>
              <mc:Fallback>
                <p:oleObj name="think-cell Slide" r:id="rId43" imgW="235" imgH="21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48BED59-FD97-4ED0-B086-E912856991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602CC9F-EC48-4996-9F60-5F4C5BA3C7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98311"/>
            <a:ext cx="11082528" cy="71558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rIns="0" anchor="b" anchorCtr="0">
            <a:spAutoFit/>
          </a:bodyPr>
          <a:lstStyle/>
          <a:p>
            <a:r>
              <a:rPr lang="en-GB" noProof="0" dirty="0"/>
              <a:t>Europe airports back to positive value creation but not at 2019 levels</a:t>
            </a:r>
          </a:p>
        </p:txBody>
      </p:sp>
      <p:sp>
        <p:nvSpPr>
          <p:cNvPr id="5" name="3. Subtitle">
            <a:extLst>
              <a:ext uri="{FF2B5EF4-FFF2-40B4-BE49-F238E27FC236}">
                <a16:creationId xmlns:a16="http://schemas.microsoft.com/office/drawing/2014/main" id="{BED951C0-71AC-41C6-A3B7-D3AF51F5266B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0">
            <a:spAutoFit/>
          </a:bodyPr>
          <a:lstStyle/>
          <a:p>
            <a:r>
              <a:rPr lang="en-GB" noProof="0" dirty="0">
                <a:cs typeface="Arial"/>
              </a:rPr>
              <a:t>Economic profit, USD billion 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844B2D06-E3D1-578D-7C14-714CF55D78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5. Source">
            <a:extLst>
              <a:ext uri="{FF2B5EF4-FFF2-40B4-BE49-F238E27FC236}">
                <a16:creationId xmlns:a16="http://schemas.microsoft.com/office/drawing/2014/main" id="{0BF098E7-A704-4344-B56B-5316793DEB8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54735" y="6501669"/>
            <a:ext cx="727786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12775" algn="l"/>
              </a:tabLst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</a:rPr>
              <a:t>Source: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CapitalIQ; The Airline Analyst; Bloomberg; ACI; Company report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</a:endParaRPr>
          </a:p>
        </p:txBody>
      </p:sp>
      <p:cxnSp>
        <p:nvCxnSpPr>
          <p:cNvPr id="395" name="Straight Connector 394">
            <a:extLst>
              <a:ext uri="{FF2B5EF4-FFF2-40B4-BE49-F238E27FC236}">
                <a16:creationId xmlns:a16="http://schemas.microsoft.com/office/drawing/2014/main" id="{CBA76A31-893B-2477-6123-AE41C786302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915988" y="1700213"/>
            <a:ext cx="0" cy="11953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6" name="Straight Connector 395">
            <a:extLst>
              <a:ext uri="{FF2B5EF4-FFF2-40B4-BE49-F238E27FC236}">
                <a16:creationId xmlns:a16="http://schemas.microsoft.com/office/drawing/2014/main" id="{38B02700-1200-30D9-5BC9-C3A737915C46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915988" y="3060700"/>
            <a:ext cx="0" cy="3079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B8CCF368-E9AE-1D02-DE01-AF5457FE1D0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63632381"/>
              </p:ext>
            </p:extLst>
          </p:nvPr>
        </p:nvGraphicFramePr>
        <p:xfrm>
          <a:off x="833438" y="1622425"/>
          <a:ext cx="10685462" cy="4595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383" name="Text Placeholder 4">
            <a:extLst>
              <a:ext uri="{FF2B5EF4-FFF2-40B4-BE49-F238E27FC236}">
                <a16:creationId xmlns:a16="http://schemas.microsoft.com/office/drawing/2014/main" id="{1062F86E-068F-60FA-E49F-70E5C2C704D4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695450" y="2871788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157E495-79EC-46A2-A3EE-AA8D1DEAC804}" type="datetime'''''''''1''''''''''''''''''''''''''3'''''''''''''''''''''">
              <a:rPr lang="en-GB" sz="1400" noProof="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GB" sz="1400" noProof="0" dirty="0"/>
          </a:p>
        </p:txBody>
      </p:sp>
      <p:sp>
        <p:nvSpPr>
          <p:cNvPr id="384" name="Text Placeholder 4">
            <a:extLst>
              <a:ext uri="{FF2B5EF4-FFF2-40B4-BE49-F238E27FC236}">
                <a16:creationId xmlns:a16="http://schemas.microsoft.com/office/drawing/2014/main" id="{FB4C7BEB-14B9-982E-AE55-CF3E7BCB074F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2571750" y="2871788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9A3E6FC-2C8A-4F8D-B58C-6069C2318EEA}" type="datetime'''''''1''''''''''4'''">
              <a:rPr lang="en-GB" sz="1400" noProof="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GB" sz="1400" noProof="0" dirty="0"/>
          </a:p>
        </p:txBody>
      </p:sp>
      <p:sp>
        <p:nvSpPr>
          <p:cNvPr id="385" name="Text Placeholder 4">
            <a:extLst>
              <a:ext uri="{FF2B5EF4-FFF2-40B4-BE49-F238E27FC236}">
                <a16:creationId xmlns:a16="http://schemas.microsoft.com/office/drawing/2014/main" id="{BB1D81C8-9BD9-23AD-6152-35A367E32EED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3448050" y="2871788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A808752-BA06-49F3-863D-DCC82DFCB5D7}" type="datetime'''''''1''''''''''''''''''''''''5'''''''''''''''''''''">
              <a:rPr lang="en-GB" sz="1400" noProof="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GB" sz="1400" noProof="0" dirty="0"/>
          </a:p>
        </p:txBody>
      </p:sp>
      <p:sp>
        <p:nvSpPr>
          <p:cNvPr id="386" name="Text Placeholder 4">
            <a:extLst>
              <a:ext uri="{FF2B5EF4-FFF2-40B4-BE49-F238E27FC236}">
                <a16:creationId xmlns:a16="http://schemas.microsoft.com/office/drawing/2014/main" id="{216A96B2-B61A-3DF8-D615-5186DDA12E31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4324350" y="2871788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5D075D7-3387-48C2-B90C-BC8A1EEBB1F2}" type="datetime'''''''''''''''1''6'''''''''''''''''''''''">
              <a:rPr lang="en-GB" sz="1400" noProof="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GB" sz="1400" noProof="0" dirty="0"/>
          </a:p>
        </p:txBody>
      </p:sp>
      <p:sp>
        <p:nvSpPr>
          <p:cNvPr id="387" name="Text Placeholder 4">
            <a:extLst>
              <a:ext uri="{FF2B5EF4-FFF2-40B4-BE49-F238E27FC236}">
                <a16:creationId xmlns:a16="http://schemas.microsoft.com/office/drawing/2014/main" id="{B9A6E93C-1CD1-0924-E756-AE4F6D0E15BF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5202238" y="2871788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1F1D672-D8B1-461E-8346-A4E578D640DF}" type="datetime'''''''1''''''''''''7'''''''''''''''''''''''''''''''''''">
              <a:rPr lang="en-GB" sz="1400" noProof="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GB" sz="1400" noProof="0" dirty="0"/>
          </a:p>
        </p:txBody>
      </p:sp>
      <p:sp>
        <p:nvSpPr>
          <p:cNvPr id="388" name="Text Placeholder 4">
            <a:extLst>
              <a:ext uri="{FF2B5EF4-FFF2-40B4-BE49-F238E27FC236}">
                <a16:creationId xmlns:a16="http://schemas.microsoft.com/office/drawing/2014/main" id="{DE6D0800-469C-214D-2DDE-6122CD28D3D5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6078538" y="2871788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3EF1C54-6896-4743-9493-D735F54EBAF5}" type="datetime'''''''''''''''''''''''''''''''''1''''''''''''8'''''''">
              <a:rPr lang="en-GB" sz="1400" noProof="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en-GB" sz="1400" noProof="0" dirty="0"/>
          </a:p>
        </p:txBody>
      </p:sp>
      <p:sp>
        <p:nvSpPr>
          <p:cNvPr id="389" name="Text Placeholder 4">
            <a:extLst>
              <a:ext uri="{FF2B5EF4-FFF2-40B4-BE49-F238E27FC236}">
                <a16:creationId xmlns:a16="http://schemas.microsoft.com/office/drawing/2014/main" id="{239BEE1C-130C-02D2-E025-DCBFE9D57097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6954838" y="2871788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E27C33E-7490-42AB-8032-525852B9FE38}" type="datetime'''''''''1''''''''''''''''''''''''''9'''''''''''''''''">
              <a:rPr lang="en-GB" sz="1400" noProof="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en-GB" sz="1400" noProof="0" dirty="0"/>
          </a:p>
        </p:txBody>
      </p:sp>
      <p:sp>
        <p:nvSpPr>
          <p:cNvPr id="390" name="Text Placeholder 4">
            <a:extLst>
              <a:ext uri="{FF2B5EF4-FFF2-40B4-BE49-F238E27FC236}">
                <a16:creationId xmlns:a16="http://schemas.microsoft.com/office/drawing/2014/main" id="{9B1075B8-1453-D7C5-F32C-2362274EEFCD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7831138" y="2871788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ECEE6E4-3DAB-459B-9280-0A640F2986F6}" type="datetime'''''''''''''''''''''''''''''''''''''''''''''2''0'">
              <a:rPr lang="en-GB" sz="1400" noProof="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GB" sz="1400" noProof="0" dirty="0"/>
          </a:p>
        </p:txBody>
      </p:sp>
      <p:sp>
        <p:nvSpPr>
          <p:cNvPr id="391" name="Text Placeholder 4">
            <a:extLst>
              <a:ext uri="{FF2B5EF4-FFF2-40B4-BE49-F238E27FC236}">
                <a16:creationId xmlns:a16="http://schemas.microsoft.com/office/drawing/2014/main" id="{6CFF846A-0876-1559-2CE8-1A989AD9CF68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8709025" y="2871788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402FDE5-59D4-4B84-9BCA-D13D92A806C5}" type="datetime'''''''''''2''''1'''''''''''''''''''''''''''''''''''">
              <a:rPr lang="en-GB" sz="1400" noProof="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en-GB" sz="1400" noProof="0" dirty="0"/>
          </a:p>
        </p:txBody>
      </p:sp>
      <p:sp>
        <p:nvSpPr>
          <p:cNvPr id="392" name="Text Placeholder 4">
            <a:extLst>
              <a:ext uri="{FF2B5EF4-FFF2-40B4-BE49-F238E27FC236}">
                <a16:creationId xmlns:a16="http://schemas.microsoft.com/office/drawing/2014/main" id="{D557969C-46D3-0ADA-B140-E2BED6F14B10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9585325" y="2871788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73D587D-2D30-4C19-BDC8-162077A93368}" type="datetime'''''''''''''''''2''''''''''''''''2'''''''''''''''''''">
              <a:rPr lang="en-GB" sz="1400" noProof="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en-GB" sz="1400" noProof="0" dirty="0"/>
          </a:p>
        </p:txBody>
      </p:sp>
      <p:sp>
        <p:nvSpPr>
          <p:cNvPr id="393" name="Text Placeholder 4">
            <a:extLst>
              <a:ext uri="{FF2B5EF4-FFF2-40B4-BE49-F238E27FC236}">
                <a16:creationId xmlns:a16="http://schemas.microsoft.com/office/drawing/2014/main" id="{F7ACCCBD-524D-1AED-F8C4-4296D248B440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10461625" y="2871788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A9ADB65-2BFA-4D8D-BD64-05C343AAFF55}" type="datetime'''2''''''''''''''''''''''''''''''''''''''''''''''''''3'''''">
              <a:rPr lang="en-GB" sz="1400" noProof="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en-GB" sz="1400" noProof="0" dirty="0"/>
          </a:p>
        </p:txBody>
      </p:sp>
      <p:sp>
        <p:nvSpPr>
          <p:cNvPr id="382" name="Text Placeholder 4">
            <a:extLst>
              <a:ext uri="{FF2B5EF4-FFF2-40B4-BE49-F238E27FC236}">
                <a16:creationId xmlns:a16="http://schemas.microsoft.com/office/drawing/2014/main" id="{7E724B40-5A59-0E4B-BA22-0F414292410A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719138" y="2871788"/>
            <a:ext cx="3937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66DA3D5-93FE-48F7-AD2F-AF37A8D630AC}" type="datetime'''''''''''''''''2''''''''''''''''''01''''''''2'''''''''''''''">
              <a:rPr lang="en-GB" sz="1400" noProof="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en-GB" sz="1400" noProof="0" dirty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845A4573-4F89-960B-F52B-121A1A73FE39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542925" y="6029325"/>
            <a:ext cx="2555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6BD5743-D7A6-455C-A913-4873AE059EC7}" type="datetime'''''''''''''''''-''''''''''''''''''''1''8'">
              <a:rPr lang="en-US" altLang="en-US" sz="1400" smtClean="0">
                <a:effectLst/>
                <a:cs typeface="+mn-cs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-18</a:t>
            </a:fld>
            <a:endParaRPr lang="en-US" sz="1400" dirty="0">
              <a:cs typeface="+mn-cs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A1ABE79-5AFA-F0BF-6B0B-0EB2BA90CACA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542925" y="5659438"/>
            <a:ext cx="2555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3A23F4F-7408-45D3-A60D-4A33C2AE9861}" type="datetime'''''''''''''''''''-''''''''1''''''''''''''''''''''6'''''">
              <a:rPr lang="en-US" altLang="en-US" sz="1400" smtClean="0">
                <a:effectLst/>
                <a:cs typeface="+mn-cs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-16</a:t>
            </a:fld>
            <a:endParaRPr lang="en-US" sz="1400" dirty="0">
              <a:cs typeface="+mn-cs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BA0BDD03-8B2A-F974-BC36-4F335410E4EF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542925" y="5291138"/>
            <a:ext cx="2555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0D577DE-D7E4-4BB8-BB96-ACAA30BDF1EB}" type="datetime'''''''''''''''-''''''''''''''''1''4'''">
              <a:rPr lang="en-US" altLang="en-US" sz="1400" smtClean="0">
                <a:effectLst/>
                <a:cs typeface="+mn-cs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-14</a:t>
            </a:fld>
            <a:endParaRPr lang="en-US" sz="1400" dirty="0">
              <a:cs typeface="+mn-cs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EB9CF590-3555-5764-430D-0F23DD2C7F9A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542925" y="4921250"/>
            <a:ext cx="2555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2D8AB7D-C8F4-473A-8B32-31B5E5AB1390}" type="datetime'''''-''''''''''''''''''''''''''''''''''''1''''''''''''2'">
              <a:rPr lang="en-US" altLang="en-US" sz="1400" smtClean="0">
                <a:effectLst/>
                <a:cs typeface="+mn-cs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-12</a:t>
            </a:fld>
            <a:endParaRPr lang="en-US" sz="1400" dirty="0">
              <a:cs typeface="+mn-cs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660061B-942C-7B59-AA9A-775579B646A5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542925" y="4552950"/>
            <a:ext cx="2555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EF86879-F0A6-4F67-B5A6-71CFC34F4450}" type="datetime'''''''''''''''''''''-''''''''''''''''''1''0'''''">
              <a:rPr lang="en-US" altLang="en-US" sz="1400" smtClean="0">
                <a:effectLst/>
                <a:cs typeface="+mn-cs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-10</a:t>
            </a:fld>
            <a:endParaRPr lang="en-US" sz="1400" dirty="0">
              <a:cs typeface="+mn-cs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32611F0-4689-7D59-4575-D0118CD2C555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641350" y="4183063"/>
            <a:ext cx="157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A483062-AD20-41B5-928C-2598FE972B89}" type="datetime'''''''''-''8'''''''''''''''''''''''''''''''''''">
              <a:rPr lang="en-US" altLang="en-US" sz="1400" smtClean="0">
                <a:effectLst/>
                <a:cs typeface="+mn-cs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-8</a:t>
            </a:fld>
            <a:endParaRPr lang="en-US" sz="1400" dirty="0">
              <a:cs typeface="+mn-cs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8E2396C-C695-263D-EB2D-495B1D1B5B0C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641350" y="3814763"/>
            <a:ext cx="157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A35B533-F4A4-4B09-A11B-D1D68E93ABFF}" type="datetime'''''''''''''''''-''6'''''''''''''''''''''''''''''''">
              <a:rPr lang="en-US" altLang="en-US" sz="1400" smtClean="0">
                <a:effectLst/>
                <a:cs typeface="+mn-cs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-6</a:t>
            </a:fld>
            <a:endParaRPr lang="en-US" sz="1400" dirty="0">
              <a:cs typeface="+mn-cs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C7A472F3-C6A5-2C91-15E3-6B79303FFA69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641350" y="3444875"/>
            <a:ext cx="157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515FBF8-A479-4095-9FA7-BA3FDF6D2D3E}" type="datetime'''''''''''''''''''-''4'''''''''''''">
              <a:rPr lang="en-US" altLang="en-US" sz="1400" smtClean="0">
                <a:effectLst/>
                <a:cs typeface="+mn-cs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-4</a:t>
            </a:fld>
            <a:endParaRPr lang="en-US" sz="1400" dirty="0">
              <a:cs typeface="+mn-c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3010B1A4-8583-C3EF-CD0D-C8178EBB5E5A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641350" y="3074988"/>
            <a:ext cx="157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E4643AE-68B6-4B3F-950D-CD78B6E5E2F2}" type="datetime'''''''''''''-''''''''''''''''''''''''''''''''''2'''''">
              <a:rPr lang="en-US" altLang="en-US" sz="1400" smtClean="0">
                <a:effectLst/>
                <a:cs typeface="+mn-cs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-2</a:t>
            </a:fld>
            <a:endParaRPr lang="en-US" sz="1400" dirty="0">
              <a:cs typeface="+mn-cs"/>
            </a:endParaRP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69719079-61B5-8F0B-8818-010588FB106B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700088" y="2706688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2703F1E-18C3-4D76-98B5-F9CFA0A3890F}" type="datetime'''''0'''''''''''''''''''''''''''''''''''">
              <a:rPr lang="en-GB" sz="1400" noProof="0" smtClean="0"/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GB" sz="1400" noProof="0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77B719CF-8010-FCF8-0C7C-4EC8550530D7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700088" y="2336800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E22B0B9-90DA-4959-9CD6-9F6309ADD1C9}" type="datetime'''2'''''''''''''''">
              <a:rPr lang="en-US" altLang="en-US" sz="1400" smtClean="0">
                <a:effectLst/>
                <a:cs typeface="+mn-cs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400" dirty="0"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291A695-8DA9-4A8C-B2A7-125B19B147ED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700088" y="1968500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3D29A5F-F474-426C-90AB-026E2E5F7C10}" type="datetime'''4'''''''''''''''''''''''''''''''''''''''''''''">
              <a:rPr lang="en-US" altLang="en-US" sz="1400" smtClean="0">
                <a:effectLst/>
                <a:cs typeface="+mn-cs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400" dirty="0"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72168CDC-720B-21B0-D19D-9DBF9EADDCDF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700088" y="1598613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42ADDBD-735E-4413-A6CB-6BA83C702CC7}" type="datetime'''''''''''''''''''''''''6'''''''''''''''''''''''''''''''''''">
              <a:rPr lang="en-US" altLang="en-US" sz="1400" smtClean="0">
                <a:effectLst/>
                <a:cs typeface="+mn-cs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sz="1400" dirty="0">
              <a:cs typeface="+mn-cs"/>
            </a:endParaRPr>
          </a:p>
        </p:txBody>
      </p:sp>
      <p:sp>
        <p:nvSpPr>
          <p:cNvPr id="394" name="Text Placeholder 4">
            <a:extLst>
              <a:ext uri="{FF2B5EF4-FFF2-40B4-BE49-F238E27FC236}">
                <a16:creationId xmlns:a16="http://schemas.microsoft.com/office/drawing/2014/main" id="{95FC56D8-9FD7-F77F-6A19-37966D80ACF0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11239500" y="2871788"/>
            <a:ext cx="3937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E136AF3-97EB-45A0-B36D-CBC96624CD96}" type="datetime'''''''''''''''''''''''''20''''''''2''4'''''''">
              <a:rPr lang="en-GB" sz="1400" noProof="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4</a:t>
            </a:fld>
            <a:endParaRPr lang="en-GB" sz="1400" noProof="0" dirty="0"/>
          </a:p>
        </p:txBody>
      </p: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F0879D7A-8CB4-69BF-4E9D-B2E2EEE07CB6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5030788" y="1327150"/>
            <a:ext cx="457200" cy="0"/>
          </a:xfrm>
          <a:prstGeom prst="line">
            <a:avLst/>
          </a:prstGeom>
          <a:ln w="254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DB36D03A-5AC1-FF8F-6A46-F87BEC2AB975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>
            <a:off x="6629400" y="1327150"/>
            <a:ext cx="457200" cy="0"/>
          </a:xfrm>
          <a:prstGeom prst="line">
            <a:avLst/>
          </a:prstGeom>
          <a:ln w="25400" cap="rnd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EBCBDC78-427A-D46A-1123-08B57EBF41FB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>
            <a:off x="7753350" y="1327150"/>
            <a:ext cx="457200" cy="0"/>
          </a:xfrm>
          <a:prstGeom prst="line">
            <a:avLst/>
          </a:prstGeom>
          <a:ln w="25400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68EC60F7-CC3E-09BF-D9D7-98468D3D3995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>
            <a:off x="9174163" y="1327150"/>
            <a:ext cx="457200" cy="0"/>
          </a:xfrm>
          <a:prstGeom prst="line">
            <a:avLst/>
          </a:prstGeom>
          <a:ln w="25400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D72F9754-2B7F-C63B-432F-3CD8C5541495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5551488" y="1243013"/>
            <a:ext cx="963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7CB83D5-E5BD-4AFC-90BC-D692823A80FA}" type="datetime'''N''o''''''''''''''''''rt''''''''h'''' ''''''''Amer''ic''a'''">
              <a:rPr lang="en-GB" sz="1200" noProof="0" smtClean="0"/>
              <a:pPr>
                <a:spcBef>
                  <a:spcPct val="0"/>
                </a:spcBef>
                <a:spcAft>
                  <a:spcPct val="0"/>
                </a:spcAft>
              </a:pPr>
              <a:t>North America</a:t>
            </a:fld>
            <a:endParaRPr lang="en-GB" sz="1200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D3B06AB-3C4E-A5A4-7938-F03FB4CD79C9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7150100" y="1243013"/>
            <a:ext cx="4889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E3BD678-EAD5-4803-8FCF-952C4A0F6494}" type="datetime'''''''E''''''ur''''''''o''p''e'''''''''''''''''''''''''">
              <a:rPr lang="en-GB" sz="1200" noProof="0" smtClean="0"/>
              <a:pPr>
                <a:spcBef>
                  <a:spcPct val="0"/>
                </a:spcBef>
                <a:spcAft>
                  <a:spcPct val="0"/>
                </a:spcAft>
              </a:pPr>
              <a:t>Europe</a:t>
            </a:fld>
            <a:endParaRPr lang="en-GB" sz="1200" noProof="0" dirty="0"/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CA785B36-C51F-B912-8A3C-E592095AECE2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8274050" y="1243013"/>
            <a:ext cx="7858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993565E-FB5C-4CE0-945D-B8393644689F}" type="datetime'''As''''''i''''''a'''' Pa''''''''cif''ic'''''''''''''''''''">
              <a:rPr lang="en-GB" sz="1200" noProof="0" smtClean="0"/>
              <a:pPr>
                <a:spcBef>
                  <a:spcPct val="0"/>
                </a:spcBef>
                <a:spcAft>
                  <a:spcPct val="0"/>
                </a:spcAft>
              </a:pPr>
              <a:t>Asia Pacific</a:t>
            </a:fld>
            <a:endParaRPr lang="en-GB" sz="1200" noProof="0" dirty="0"/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058B2738-5FB1-794E-3C07-604CB7172D50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9694863" y="1243013"/>
            <a:ext cx="887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9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94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91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1987" indent="-179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158E4F8-7D7C-4605-AEEC-E79A345A22F7}" type="datetime'R''''''''es''t'''''' ''''o''''f'''' ''''wo''''''''rl''''''d'''">
              <a:rPr lang="en-GB" sz="1200" noProof="0" smtClean="0"/>
              <a:pPr>
                <a:spcBef>
                  <a:spcPct val="0"/>
                </a:spcBef>
                <a:spcAft>
                  <a:spcPct val="0"/>
                </a:spcAft>
              </a:pPr>
              <a:t>Rest of world</a:t>
            </a:fld>
            <a:endParaRPr lang="en-GB" sz="12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04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28E2908-70A1-6F3D-E343-7A18D71D2DD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963574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7772400" imgH="10058400" progId="TCLayout.ActiveDocument.1">
                  <p:embed/>
                </p:oleObj>
              </mc:Choice>
              <mc:Fallback>
                <p:oleObj name="think-cell Slide" r:id="rId26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8E2908-70A1-6F3D-E343-7A18D71D2D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24D77B5-A088-A030-B50D-BB2191D9F6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en-US" dirty="0">
                <a:solidFill>
                  <a:srgbClr val="FFFFFF"/>
                </a:solidFill>
              </a:rPr>
              <a:t>Non-aeronautical revenues vital to airports' profitability but flatlining</a:t>
            </a:r>
            <a:endParaRPr lang="en-US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874E364-A5D3-CF43-61D8-CB42676F718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verage airport revenue split, global, %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0DD9BE-4FED-3BF1-1CBA-5D3878461A7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2EE82C-97E0-A020-86E5-606F79144135}"/>
              </a:ext>
            </a:extLst>
          </p:cNvPr>
          <p:cNvSpPr txBox="1"/>
          <p:nvPr/>
        </p:nvSpPr>
        <p:spPr>
          <a:xfrm>
            <a:off x="3048000" y="3246511"/>
            <a:ext cx="6096000" cy="3693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990</a:t>
            </a:r>
            <a:endParaRPr lang="en-US" dirty="0"/>
          </a:p>
        </p:txBody>
      </p:sp>
      <p:graphicFrame>
        <p:nvGraphicFramePr>
          <p:cNvPr id="58" name="Chart 57">
            <a:extLst>
              <a:ext uri="{FF2B5EF4-FFF2-40B4-BE49-F238E27FC236}">
                <a16:creationId xmlns:a16="http://schemas.microsoft.com/office/drawing/2014/main" id="{3BA369C3-EB9F-AA9F-DDF7-D0598FF0723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5626376"/>
              </p:ext>
            </p:extLst>
          </p:nvPr>
        </p:nvGraphicFramePr>
        <p:xfrm>
          <a:off x="1917700" y="2041525"/>
          <a:ext cx="9885363" cy="2947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30" name="Rectangle 13">
            <a:extLst>
              <a:ext uri="{FF2B5EF4-FFF2-40B4-BE49-F238E27FC236}">
                <a16:creationId xmlns:a16="http://schemas.microsoft.com/office/drawing/2014/main" id="{1EA5B10B-114E-E26D-1041-29035C6A4A0C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34988" y="4122738"/>
            <a:ext cx="139858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1937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Non-aeronautical </a:t>
            </a:r>
          </a:p>
          <a:p>
            <a:pPr marL="0" marR="0" lvl="0" indent="0" algn="l" defTabSz="11937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revenues</a:t>
            </a: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7522A842-B625-6FA9-9F4B-432EA949A7F2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065338" y="47418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0" algn="ctr" defTabSz="119377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fld id="{E8496813-1572-4790-8973-A3D2EF6BD6A5}" type="datetime'''''''''1''''990'''''''''''''''''''''''''''''''''''''">
              <a:rPr lang="en-US" altLang="en-US" sz="1400" smtClean="0">
                <a:latin typeface="+mn-lt"/>
              </a:rPr>
              <a:pPr lvl="0" algn="ctr" defTabSz="119377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t>1990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+mn-lt"/>
            </a:endParaRPr>
          </a:p>
        </p:txBody>
      </p:sp>
      <p:sp>
        <p:nvSpPr>
          <p:cNvPr id="15" name="Rectangle 11">
            <a:extLst>
              <a:ext uri="{FF2B5EF4-FFF2-40B4-BE49-F238E27FC236}">
                <a16:creationId xmlns:a16="http://schemas.microsoft.com/office/drawing/2014/main" id="{CB4AE9CA-9FAB-D60C-1F07-26CD9FA6ACC7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686175" y="47418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0" algn="ctr" defTabSz="119377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fld id="{9A0E4728-9244-4881-8F32-C08D24F1B5B7}" type="datetime'''''''2''''0''''''''''''0''''''''''''''''''6'''''''''''''">
              <a:rPr lang="en-US" altLang="en-US" sz="1400" smtClean="0">
                <a:latin typeface="+mn-lt"/>
              </a:rPr>
              <a:pPr lvl="0" algn="ctr" defTabSz="119377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t>2006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+mn-lt"/>
            </a:endParaRPr>
          </a:p>
        </p:txBody>
      </p:sp>
      <p:sp>
        <p:nvSpPr>
          <p:cNvPr id="16" name="Rectangle 26">
            <a:extLst>
              <a:ext uri="{FF2B5EF4-FFF2-40B4-BE49-F238E27FC236}">
                <a16:creationId xmlns:a16="http://schemas.microsoft.com/office/drawing/2014/main" id="{EF4031BD-AB34-D9CD-4281-C1ACD79DE7FC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4225925" y="47418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0" algn="ctr" defTabSz="119377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fld id="{3A95B623-4641-4C52-9645-75C611EDDBC3}" type="datetime'''''2''''''''''''''''''''''0''''''''''''''0''''''8'">
              <a:rPr lang="en-US" altLang="en-US" sz="1400" smtClean="0">
                <a:latin typeface="+mn-lt"/>
              </a:rPr>
              <a:pPr lvl="0" algn="ctr" defTabSz="119377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t>2008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+mn-lt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6705362-6324-A60A-053B-972A68704581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765675" y="47418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Arial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Arial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Arial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Arial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 algn="ctr" defTabSz="1193770">
              <a:buClr>
                <a:srgbClr val="002960"/>
              </a:buClr>
              <a:buNone/>
              <a:defRPr/>
            </a:pPr>
            <a:fld id="{7FE8BDD7-95CC-408E-8EF4-6587A2083D79}" type="datetime'''''''''2''''''''0''''''''''''''''''''''''1''''''0'''''''''">
              <a:rPr lang="en-US" altLang="en-US" sz="1400" smtClean="0">
                <a:cs typeface="+mn-cs"/>
              </a:rPr>
              <a:pPr marL="0" lvl="0" indent="0" algn="ctr" defTabSz="1193770">
                <a:buClr>
                  <a:srgbClr val="002960"/>
                </a:buClr>
                <a:buNone/>
                <a:defRPr/>
              </a:pPr>
              <a:t>2010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effectLst/>
              <a:uLnTx/>
              <a:uFillTx/>
              <a:cs typeface="+mn-cs"/>
              <a:sym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84D5DDD-6EA8-091E-F7E5-E4D5E928F098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5305425" y="47418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 algn="ctr" defTabSz="1193770">
              <a:buClr>
                <a:srgbClr val="002960"/>
              </a:buClr>
              <a:buNone/>
              <a:defRPr/>
            </a:pPr>
            <a:fld id="{966FB085-47A1-4B2A-8717-C9BBAD9203CB}" type="datetime'''''2''''''''''0''''''''''''''''1''''''''''''''''''3'">
              <a:rPr lang="en-US" altLang="en-US" sz="1400" smtClean="0"/>
              <a:pPr marL="0" lvl="0" indent="0" algn="ctr" defTabSz="1193770">
                <a:buClr>
                  <a:srgbClr val="002960"/>
                </a:buClr>
                <a:buNone/>
                <a:defRPr/>
              </a:pPr>
              <a:t>2013</a:t>
            </a:fld>
            <a:endParaRPr kumimoji="0" lang="de-DE" sz="1400" b="0" i="0" strike="noStrike" kern="1200" cap="none" spc="0" normalizeH="0" baseline="0" noProof="0">
              <a:ln>
                <a:noFill/>
              </a:ln>
              <a:effectLst/>
              <a:uLnTx/>
              <a:uFillTx/>
              <a:sym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EC768F6-10C1-FE05-150A-805E8C96AB56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5845175" y="47418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 algn="ctr" defTabSz="1193770">
              <a:buClr>
                <a:srgbClr val="002960"/>
              </a:buClr>
              <a:buNone/>
              <a:defRPr/>
            </a:pPr>
            <a:fld id="{6EC37607-7799-42C9-BEEB-801C5C69FF09}" type="datetime'''2''''''''''0''''''''''''1''''''4'''''''''''">
              <a:rPr lang="en-US" altLang="en-US" sz="1400" smtClean="0"/>
              <a:pPr marL="0" lvl="0" indent="0" algn="ctr" defTabSz="1193770">
                <a:buClr>
                  <a:srgbClr val="002960"/>
                </a:buClr>
                <a:buNone/>
                <a:defRPr/>
              </a:pPr>
              <a:t>2014</a:t>
            </a:fld>
            <a:endParaRPr kumimoji="0" lang="de-DE" sz="1400" b="0" i="0" strike="noStrike" kern="1200" cap="none" spc="0" normalizeH="0" baseline="0" noProof="0">
              <a:ln>
                <a:noFill/>
              </a:ln>
              <a:effectLst/>
              <a:uLnTx/>
              <a:uFillTx/>
              <a:sym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876632B-4928-AA2E-1B64-6DD9B8C79490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6386513" y="47418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 algn="ctr" defTabSz="1193770">
              <a:buClr>
                <a:srgbClr val="002960"/>
              </a:buClr>
              <a:buNone/>
              <a:defRPr/>
            </a:pPr>
            <a:fld id="{51D2F97E-0CD4-4AF6-BBB1-21EB87AAA7BA}" type="datetime'''2''''''''''''''''''''''''0''1''''''''''''''5'''">
              <a:rPr lang="de-DE" altLang="en-US" sz="1400" smtClean="0"/>
              <a:pPr marL="0" lvl="0" indent="0" algn="ctr" defTabSz="1193770">
                <a:buClr>
                  <a:srgbClr val="002960"/>
                </a:buClr>
                <a:buNone/>
                <a:defRPr/>
              </a:pPr>
              <a:t>2015</a:t>
            </a:fld>
            <a:endParaRPr kumimoji="0" lang="de-DE" sz="1400" b="0" i="0" strike="noStrike" kern="1200" cap="none" spc="0" normalizeH="0" baseline="0" noProof="0">
              <a:ln>
                <a:noFill/>
              </a:ln>
              <a:effectLst/>
              <a:uLnTx/>
              <a:uFillTx/>
              <a:sym typeface="Arial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6CAF5FF-0E44-D3BA-BDD5-C5ED7DC47647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6926263" y="47418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 algn="ctr" defTabSz="1193770">
              <a:buClr>
                <a:srgbClr val="002960"/>
              </a:buClr>
              <a:buNone/>
              <a:defRPr/>
            </a:pPr>
            <a:fld id="{71E202C2-5CF9-489F-8C50-31E9C0497D0C}" type="datetime'''''201''''''''''6'''''''''''''''''''''''''''''''''''">
              <a:rPr lang="de-DE" altLang="en-US" sz="1400" smtClean="0"/>
              <a:pPr marL="0" lvl="0" indent="0" algn="ctr" defTabSz="1193770">
                <a:buClr>
                  <a:srgbClr val="002960"/>
                </a:buClr>
                <a:buNone/>
                <a:defRPr/>
              </a:pPr>
              <a:t>2016</a:t>
            </a:fld>
            <a:endParaRPr kumimoji="0" lang="de-DE" sz="1400" b="0" i="0" strike="noStrike" kern="1200" cap="none" spc="0" normalizeH="0" baseline="0" noProof="0">
              <a:ln>
                <a:noFill/>
              </a:ln>
              <a:effectLst/>
              <a:uLnTx/>
              <a:uFillTx/>
              <a:sym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CDF231-D55C-7734-4759-44BA87E6FC8B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7466013" y="47418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 algn="ctr" defTabSz="1193770">
              <a:buClr>
                <a:srgbClr val="002960"/>
              </a:buClr>
              <a:buNone/>
              <a:defRPr/>
            </a:pPr>
            <a:fld id="{DF4BF9B4-DB90-4143-8BF4-DC239DCAC402}" type="datetime'201''''''''''''''''''7'''''''''''''''''''''''''''''''">
              <a:rPr lang="ja-JP" altLang="en-US" sz="1400" smtClean="0"/>
              <a:pPr marL="0" lvl="0" indent="0" algn="ctr" defTabSz="1193770">
                <a:buClr>
                  <a:srgbClr val="002960"/>
                </a:buClr>
                <a:buNone/>
                <a:defRPr/>
              </a:pPr>
              <a:t>2017</a:t>
            </a:fld>
            <a:endParaRPr kumimoji="0" lang="de-DE" sz="1400" b="0" i="0" strike="noStrike" kern="1200" cap="none" spc="0" normalizeH="0" baseline="0" noProof="0">
              <a:ln>
                <a:noFill/>
              </a:ln>
              <a:effectLst/>
              <a:uLnTx/>
              <a:uFillTx/>
              <a:sym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CDE8F1F-073D-D453-AF82-9E5911CCF467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8005763" y="47418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 algn="ctr" defTabSz="1193770">
              <a:buClr>
                <a:srgbClr val="002960"/>
              </a:buClr>
              <a:buNone/>
              <a:defRPr/>
            </a:pPr>
            <a:fld id="{DE9AC814-5BCC-402D-B155-D2B78B397F31}" type="datetime'20''''''''''''''''''''1''''''''''''''''''''''8'''''''''">
              <a:rPr lang="ja-JP" altLang="en-US" sz="1400" smtClean="0"/>
              <a:pPr marL="0" lvl="0" indent="0" algn="ctr" defTabSz="1193770">
                <a:buClr>
                  <a:srgbClr val="002960"/>
                </a:buClr>
                <a:buNone/>
                <a:defRPr/>
              </a:pPr>
              <a:t>2018</a:t>
            </a:fld>
            <a:endParaRPr kumimoji="0" lang="de-DE" sz="1400" b="0" i="0" strike="noStrike" kern="1200" cap="none" spc="0" normalizeH="0" baseline="0" noProof="0">
              <a:ln>
                <a:noFill/>
              </a:ln>
              <a:effectLst/>
              <a:uLnTx/>
              <a:uFillTx/>
              <a:sym typeface="Arial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FED7ECB-21A4-686C-9C5D-C4BA0944BBC5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8545513" y="47418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 algn="ctr" defTabSz="1193770">
              <a:buClr>
                <a:srgbClr val="002960"/>
              </a:buClr>
              <a:buNone/>
              <a:defRPr/>
            </a:pPr>
            <a:fld id="{B548EE0B-CF61-4607-A705-45E27B6F033D}" type="datetime'2''''''''0''''1''''''9'''''''''''''''''''">
              <a:rPr lang="ja-JP" altLang="en-US" sz="1400" smtClean="0"/>
              <a:pPr marL="0" lvl="0" indent="0" algn="ctr" defTabSz="1193770">
                <a:buClr>
                  <a:srgbClr val="002960"/>
                </a:buClr>
                <a:buNone/>
                <a:defRPr/>
              </a:pPr>
              <a:t>2019</a:t>
            </a:fld>
            <a:endParaRPr kumimoji="0" lang="de-DE" sz="1400" b="0" i="0" strike="noStrike" kern="1200" cap="none" spc="0" normalizeH="0" baseline="0" noProof="0">
              <a:ln>
                <a:noFill/>
              </a:ln>
              <a:effectLst/>
              <a:uLnTx/>
              <a:uFillTx/>
              <a:sym typeface="Arial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3D074B3-1227-0A3B-B080-D8526AFD8652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9085263" y="47418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 algn="ctr" defTabSz="1193770">
              <a:buClr>
                <a:srgbClr val="002960"/>
              </a:buClr>
              <a:buNone/>
              <a:defRPr/>
            </a:pPr>
            <a:fld id="{2BA82CC3-2160-4CF4-BF54-723FC60F858E}" type="datetime'''''''''''''''''''''''''''''''''2''''''''''''''''020'''''">
              <a:rPr lang="ja-JP" altLang="en-US" sz="1400" smtClean="0"/>
              <a:pPr marL="0" lvl="0" indent="0" algn="ctr" defTabSz="1193770">
                <a:buClr>
                  <a:srgbClr val="002960"/>
                </a:buClr>
                <a:buNone/>
                <a:defRPr/>
              </a:pPr>
              <a:t>2020</a:t>
            </a:fld>
            <a:endParaRPr kumimoji="0" lang="de-DE" sz="1400" b="0" i="0" strike="noStrike" kern="1200" cap="none" spc="0" normalizeH="0" baseline="0" noProof="0">
              <a:ln>
                <a:noFill/>
              </a:ln>
              <a:effectLst/>
              <a:uLnTx/>
              <a:uFillTx/>
              <a:sym typeface="Arial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7C82952-659D-57C5-DC13-F16093C5BDD3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9626600" y="47418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 algn="ctr" defTabSz="1193770">
              <a:buClr>
                <a:srgbClr val="002960"/>
              </a:buClr>
              <a:buNone/>
              <a:defRPr/>
            </a:pPr>
            <a:fld id="{B9FF512A-0A0A-4651-AE9C-3F1C63A11F48}" type="datetime'''''''''2''''''''''0''2''''''''''1'''''">
              <a:rPr lang="ja-JP" altLang="en-US" sz="1400" smtClean="0"/>
              <a:pPr marL="0" lvl="0" indent="0" algn="ctr" defTabSz="1193770">
                <a:buClr>
                  <a:srgbClr val="002960"/>
                </a:buClr>
                <a:buNone/>
                <a:defRPr/>
              </a:pPr>
              <a:t>2021</a:t>
            </a:fld>
            <a:endParaRPr kumimoji="0" lang="de-DE" sz="1400" b="0" i="0" strike="noStrike" kern="1200" cap="none" spc="0" normalizeH="0" baseline="0" noProof="0">
              <a:ln>
                <a:noFill/>
              </a:ln>
              <a:effectLst/>
              <a:uLnTx/>
              <a:uFillTx/>
              <a:sym typeface="Arial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A6DBCE4-211B-CCFB-3C29-77529CDE5436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10166350" y="47418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 algn="ctr" defTabSz="1193770">
              <a:buClr>
                <a:srgbClr val="002960"/>
              </a:buClr>
              <a:buNone/>
              <a:defRPr/>
            </a:pPr>
            <a:fld id="{FEFC71F7-3106-4C67-8A1B-689EF6791923}" type="datetime'''''''''''''''''''2''''''''02''2'''''''''''''''''''">
              <a:rPr lang="ja-JP" altLang="en-US" sz="1400" smtClean="0"/>
              <a:pPr marL="0" lvl="0" indent="0" algn="ctr" defTabSz="1193770">
                <a:buClr>
                  <a:srgbClr val="002960"/>
                </a:buClr>
                <a:buNone/>
                <a:defRPr/>
              </a:pPr>
              <a:t>2022</a:t>
            </a:fld>
            <a:endParaRPr kumimoji="0" lang="de-DE" sz="1400" b="0" i="0" strike="noStrike" kern="1200" cap="none" spc="0" normalizeH="0" baseline="0" noProof="0">
              <a:ln>
                <a:noFill/>
              </a:ln>
              <a:effectLst/>
              <a:uLnTx/>
              <a:uFillTx/>
              <a:sym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AC9F437-BDD2-30D5-F0FC-8A9F7A3AFA91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10706100" y="47418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 algn="ctr" defTabSz="1193770">
              <a:buClr>
                <a:srgbClr val="002960"/>
              </a:buClr>
              <a:buNone/>
              <a:defRPr/>
            </a:pPr>
            <a:fld id="{758A8D21-0A65-4C11-9BCD-9FCAE8407B18}" type="datetime'2''''''0''2''''''''''''''''''''3'''''''''''''">
              <a:rPr lang="ja-JP" altLang="en-US" sz="1400" smtClean="0"/>
              <a:pPr marL="0" lvl="0" indent="0" algn="ctr" defTabSz="1193770">
                <a:buClr>
                  <a:srgbClr val="002960"/>
                </a:buClr>
                <a:buNone/>
                <a:defRPr/>
              </a:pPr>
              <a:t>2023</a:t>
            </a:fld>
            <a:endParaRPr kumimoji="0" lang="de-DE" sz="1400" b="0" i="0" strike="noStrike" kern="1200" cap="none" spc="0" normalizeH="0" baseline="0" noProof="0">
              <a:ln>
                <a:noFill/>
              </a:ln>
              <a:effectLst/>
              <a:uLnTx/>
              <a:uFillTx/>
              <a:sym typeface="Arial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346FFBF-AD61-4665-56DE-82362265D745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11245850" y="47418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 algn="ctr" defTabSz="1193770">
              <a:buClr>
                <a:srgbClr val="002960"/>
              </a:buClr>
              <a:buNone/>
              <a:defRPr/>
            </a:pPr>
            <a:fld id="{DE3FA1CD-28F4-43E8-8F0E-A823DFA7987A}" type="datetime'2''''''''''''''02''''''''4'''''''''''''''''">
              <a:rPr lang="ja-JP" altLang="en-US" sz="1400" smtClean="0"/>
              <a:pPr marL="0" lvl="0" indent="0" algn="ctr" defTabSz="1193770">
                <a:buClr>
                  <a:srgbClr val="002960"/>
                </a:buClr>
                <a:buNone/>
                <a:defRPr/>
              </a:pPr>
              <a:t>2024</a:t>
            </a:fld>
            <a:endParaRPr kumimoji="0" lang="de-DE" sz="1400" b="0" i="0" strike="noStrike" kern="1200" cap="none" spc="0" normalizeH="0" baseline="0" noProof="0">
              <a:ln>
                <a:noFill/>
              </a:ln>
              <a:effectLst/>
              <a:uLnTx/>
              <a:uFillTx/>
              <a:sym typeface="Arial"/>
            </a:endParaRPr>
          </a:p>
        </p:txBody>
      </p:sp>
      <p:sp>
        <p:nvSpPr>
          <p:cNvPr id="29" name="Rectangle 12">
            <a:extLst>
              <a:ext uri="{FF2B5EF4-FFF2-40B4-BE49-F238E27FC236}">
                <a16:creationId xmlns:a16="http://schemas.microsoft.com/office/drawing/2014/main" id="{55D78C7D-4F81-BA29-B584-338D01D0EF4C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534988" y="2967038"/>
            <a:ext cx="98583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1937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eronautical</a:t>
            </a:r>
          </a:p>
          <a:p>
            <a:pPr marL="0" marR="0" lvl="0" indent="0" algn="l" defTabSz="11937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revenues</a:t>
            </a:r>
          </a:p>
        </p:txBody>
      </p:sp>
      <p:sp>
        <p:nvSpPr>
          <p:cNvPr id="13" name="Rectangle 7">
            <a:extLst>
              <a:ext uri="{FF2B5EF4-FFF2-40B4-BE49-F238E27FC236}">
                <a16:creationId xmlns:a16="http://schemas.microsoft.com/office/drawing/2014/main" id="{B2F99AA9-C0A1-A7A1-1363-E6464B67B094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2605088" y="47418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0" algn="ctr" defTabSz="119377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fld id="{3981B143-4148-4EBA-9694-0F8515EA7CF8}" type="datetime'''''''''1''''''''''''''''''99''''''''''''''5'''''''''''">
              <a:rPr lang="en-US" altLang="en-US" sz="1400" smtClean="0">
                <a:latin typeface="+mn-lt"/>
              </a:rPr>
              <a:pPr lvl="0" algn="ctr" defTabSz="119377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t>1995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+mn-lt"/>
            </a:endParaRPr>
          </a:p>
        </p:txBody>
      </p:sp>
      <p:sp>
        <p:nvSpPr>
          <p:cNvPr id="14" name="Rectangle 9">
            <a:extLst>
              <a:ext uri="{FF2B5EF4-FFF2-40B4-BE49-F238E27FC236}">
                <a16:creationId xmlns:a16="http://schemas.microsoft.com/office/drawing/2014/main" id="{0CA98B1D-BDB5-DD97-2100-90EA179AB287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3146425" y="47418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0" algn="ctr" defTabSz="119377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fld id="{9657786B-1B17-4B49-BD55-EBF4AE053B24}" type="datetime'''''2''0''0''''''''''''''''''''''''''''''''''''''''0'''''">
              <a:rPr lang="en-US" altLang="en-US" sz="1400" smtClean="0">
                <a:latin typeface="+mn-lt"/>
              </a:rPr>
              <a:pPr lvl="0" algn="ctr" defTabSz="119377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t>2000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+mn-lt"/>
            </a:endParaRPr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CD23F940-15A9-B5FA-6448-CEECBCE58BD0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>
          <a:xfrm>
            <a:off x="2082800" y="5137739"/>
            <a:ext cx="161925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214" lvl="1" indent="0" algn="ctr" defTabSz="895350" eaLnBrk="1" hangingPunct="1">
              <a:spcBef>
                <a:spcPts val="459"/>
              </a:spcBef>
              <a:buClr>
                <a:schemeClr val="tx2"/>
              </a:buClr>
              <a:buSzPct val="125000"/>
              <a:buFont typeface="Arial" charset="0"/>
              <a:buNone/>
              <a:defRPr sz="1200" baseline="0">
                <a:solidFill>
                  <a:schemeClr val="accent3"/>
                </a:solidFill>
                <a:latin typeface="+mj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19" marR="0" lvl="1" indent="0" algn="l" defTabSz="11937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a of fast increase in non-aero through focus on commercial activities</a:t>
            </a:r>
          </a:p>
        </p:txBody>
      </p:sp>
      <p:sp>
        <p:nvSpPr>
          <p:cNvPr id="60" name="Rectangle 5">
            <a:extLst>
              <a:ext uri="{FF2B5EF4-FFF2-40B4-BE49-F238E27FC236}">
                <a16:creationId xmlns:a16="http://schemas.microsoft.com/office/drawing/2014/main" id="{9A748FF2-F91E-5754-1BB6-91ECF57FC492}"/>
              </a:ext>
            </a:extLst>
          </p:cNvPr>
          <p:cNvSpPr txBox="1">
            <a:spLocks/>
          </p:cNvSpPr>
          <p:nvPr/>
        </p:nvSpPr>
        <p:spPr>
          <a:xfrm>
            <a:off x="3715638" y="5137739"/>
            <a:ext cx="1995154" cy="8257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19" marR="0" lvl="1" indent="0" algn="l" defTabSz="1193770" rtl="0" eaLnBrk="1" fontAlgn="base" latinLnBrk="0" hangingPunct="1">
              <a:lnSpc>
                <a:spcPct val="100000"/>
              </a:lnSpc>
              <a:spcBef>
                <a:spcPts val="612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tabilization of revenue split, partly driven by higher airport  tariffs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F1B7C820-9C83-7180-F5FF-0C0F3B43BD97}"/>
              </a:ext>
            </a:extLst>
          </p:cNvPr>
          <p:cNvCxnSpPr>
            <a:cxnSpLocks/>
          </p:cNvCxnSpPr>
          <p:nvPr/>
        </p:nvCxnSpPr>
        <p:spPr>
          <a:xfrm>
            <a:off x="2082800" y="5140297"/>
            <a:ext cx="1536700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49C24616-37C5-C606-F52F-0265F7C8D6F6}"/>
              </a:ext>
            </a:extLst>
          </p:cNvPr>
          <p:cNvCxnSpPr>
            <a:cxnSpLocks/>
          </p:cNvCxnSpPr>
          <p:nvPr/>
        </p:nvCxnSpPr>
        <p:spPr>
          <a:xfrm>
            <a:off x="3715637" y="5140297"/>
            <a:ext cx="1996188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9460A466-DB13-FC99-A258-808AAAB3A862}"/>
              </a:ext>
            </a:extLst>
          </p:cNvPr>
          <p:cNvCxnSpPr>
            <a:cxnSpLocks/>
          </p:cNvCxnSpPr>
          <p:nvPr/>
        </p:nvCxnSpPr>
        <p:spPr>
          <a:xfrm>
            <a:off x="5818180" y="5140297"/>
            <a:ext cx="1955755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5">
            <a:extLst>
              <a:ext uri="{FF2B5EF4-FFF2-40B4-BE49-F238E27FC236}">
                <a16:creationId xmlns:a16="http://schemas.microsoft.com/office/drawing/2014/main" id="{9D775021-F76E-3BD6-F8FF-C36E36BF7FB9}"/>
              </a:ext>
            </a:extLst>
          </p:cNvPr>
          <p:cNvSpPr txBox="1">
            <a:spLocks/>
          </p:cNvSpPr>
          <p:nvPr/>
        </p:nvSpPr>
        <p:spPr>
          <a:xfrm>
            <a:off x="5845175" y="5137739"/>
            <a:ext cx="181488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19" marR="0" lvl="1" indent="0" algn="l" defTabSz="1193770" rtl="0" eaLnBrk="1" fontAlgn="base" latinLnBrk="0" hangingPunct="1">
              <a:lnSpc>
                <a:spcPct val="100000"/>
              </a:lnSpc>
              <a:spcBef>
                <a:spcPts val="612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light decline in non-aero revenue, driven by Euro-area downturn</a:t>
            </a: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0274136B-E93C-E076-B60B-3D71FC2210B5}"/>
              </a:ext>
            </a:extLst>
          </p:cNvPr>
          <p:cNvCxnSpPr>
            <a:cxnSpLocks/>
          </p:cNvCxnSpPr>
          <p:nvPr/>
        </p:nvCxnSpPr>
        <p:spPr>
          <a:xfrm>
            <a:off x="7916955" y="5140297"/>
            <a:ext cx="1075150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5">
            <a:extLst>
              <a:ext uri="{FF2B5EF4-FFF2-40B4-BE49-F238E27FC236}">
                <a16:creationId xmlns:a16="http://schemas.microsoft.com/office/drawing/2014/main" id="{AB1BCA00-9B22-183F-8A19-F6D4650E6656}"/>
              </a:ext>
            </a:extLst>
          </p:cNvPr>
          <p:cNvSpPr txBox="1">
            <a:spLocks/>
          </p:cNvSpPr>
          <p:nvPr/>
        </p:nvSpPr>
        <p:spPr>
          <a:xfrm>
            <a:off x="7944695" y="5137739"/>
            <a:ext cx="1029480" cy="8257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19" marR="0" lvl="1" indent="0" algn="l" defTabSz="1193770" eaLnBrk="1" fontAlgn="base" latinLnBrk="0" hangingPunct="1">
              <a:lnSpc>
                <a:spcPct val="100000"/>
              </a:lnSpc>
              <a:spcBef>
                <a:spcPts val="612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tabilization of revenue split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7B12881F-546C-BB96-F406-56F009DF7C44}"/>
              </a:ext>
            </a:extLst>
          </p:cNvPr>
          <p:cNvCxnSpPr>
            <a:cxnSpLocks/>
          </p:cNvCxnSpPr>
          <p:nvPr/>
        </p:nvCxnSpPr>
        <p:spPr>
          <a:xfrm>
            <a:off x="9126489" y="5140297"/>
            <a:ext cx="1000221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5">
            <a:extLst>
              <a:ext uri="{FF2B5EF4-FFF2-40B4-BE49-F238E27FC236}">
                <a16:creationId xmlns:a16="http://schemas.microsoft.com/office/drawing/2014/main" id="{E2F367D3-0C30-8073-2CC0-FE5E65C2D5F9}"/>
              </a:ext>
            </a:extLst>
          </p:cNvPr>
          <p:cNvSpPr txBox="1">
            <a:spLocks/>
          </p:cNvSpPr>
          <p:nvPr/>
        </p:nvSpPr>
        <p:spPr>
          <a:xfrm>
            <a:off x="9148199" y="5137739"/>
            <a:ext cx="100022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19" marR="0" lvl="1" indent="0" algn="l" defTabSz="1193770" eaLnBrk="1" fontAlgn="base" latinLnBrk="0" hangingPunct="1">
              <a:lnSpc>
                <a:spcPct val="100000"/>
              </a:lnSpc>
              <a:spcBef>
                <a:spcPts val="612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OVID-19</a:t>
            </a: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5109AFAA-4745-6C8F-2924-F8938F8C6372}"/>
              </a:ext>
            </a:extLst>
          </p:cNvPr>
          <p:cNvCxnSpPr>
            <a:cxnSpLocks/>
          </p:cNvCxnSpPr>
          <p:nvPr/>
        </p:nvCxnSpPr>
        <p:spPr>
          <a:xfrm>
            <a:off x="10263883" y="5140297"/>
            <a:ext cx="1380780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 5">
            <a:extLst>
              <a:ext uri="{FF2B5EF4-FFF2-40B4-BE49-F238E27FC236}">
                <a16:creationId xmlns:a16="http://schemas.microsoft.com/office/drawing/2014/main" id="{2F31D44D-A704-A60B-A026-B4095089D354}"/>
              </a:ext>
            </a:extLst>
          </p:cNvPr>
          <p:cNvSpPr txBox="1">
            <a:spLocks/>
          </p:cNvSpPr>
          <p:nvPr/>
        </p:nvSpPr>
        <p:spPr>
          <a:xfrm>
            <a:off x="10294910" y="5137739"/>
            <a:ext cx="138078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19" marR="0" lvl="1" indent="0" algn="l" defTabSz="1193770" eaLnBrk="1" fontAlgn="base" latinLnBrk="0" hangingPunct="1">
              <a:lnSpc>
                <a:spcPct val="100000"/>
              </a:lnSpc>
              <a:spcBef>
                <a:spcPts val="612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ost COVID-19</a:t>
            </a:r>
          </a:p>
        </p:txBody>
      </p:sp>
      <p:sp>
        <p:nvSpPr>
          <p:cNvPr id="72" name="5. Source">
            <a:extLst>
              <a:ext uri="{FF2B5EF4-FFF2-40B4-BE49-F238E27FC236}">
                <a16:creationId xmlns:a16="http://schemas.microsoft.com/office/drawing/2014/main" id="{F0D0A154-ED0A-5924-279B-25E4835B3134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ACI</a:t>
            </a:r>
          </a:p>
        </p:txBody>
      </p:sp>
    </p:spTree>
    <p:extLst>
      <p:ext uri="{BB962C8B-B14F-4D97-AF65-F5344CB8AC3E}">
        <p14:creationId xmlns:p14="http://schemas.microsoft.com/office/powerpoint/2010/main" val="5260909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01C10C-E6F2-855D-0F4B-1E95ED1E95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2" hidden="1">
            <a:extLst>
              <a:ext uri="{FF2B5EF4-FFF2-40B4-BE49-F238E27FC236}">
                <a16:creationId xmlns:a16="http://schemas.microsoft.com/office/drawing/2014/main" id="{53545357-1053-7193-ED56-71FDAB1ADF5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8" name="Object 2" hidden="1">
                        <a:extLst>
                          <a:ext uri="{FF2B5EF4-FFF2-40B4-BE49-F238E27FC236}">
                            <a16:creationId xmlns:a16="http://schemas.microsoft.com/office/drawing/2014/main" id="{53545357-1053-7193-ED56-71FDAB1ADF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2DDBE1E3-84A0-02A3-59BE-9E0ED270798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56102"/>
            <a:ext cx="11082528" cy="35779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rIns="0">
            <a:spAutoFit/>
          </a:bodyPr>
          <a:lstStyle/>
          <a:p>
            <a:r>
              <a:rPr lang="en-GB" dirty="0"/>
              <a:t>Key trends are redefining the aviation landscape</a:t>
            </a:r>
          </a:p>
        </p:txBody>
      </p:sp>
      <p:sp>
        <p:nvSpPr>
          <p:cNvPr id="142" name="IconEnclosure">
            <a:extLst>
              <a:ext uri="{FF2B5EF4-FFF2-40B4-BE49-F238E27FC236}">
                <a16:creationId xmlns:a16="http://schemas.microsoft.com/office/drawing/2014/main" id="{58264FE0-E8C5-73E5-CD58-770992BB5F6E}"/>
              </a:ext>
            </a:extLst>
          </p:cNvPr>
          <p:cNvSpPr/>
          <p:nvPr/>
        </p:nvSpPr>
        <p:spPr>
          <a:xfrm>
            <a:off x="10381360" y="746666"/>
            <a:ext cx="168154" cy="168154"/>
          </a:xfrm>
          <a:prstGeom prst="ellipse">
            <a:avLst/>
          </a:prstGeom>
          <a:solidFill>
            <a:schemeClr val="accent2"/>
          </a:solidFill>
          <a:ln w="12700" cap="sq" cmpd="sng" algn="ctr">
            <a:solidFill>
              <a:schemeClr val="accent2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clip" horzOverflow="clip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u="sng" noProof="0" dirty="0">
              <a:solidFill>
                <a:schemeClr val="tx1"/>
              </a:solidFill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7812E615-BDD3-69CD-5198-9EE1B14F085E}"/>
              </a:ext>
            </a:extLst>
          </p:cNvPr>
          <p:cNvSpPr txBox="1"/>
          <p:nvPr/>
        </p:nvSpPr>
        <p:spPr>
          <a:xfrm>
            <a:off x="10609581" y="738410"/>
            <a:ext cx="1030731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GB" sz="1200" noProof="0" dirty="0"/>
              <a:t>Deep-dive next</a:t>
            </a:r>
          </a:p>
        </p:txBody>
      </p: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B1AA6590-B074-6E9F-7ED4-946D0BEDBCF2}"/>
              </a:ext>
            </a:extLst>
          </p:cNvPr>
          <p:cNvGrpSpPr/>
          <p:nvPr/>
        </p:nvGrpSpPr>
        <p:grpSpPr>
          <a:xfrm>
            <a:off x="4719767" y="1309879"/>
            <a:ext cx="2752466" cy="5517641"/>
            <a:chOff x="4714999" y="1233678"/>
            <a:chExt cx="2752466" cy="5517641"/>
          </a:xfrm>
        </p:grpSpPr>
        <p:sp>
          <p:nvSpPr>
            <p:cNvPr id="6" name="Rectangle: Top Corners Rounded 6">
              <a:extLst>
                <a:ext uri="{FF2B5EF4-FFF2-40B4-BE49-F238E27FC236}">
                  <a16:creationId xmlns:a16="http://schemas.microsoft.com/office/drawing/2014/main" id="{2C08AD55-62C5-B2DD-8962-3F7BFCE0EE00}"/>
                </a:ext>
              </a:extLst>
            </p:cNvPr>
            <p:cNvSpPr/>
            <p:nvPr/>
          </p:nvSpPr>
          <p:spPr>
            <a:xfrm rot="16200000">
              <a:off x="3332411" y="2616266"/>
              <a:ext cx="5517641" cy="275246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0000"/>
                <a:lumOff val="10000"/>
                <a:alpha val="72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rgbClr val="051C2C"/>
                </a:solidFill>
                <a:latin typeface="Arial"/>
              </a:endParaRPr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D2820ACD-CB6C-C844-8202-126935728CF5}"/>
                </a:ext>
              </a:extLst>
            </p:cNvPr>
            <p:cNvSpPr/>
            <p:nvPr/>
          </p:nvSpPr>
          <p:spPr>
            <a:xfrm>
              <a:off x="5215843" y="1480418"/>
              <a:ext cx="1750778" cy="1703628"/>
            </a:xfrm>
            <a:custGeom>
              <a:avLst/>
              <a:gdLst>
                <a:gd name="connsiteX0" fmla="*/ 0 w 1204153"/>
                <a:gd name="connsiteY0" fmla="*/ 602075 h 1204148"/>
                <a:gd name="connsiteX1" fmla="*/ 602077 w 1204153"/>
                <a:gd name="connsiteY1" fmla="*/ 0 h 1204148"/>
                <a:gd name="connsiteX2" fmla="*/ 1204153 w 1204153"/>
                <a:gd name="connsiteY2" fmla="*/ 602075 h 1204148"/>
                <a:gd name="connsiteX3" fmla="*/ 602077 w 1204153"/>
                <a:gd name="connsiteY3" fmla="*/ 1204148 h 1204148"/>
                <a:gd name="connsiteX4" fmla="*/ 0 w 1204153"/>
                <a:gd name="connsiteY4" fmla="*/ 602075 h 1204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4153" h="1204148">
                  <a:moveTo>
                    <a:pt x="0" y="602075"/>
                  </a:moveTo>
                  <a:cubicBezTo>
                    <a:pt x="0" y="269557"/>
                    <a:pt x="269563" y="0"/>
                    <a:pt x="602077" y="0"/>
                  </a:cubicBezTo>
                  <a:cubicBezTo>
                    <a:pt x="934591" y="0"/>
                    <a:pt x="1204153" y="269557"/>
                    <a:pt x="1204153" y="602075"/>
                  </a:cubicBezTo>
                  <a:cubicBezTo>
                    <a:pt x="1204153" y="934589"/>
                    <a:pt x="934591" y="1204148"/>
                    <a:pt x="602077" y="1204148"/>
                  </a:cubicBezTo>
                  <a:cubicBezTo>
                    <a:pt x="269563" y="1204148"/>
                    <a:pt x="0" y="934591"/>
                    <a:pt x="0" y="602075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1913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2" name="TextBox 501">
              <a:extLst>
                <a:ext uri="{FF2B5EF4-FFF2-40B4-BE49-F238E27FC236}">
                  <a16:creationId xmlns:a16="http://schemas.microsoft.com/office/drawing/2014/main" id="{121F2287-3D90-7EA8-0ACA-27C542FDB130}"/>
                </a:ext>
              </a:extLst>
            </p:cNvPr>
            <p:cNvSpPr txBox="1"/>
            <p:nvPr/>
          </p:nvSpPr>
          <p:spPr>
            <a:xfrm>
              <a:off x="5121302" y="3333476"/>
              <a:ext cx="1946856" cy="30777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6pPr>
              <a:lvl7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7pPr>
              <a:lvl8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8pPr>
              <a:lvl9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A9F4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Profitability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A53E22A-F363-2A72-62EB-085038BB5D08}"/>
                </a:ext>
              </a:extLst>
            </p:cNvPr>
            <p:cNvGrpSpPr/>
            <p:nvPr/>
          </p:nvGrpSpPr>
          <p:grpSpPr>
            <a:xfrm>
              <a:off x="5319318" y="1722080"/>
              <a:ext cx="1553144" cy="1290233"/>
              <a:chOff x="7573098" y="1695275"/>
              <a:chExt cx="1553144" cy="1290233"/>
            </a:xfrm>
          </p:grpSpPr>
          <p:sp>
            <p:nvSpPr>
              <p:cNvPr id="16" name="Freeform: Shape 517">
                <a:extLst>
                  <a:ext uri="{FF2B5EF4-FFF2-40B4-BE49-F238E27FC236}">
                    <a16:creationId xmlns:a16="http://schemas.microsoft.com/office/drawing/2014/main" id="{3C8434FD-3E8D-C859-A796-8EE4C9DEEFBC}"/>
                  </a:ext>
                </a:extLst>
              </p:cNvPr>
              <p:cNvSpPr/>
              <p:nvPr/>
            </p:nvSpPr>
            <p:spPr>
              <a:xfrm>
                <a:off x="8487385" y="1728870"/>
                <a:ext cx="638857" cy="455449"/>
              </a:xfrm>
              <a:custGeom>
                <a:avLst/>
                <a:gdLst>
                  <a:gd name="connsiteX0" fmla="*/ 43443 w 2985224"/>
                  <a:gd name="connsiteY0" fmla="*/ 43586 h 2128200"/>
                  <a:gd name="connsiteX1" fmla="*/ 43443 w 2985224"/>
                  <a:gd name="connsiteY1" fmla="*/ 2016287 h 2128200"/>
                  <a:gd name="connsiteX2" fmla="*/ 107808 w 2985224"/>
                  <a:gd name="connsiteY2" fmla="*/ 2080651 h 2128200"/>
                  <a:gd name="connsiteX3" fmla="*/ 2873166 w 2985224"/>
                  <a:gd name="connsiteY3" fmla="*/ 2080651 h 2128200"/>
                  <a:gd name="connsiteX4" fmla="*/ 2937531 w 2985224"/>
                  <a:gd name="connsiteY4" fmla="*/ 2016287 h 2128200"/>
                  <a:gd name="connsiteX5" fmla="*/ 2937531 w 2985224"/>
                  <a:gd name="connsiteY5" fmla="*/ 43586 h 2128200"/>
                  <a:gd name="connsiteX6" fmla="*/ 43443 w 2985224"/>
                  <a:gd name="connsiteY6" fmla="*/ 43586 h 2128200"/>
                  <a:gd name="connsiteX7" fmla="*/ 2873166 w 2985224"/>
                  <a:gd name="connsiteY7" fmla="*/ 2126219 h 2128200"/>
                  <a:gd name="connsiteX8" fmla="*/ 107808 w 2985224"/>
                  <a:gd name="connsiteY8" fmla="*/ 2126219 h 2128200"/>
                  <a:gd name="connsiteX9" fmla="*/ -2125 w 2985224"/>
                  <a:gd name="connsiteY9" fmla="*/ 2016287 h 2128200"/>
                  <a:gd name="connsiteX10" fmla="*/ -2125 w 2985224"/>
                  <a:gd name="connsiteY10" fmla="*/ -1982 h 2128200"/>
                  <a:gd name="connsiteX11" fmla="*/ 2983099 w 2985224"/>
                  <a:gd name="connsiteY11" fmla="*/ -1982 h 2128200"/>
                  <a:gd name="connsiteX12" fmla="*/ 2983099 w 2985224"/>
                  <a:gd name="connsiteY12" fmla="*/ 2016287 h 2128200"/>
                  <a:gd name="connsiteX13" fmla="*/ 2873166 w 2985224"/>
                  <a:gd name="connsiteY13" fmla="*/ 2126219 h 2128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985224" h="2128200">
                    <a:moveTo>
                      <a:pt x="43443" y="43586"/>
                    </a:moveTo>
                    <a:lnTo>
                      <a:pt x="43443" y="2016287"/>
                    </a:lnTo>
                    <a:cubicBezTo>
                      <a:pt x="43443" y="2051773"/>
                      <a:pt x="72322" y="2080651"/>
                      <a:pt x="107808" y="2080651"/>
                    </a:cubicBezTo>
                    <a:lnTo>
                      <a:pt x="2873166" y="2080651"/>
                    </a:lnTo>
                    <a:cubicBezTo>
                      <a:pt x="2908652" y="2080651"/>
                      <a:pt x="2937531" y="2051773"/>
                      <a:pt x="2937531" y="2016287"/>
                    </a:cubicBezTo>
                    <a:lnTo>
                      <a:pt x="2937531" y="43586"/>
                    </a:lnTo>
                    <a:lnTo>
                      <a:pt x="43443" y="43586"/>
                    </a:lnTo>
                    <a:close/>
                    <a:moveTo>
                      <a:pt x="2873166" y="2126219"/>
                    </a:moveTo>
                    <a:lnTo>
                      <a:pt x="107808" y="2126219"/>
                    </a:lnTo>
                    <a:cubicBezTo>
                      <a:pt x="47202" y="2126219"/>
                      <a:pt x="-2125" y="2076892"/>
                      <a:pt x="-2125" y="2016287"/>
                    </a:cubicBezTo>
                    <a:lnTo>
                      <a:pt x="-2125" y="-1982"/>
                    </a:lnTo>
                    <a:lnTo>
                      <a:pt x="2983099" y="-1982"/>
                    </a:lnTo>
                    <a:lnTo>
                      <a:pt x="2983099" y="2016287"/>
                    </a:lnTo>
                    <a:cubicBezTo>
                      <a:pt x="2983099" y="2076892"/>
                      <a:pt x="2933771" y="2126219"/>
                      <a:pt x="2873166" y="2126219"/>
                    </a:cubicBezTo>
                    <a:close/>
                  </a:path>
                </a:pathLst>
              </a:custGeom>
              <a:solidFill>
                <a:schemeClr val="tx1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518">
                <a:extLst>
                  <a:ext uri="{FF2B5EF4-FFF2-40B4-BE49-F238E27FC236}">
                    <a16:creationId xmlns:a16="http://schemas.microsoft.com/office/drawing/2014/main" id="{F1367707-E1B6-6F0F-F90A-7484B3B9716C}"/>
                  </a:ext>
                </a:extLst>
              </p:cNvPr>
              <p:cNvSpPr/>
              <p:nvPr/>
            </p:nvSpPr>
            <p:spPr>
              <a:xfrm>
                <a:off x="8487385" y="1695275"/>
                <a:ext cx="638857" cy="43347"/>
              </a:xfrm>
              <a:custGeom>
                <a:avLst/>
                <a:gdLst>
                  <a:gd name="connsiteX0" fmla="*/ 2873166 w 2985224"/>
                  <a:gd name="connsiteY0" fmla="*/ -1982 h 202550"/>
                  <a:gd name="connsiteX1" fmla="*/ 107808 w 2985224"/>
                  <a:gd name="connsiteY1" fmla="*/ -1982 h 202550"/>
                  <a:gd name="connsiteX2" fmla="*/ -2125 w 2985224"/>
                  <a:gd name="connsiteY2" fmla="*/ 107894 h 202550"/>
                  <a:gd name="connsiteX3" fmla="*/ -2125 w 2985224"/>
                  <a:gd name="connsiteY3" fmla="*/ 200569 h 202550"/>
                  <a:gd name="connsiteX4" fmla="*/ 2983099 w 2985224"/>
                  <a:gd name="connsiteY4" fmla="*/ 200569 h 202550"/>
                  <a:gd name="connsiteX5" fmla="*/ 2983099 w 2985224"/>
                  <a:gd name="connsiteY5" fmla="*/ 107894 h 202550"/>
                  <a:gd name="connsiteX6" fmla="*/ 2873166 w 2985224"/>
                  <a:gd name="connsiteY6" fmla="*/ -1982 h 202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85224" h="202550">
                    <a:moveTo>
                      <a:pt x="2873166" y="-1982"/>
                    </a:moveTo>
                    <a:lnTo>
                      <a:pt x="107808" y="-1982"/>
                    </a:lnTo>
                    <a:cubicBezTo>
                      <a:pt x="47202" y="-1982"/>
                      <a:pt x="-2125" y="47289"/>
                      <a:pt x="-2125" y="107894"/>
                    </a:cubicBezTo>
                    <a:lnTo>
                      <a:pt x="-2125" y="200569"/>
                    </a:lnTo>
                    <a:lnTo>
                      <a:pt x="2983099" y="200569"/>
                    </a:lnTo>
                    <a:lnTo>
                      <a:pt x="2983099" y="107894"/>
                    </a:lnTo>
                    <a:cubicBezTo>
                      <a:pt x="2983099" y="47289"/>
                      <a:pt x="2933771" y="-1982"/>
                      <a:pt x="2873166" y="-1982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" name="Freeform: Shape 519">
                <a:extLst>
                  <a:ext uri="{FF2B5EF4-FFF2-40B4-BE49-F238E27FC236}">
                    <a16:creationId xmlns:a16="http://schemas.microsoft.com/office/drawing/2014/main" id="{E2829B74-8917-E665-2894-5D317EFC0CF8}"/>
                  </a:ext>
                </a:extLst>
              </p:cNvPr>
              <p:cNvSpPr/>
              <p:nvPr/>
            </p:nvSpPr>
            <p:spPr>
              <a:xfrm>
                <a:off x="8731194" y="1793720"/>
                <a:ext cx="325737" cy="325737"/>
              </a:xfrm>
              <a:custGeom>
                <a:avLst/>
                <a:gdLst>
                  <a:gd name="connsiteX0" fmla="*/ 758920 w 1522088"/>
                  <a:gd name="connsiteY0" fmla="*/ -1982 h 1522088"/>
                  <a:gd name="connsiteX1" fmla="*/ -2125 w 1522088"/>
                  <a:gd name="connsiteY1" fmla="*/ 759063 h 1522088"/>
                  <a:gd name="connsiteX2" fmla="*/ 758920 w 1522088"/>
                  <a:gd name="connsiteY2" fmla="*/ 1520107 h 1522088"/>
                  <a:gd name="connsiteX3" fmla="*/ 1519963 w 1522088"/>
                  <a:gd name="connsiteY3" fmla="*/ 759063 h 1522088"/>
                  <a:gd name="connsiteX4" fmla="*/ 758920 w 1522088"/>
                  <a:gd name="connsiteY4" fmla="*/ -1982 h 1522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2088" h="1522088">
                    <a:moveTo>
                      <a:pt x="758920" y="-1982"/>
                    </a:moveTo>
                    <a:cubicBezTo>
                      <a:pt x="339294" y="-1982"/>
                      <a:pt x="-2125" y="339437"/>
                      <a:pt x="-2125" y="759063"/>
                    </a:cubicBezTo>
                    <a:cubicBezTo>
                      <a:pt x="-2125" y="1178688"/>
                      <a:pt x="339294" y="1520107"/>
                      <a:pt x="758920" y="1520107"/>
                    </a:cubicBezTo>
                    <a:cubicBezTo>
                      <a:pt x="1178545" y="1520107"/>
                      <a:pt x="1519963" y="1178688"/>
                      <a:pt x="1519963" y="759063"/>
                    </a:cubicBezTo>
                    <a:cubicBezTo>
                      <a:pt x="1519963" y="339437"/>
                      <a:pt x="1178545" y="-1982"/>
                      <a:pt x="758920" y="-1982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" name="Freeform: Shape 520">
                <a:extLst>
                  <a:ext uri="{FF2B5EF4-FFF2-40B4-BE49-F238E27FC236}">
                    <a16:creationId xmlns:a16="http://schemas.microsoft.com/office/drawing/2014/main" id="{7D251F1E-C334-53F4-9D0D-5103449614C1}"/>
                  </a:ext>
                </a:extLst>
              </p:cNvPr>
              <p:cNvSpPr/>
              <p:nvPr/>
            </p:nvSpPr>
            <p:spPr>
              <a:xfrm>
                <a:off x="8742334" y="1841367"/>
                <a:ext cx="96043" cy="243873"/>
              </a:xfrm>
              <a:custGeom>
                <a:avLst/>
                <a:gdLst>
                  <a:gd name="connsiteX0" fmla="*/ 343971 w 448784"/>
                  <a:gd name="connsiteY0" fmla="*/ 1137576 h 1139557"/>
                  <a:gd name="connsiteX1" fmla="*/ 327054 w 448784"/>
                  <a:gd name="connsiteY1" fmla="*/ 1130057 h 1139557"/>
                  <a:gd name="connsiteX2" fmla="*/ 265708 w 448784"/>
                  <a:gd name="connsiteY2" fmla="*/ 967036 h 1139557"/>
                  <a:gd name="connsiteX3" fmla="*/ 267645 w 448784"/>
                  <a:gd name="connsiteY3" fmla="*/ 851977 h 1139557"/>
                  <a:gd name="connsiteX4" fmla="*/ 270265 w 448784"/>
                  <a:gd name="connsiteY4" fmla="*/ 802422 h 1139557"/>
                  <a:gd name="connsiteX5" fmla="*/ 269468 w 448784"/>
                  <a:gd name="connsiteY5" fmla="*/ 790176 h 1139557"/>
                  <a:gd name="connsiteX6" fmla="*/ 256538 w 448784"/>
                  <a:gd name="connsiteY6" fmla="*/ 785847 h 1139557"/>
                  <a:gd name="connsiteX7" fmla="*/ 195705 w 448784"/>
                  <a:gd name="connsiteY7" fmla="*/ 777132 h 1139557"/>
                  <a:gd name="connsiteX8" fmla="*/ 127353 w 448784"/>
                  <a:gd name="connsiteY8" fmla="*/ 766993 h 1139557"/>
                  <a:gd name="connsiteX9" fmla="*/ 2439 w 448784"/>
                  <a:gd name="connsiteY9" fmla="*/ 696247 h 1139557"/>
                  <a:gd name="connsiteX10" fmla="*/ 4205 w 448784"/>
                  <a:gd name="connsiteY10" fmla="*/ 666799 h 1139557"/>
                  <a:gd name="connsiteX11" fmla="*/ 197926 w 448784"/>
                  <a:gd name="connsiteY11" fmla="*/ 554987 h 1139557"/>
                  <a:gd name="connsiteX12" fmla="*/ 211710 w 448784"/>
                  <a:gd name="connsiteY12" fmla="*/ 551740 h 1139557"/>
                  <a:gd name="connsiteX13" fmla="*/ 270607 w 448784"/>
                  <a:gd name="connsiteY13" fmla="*/ 528614 h 1139557"/>
                  <a:gd name="connsiteX14" fmla="*/ 300226 w 448784"/>
                  <a:gd name="connsiteY14" fmla="*/ 450579 h 1139557"/>
                  <a:gd name="connsiteX15" fmla="*/ 301878 w 448784"/>
                  <a:gd name="connsiteY15" fmla="*/ 441181 h 1139557"/>
                  <a:gd name="connsiteX16" fmla="*/ 353599 w 448784"/>
                  <a:gd name="connsiteY16" fmla="*/ 312907 h 1139557"/>
                  <a:gd name="connsiteX17" fmla="*/ 370231 w 448784"/>
                  <a:gd name="connsiteY17" fmla="*/ 293768 h 1139557"/>
                  <a:gd name="connsiteX18" fmla="*/ 401046 w 448784"/>
                  <a:gd name="connsiteY18" fmla="*/ 240680 h 1139557"/>
                  <a:gd name="connsiteX19" fmla="*/ 377408 w 448784"/>
                  <a:gd name="connsiteY19" fmla="*/ 201036 h 1139557"/>
                  <a:gd name="connsiteX20" fmla="*/ 343688 w 448784"/>
                  <a:gd name="connsiteY20" fmla="*/ 167430 h 1139557"/>
                  <a:gd name="connsiteX21" fmla="*/ 243323 w 448784"/>
                  <a:gd name="connsiteY21" fmla="*/ 26682 h 1139557"/>
                  <a:gd name="connsiteX22" fmla="*/ 259443 w 448784"/>
                  <a:gd name="connsiteY22" fmla="*/ -1229 h 1139557"/>
                  <a:gd name="connsiteX23" fmla="*/ 287353 w 448784"/>
                  <a:gd name="connsiteY23" fmla="*/ 14948 h 1139557"/>
                  <a:gd name="connsiteX24" fmla="*/ 375356 w 448784"/>
                  <a:gd name="connsiteY24" fmla="*/ 134678 h 1139557"/>
                  <a:gd name="connsiteX25" fmla="*/ 410559 w 448784"/>
                  <a:gd name="connsiteY25" fmla="*/ 169765 h 1139557"/>
                  <a:gd name="connsiteX26" fmla="*/ 446500 w 448784"/>
                  <a:gd name="connsiteY26" fmla="*/ 237775 h 1139557"/>
                  <a:gd name="connsiteX27" fmla="*/ 404065 w 448784"/>
                  <a:gd name="connsiteY27" fmla="*/ 324299 h 1139557"/>
                  <a:gd name="connsiteX28" fmla="*/ 389199 w 448784"/>
                  <a:gd name="connsiteY28" fmla="*/ 341387 h 1139557"/>
                  <a:gd name="connsiteX29" fmla="*/ 346707 w 448784"/>
                  <a:gd name="connsiteY29" fmla="*/ 449212 h 1139557"/>
                  <a:gd name="connsiteX30" fmla="*/ 345112 w 448784"/>
                  <a:gd name="connsiteY30" fmla="*/ 458383 h 1139557"/>
                  <a:gd name="connsiteX31" fmla="*/ 301194 w 448784"/>
                  <a:gd name="connsiteY31" fmla="*/ 562391 h 1139557"/>
                  <a:gd name="connsiteX32" fmla="*/ 221906 w 448784"/>
                  <a:gd name="connsiteY32" fmla="*/ 596169 h 1139557"/>
                  <a:gd name="connsiteX33" fmla="*/ 208862 w 448784"/>
                  <a:gd name="connsiteY33" fmla="*/ 599246 h 1139557"/>
                  <a:gd name="connsiteX34" fmla="*/ 52279 w 448784"/>
                  <a:gd name="connsiteY34" fmla="*/ 683545 h 1139557"/>
                  <a:gd name="connsiteX35" fmla="*/ 136751 w 448784"/>
                  <a:gd name="connsiteY35" fmla="*/ 722393 h 1139557"/>
                  <a:gd name="connsiteX36" fmla="*/ 200945 w 448784"/>
                  <a:gd name="connsiteY36" fmla="*/ 731847 h 1139557"/>
                  <a:gd name="connsiteX37" fmla="*/ 265539 w 448784"/>
                  <a:gd name="connsiteY37" fmla="*/ 741190 h 1139557"/>
                  <a:gd name="connsiteX38" fmla="*/ 307061 w 448784"/>
                  <a:gd name="connsiteY38" fmla="*/ 764373 h 1139557"/>
                  <a:gd name="connsiteX39" fmla="*/ 315833 w 448784"/>
                  <a:gd name="connsiteY39" fmla="*/ 804017 h 1139557"/>
                  <a:gd name="connsiteX40" fmla="*/ 313099 w 448784"/>
                  <a:gd name="connsiteY40" fmla="*/ 854825 h 1139557"/>
                  <a:gd name="connsiteX41" fmla="*/ 311162 w 448784"/>
                  <a:gd name="connsiteY41" fmla="*/ 963790 h 1139557"/>
                  <a:gd name="connsiteX42" fmla="*/ 360890 w 448784"/>
                  <a:gd name="connsiteY42" fmla="*/ 1099525 h 1139557"/>
                  <a:gd name="connsiteX43" fmla="*/ 359238 w 448784"/>
                  <a:gd name="connsiteY43" fmla="*/ 1131709 h 1139557"/>
                  <a:gd name="connsiteX44" fmla="*/ 343971 w 448784"/>
                  <a:gd name="connsiteY44" fmla="*/ 1137576 h 113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448784" h="1139557">
                    <a:moveTo>
                      <a:pt x="343971" y="1137576"/>
                    </a:moveTo>
                    <a:cubicBezTo>
                      <a:pt x="337764" y="1137576"/>
                      <a:pt x="331554" y="1135069"/>
                      <a:pt x="327054" y="1130057"/>
                    </a:cubicBezTo>
                    <a:cubicBezTo>
                      <a:pt x="291682" y="1090924"/>
                      <a:pt x="270493" y="1034591"/>
                      <a:pt x="265708" y="967036"/>
                    </a:cubicBezTo>
                    <a:cubicBezTo>
                      <a:pt x="262917" y="928247"/>
                      <a:pt x="265310" y="889457"/>
                      <a:pt x="267645" y="851977"/>
                    </a:cubicBezTo>
                    <a:cubicBezTo>
                      <a:pt x="268670" y="835687"/>
                      <a:pt x="269697" y="818826"/>
                      <a:pt x="270265" y="802422"/>
                    </a:cubicBezTo>
                    <a:cubicBezTo>
                      <a:pt x="270493" y="795587"/>
                      <a:pt x="270265" y="791486"/>
                      <a:pt x="269468" y="790176"/>
                    </a:cubicBezTo>
                    <a:cubicBezTo>
                      <a:pt x="269126" y="789720"/>
                      <a:pt x="266906" y="787954"/>
                      <a:pt x="256538" y="785847"/>
                    </a:cubicBezTo>
                    <a:cubicBezTo>
                      <a:pt x="236773" y="781859"/>
                      <a:pt x="216837" y="779581"/>
                      <a:pt x="195705" y="777132"/>
                    </a:cubicBezTo>
                    <a:cubicBezTo>
                      <a:pt x="173376" y="774512"/>
                      <a:pt x="150250" y="771834"/>
                      <a:pt x="127353" y="766993"/>
                    </a:cubicBezTo>
                    <a:cubicBezTo>
                      <a:pt x="70620" y="754974"/>
                      <a:pt x="28584" y="731165"/>
                      <a:pt x="2439" y="696247"/>
                    </a:cubicBezTo>
                    <a:cubicBezTo>
                      <a:pt x="-4282" y="687306"/>
                      <a:pt x="-3485" y="674887"/>
                      <a:pt x="4205" y="666799"/>
                    </a:cubicBezTo>
                    <a:cubicBezTo>
                      <a:pt x="56210" y="612630"/>
                      <a:pt x="125017" y="572929"/>
                      <a:pt x="197926" y="554987"/>
                    </a:cubicBezTo>
                    <a:cubicBezTo>
                      <a:pt x="202483" y="553904"/>
                      <a:pt x="207097" y="552822"/>
                      <a:pt x="211710" y="551740"/>
                    </a:cubicBezTo>
                    <a:cubicBezTo>
                      <a:pt x="234665" y="546500"/>
                      <a:pt x="256310" y="541544"/>
                      <a:pt x="270607" y="528614"/>
                    </a:cubicBezTo>
                    <a:cubicBezTo>
                      <a:pt x="289576" y="511469"/>
                      <a:pt x="294986" y="480483"/>
                      <a:pt x="300226" y="450579"/>
                    </a:cubicBezTo>
                    <a:lnTo>
                      <a:pt x="301878" y="441181"/>
                    </a:lnTo>
                    <a:cubicBezTo>
                      <a:pt x="311960" y="385189"/>
                      <a:pt x="328421" y="344406"/>
                      <a:pt x="353599" y="312907"/>
                    </a:cubicBezTo>
                    <a:cubicBezTo>
                      <a:pt x="358896" y="306299"/>
                      <a:pt x="364649" y="299920"/>
                      <a:pt x="370231" y="293768"/>
                    </a:cubicBezTo>
                    <a:cubicBezTo>
                      <a:pt x="386634" y="275541"/>
                      <a:pt x="402186" y="258339"/>
                      <a:pt x="401046" y="240680"/>
                    </a:cubicBezTo>
                    <a:cubicBezTo>
                      <a:pt x="400192" y="226839"/>
                      <a:pt x="388629" y="212884"/>
                      <a:pt x="377408" y="201036"/>
                    </a:cubicBezTo>
                    <a:cubicBezTo>
                      <a:pt x="366755" y="189758"/>
                      <a:pt x="355534" y="178936"/>
                      <a:pt x="343688" y="167430"/>
                    </a:cubicBezTo>
                    <a:cubicBezTo>
                      <a:pt x="302049" y="127102"/>
                      <a:pt x="258930" y="85464"/>
                      <a:pt x="243323" y="26682"/>
                    </a:cubicBezTo>
                    <a:cubicBezTo>
                      <a:pt x="240076" y="14492"/>
                      <a:pt x="247310" y="2018"/>
                      <a:pt x="259443" y="-1229"/>
                    </a:cubicBezTo>
                    <a:cubicBezTo>
                      <a:pt x="271632" y="-4418"/>
                      <a:pt x="284106" y="2815"/>
                      <a:pt x="287353" y="14948"/>
                    </a:cubicBezTo>
                    <a:cubicBezTo>
                      <a:pt x="299715" y="61484"/>
                      <a:pt x="336454" y="97027"/>
                      <a:pt x="375356" y="134678"/>
                    </a:cubicBezTo>
                    <a:cubicBezTo>
                      <a:pt x="387091" y="146013"/>
                      <a:pt x="399167" y="157747"/>
                      <a:pt x="410559" y="169765"/>
                    </a:cubicBezTo>
                    <a:cubicBezTo>
                      <a:pt x="427305" y="187480"/>
                      <a:pt x="444735" y="209466"/>
                      <a:pt x="446500" y="237775"/>
                    </a:cubicBezTo>
                    <a:cubicBezTo>
                      <a:pt x="448836" y="274573"/>
                      <a:pt x="425027" y="301002"/>
                      <a:pt x="404065" y="324299"/>
                    </a:cubicBezTo>
                    <a:cubicBezTo>
                      <a:pt x="398711" y="330223"/>
                      <a:pt x="393642" y="335805"/>
                      <a:pt x="389199" y="341387"/>
                    </a:cubicBezTo>
                    <a:cubicBezTo>
                      <a:pt x="368921" y="366734"/>
                      <a:pt x="355420" y="401024"/>
                      <a:pt x="346707" y="449212"/>
                    </a:cubicBezTo>
                    <a:lnTo>
                      <a:pt x="345112" y="458383"/>
                    </a:lnTo>
                    <a:cubicBezTo>
                      <a:pt x="338846" y="494210"/>
                      <a:pt x="331783" y="534766"/>
                      <a:pt x="301194" y="562391"/>
                    </a:cubicBezTo>
                    <a:cubicBezTo>
                      <a:pt x="278069" y="583296"/>
                      <a:pt x="248222" y="590131"/>
                      <a:pt x="221906" y="596169"/>
                    </a:cubicBezTo>
                    <a:cubicBezTo>
                      <a:pt x="217520" y="597194"/>
                      <a:pt x="213134" y="598219"/>
                      <a:pt x="208862" y="599246"/>
                    </a:cubicBezTo>
                    <a:cubicBezTo>
                      <a:pt x="151048" y="613486"/>
                      <a:pt x="96195" y="643105"/>
                      <a:pt x="52279" y="683545"/>
                    </a:cubicBezTo>
                    <a:cubicBezTo>
                      <a:pt x="76772" y="705761"/>
                      <a:pt x="110606" y="716868"/>
                      <a:pt x="136751" y="722393"/>
                    </a:cubicBezTo>
                    <a:cubicBezTo>
                      <a:pt x="157598" y="726836"/>
                      <a:pt x="178674" y="729285"/>
                      <a:pt x="200945" y="731847"/>
                    </a:cubicBezTo>
                    <a:cubicBezTo>
                      <a:pt x="222077" y="734298"/>
                      <a:pt x="243893" y="736804"/>
                      <a:pt x="265539" y="741190"/>
                    </a:cubicBezTo>
                    <a:cubicBezTo>
                      <a:pt x="274423" y="742956"/>
                      <a:pt x="295215" y="747171"/>
                      <a:pt x="307061" y="764373"/>
                    </a:cubicBezTo>
                    <a:cubicBezTo>
                      <a:pt x="316689" y="778385"/>
                      <a:pt x="316175" y="794448"/>
                      <a:pt x="315833" y="804017"/>
                    </a:cubicBezTo>
                    <a:cubicBezTo>
                      <a:pt x="315208" y="821048"/>
                      <a:pt x="314181" y="838193"/>
                      <a:pt x="313099" y="854825"/>
                    </a:cubicBezTo>
                    <a:cubicBezTo>
                      <a:pt x="310822" y="892476"/>
                      <a:pt x="308599" y="928019"/>
                      <a:pt x="311162" y="963790"/>
                    </a:cubicBezTo>
                    <a:cubicBezTo>
                      <a:pt x="314010" y="1003776"/>
                      <a:pt x="324948" y="1059710"/>
                      <a:pt x="360890" y="1099525"/>
                    </a:cubicBezTo>
                    <a:cubicBezTo>
                      <a:pt x="369320" y="1108868"/>
                      <a:pt x="368579" y="1123279"/>
                      <a:pt x="359238" y="1131709"/>
                    </a:cubicBezTo>
                    <a:cubicBezTo>
                      <a:pt x="354852" y="1135639"/>
                      <a:pt x="349384" y="1137576"/>
                      <a:pt x="343971" y="1137576"/>
                    </a:cubicBezTo>
                    <a:close/>
                  </a:path>
                </a:pathLst>
              </a:custGeom>
              <a:solidFill>
                <a:schemeClr val="tx1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521">
                <a:extLst>
                  <a:ext uri="{FF2B5EF4-FFF2-40B4-BE49-F238E27FC236}">
                    <a16:creationId xmlns:a16="http://schemas.microsoft.com/office/drawing/2014/main" id="{556A55D0-D721-DEBE-7618-E2249F13FEDA}"/>
                  </a:ext>
                </a:extLst>
              </p:cNvPr>
              <p:cNvSpPr/>
              <p:nvPr/>
            </p:nvSpPr>
            <p:spPr>
              <a:xfrm>
                <a:off x="8851725" y="1825103"/>
                <a:ext cx="199092" cy="249556"/>
              </a:xfrm>
              <a:custGeom>
                <a:avLst/>
                <a:gdLst>
                  <a:gd name="connsiteX0" fmla="*/ 383106 w 930306"/>
                  <a:gd name="connsiteY0" fmla="*/ 1164131 h 1166113"/>
                  <a:gd name="connsiteX1" fmla="*/ 312248 w 930306"/>
                  <a:gd name="connsiteY1" fmla="*/ 1144993 h 1166113"/>
                  <a:gd name="connsiteX2" fmla="*/ 183289 w 930306"/>
                  <a:gd name="connsiteY2" fmla="*/ 989834 h 1166113"/>
                  <a:gd name="connsiteX3" fmla="*/ 166201 w 930306"/>
                  <a:gd name="connsiteY3" fmla="*/ 885140 h 1166113"/>
                  <a:gd name="connsiteX4" fmla="*/ 260755 w 930306"/>
                  <a:gd name="connsiteY4" fmla="*/ 736702 h 1166113"/>
                  <a:gd name="connsiteX5" fmla="*/ 282115 w 930306"/>
                  <a:gd name="connsiteY5" fmla="*/ 715115 h 1166113"/>
                  <a:gd name="connsiteX6" fmla="*/ 295842 w 930306"/>
                  <a:gd name="connsiteY6" fmla="*/ 695293 h 1166113"/>
                  <a:gd name="connsiteX7" fmla="*/ 285874 w 930306"/>
                  <a:gd name="connsiteY7" fmla="*/ 672622 h 1166113"/>
                  <a:gd name="connsiteX8" fmla="*/ 170929 w 930306"/>
                  <a:gd name="connsiteY8" fmla="*/ 629162 h 1166113"/>
                  <a:gd name="connsiteX9" fmla="*/ 64072 w 930306"/>
                  <a:gd name="connsiteY9" fmla="*/ 601764 h 1166113"/>
                  <a:gd name="connsiteX10" fmla="*/ -2115 w 930306"/>
                  <a:gd name="connsiteY10" fmla="*/ 504875 h 1166113"/>
                  <a:gd name="connsiteX11" fmla="*/ 19301 w 930306"/>
                  <a:gd name="connsiteY11" fmla="*/ 433788 h 1166113"/>
                  <a:gd name="connsiteX12" fmla="*/ 21580 w 930306"/>
                  <a:gd name="connsiteY12" fmla="*/ 429231 h 1166113"/>
                  <a:gd name="connsiteX13" fmla="*/ 85090 w 930306"/>
                  <a:gd name="connsiteY13" fmla="*/ 212214 h 1166113"/>
                  <a:gd name="connsiteX14" fmla="*/ 95856 w 930306"/>
                  <a:gd name="connsiteY14" fmla="*/ 180487 h 1166113"/>
                  <a:gd name="connsiteX15" fmla="*/ 123026 w 930306"/>
                  <a:gd name="connsiteY15" fmla="*/ 162886 h 1166113"/>
                  <a:gd name="connsiteX16" fmla="*/ 248110 w 930306"/>
                  <a:gd name="connsiteY16" fmla="*/ 126204 h 1166113"/>
                  <a:gd name="connsiteX17" fmla="*/ 294817 w 930306"/>
                  <a:gd name="connsiteY17" fmla="*/ 116863 h 1166113"/>
                  <a:gd name="connsiteX18" fmla="*/ 399509 w 930306"/>
                  <a:gd name="connsiteY18" fmla="*/ 91628 h 1166113"/>
                  <a:gd name="connsiteX19" fmla="*/ 511665 w 930306"/>
                  <a:gd name="connsiteY19" fmla="*/ 9321 h 1166113"/>
                  <a:gd name="connsiteX20" fmla="*/ 542822 w 930306"/>
                  <a:gd name="connsiteY20" fmla="*/ 1119 h 1166113"/>
                  <a:gd name="connsiteX21" fmla="*/ 551024 w 930306"/>
                  <a:gd name="connsiteY21" fmla="*/ 32333 h 1166113"/>
                  <a:gd name="connsiteX22" fmla="*/ 414491 w 930306"/>
                  <a:gd name="connsiteY22" fmla="*/ 134634 h 1166113"/>
                  <a:gd name="connsiteX23" fmla="*/ 303418 w 930306"/>
                  <a:gd name="connsiteY23" fmla="*/ 161576 h 1166113"/>
                  <a:gd name="connsiteX24" fmla="*/ 257850 w 930306"/>
                  <a:gd name="connsiteY24" fmla="*/ 170747 h 1166113"/>
                  <a:gd name="connsiteX25" fmla="*/ 138861 w 930306"/>
                  <a:gd name="connsiteY25" fmla="*/ 205606 h 1166113"/>
                  <a:gd name="connsiteX26" fmla="*/ 131797 w 930306"/>
                  <a:gd name="connsiteY26" fmla="*/ 208682 h 1166113"/>
                  <a:gd name="connsiteX27" fmla="*/ 130317 w 930306"/>
                  <a:gd name="connsiteY27" fmla="*/ 217397 h 1166113"/>
                  <a:gd name="connsiteX28" fmla="*/ 62477 w 930306"/>
                  <a:gd name="connsiteY28" fmla="*/ 449281 h 1166113"/>
                  <a:gd name="connsiteX29" fmla="*/ 60142 w 930306"/>
                  <a:gd name="connsiteY29" fmla="*/ 454010 h 1166113"/>
                  <a:gd name="connsiteX30" fmla="*/ 43453 w 930306"/>
                  <a:gd name="connsiteY30" fmla="*/ 504192 h 1166113"/>
                  <a:gd name="connsiteX31" fmla="*/ 86286 w 930306"/>
                  <a:gd name="connsiteY31" fmla="*/ 561949 h 1166113"/>
                  <a:gd name="connsiteX32" fmla="*/ 176226 w 930306"/>
                  <a:gd name="connsiteY32" fmla="*/ 583936 h 1166113"/>
                  <a:gd name="connsiteX33" fmla="*/ 320278 w 930306"/>
                  <a:gd name="connsiteY33" fmla="*/ 642775 h 1166113"/>
                  <a:gd name="connsiteX34" fmla="*/ 340785 w 930306"/>
                  <a:gd name="connsiteY34" fmla="*/ 703039 h 1166113"/>
                  <a:gd name="connsiteX35" fmla="*/ 314982 w 930306"/>
                  <a:gd name="connsiteY35" fmla="*/ 746670 h 1166113"/>
                  <a:gd name="connsiteX36" fmla="*/ 292937 w 930306"/>
                  <a:gd name="connsiteY36" fmla="*/ 768942 h 1166113"/>
                  <a:gd name="connsiteX37" fmla="*/ 211371 w 930306"/>
                  <a:gd name="connsiteY37" fmla="*/ 891122 h 1166113"/>
                  <a:gd name="connsiteX38" fmla="*/ 225725 w 930306"/>
                  <a:gd name="connsiteY38" fmla="*/ 973201 h 1166113"/>
                  <a:gd name="connsiteX39" fmla="*/ 333323 w 930306"/>
                  <a:gd name="connsiteY39" fmla="*/ 1104608 h 1166113"/>
                  <a:gd name="connsiteX40" fmla="*/ 385783 w 930306"/>
                  <a:gd name="connsiteY40" fmla="*/ 1118506 h 1166113"/>
                  <a:gd name="connsiteX41" fmla="*/ 427022 w 930306"/>
                  <a:gd name="connsiteY41" fmla="*/ 1099653 h 1166113"/>
                  <a:gd name="connsiteX42" fmla="*/ 434997 w 930306"/>
                  <a:gd name="connsiteY42" fmla="*/ 1030104 h 1166113"/>
                  <a:gd name="connsiteX43" fmla="*/ 431465 w 930306"/>
                  <a:gd name="connsiteY43" fmla="*/ 1012333 h 1166113"/>
                  <a:gd name="connsiteX44" fmla="*/ 425598 w 930306"/>
                  <a:gd name="connsiteY44" fmla="*/ 931961 h 1166113"/>
                  <a:gd name="connsiteX45" fmla="*/ 465071 w 930306"/>
                  <a:gd name="connsiteY45" fmla="*/ 849825 h 1166113"/>
                  <a:gd name="connsiteX46" fmla="*/ 476862 w 930306"/>
                  <a:gd name="connsiteY46" fmla="*/ 832053 h 1166113"/>
                  <a:gd name="connsiteX47" fmla="*/ 494406 w 930306"/>
                  <a:gd name="connsiteY47" fmla="*/ 755271 h 1166113"/>
                  <a:gd name="connsiteX48" fmla="*/ 471052 w 930306"/>
                  <a:gd name="connsiteY48" fmla="*/ 725823 h 1166113"/>
                  <a:gd name="connsiteX49" fmla="*/ 459603 w 930306"/>
                  <a:gd name="connsiteY49" fmla="*/ 713861 h 1166113"/>
                  <a:gd name="connsiteX50" fmla="*/ 433857 w 930306"/>
                  <a:gd name="connsiteY50" fmla="*/ 637307 h 1166113"/>
                  <a:gd name="connsiteX51" fmla="*/ 506994 w 930306"/>
                  <a:gd name="connsiteY51" fmla="*/ 571689 h 1166113"/>
                  <a:gd name="connsiteX52" fmla="*/ 536442 w 930306"/>
                  <a:gd name="connsiteY52" fmla="*/ 556025 h 1166113"/>
                  <a:gd name="connsiteX53" fmla="*/ 558486 w 930306"/>
                  <a:gd name="connsiteY53" fmla="*/ 537399 h 1166113"/>
                  <a:gd name="connsiteX54" fmla="*/ 649736 w 930306"/>
                  <a:gd name="connsiteY54" fmla="*/ 490863 h 1166113"/>
                  <a:gd name="connsiteX55" fmla="*/ 652185 w 930306"/>
                  <a:gd name="connsiteY55" fmla="*/ 490863 h 1166113"/>
                  <a:gd name="connsiteX56" fmla="*/ 709202 w 930306"/>
                  <a:gd name="connsiteY56" fmla="*/ 509432 h 1166113"/>
                  <a:gd name="connsiteX57" fmla="*/ 748960 w 930306"/>
                  <a:gd name="connsiteY57" fmla="*/ 534210 h 1166113"/>
                  <a:gd name="connsiteX58" fmla="*/ 805124 w 930306"/>
                  <a:gd name="connsiteY58" fmla="*/ 567076 h 1166113"/>
                  <a:gd name="connsiteX59" fmla="*/ 893583 w 930306"/>
                  <a:gd name="connsiteY59" fmla="*/ 569639 h 1166113"/>
                  <a:gd name="connsiteX60" fmla="*/ 924854 w 930306"/>
                  <a:gd name="connsiteY60" fmla="*/ 577271 h 1166113"/>
                  <a:gd name="connsiteX61" fmla="*/ 917221 w 930306"/>
                  <a:gd name="connsiteY61" fmla="*/ 608542 h 1166113"/>
                  <a:gd name="connsiteX62" fmla="*/ 786498 w 930306"/>
                  <a:gd name="connsiteY62" fmla="*/ 608656 h 1166113"/>
                  <a:gd name="connsiteX63" fmla="*/ 723956 w 930306"/>
                  <a:gd name="connsiteY63" fmla="*/ 572316 h 1166113"/>
                  <a:gd name="connsiteX64" fmla="*/ 686874 w 930306"/>
                  <a:gd name="connsiteY64" fmla="*/ 549190 h 1166113"/>
                  <a:gd name="connsiteX65" fmla="*/ 650989 w 930306"/>
                  <a:gd name="connsiteY65" fmla="*/ 536431 h 1166113"/>
                  <a:gd name="connsiteX66" fmla="*/ 588846 w 930306"/>
                  <a:gd name="connsiteY66" fmla="*/ 571405 h 1166113"/>
                  <a:gd name="connsiteX67" fmla="*/ 563555 w 930306"/>
                  <a:gd name="connsiteY67" fmla="*/ 592651 h 1166113"/>
                  <a:gd name="connsiteX68" fmla="*/ 526246 w 930306"/>
                  <a:gd name="connsiteY68" fmla="*/ 612985 h 1166113"/>
                  <a:gd name="connsiteX69" fmla="*/ 477944 w 930306"/>
                  <a:gd name="connsiteY69" fmla="*/ 648699 h 1166113"/>
                  <a:gd name="connsiteX70" fmla="*/ 493267 w 930306"/>
                  <a:gd name="connsiteY70" fmla="*/ 683217 h 1166113"/>
                  <a:gd name="connsiteX71" fmla="*/ 503462 w 930306"/>
                  <a:gd name="connsiteY71" fmla="*/ 693812 h 1166113"/>
                  <a:gd name="connsiteX72" fmla="*/ 536214 w 930306"/>
                  <a:gd name="connsiteY72" fmla="*/ 737044 h 1166113"/>
                  <a:gd name="connsiteX73" fmla="*/ 515310 w 930306"/>
                  <a:gd name="connsiteY73" fmla="*/ 856489 h 1166113"/>
                  <a:gd name="connsiteX74" fmla="*/ 502836 w 930306"/>
                  <a:gd name="connsiteY74" fmla="*/ 875343 h 1166113"/>
                  <a:gd name="connsiteX75" fmla="*/ 470483 w 930306"/>
                  <a:gd name="connsiteY75" fmla="*/ 939766 h 1166113"/>
                  <a:gd name="connsiteX76" fmla="*/ 476122 w 930306"/>
                  <a:gd name="connsiteY76" fmla="*/ 1003162 h 1166113"/>
                  <a:gd name="connsiteX77" fmla="*/ 479824 w 930306"/>
                  <a:gd name="connsiteY77" fmla="*/ 1021959 h 1166113"/>
                  <a:gd name="connsiteX78" fmla="*/ 462964 w 930306"/>
                  <a:gd name="connsiteY78" fmla="*/ 1127620 h 1166113"/>
                  <a:gd name="connsiteX79" fmla="*/ 387435 w 930306"/>
                  <a:gd name="connsiteY79" fmla="*/ 1164074 h 1166113"/>
                  <a:gd name="connsiteX80" fmla="*/ 383106 w 930306"/>
                  <a:gd name="connsiteY80" fmla="*/ 1164131 h 1166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930306" h="1166113">
                    <a:moveTo>
                      <a:pt x="383106" y="1164131"/>
                    </a:moveTo>
                    <a:cubicBezTo>
                      <a:pt x="360379" y="1164131"/>
                      <a:pt x="336570" y="1157695"/>
                      <a:pt x="312248" y="1144993"/>
                    </a:cubicBezTo>
                    <a:cubicBezTo>
                      <a:pt x="257166" y="1116228"/>
                      <a:pt x="211371" y="1061148"/>
                      <a:pt x="183289" y="989834"/>
                    </a:cubicBezTo>
                    <a:cubicBezTo>
                      <a:pt x="167454" y="949620"/>
                      <a:pt x="162043" y="916297"/>
                      <a:pt x="166201" y="885140"/>
                    </a:cubicBezTo>
                    <a:cubicBezTo>
                      <a:pt x="174461" y="822940"/>
                      <a:pt x="220313" y="777144"/>
                      <a:pt x="260755" y="736702"/>
                    </a:cubicBezTo>
                    <a:cubicBezTo>
                      <a:pt x="267989" y="729525"/>
                      <a:pt x="275166" y="722292"/>
                      <a:pt x="282115" y="715115"/>
                    </a:cubicBezTo>
                    <a:cubicBezTo>
                      <a:pt x="288211" y="708735"/>
                      <a:pt x="294760" y="701501"/>
                      <a:pt x="295842" y="695293"/>
                    </a:cubicBezTo>
                    <a:cubicBezTo>
                      <a:pt x="296869" y="689426"/>
                      <a:pt x="293108" y="680939"/>
                      <a:pt x="285874" y="672622"/>
                    </a:cubicBezTo>
                    <a:cubicBezTo>
                      <a:pt x="256882" y="639187"/>
                      <a:pt x="217067" y="634516"/>
                      <a:pt x="170929" y="629162"/>
                    </a:cubicBezTo>
                    <a:cubicBezTo>
                      <a:pt x="135158" y="625004"/>
                      <a:pt x="98077" y="620732"/>
                      <a:pt x="64072" y="601764"/>
                    </a:cubicBezTo>
                    <a:cubicBezTo>
                      <a:pt x="23232" y="578923"/>
                      <a:pt x="-1489" y="542754"/>
                      <a:pt x="-2115" y="504875"/>
                    </a:cubicBezTo>
                    <a:cubicBezTo>
                      <a:pt x="-2514" y="477990"/>
                      <a:pt x="9049" y="454523"/>
                      <a:pt x="19301" y="433788"/>
                    </a:cubicBezTo>
                    <a:lnTo>
                      <a:pt x="21580" y="429231"/>
                    </a:lnTo>
                    <a:cubicBezTo>
                      <a:pt x="55072" y="360879"/>
                      <a:pt x="76432" y="287857"/>
                      <a:pt x="85090" y="212214"/>
                    </a:cubicBezTo>
                    <a:cubicBezTo>
                      <a:pt x="86059" y="203328"/>
                      <a:pt x="87483" y="191196"/>
                      <a:pt x="95856" y="180487"/>
                    </a:cubicBezTo>
                    <a:cubicBezTo>
                      <a:pt x="104229" y="169892"/>
                      <a:pt x="115963" y="165507"/>
                      <a:pt x="123026" y="162886"/>
                    </a:cubicBezTo>
                    <a:cubicBezTo>
                      <a:pt x="163638" y="147792"/>
                      <a:pt x="205732" y="135432"/>
                      <a:pt x="248110" y="126204"/>
                    </a:cubicBezTo>
                    <a:cubicBezTo>
                      <a:pt x="263717" y="122787"/>
                      <a:pt x="279552" y="119768"/>
                      <a:pt x="294817" y="116863"/>
                    </a:cubicBezTo>
                    <a:cubicBezTo>
                      <a:pt x="331499" y="109857"/>
                      <a:pt x="366075" y="103192"/>
                      <a:pt x="399509" y="91628"/>
                    </a:cubicBezTo>
                    <a:cubicBezTo>
                      <a:pt x="436193" y="78869"/>
                      <a:pt x="485406" y="54264"/>
                      <a:pt x="511665" y="9321"/>
                    </a:cubicBezTo>
                    <a:cubicBezTo>
                      <a:pt x="517987" y="-1558"/>
                      <a:pt x="531942" y="-5204"/>
                      <a:pt x="542822" y="1119"/>
                    </a:cubicBezTo>
                    <a:cubicBezTo>
                      <a:pt x="553701" y="7500"/>
                      <a:pt x="557347" y="21455"/>
                      <a:pt x="551024" y="32333"/>
                    </a:cubicBezTo>
                    <a:cubicBezTo>
                      <a:pt x="517702" y="89294"/>
                      <a:pt x="458407" y="119426"/>
                      <a:pt x="414491" y="134634"/>
                    </a:cubicBezTo>
                    <a:cubicBezTo>
                      <a:pt x="377923" y="147336"/>
                      <a:pt x="340043" y="154570"/>
                      <a:pt x="303418" y="161576"/>
                    </a:cubicBezTo>
                    <a:cubicBezTo>
                      <a:pt x="288382" y="164481"/>
                      <a:pt x="272887" y="167443"/>
                      <a:pt x="257850" y="170747"/>
                    </a:cubicBezTo>
                    <a:cubicBezTo>
                      <a:pt x="217522" y="179519"/>
                      <a:pt x="177536" y="191252"/>
                      <a:pt x="138861" y="205606"/>
                    </a:cubicBezTo>
                    <a:cubicBezTo>
                      <a:pt x="137266" y="206176"/>
                      <a:pt x="133278" y="207657"/>
                      <a:pt x="131797" y="208682"/>
                    </a:cubicBezTo>
                    <a:cubicBezTo>
                      <a:pt x="131114" y="210448"/>
                      <a:pt x="130658" y="214549"/>
                      <a:pt x="130317" y="217397"/>
                    </a:cubicBezTo>
                    <a:cubicBezTo>
                      <a:pt x="121089" y="298223"/>
                      <a:pt x="98248" y="376202"/>
                      <a:pt x="62477" y="449281"/>
                    </a:cubicBezTo>
                    <a:lnTo>
                      <a:pt x="60142" y="454010"/>
                    </a:lnTo>
                    <a:cubicBezTo>
                      <a:pt x="51427" y="471611"/>
                      <a:pt x="43225" y="488300"/>
                      <a:pt x="43453" y="504192"/>
                    </a:cubicBezTo>
                    <a:cubicBezTo>
                      <a:pt x="43851" y="529368"/>
                      <a:pt x="65838" y="550557"/>
                      <a:pt x="86286" y="561949"/>
                    </a:cubicBezTo>
                    <a:cubicBezTo>
                      <a:pt x="112374" y="576531"/>
                      <a:pt x="143360" y="580119"/>
                      <a:pt x="176226" y="583936"/>
                    </a:cubicBezTo>
                    <a:cubicBezTo>
                      <a:pt x="224699" y="589575"/>
                      <a:pt x="279724" y="595954"/>
                      <a:pt x="320278" y="642775"/>
                    </a:cubicBezTo>
                    <a:cubicBezTo>
                      <a:pt x="336853" y="661857"/>
                      <a:pt x="344144" y="683274"/>
                      <a:pt x="340785" y="703039"/>
                    </a:cubicBezTo>
                    <a:cubicBezTo>
                      <a:pt x="337252" y="723488"/>
                      <a:pt x="322784" y="738582"/>
                      <a:pt x="314982" y="746670"/>
                    </a:cubicBezTo>
                    <a:cubicBezTo>
                      <a:pt x="307804" y="754075"/>
                      <a:pt x="300399" y="761537"/>
                      <a:pt x="292937" y="768942"/>
                    </a:cubicBezTo>
                    <a:cubicBezTo>
                      <a:pt x="254205" y="807675"/>
                      <a:pt x="217579" y="844243"/>
                      <a:pt x="211371" y="891122"/>
                    </a:cubicBezTo>
                    <a:cubicBezTo>
                      <a:pt x="208238" y="914362"/>
                      <a:pt x="212852" y="940391"/>
                      <a:pt x="225725" y="973201"/>
                    </a:cubicBezTo>
                    <a:cubicBezTo>
                      <a:pt x="249762" y="1034262"/>
                      <a:pt x="287982" y="1080913"/>
                      <a:pt x="333323" y="1104608"/>
                    </a:cubicBezTo>
                    <a:cubicBezTo>
                      <a:pt x="352063" y="1114405"/>
                      <a:pt x="369833" y="1118962"/>
                      <a:pt x="385783" y="1118506"/>
                    </a:cubicBezTo>
                    <a:cubicBezTo>
                      <a:pt x="402871" y="1117880"/>
                      <a:pt x="418250" y="1110817"/>
                      <a:pt x="427022" y="1099653"/>
                    </a:cubicBezTo>
                    <a:cubicBezTo>
                      <a:pt x="438243" y="1085242"/>
                      <a:pt x="440863" y="1062458"/>
                      <a:pt x="434997" y="1030104"/>
                    </a:cubicBezTo>
                    <a:cubicBezTo>
                      <a:pt x="433914" y="1024181"/>
                      <a:pt x="432718" y="1018314"/>
                      <a:pt x="431465" y="1012333"/>
                    </a:cubicBezTo>
                    <a:cubicBezTo>
                      <a:pt x="426168" y="986701"/>
                      <a:pt x="420700" y="960101"/>
                      <a:pt x="425598" y="931961"/>
                    </a:cubicBezTo>
                    <a:cubicBezTo>
                      <a:pt x="431066" y="900065"/>
                      <a:pt x="448382" y="874490"/>
                      <a:pt x="465071" y="849825"/>
                    </a:cubicBezTo>
                    <a:cubicBezTo>
                      <a:pt x="469059" y="843901"/>
                      <a:pt x="473046" y="838034"/>
                      <a:pt x="476862" y="832053"/>
                    </a:cubicBezTo>
                    <a:cubicBezTo>
                      <a:pt x="490646" y="810295"/>
                      <a:pt x="504943" y="779309"/>
                      <a:pt x="494406" y="755271"/>
                    </a:cubicBezTo>
                    <a:cubicBezTo>
                      <a:pt x="489963" y="744962"/>
                      <a:pt x="480792" y="735677"/>
                      <a:pt x="471052" y="725823"/>
                    </a:cubicBezTo>
                    <a:cubicBezTo>
                      <a:pt x="467122" y="721893"/>
                      <a:pt x="463249" y="717906"/>
                      <a:pt x="459603" y="713861"/>
                    </a:cubicBezTo>
                    <a:cubicBezTo>
                      <a:pt x="436705" y="688742"/>
                      <a:pt x="427535" y="661515"/>
                      <a:pt x="433857" y="637307"/>
                    </a:cubicBezTo>
                    <a:cubicBezTo>
                      <a:pt x="443142" y="601422"/>
                      <a:pt x="478571" y="584961"/>
                      <a:pt x="506994" y="571689"/>
                    </a:cubicBezTo>
                    <a:cubicBezTo>
                      <a:pt x="518500" y="566335"/>
                      <a:pt x="529379" y="561266"/>
                      <a:pt x="536442" y="556025"/>
                    </a:cubicBezTo>
                    <a:cubicBezTo>
                      <a:pt x="543562" y="550785"/>
                      <a:pt x="550796" y="544292"/>
                      <a:pt x="558486" y="537399"/>
                    </a:cubicBezTo>
                    <a:cubicBezTo>
                      <a:pt x="582979" y="515584"/>
                      <a:pt x="610604" y="490863"/>
                      <a:pt x="649736" y="490863"/>
                    </a:cubicBezTo>
                    <a:lnTo>
                      <a:pt x="652185" y="490863"/>
                    </a:lnTo>
                    <a:cubicBezTo>
                      <a:pt x="674456" y="491433"/>
                      <a:pt x="694335" y="501116"/>
                      <a:pt x="709202" y="509432"/>
                    </a:cubicBezTo>
                    <a:cubicBezTo>
                      <a:pt x="723043" y="517236"/>
                      <a:pt x="736201" y="525837"/>
                      <a:pt x="748960" y="534210"/>
                    </a:cubicBezTo>
                    <a:cubicBezTo>
                      <a:pt x="767929" y="546684"/>
                      <a:pt x="785870" y="558418"/>
                      <a:pt x="805124" y="567076"/>
                    </a:cubicBezTo>
                    <a:cubicBezTo>
                      <a:pt x="838559" y="581999"/>
                      <a:pt x="871596" y="582967"/>
                      <a:pt x="893583" y="569639"/>
                    </a:cubicBezTo>
                    <a:cubicBezTo>
                      <a:pt x="904348" y="563088"/>
                      <a:pt x="918360" y="566506"/>
                      <a:pt x="924854" y="577271"/>
                    </a:cubicBezTo>
                    <a:cubicBezTo>
                      <a:pt x="931404" y="588037"/>
                      <a:pt x="927986" y="602049"/>
                      <a:pt x="917221" y="608542"/>
                    </a:cubicBezTo>
                    <a:cubicBezTo>
                      <a:pt x="881963" y="630016"/>
                      <a:pt x="834287" y="630073"/>
                      <a:pt x="786498" y="608656"/>
                    </a:cubicBezTo>
                    <a:cubicBezTo>
                      <a:pt x="763885" y="598517"/>
                      <a:pt x="743607" y="585189"/>
                      <a:pt x="723956" y="572316"/>
                    </a:cubicBezTo>
                    <a:cubicBezTo>
                      <a:pt x="711311" y="564000"/>
                      <a:pt x="699348" y="556196"/>
                      <a:pt x="686874" y="549190"/>
                    </a:cubicBezTo>
                    <a:cubicBezTo>
                      <a:pt x="675994" y="543038"/>
                      <a:pt x="663178" y="536773"/>
                      <a:pt x="650989" y="536431"/>
                    </a:cubicBezTo>
                    <a:cubicBezTo>
                      <a:pt x="628774" y="535748"/>
                      <a:pt x="609294" y="553120"/>
                      <a:pt x="588846" y="571405"/>
                    </a:cubicBezTo>
                    <a:cubicBezTo>
                      <a:pt x="580757" y="578638"/>
                      <a:pt x="572384" y="586157"/>
                      <a:pt x="563555" y="592651"/>
                    </a:cubicBezTo>
                    <a:cubicBezTo>
                      <a:pt x="552790" y="600625"/>
                      <a:pt x="539290" y="606948"/>
                      <a:pt x="526246" y="612985"/>
                    </a:cubicBezTo>
                    <a:cubicBezTo>
                      <a:pt x="504431" y="623181"/>
                      <a:pt x="481875" y="633662"/>
                      <a:pt x="477944" y="648699"/>
                    </a:cubicBezTo>
                    <a:cubicBezTo>
                      <a:pt x="474755" y="661117"/>
                      <a:pt x="487628" y="676951"/>
                      <a:pt x="493267" y="683217"/>
                    </a:cubicBezTo>
                    <a:cubicBezTo>
                      <a:pt x="496570" y="686805"/>
                      <a:pt x="500045" y="690280"/>
                      <a:pt x="503462" y="693812"/>
                    </a:cubicBezTo>
                    <a:cubicBezTo>
                      <a:pt x="515139" y="705602"/>
                      <a:pt x="528354" y="718988"/>
                      <a:pt x="536214" y="737044"/>
                    </a:cubicBezTo>
                    <a:cubicBezTo>
                      <a:pt x="550853" y="770594"/>
                      <a:pt x="543619" y="811947"/>
                      <a:pt x="515310" y="856489"/>
                    </a:cubicBezTo>
                    <a:cubicBezTo>
                      <a:pt x="511323" y="862813"/>
                      <a:pt x="507051" y="869077"/>
                      <a:pt x="502836" y="875343"/>
                    </a:cubicBezTo>
                    <a:cubicBezTo>
                      <a:pt x="488197" y="896989"/>
                      <a:pt x="474299" y="917493"/>
                      <a:pt x="470483" y="939766"/>
                    </a:cubicBezTo>
                    <a:cubicBezTo>
                      <a:pt x="467065" y="959360"/>
                      <a:pt x="471451" y="980663"/>
                      <a:pt x="476122" y="1003162"/>
                    </a:cubicBezTo>
                    <a:cubicBezTo>
                      <a:pt x="477432" y="1009428"/>
                      <a:pt x="478685" y="1015750"/>
                      <a:pt x="479824" y="1021959"/>
                    </a:cubicBezTo>
                    <a:cubicBezTo>
                      <a:pt x="488140" y="1067869"/>
                      <a:pt x="482615" y="1102387"/>
                      <a:pt x="462964" y="1127620"/>
                    </a:cubicBezTo>
                    <a:cubicBezTo>
                      <a:pt x="446047" y="1149322"/>
                      <a:pt x="417795" y="1162935"/>
                      <a:pt x="387435" y="1164074"/>
                    </a:cubicBezTo>
                    <a:cubicBezTo>
                      <a:pt x="386011" y="1164074"/>
                      <a:pt x="384587" y="1164131"/>
                      <a:pt x="383106" y="1164131"/>
                    </a:cubicBezTo>
                    <a:close/>
                  </a:path>
                </a:pathLst>
              </a:custGeom>
              <a:solidFill>
                <a:schemeClr val="tx1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522">
                <a:extLst>
                  <a:ext uri="{FF2B5EF4-FFF2-40B4-BE49-F238E27FC236}">
                    <a16:creationId xmlns:a16="http://schemas.microsoft.com/office/drawing/2014/main" id="{9F6F65B7-3F9A-370F-33EF-B5A76D689214}"/>
                  </a:ext>
                </a:extLst>
              </p:cNvPr>
              <p:cNvSpPr/>
              <p:nvPr/>
            </p:nvSpPr>
            <p:spPr>
              <a:xfrm>
                <a:off x="8996901" y="2001327"/>
                <a:ext cx="41068" cy="55060"/>
              </a:xfrm>
              <a:custGeom>
                <a:avLst/>
                <a:gdLst>
                  <a:gd name="connsiteX0" fmla="*/ 50136 w 191899"/>
                  <a:gd name="connsiteY0" fmla="*/ 255298 h 257280"/>
                  <a:gd name="connsiteX1" fmla="*/ 35328 w 191899"/>
                  <a:gd name="connsiteY1" fmla="*/ 249830 h 257280"/>
                  <a:gd name="connsiteX2" fmla="*/ -1982 w 191899"/>
                  <a:gd name="connsiteY2" fmla="*/ 153682 h 257280"/>
                  <a:gd name="connsiteX3" fmla="*/ 50764 w 191899"/>
                  <a:gd name="connsiteY3" fmla="*/ 40673 h 257280"/>
                  <a:gd name="connsiteX4" fmla="*/ 168045 w 191899"/>
                  <a:gd name="connsiteY4" fmla="*/ -1819 h 257280"/>
                  <a:gd name="connsiteX5" fmla="*/ 189746 w 191899"/>
                  <a:gd name="connsiteY5" fmla="*/ 21990 h 257280"/>
                  <a:gd name="connsiteX6" fmla="*/ 165937 w 191899"/>
                  <a:gd name="connsiteY6" fmla="*/ 43692 h 257280"/>
                  <a:gd name="connsiteX7" fmla="*/ 81521 w 191899"/>
                  <a:gd name="connsiteY7" fmla="*/ 74279 h 257280"/>
                  <a:gd name="connsiteX8" fmla="*/ 43530 w 191899"/>
                  <a:gd name="connsiteY8" fmla="*/ 155675 h 257280"/>
                  <a:gd name="connsiteX9" fmla="*/ 64947 w 191899"/>
                  <a:gd name="connsiteY9" fmla="*/ 215198 h 257280"/>
                  <a:gd name="connsiteX10" fmla="*/ 67452 w 191899"/>
                  <a:gd name="connsiteY10" fmla="*/ 247324 h 257280"/>
                  <a:gd name="connsiteX11" fmla="*/ 50136 w 191899"/>
                  <a:gd name="connsiteY11" fmla="*/ 255298 h 257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91899" h="257280">
                    <a:moveTo>
                      <a:pt x="50136" y="255298"/>
                    </a:moveTo>
                    <a:cubicBezTo>
                      <a:pt x="44897" y="255298"/>
                      <a:pt x="39600" y="253476"/>
                      <a:pt x="35328" y="249830"/>
                    </a:cubicBezTo>
                    <a:cubicBezTo>
                      <a:pt x="9924" y="228071"/>
                      <a:pt x="-3691" y="193041"/>
                      <a:pt x="-1982" y="153682"/>
                    </a:cubicBezTo>
                    <a:cubicBezTo>
                      <a:pt x="-158" y="110848"/>
                      <a:pt x="19093" y="69609"/>
                      <a:pt x="50764" y="40673"/>
                    </a:cubicBezTo>
                    <a:cubicBezTo>
                      <a:pt x="82434" y="11679"/>
                      <a:pt x="125268" y="-3757"/>
                      <a:pt x="168045" y="-1819"/>
                    </a:cubicBezTo>
                    <a:cubicBezTo>
                      <a:pt x="180633" y="-1194"/>
                      <a:pt x="190373" y="9459"/>
                      <a:pt x="189746" y="21990"/>
                    </a:cubicBezTo>
                    <a:cubicBezTo>
                      <a:pt x="189177" y="34578"/>
                      <a:pt x="178468" y="44375"/>
                      <a:pt x="165937" y="43692"/>
                    </a:cubicBezTo>
                    <a:cubicBezTo>
                      <a:pt x="135577" y="42325"/>
                      <a:pt x="103965" y="53717"/>
                      <a:pt x="81521" y="74279"/>
                    </a:cubicBezTo>
                    <a:cubicBezTo>
                      <a:pt x="59023" y="94842"/>
                      <a:pt x="44839" y="125259"/>
                      <a:pt x="43530" y="155675"/>
                    </a:cubicBezTo>
                    <a:cubicBezTo>
                      <a:pt x="42448" y="180567"/>
                      <a:pt x="50478" y="202781"/>
                      <a:pt x="64947" y="215198"/>
                    </a:cubicBezTo>
                    <a:cubicBezTo>
                      <a:pt x="74515" y="223344"/>
                      <a:pt x="75599" y="237755"/>
                      <a:pt x="67452" y="247324"/>
                    </a:cubicBezTo>
                    <a:cubicBezTo>
                      <a:pt x="62952" y="252564"/>
                      <a:pt x="56574" y="255298"/>
                      <a:pt x="50136" y="255298"/>
                    </a:cubicBezTo>
                    <a:close/>
                  </a:path>
                </a:pathLst>
              </a:custGeom>
              <a:solidFill>
                <a:schemeClr val="tx1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523">
                <a:extLst>
                  <a:ext uri="{FF2B5EF4-FFF2-40B4-BE49-F238E27FC236}">
                    <a16:creationId xmlns:a16="http://schemas.microsoft.com/office/drawing/2014/main" id="{ECAAA1F9-0A0E-0C68-6A37-EFF3F1564720}"/>
                  </a:ext>
                </a:extLst>
              </p:cNvPr>
              <p:cNvSpPr/>
              <p:nvPr/>
            </p:nvSpPr>
            <p:spPr>
              <a:xfrm>
                <a:off x="8550357" y="1793720"/>
                <a:ext cx="129931" cy="9752"/>
              </a:xfrm>
              <a:custGeom>
                <a:avLst/>
                <a:gdLst>
                  <a:gd name="connsiteX0" fmla="*/ 582229 w 607138"/>
                  <a:gd name="connsiteY0" fmla="*/ 43586 h 45568"/>
                  <a:gd name="connsiteX1" fmla="*/ 20659 w 607138"/>
                  <a:gd name="connsiteY1" fmla="*/ 43586 h 45568"/>
                  <a:gd name="connsiteX2" fmla="*/ -2125 w 607138"/>
                  <a:gd name="connsiteY2" fmla="*/ 20802 h 45568"/>
                  <a:gd name="connsiteX3" fmla="*/ 20659 w 607138"/>
                  <a:gd name="connsiteY3" fmla="*/ -1982 h 45568"/>
                  <a:gd name="connsiteX4" fmla="*/ 582229 w 607138"/>
                  <a:gd name="connsiteY4" fmla="*/ -1982 h 45568"/>
                  <a:gd name="connsiteX5" fmla="*/ 605013 w 607138"/>
                  <a:gd name="connsiteY5" fmla="*/ 20802 h 45568"/>
                  <a:gd name="connsiteX6" fmla="*/ 582229 w 607138"/>
                  <a:gd name="connsiteY6" fmla="*/ 43586 h 4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7138" h="45568">
                    <a:moveTo>
                      <a:pt x="582229" y="43586"/>
                    </a:moveTo>
                    <a:lnTo>
                      <a:pt x="20659" y="43586"/>
                    </a:lnTo>
                    <a:cubicBezTo>
                      <a:pt x="8128" y="43586"/>
                      <a:pt x="-2125" y="33390"/>
                      <a:pt x="-2125" y="20802"/>
                    </a:cubicBezTo>
                    <a:cubicBezTo>
                      <a:pt x="-2125" y="8214"/>
                      <a:pt x="8128" y="-1982"/>
                      <a:pt x="20659" y="-1982"/>
                    </a:cubicBezTo>
                    <a:lnTo>
                      <a:pt x="582229" y="-1982"/>
                    </a:lnTo>
                    <a:cubicBezTo>
                      <a:pt x="594817" y="-1982"/>
                      <a:pt x="605013" y="8214"/>
                      <a:pt x="605013" y="20802"/>
                    </a:cubicBezTo>
                    <a:cubicBezTo>
                      <a:pt x="605013" y="33390"/>
                      <a:pt x="594817" y="43586"/>
                      <a:pt x="582229" y="43586"/>
                    </a:cubicBezTo>
                    <a:close/>
                  </a:path>
                </a:pathLst>
              </a:custGeom>
              <a:solidFill>
                <a:schemeClr val="tx1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524">
                <a:extLst>
                  <a:ext uri="{FF2B5EF4-FFF2-40B4-BE49-F238E27FC236}">
                    <a16:creationId xmlns:a16="http://schemas.microsoft.com/office/drawing/2014/main" id="{1FECFBC3-9A88-4BE6-1F67-CC40DB93B4A7}"/>
                  </a:ext>
                </a:extLst>
              </p:cNvPr>
              <p:cNvSpPr/>
              <p:nvPr/>
            </p:nvSpPr>
            <p:spPr>
              <a:xfrm>
                <a:off x="8550357" y="1829534"/>
                <a:ext cx="129931" cy="9752"/>
              </a:xfrm>
              <a:custGeom>
                <a:avLst/>
                <a:gdLst>
                  <a:gd name="connsiteX0" fmla="*/ 582229 w 607138"/>
                  <a:gd name="connsiteY0" fmla="*/ 43586 h 45568"/>
                  <a:gd name="connsiteX1" fmla="*/ 20659 w 607138"/>
                  <a:gd name="connsiteY1" fmla="*/ 43586 h 45568"/>
                  <a:gd name="connsiteX2" fmla="*/ -2125 w 607138"/>
                  <a:gd name="connsiteY2" fmla="*/ 20802 h 45568"/>
                  <a:gd name="connsiteX3" fmla="*/ 20659 w 607138"/>
                  <a:gd name="connsiteY3" fmla="*/ -1982 h 45568"/>
                  <a:gd name="connsiteX4" fmla="*/ 582229 w 607138"/>
                  <a:gd name="connsiteY4" fmla="*/ -1982 h 45568"/>
                  <a:gd name="connsiteX5" fmla="*/ 605013 w 607138"/>
                  <a:gd name="connsiteY5" fmla="*/ 20802 h 45568"/>
                  <a:gd name="connsiteX6" fmla="*/ 582229 w 607138"/>
                  <a:gd name="connsiteY6" fmla="*/ 43586 h 4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7138" h="45568">
                    <a:moveTo>
                      <a:pt x="582229" y="43586"/>
                    </a:moveTo>
                    <a:lnTo>
                      <a:pt x="20659" y="43586"/>
                    </a:lnTo>
                    <a:cubicBezTo>
                      <a:pt x="8128" y="43586"/>
                      <a:pt x="-2125" y="33390"/>
                      <a:pt x="-2125" y="20802"/>
                    </a:cubicBezTo>
                    <a:cubicBezTo>
                      <a:pt x="-2125" y="8270"/>
                      <a:pt x="8128" y="-1982"/>
                      <a:pt x="20659" y="-1982"/>
                    </a:cubicBezTo>
                    <a:lnTo>
                      <a:pt x="582229" y="-1982"/>
                    </a:lnTo>
                    <a:cubicBezTo>
                      <a:pt x="594817" y="-1982"/>
                      <a:pt x="605013" y="8270"/>
                      <a:pt x="605013" y="20802"/>
                    </a:cubicBezTo>
                    <a:cubicBezTo>
                      <a:pt x="605013" y="33390"/>
                      <a:pt x="594817" y="43586"/>
                      <a:pt x="582229" y="43586"/>
                    </a:cubicBezTo>
                    <a:close/>
                  </a:path>
                </a:pathLst>
              </a:custGeom>
              <a:solidFill>
                <a:schemeClr val="tx1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525">
                <a:extLst>
                  <a:ext uri="{FF2B5EF4-FFF2-40B4-BE49-F238E27FC236}">
                    <a16:creationId xmlns:a16="http://schemas.microsoft.com/office/drawing/2014/main" id="{EC893E5F-6734-1EE4-618E-497189293130}"/>
                  </a:ext>
                </a:extLst>
              </p:cNvPr>
              <p:cNvSpPr/>
              <p:nvPr/>
            </p:nvSpPr>
            <p:spPr>
              <a:xfrm>
                <a:off x="8550357" y="1865359"/>
                <a:ext cx="129931" cy="9752"/>
              </a:xfrm>
              <a:custGeom>
                <a:avLst/>
                <a:gdLst>
                  <a:gd name="connsiteX0" fmla="*/ 582229 w 607138"/>
                  <a:gd name="connsiteY0" fmla="*/ 43586 h 45568"/>
                  <a:gd name="connsiteX1" fmla="*/ 20659 w 607138"/>
                  <a:gd name="connsiteY1" fmla="*/ 43586 h 45568"/>
                  <a:gd name="connsiteX2" fmla="*/ -2125 w 607138"/>
                  <a:gd name="connsiteY2" fmla="*/ 20802 h 45568"/>
                  <a:gd name="connsiteX3" fmla="*/ 20659 w 607138"/>
                  <a:gd name="connsiteY3" fmla="*/ -1982 h 45568"/>
                  <a:gd name="connsiteX4" fmla="*/ 582229 w 607138"/>
                  <a:gd name="connsiteY4" fmla="*/ -1982 h 45568"/>
                  <a:gd name="connsiteX5" fmla="*/ 605013 w 607138"/>
                  <a:gd name="connsiteY5" fmla="*/ 20802 h 45568"/>
                  <a:gd name="connsiteX6" fmla="*/ 582229 w 607138"/>
                  <a:gd name="connsiteY6" fmla="*/ 43586 h 4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7138" h="45568">
                    <a:moveTo>
                      <a:pt x="582229" y="43586"/>
                    </a:moveTo>
                    <a:lnTo>
                      <a:pt x="20659" y="43586"/>
                    </a:lnTo>
                    <a:cubicBezTo>
                      <a:pt x="8128" y="43586"/>
                      <a:pt x="-2125" y="33333"/>
                      <a:pt x="-2125" y="20802"/>
                    </a:cubicBezTo>
                    <a:cubicBezTo>
                      <a:pt x="-2125" y="8214"/>
                      <a:pt x="8128" y="-1982"/>
                      <a:pt x="20659" y="-1982"/>
                    </a:cubicBezTo>
                    <a:lnTo>
                      <a:pt x="582229" y="-1982"/>
                    </a:lnTo>
                    <a:cubicBezTo>
                      <a:pt x="594817" y="-1982"/>
                      <a:pt x="605013" y="8214"/>
                      <a:pt x="605013" y="20802"/>
                    </a:cubicBezTo>
                    <a:cubicBezTo>
                      <a:pt x="605013" y="33333"/>
                      <a:pt x="594817" y="43586"/>
                      <a:pt x="582229" y="43586"/>
                    </a:cubicBezTo>
                    <a:close/>
                  </a:path>
                </a:pathLst>
              </a:custGeom>
              <a:solidFill>
                <a:schemeClr val="tx1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526">
                <a:extLst>
                  <a:ext uri="{FF2B5EF4-FFF2-40B4-BE49-F238E27FC236}">
                    <a16:creationId xmlns:a16="http://schemas.microsoft.com/office/drawing/2014/main" id="{B0BA54E6-E265-11D5-96DE-5601921067CE}"/>
                  </a:ext>
                </a:extLst>
              </p:cNvPr>
              <p:cNvSpPr/>
              <p:nvPr/>
            </p:nvSpPr>
            <p:spPr>
              <a:xfrm>
                <a:off x="8550357" y="1901173"/>
                <a:ext cx="129931" cy="9752"/>
              </a:xfrm>
              <a:custGeom>
                <a:avLst/>
                <a:gdLst>
                  <a:gd name="connsiteX0" fmla="*/ 582229 w 607138"/>
                  <a:gd name="connsiteY0" fmla="*/ 43586 h 45568"/>
                  <a:gd name="connsiteX1" fmla="*/ 20659 w 607138"/>
                  <a:gd name="connsiteY1" fmla="*/ 43586 h 45568"/>
                  <a:gd name="connsiteX2" fmla="*/ -2125 w 607138"/>
                  <a:gd name="connsiteY2" fmla="*/ 20802 h 45568"/>
                  <a:gd name="connsiteX3" fmla="*/ 20659 w 607138"/>
                  <a:gd name="connsiteY3" fmla="*/ -1982 h 45568"/>
                  <a:gd name="connsiteX4" fmla="*/ 582229 w 607138"/>
                  <a:gd name="connsiteY4" fmla="*/ -1982 h 45568"/>
                  <a:gd name="connsiteX5" fmla="*/ 605013 w 607138"/>
                  <a:gd name="connsiteY5" fmla="*/ 20802 h 45568"/>
                  <a:gd name="connsiteX6" fmla="*/ 582229 w 607138"/>
                  <a:gd name="connsiteY6" fmla="*/ 43586 h 4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7138" h="45568">
                    <a:moveTo>
                      <a:pt x="582229" y="43586"/>
                    </a:moveTo>
                    <a:lnTo>
                      <a:pt x="20659" y="43586"/>
                    </a:lnTo>
                    <a:cubicBezTo>
                      <a:pt x="8128" y="43586"/>
                      <a:pt x="-2125" y="33390"/>
                      <a:pt x="-2125" y="20802"/>
                    </a:cubicBezTo>
                    <a:cubicBezTo>
                      <a:pt x="-2125" y="8213"/>
                      <a:pt x="8128" y="-1982"/>
                      <a:pt x="20659" y="-1982"/>
                    </a:cubicBezTo>
                    <a:lnTo>
                      <a:pt x="582229" y="-1982"/>
                    </a:lnTo>
                    <a:cubicBezTo>
                      <a:pt x="594817" y="-1982"/>
                      <a:pt x="605013" y="8213"/>
                      <a:pt x="605013" y="20802"/>
                    </a:cubicBezTo>
                    <a:cubicBezTo>
                      <a:pt x="605013" y="33390"/>
                      <a:pt x="594817" y="43586"/>
                      <a:pt x="582229" y="43586"/>
                    </a:cubicBezTo>
                    <a:close/>
                  </a:path>
                </a:pathLst>
              </a:custGeom>
              <a:solidFill>
                <a:schemeClr val="tx1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C4AC83B3-5281-D2C6-F68F-63770C211DD1}"/>
                  </a:ext>
                </a:extLst>
              </p:cNvPr>
              <p:cNvGrpSpPr/>
              <p:nvPr/>
            </p:nvGrpSpPr>
            <p:grpSpPr>
              <a:xfrm>
                <a:off x="7573098" y="1786210"/>
                <a:ext cx="359516" cy="276041"/>
                <a:chOff x="7667337" y="1570128"/>
                <a:chExt cx="387247" cy="297334"/>
              </a:xfrm>
            </p:grpSpPr>
            <p:sp>
              <p:nvSpPr>
                <p:cNvPr id="130" name="Freeform: Shape 527">
                  <a:extLst>
                    <a:ext uri="{FF2B5EF4-FFF2-40B4-BE49-F238E27FC236}">
                      <a16:creationId xmlns:a16="http://schemas.microsoft.com/office/drawing/2014/main" id="{A877E52C-F799-AEF2-FF63-23B223C794B3}"/>
                    </a:ext>
                  </a:extLst>
                </p:cNvPr>
                <p:cNvSpPr/>
                <p:nvPr/>
              </p:nvSpPr>
              <p:spPr>
                <a:xfrm>
                  <a:off x="7667337" y="1590278"/>
                  <a:ext cx="387247" cy="277184"/>
                </a:xfrm>
                <a:custGeom>
                  <a:avLst/>
                  <a:gdLst>
                    <a:gd name="connsiteX0" fmla="*/ 43443 w 1809509"/>
                    <a:gd name="connsiteY0" fmla="*/ 43586 h 1295215"/>
                    <a:gd name="connsiteX1" fmla="*/ 43443 w 1809509"/>
                    <a:gd name="connsiteY1" fmla="*/ 1218161 h 1295215"/>
                    <a:gd name="connsiteX2" fmla="*/ 73005 w 1809509"/>
                    <a:gd name="connsiteY2" fmla="*/ 1247666 h 1295215"/>
                    <a:gd name="connsiteX3" fmla="*/ 1732311 w 1809509"/>
                    <a:gd name="connsiteY3" fmla="*/ 1247666 h 1295215"/>
                    <a:gd name="connsiteX4" fmla="*/ 1761816 w 1809509"/>
                    <a:gd name="connsiteY4" fmla="*/ 1218161 h 1295215"/>
                    <a:gd name="connsiteX5" fmla="*/ 1761816 w 1809509"/>
                    <a:gd name="connsiteY5" fmla="*/ 43586 h 1295215"/>
                    <a:gd name="connsiteX6" fmla="*/ 43443 w 1809509"/>
                    <a:gd name="connsiteY6" fmla="*/ 43586 h 1295215"/>
                    <a:gd name="connsiteX7" fmla="*/ 1732311 w 1809509"/>
                    <a:gd name="connsiteY7" fmla="*/ 1293234 h 1295215"/>
                    <a:gd name="connsiteX8" fmla="*/ 73005 w 1809509"/>
                    <a:gd name="connsiteY8" fmla="*/ 1293234 h 1295215"/>
                    <a:gd name="connsiteX9" fmla="*/ -2125 w 1809509"/>
                    <a:gd name="connsiteY9" fmla="*/ 1218161 h 1295215"/>
                    <a:gd name="connsiteX10" fmla="*/ -2125 w 1809509"/>
                    <a:gd name="connsiteY10" fmla="*/ -1982 h 1295215"/>
                    <a:gd name="connsiteX11" fmla="*/ 1807384 w 1809509"/>
                    <a:gd name="connsiteY11" fmla="*/ -1982 h 1295215"/>
                    <a:gd name="connsiteX12" fmla="*/ 1807384 w 1809509"/>
                    <a:gd name="connsiteY12" fmla="*/ 1218161 h 1295215"/>
                    <a:gd name="connsiteX13" fmla="*/ 1732311 w 1809509"/>
                    <a:gd name="connsiteY13" fmla="*/ 1293234 h 12952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809509" h="1295215">
                      <a:moveTo>
                        <a:pt x="43443" y="43586"/>
                      </a:moveTo>
                      <a:lnTo>
                        <a:pt x="43443" y="1218161"/>
                      </a:lnTo>
                      <a:cubicBezTo>
                        <a:pt x="43443" y="1234452"/>
                        <a:pt x="56714" y="1247666"/>
                        <a:pt x="73005" y="1247666"/>
                      </a:cubicBezTo>
                      <a:lnTo>
                        <a:pt x="1732311" y="1247666"/>
                      </a:lnTo>
                      <a:cubicBezTo>
                        <a:pt x="1748544" y="1247666"/>
                        <a:pt x="1761816" y="1234452"/>
                        <a:pt x="1761816" y="1218161"/>
                      </a:cubicBezTo>
                      <a:lnTo>
                        <a:pt x="1761816" y="43586"/>
                      </a:lnTo>
                      <a:lnTo>
                        <a:pt x="43443" y="43586"/>
                      </a:lnTo>
                      <a:close/>
                      <a:moveTo>
                        <a:pt x="1732311" y="1293234"/>
                      </a:moveTo>
                      <a:lnTo>
                        <a:pt x="73005" y="1293234"/>
                      </a:lnTo>
                      <a:cubicBezTo>
                        <a:pt x="31595" y="1293234"/>
                        <a:pt x="-2125" y="1259571"/>
                        <a:pt x="-2125" y="1218161"/>
                      </a:cubicBezTo>
                      <a:lnTo>
                        <a:pt x="-2125" y="-1982"/>
                      </a:lnTo>
                      <a:lnTo>
                        <a:pt x="1807384" y="-1982"/>
                      </a:lnTo>
                      <a:lnTo>
                        <a:pt x="1807384" y="1218161"/>
                      </a:lnTo>
                      <a:cubicBezTo>
                        <a:pt x="1807384" y="1259571"/>
                        <a:pt x="1773721" y="1293234"/>
                        <a:pt x="1732311" y="1293234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5690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Freeform: Shape 528">
                  <a:extLst>
                    <a:ext uri="{FF2B5EF4-FFF2-40B4-BE49-F238E27FC236}">
                      <a16:creationId xmlns:a16="http://schemas.microsoft.com/office/drawing/2014/main" id="{F65A0500-4E1D-6AE1-87BB-BF3B1F76D080}"/>
                    </a:ext>
                  </a:extLst>
                </p:cNvPr>
                <p:cNvSpPr/>
                <p:nvPr/>
              </p:nvSpPr>
              <p:spPr>
                <a:xfrm>
                  <a:off x="7667337" y="1570128"/>
                  <a:ext cx="387247" cy="29902"/>
                </a:xfrm>
                <a:custGeom>
                  <a:avLst/>
                  <a:gdLst>
                    <a:gd name="connsiteX0" fmla="*/ 1732311 w 1809509"/>
                    <a:gd name="connsiteY0" fmla="*/ -1982 h 139723"/>
                    <a:gd name="connsiteX1" fmla="*/ 72948 w 1809509"/>
                    <a:gd name="connsiteY1" fmla="*/ -1982 h 139723"/>
                    <a:gd name="connsiteX2" fmla="*/ -2125 w 1809509"/>
                    <a:gd name="connsiteY2" fmla="*/ 73091 h 139723"/>
                    <a:gd name="connsiteX3" fmla="*/ -2125 w 1809509"/>
                    <a:gd name="connsiteY3" fmla="*/ 137741 h 139723"/>
                    <a:gd name="connsiteX4" fmla="*/ 1807384 w 1809509"/>
                    <a:gd name="connsiteY4" fmla="*/ 137741 h 139723"/>
                    <a:gd name="connsiteX5" fmla="*/ 1807384 w 1809509"/>
                    <a:gd name="connsiteY5" fmla="*/ 73091 h 139723"/>
                    <a:gd name="connsiteX6" fmla="*/ 1732311 w 1809509"/>
                    <a:gd name="connsiteY6" fmla="*/ -1982 h 139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09509" h="139723">
                      <a:moveTo>
                        <a:pt x="1732311" y="-1982"/>
                      </a:moveTo>
                      <a:lnTo>
                        <a:pt x="72948" y="-1982"/>
                      </a:lnTo>
                      <a:cubicBezTo>
                        <a:pt x="31595" y="-1982"/>
                        <a:pt x="-2125" y="31682"/>
                        <a:pt x="-2125" y="73091"/>
                      </a:cubicBezTo>
                      <a:lnTo>
                        <a:pt x="-2125" y="137741"/>
                      </a:lnTo>
                      <a:lnTo>
                        <a:pt x="1807384" y="137741"/>
                      </a:lnTo>
                      <a:lnTo>
                        <a:pt x="1807384" y="73091"/>
                      </a:lnTo>
                      <a:cubicBezTo>
                        <a:pt x="1807384" y="31682"/>
                        <a:pt x="1773721" y="-1982"/>
                        <a:pt x="1732311" y="-1982"/>
                      </a:cubicBezTo>
                      <a:close/>
                    </a:path>
                  </a:pathLst>
                </a:custGeom>
                <a:solidFill>
                  <a:srgbClr val="2060FF"/>
                </a:solidFill>
                <a:ln w="5690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Freeform: Shape 529">
                  <a:extLst>
                    <a:ext uri="{FF2B5EF4-FFF2-40B4-BE49-F238E27FC236}">
                      <a16:creationId xmlns:a16="http://schemas.microsoft.com/office/drawing/2014/main" id="{42E2775A-D1CA-4F2D-7A95-487BBD18AF21}"/>
                    </a:ext>
                  </a:extLst>
                </p:cNvPr>
                <p:cNvSpPr/>
                <p:nvPr/>
              </p:nvSpPr>
              <p:spPr>
                <a:xfrm>
                  <a:off x="7712110" y="1684737"/>
                  <a:ext cx="9752" cy="132589"/>
                </a:xfrm>
                <a:custGeom>
                  <a:avLst/>
                  <a:gdLst>
                    <a:gd name="connsiteX0" fmla="*/ 20659 w 45568"/>
                    <a:gd name="connsiteY0" fmla="*/ 617573 h 619555"/>
                    <a:gd name="connsiteX1" fmla="*/ -2125 w 45568"/>
                    <a:gd name="connsiteY1" fmla="*/ 594789 h 619555"/>
                    <a:gd name="connsiteX2" fmla="*/ -2125 w 45568"/>
                    <a:gd name="connsiteY2" fmla="*/ 20802 h 619555"/>
                    <a:gd name="connsiteX3" fmla="*/ 20659 w 45568"/>
                    <a:gd name="connsiteY3" fmla="*/ -1982 h 619555"/>
                    <a:gd name="connsiteX4" fmla="*/ 43443 w 45568"/>
                    <a:gd name="connsiteY4" fmla="*/ 20802 h 619555"/>
                    <a:gd name="connsiteX5" fmla="*/ 43443 w 45568"/>
                    <a:gd name="connsiteY5" fmla="*/ 594789 h 619555"/>
                    <a:gd name="connsiteX6" fmla="*/ 20659 w 45568"/>
                    <a:gd name="connsiteY6" fmla="*/ 617573 h 6195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5568" h="619555">
                      <a:moveTo>
                        <a:pt x="20659" y="617573"/>
                      </a:moveTo>
                      <a:cubicBezTo>
                        <a:pt x="8071" y="617573"/>
                        <a:pt x="-2125" y="607377"/>
                        <a:pt x="-2125" y="594789"/>
                      </a:cubicBezTo>
                      <a:lnTo>
                        <a:pt x="-2125" y="20802"/>
                      </a:lnTo>
                      <a:cubicBezTo>
                        <a:pt x="-2125" y="8214"/>
                        <a:pt x="8071" y="-1982"/>
                        <a:pt x="20659" y="-1982"/>
                      </a:cubicBezTo>
                      <a:cubicBezTo>
                        <a:pt x="33247" y="-1982"/>
                        <a:pt x="43443" y="8214"/>
                        <a:pt x="43443" y="20802"/>
                      </a:cubicBezTo>
                      <a:lnTo>
                        <a:pt x="43443" y="594789"/>
                      </a:lnTo>
                      <a:cubicBezTo>
                        <a:pt x="43443" y="607377"/>
                        <a:pt x="33247" y="617573"/>
                        <a:pt x="20659" y="617573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5690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Freeform: Shape 530">
                  <a:extLst>
                    <a:ext uri="{FF2B5EF4-FFF2-40B4-BE49-F238E27FC236}">
                      <a16:creationId xmlns:a16="http://schemas.microsoft.com/office/drawing/2014/main" id="{72D8DEF6-BA47-89D7-B291-DB9F5E00EE7F}"/>
                    </a:ext>
                  </a:extLst>
                </p:cNvPr>
                <p:cNvSpPr/>
                <p:nvPr/>
              </p:nvSpPr>
              <p:spPr>
                <a:xfrm>
                  <a:off x="7748704" y="1620265"/>
                  <a:ext cx="9752" cy="197061"/>
                </a:xfrm>
                <a:custGeom>
                  <a:avLst/>
                  <a:gdLst>
                    <a:gd name="connsiteX0" fmla="*/ 20659 w 45568"/>
                    <a:gd name="connsiteY0" fmla="*/ 918836 h 920817"/>
                    <a:gd name="connsiteX1" fmla="*/ -2125 w 45568"/>
                    <a:gd name="connsiteY1" fmla="*/ 896052 h 920817"/>
                    <a:gd name="connsiteX2" fmla="*/ -2125 w 45568"/>
                    <a:gd name="connsiteY2" fmla="*/ 20802 h 920817"/>
                    <a:gd name="connsiteX3" fmla="*/ 20659 w 45568"/>
                    <a:gd name="connsiteY3" fmla="*/ -1982 h 920817"/>
                    <a:gd name="connsiteX4" fmla="*/ 43443 w 45568"/>
                    <a:gd name="connsiteY4" fmla="*/ 20802 h 920817"/>
                    <a:gd name="connsiteX5" fmla="*/ 43443 w 45568"/>
                    <a:gd name="connsiteY5" fmla="*/ 896052 h 920817"/>
                    <a:gd name="connsiteX6" fmla="*/ 20659 w 45568"/>
                    <a:gd name="connsiteY6" fmla="*/ 918836 h 9208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5568" h="920817">
                      <a:moveTo>
                        <a:pt x="20659" y="918836"/>
                      </a:moveTo>
                      <a:cubicBezTo>
                        <a:pt x="8070" y="918836"/>
                        <a:pt x="-2125" y="908640"/>
                        <a:pt x="-2125" y="896052"/>
                      </a:cubicBezTo>
                      <a:lnTo>
                        <a:pt x="-2125" y="20802"/>
                      </a:lnTo>
                      <a:cubicBezTo>
                        <a:pt x="-2125" y="8213"/>
                        <a:pt x="8070" y="-1982"/>
                        <a:pt x="20659" y="-1982"/>
                      </a:cubicBezTo>
                      <a:cubicBezTo>
                        <a:pt x="33247" y="-1982"/>
                        <a:pt x="43443" y="8213"/>
                        <a:pt x="43443" y="20802"/>
                      </a:cubicBezTo>
                      <a:lnTo>
                        <a:pt x="43443" y="896052"/>
                      </a:lnTo>
                      <a:cubicBezTo>
                        <a:pt x="43443" y="908640"/>
                        <a:pt x="33247" y="918836"/>
                        <a:pt x="20659" y="918836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5690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Freeform: Shape 531">
                  <a:extLst>
                    <a:ext uri="{FF2B5EF4-FFF2-40B4-BE49-F238E27FC236}">
                      <a16:creationId xmlns:a16="http://schemas.microsoft.com/office/drawing/2014/main" id="{6B5D1E09-4694-B706-281C-222C9BFCFC17}"/>
                    </a:ext>
                  </a:extLst>
                </p:cNvPr>
                <p:cNvSpPr/>
                <p:nvPr/>
              </p:nvSpPr>
              <p:spPr>
                <a:xfrm>
                  <a:off x="7785298" y="1726524"/>
                  <a:ext cx="9752" cy="90802"/>
                </a:xfrm>
                <a:custGeom>
                  <a:avLst/>
                  <a:gdLst>
                    <a:gd name="connsiteX0" fmla="*/ 20659 w 45568"/>
                    <a:gd name="connsiteY0" fmla="*/ 422314 h 424295"/>
                    <a:gd name="connsiteX1" fmla="*/ -2125 w 45568"/>
                    <a:gd name="connsiteY1" fmla="*/ 399530 h 424295"/>
                    <a:gd name="connsiteX2" fmla="*/ -2125 w 45568"/>
                    <a:gd name="connsiteY2" fmla="*/ 20802 h 424295"/>
                    <a:gd name="connsiteX3" fmla="*/ 20659 w 45568"/>
                    <a:gd name="connsiteY3" fmla="*/ -1982 h 424295"/>
                    <a:gd name="connsiteX4" fmla="*/ 43443 w 45568"/>
                    <a:gd name="connsiteY4" fmla="*/ 20802 h 424295"/>
                    <a:gd name="connsiteX5" fmla="*/ 43443 w 45568"/>
                    <a:gd name="connsiteY5" fmla="*/ 399530 h 424295"/>
                    <a:gd name="connsiteX6" fmla="*/ 20659 w 45568"/>
                    <a:gd name="connsiteY6" fmla="*/ 422314 h 4242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5568" h="424295">
                      <a:moveTo>
                        <a:pt x="20659" y="422314"/>
                      </a:moveTo>
                      <a:cubicBezTo>
                        <a:pt x="8070" y="422314"/>
                        <a:pt x="-2125" y="412118"/>
                        <a:pt x="-2125" y="399530"/>
                      </a:cubicBezTo>
                      <a:lnTo>
                        <a:pt x="-2125" y="20802"/>
                      </a:lnTo>
                      <a:cubicBezTo>
                        <a:pt x="-2125" y="8214"/>
                        <a:pt x="8070" y="-1982"/>
                        <a:pt x="20659" y="-1982"/>
                      </a:cubicBezTo>
                      <a:cubicBezTo>
                        <a:pt x="33190" y="-1982"/>
                        <a:pt x="43443" y="8214"/>
                        <a:pt x="43443" y="20802"/>
                      </a:cubicBezTo>
                      <a:lnTo>
                        <a:pt x="43443" y="399530"/>
                      </a:lnTo>
                      <a:cubicBezTo>
                        <a:pt x="43443" y="412118"/>
                        <a:pt x="33190" y="422314"/>
                        <a:pt x="20659" y="422314"/>
                      </a:cubicBezTo>
                      <a:close/>
                    </a:path>
                  </a:pathLst>
                </a:custGeom>
                <a:solidFill>
                  <a:srgbClr val="2060FF"/>
                </a:solidFill>
                <a:ln w="5690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Freeform: Shape 532">
                  <a:extLst>
                    <a:ext uri="{FF2B5EF4-FFF2-40B4-BE49-F238E27FC236}">
                      <a16:creationId xmlns:a16="http://schemas.microsoft.com/office/drawing/2014/main" id="{E3E592BC-F375-C9F0-BE6B-681DB508508E}"/>
                    </a:ext>
                  </a:extLst>
                </p:cNvPr>
                <p:cNvSpPr/>
                <p:nvPr/>
              </p:nvSpPr>
              <p:spPr>
                <a:xfrm>
                  <a:off x="7821880" y="1634198"/>
                  <a:ext cx="9752" cy="183128"/>
                </a:xfrm>
                <a:custGeom>
                  <a:avLst/>
                  <a:gdLst>
                    <a:gd name="connsiteX0" fmla="*/ 20659 w 45568"/>
                    <a:gd name="connsiteY0" fmla="*/ 853731 h 855712"/>
                    <a:gd name="connsiteX1" fmla="*/ -2125 w 45568"/>
                    <a:gd name="connsiteY1" fmla="*/ 830947 h 855712"/>
                    <a:gd name="connsiteX2" fmla="*/ -2125 w 45568"/>
                    <a:gd name="connsiteY2" fmla="*/ 20802 h 855712"/>
                    <a:gd name="connsiteX3" fmla="*/ 20659 w 45568"/>
                    <a:gd name="connsiteY3" fmla="*/ -1982 h 855712"/>
                    <a:gd name="connsiteX4" fmla="*/ 43443 w 45568"/>
                    <a:gd name="connsiteY4" fmla="*/ 20802 h 855712"/>
                    <a:gd name="connsiteX5" fmla="*/ 43443 w 45568"/>
                    <a:gd name="connsiteY5" fmla="*/ 830947 h 855712"/>
                    <a:gd name="connsiteX6" fmla="*/ 20659 w 45568"/>
                    <a:gd name="connsiteY6" fmla="*/ 853731 h 8557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5568" h="855712">
                      <a:moveTo>
                        <a:pt x="20659" y="853731"/>
                      </a:moveTo>
                      <a:cubicBezTo>
                        <a:pt x="8070" y="853731"/>
                        <a:pt x="-2125" y="843535"/>
                        <a:pt x="-2125" y="830947"/>
                      </a:cubicBezTo>
                      <a:lnTo>
                        <a:pt x="-2125" y="20802"/>
                      </a:lnTo>
                      <a:cubicBezTo>
                        <a:pt x="-2125" y="8271"/>
                        <a:pt x="8070" y="-1982"/>
                        <a:pt x="20659" y="-1982"/>
                      </a:cubicBezTo>
                      <a:cubicBezTo>
                        <a:pt x="33247" y="-1982"/>
                        <a:pt x="43443" y="8271"/>
                        <a:pt x="43443" y="20802"/>
                      </a:cubicBezTo>
                      <a:lnTo>
                        <a:pt x="43443" y="830947"/>
                      </a:lnTo>
                      <a:cubicBezTo>
                        <a:pt x="43443" y="843535"/>
                        <a:pt x="33247" y="853731"/>
                        <a:pt x="20659" y="85373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5690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Freeform: Shape 533">
                  <a:extLst>
                    <a:ext uri="{FF2B5EF4-FFF2-40B4-BE49-F238E27FC236}">
                      <a16:creationId xmlns:a16="http://schemas.microsoft.com/office/drawing/2014/main" id="{4CF2B42D-E2BD-FE14-5E95-AC9EF5F8B037}"/>
                    </a:ext>
                  </a:extLst>
                </p:cNvPr>
                <p:cNvSpPr/>
                <p:nvPr/>
              </p:nvSpPr>
              <p:spPr>
                <a:xfrm>
                  <a:off x="7858473" y="1772723"/>
                  <a:ext cx="9752" cy="44603"/>
                </a:xfrm>
                <a:custGeom>
                  <a:avLst/>
                  <a:gdLst>
                    <a:gd name="connsiteX0" fmla="*/ 20659 w 45568"/>
                    <a:gd name="connsiteY0" fmla="*/ 206436 h 208417"/>
                    <a:gd name="connsiteX1" fmla="*/ -2125 w 45568"/>
                    <a:gd name="connsiteY1" fmla="*/ 183652 h 208417"/>
                    <a:gd name="connsiteX2" fmla="*/ -2125 w 45568"/>
                    <a:gd name="connsiteY2" fmla="*/ 20802 h 208417"/>
                    <a:gd name="connsiteX3" fmla="*/ 20659 w 45568"/>
                    <a:gd name="connsiteY3" fmla="*/ -1982 h 208417"/>
                    <a:gd name="connsiteX4" fmla="*/ 43443 w 45568"/>
                    <a:gd name="connsiteY4" fmla="*/ 20802 h 208417"/>
                    <a:gd name="connsiteX5" fmla="*/ 43443 w 45568"/>
                    <a:gd name="connsiteY5" fmla="*/ 183652 h 208417"/>
                    <a:gd name="connsiteX6" fmla="*/ 20659 w 45568"/>
                    <a:gd name="connsiteY6" fmla="*/ 206436 h 2084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5568" h="208417">
                      <a:moveTo>
                        <a:pt x="20659" y="206436"/>
                      </a:moveTo>
                      <a:cubicBezTo>
                        <a:pt x="8071" y="206436"/>
                        <a:pt x="-2125" y="196240"/>
                        <a:pt x="-2125" y="183652"/>
                      </a:cubicBezTo>
                      <a:lnTo>
                        <a:pt x="-2125" y="20802"/>
                      </a:lnTo>
                      <a:cubicBezTo>
                        <a:pt x="-2125" y="8214"/>
                        <a:pt x="8071" y="-1982"/>
                        <a:pt x="20659" y="-1982"/>
                      </a:cubicBezTo>
                      <a:cubicBezTo>
                        <a:pt x="33248" y="-1982"/>
                        <a:pt x="43443" y="8214"/>
                        <a:pt x="43443" y="20802"/>
                      </a:cubicBezTo>
                      <a:lnTo>
                        <a:pt x="43443" y="183652"/>
                      </a:lnTo>
                      <a:cubicBezTo>
                        <a:pt x="43443" y="196240"/>
                        <a:pt x="33248" y="206436"/>
                        <a:pt x="20659" y="206436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5690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Freeform: Shape 534">
                  <a:extLst>
                    <a:ext uri="{FF2B5EF4-FFF2-40B4-BE49-F238E27FC236}">
                      <a16:creationId xmlns:a16="http://schemas.microsoft.com/office/drawing/2014/main" id="{1E4E4CC8-229A-BF1D-1D64-A616660E725D}"/>
                    </a:ext>
                  </a:extLst>
                </p:cNvPr>
                <p:cNvSpPr/>
                <p:nvPr/>
              </p:nvSpPr>
              <p:spPr>
                <a:xfrm>
                  <a:off x="7895067" y="1746149"/>
                  <a:ext cx="9752" cy="71176"/>
                </a:xfrm>
                <a:custGeom>
                  <a:avLst/>
                  <a:gdLst>
                    <a:gd name="connsiteX0" fmla="*/ 20659 w 45568"/>
                    <a:gd name="connsiteY0" fmla="*/ 330609 h 332590"/>
                    <a:gd name="connsiteX1" fmla="*/ -2125 w 45568"/>
                    <a:gd name="connsiteY1" fmla="*/ 307825 h 332590"/>
                    <a:gd name="connsiteX2" fmla="*/ -2125 w 45568"/>
                    <a:gd name="connsiteY2" fmla="*/ 20802 h 332590"/>
                    <a:gd name="connsiteX3" fmla="*/ 20659 w 45568"/>
                    <a:gd name="connsiteY3" fmla="*/ -1982 h 332590"/>
                    <a:gd name="connsiteX4" fmla="*/ 43443 w 45568"/>
                    <a:gd name="connsiteY4" fmla="*/ 20802 h 332590"/>
                    <a:gd name="connsiteX5" fmla="*/ 43443 w 45568"/>
                    <a:gd name="connsiteY5" fmla="*/ 307825 h 332590"/>
                    <a:gd name="connsiteX6" fmla="*/ 20659 w 45568"/>
                    <a:gd name="connsiteY6" fmla="*/ 330609 h 3325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5568" h="332590">
                      <a:moveTo>
                        <a:pt x="20659" y="330609"/>
                      </a:moveTo>
                      <a:cubicBezTo>
                        <a:pt x="8071" y="330609"/>
                        <a:pt x="-2125" y="320413"/>
                        <a:pt x="-2125" y="307825"/>
                      </a:cubicBezTo>
                      <a:lnTo>
                        <a:pt x="-2125" y="20802"/>
                      </a:lnTo>
                      <a:cubicBezTo>
                        <a:pt x="-2125" y="8214"/>
                        <a:pt x="8071" y="-1982"/>
                        <a:pt x="20659" y="-1982"/>
                      </a:cubicBezTo>
                      <a:cubicBezTo>
                        <a:pt x="33248" y="-1982"/>
                        <a:pt x="43443" y="8214"/>
                        <a:pt x="43443" y="20802"/>
                      </a:cubicBezTo>
                      <a:lnTo>
                        <a:pt x="43443" y="307825"/>
                      </a:lnTo>
                      <a:cubicBezTo>
                        <a:pt x="43443" y="320413"/>
                        <a:pt x="33248" y="330609"/>
                        <a:pt x="20659" y="330609"/>
                      </a:cubicBezTo>
                      <a:close/>
                    </a:path>
                  </a:pathLst>
                </a:custGeom>
                <a:solidFill>
                  <a:srgbClr val="2060FF"/>
                </a:solidFill>
                <a:ln w="5690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Freeform: Shape 535">
                  <a:extLst>
                    <a:ext uri="{FF2B5EF4-FFF2-40B4-BE49-F238E27FC236}">
                      <a16:creationId xmlns:a16="http://schemas.microsoft.com/office/drawing/2014/main" id="{3E7119DE-F9F9-57BB-6BF2-E64B72DEC7A9}"/>
                    </a:ext>
                  </a:extLst>
                </p:cNvPr>
                <p:cNvSpPr/>
                <p:nvPr/>
              </p:nvSpPr>
              <p:spPr>
                <a:xfrm>
                  <a:off x="7931661" y="1684737"/>
                  <a:ext cx="9752" cy="132589"/>
                </a:xfrm>
                <a:custGeom>
                  <a:avLst/>
                  <a:gdLst>
                    <a:gd name="connsiteX0" fmla="*/ 20659 w 45568"/>
                    <a:gd name="connsiteY0" fmla="*/ 617573 h 619555"/>
                    <a:gd name="connsiteX1" fmla="*/ -2125 w 45568"/>
                    <a:gd name="connsiteY1" fmla="*/ 594789 h 619555"/>
                    <a:gd name="connsiteX2" fmla="*/ -2125 w 45568"/>
                    <a:gd name="connsiteY2" fmla="*/ 20802 h 619555"/>
                    <a:gd name="connsiteX3" fmla="*/ 20659 w 45568"/>
                    <a:gd name="connsiteY3" fmla="*/ -1982 h 619555"/>
                    <a:gd name="connsiteX4" fmla="*/ 43443 w 45568"/>
                    <a:gd name="connsiteY4" fmla="*/ 20802 h 619555"/>
                    <a:gd name="connsiteX5" fmla="*/ 43443 w 45568"/>
                    <a:gd name="connsiteY5" fmla="*/ 594789 h 619555"/>
                    <a:gd name="connsiteX6" fmla="*/ 20659 w 45568"/>
                    <a:gd name="connsiteY6" fmla="*/ 617573 h 6195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5568" h="619555">
                      <a:moveTo>
                        <a:pt x="20659" y="617573"/>
                      </a:moveTo>
                      <a:cubicBezTo>
                        <a:pt x="8071" y="617573"/>
                        <a:pt x="-2125" y="607377"/>
                        <a:pt x="-2125" y="594789"/>
                      </a:cubicBezTo>
                      <a:lnTo>
                        <a:pt x="-2125" y="20802"/>
                      </a:lnTo>
                      <a:cubicBezTo>
                        <a:pt x="-2125" y="8214"/>
                        <a:pt x="8071" y="-1982"/>
                        <a:pt x="20659" y="-1982"/>
                      </a:cubicBezTo>
                      <a:cubicBezTo>
                        <a:pt x="33190" y="-1982"/>
                        <a:pt x="43443" y="8214"/>
                        <a:pt x="43443" y="20802"/>
                      </a:cubicBezTo>
                      <a:lnTo>
                        <a:pt x="43443" y="594789"/>
                      </a:lnTo>
                      <a:cubicBezTo>
                        <a:pt x="43443" y="607377"/>
                        <a:pt x="33190" y="617573"/>
                        <a:pt x="20659" y="617573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5690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9" name="Freeform: Shape 536">
                  <a:extLst>
                    <a:ext uri="{FF2B5EF4-FFF2-40B4-BE49-F238E27FC236}">
                      <a16:creationId xmlns:a16="http://schemas.microsoft.com/office/drawing/2014/main" id="{AF99BFCA-B78B-845C-18CD-90F30F5C17C8}"/>
                    </a:ext>
                  </a:extLst>
                </p:cNvPr>
                <p:cNvSpPr/>
                <p:nvPr/>
              </p:nvSpPr>
              <p:spPr>
                <a:xfrm>
                  <a:off x="7968243" y="1737872"/>
                  <a:ext cx="9752" cy="79454"/>
                </a:xfrm>
                <a:custGeom>
                  <a:avLst/>
                  <a:gdLst>
                    <a:gd name="connsiteX0" fmla="*/ 20659 w 45568"/>
                    <a:gd name="connsiteY0" fmla="*/ 369285 h 371267"/>
                    <a:gd name="connsiteX1" fmla="*/ -2125 w 45568"/>
                    <a:gd name="connsiteY1" fmla="*/ 346501 h 371267"/>
                    <a:gd name="connsiteX2" fmla="*/ -2125 w 45568"/>
                    <a:gd name="connsiteY2" fmla="*/ 20802 h 371267"/>
                    <a:gd name="connsiteX3" fmla="*/ 20659 w 45568"/>
                    <a:gd name="connsiteY3" fmla="*/ -1982 h 371267"/>
                    <a:gd name="connsiteX4" fmla="*/ 43443 w 45568"/>
                    <a:gd name="connsiteY4" fmla="*/ 20802 h 371267"/>
                    <a:gd name="connsiteX5" fmla="*/ 43443 w 45568"/>
                    <a:gd name="connsiteY5" fmla="*/ 346501 h 371267"/>
                    <a:gd name="connsiteX6" fmla="*/ 20659 w 45568"/>
                    <a:gd name="connsiteY6" fmla="*/ 369285 h 371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5568" h="371267">
                      <a:moveTo>
                        <a:pt x="20659" y="369285"/>
                      </a:moveTo>
                      <a:cubicBezTo>
                        <a:pt x="8071" y="369285"/>
                        <a:pt x="-2125" y="359089"/>
                        <a:pt x="-2125" y="346501"/>
                      </a:cubicBezTo>
                      <a:lnTo>
                        <a:pt x="-2125" y="20802"/>
                      </a:lnTo>
                      <a:cubicBezTo>
                        <a:pt x="-2125" y="8214"/>
                        <a:pt x="8071" y="-1982"/>
                        <a:pt x="20659" y="-1982"/>
                      </a:cubicBezTo>
                      <a:cubicBezTo>
                        <a:pt x="33247" y="-1982"/>
                        <a:pt x="43443" y="8214"/>
                        <a:pt x="43443" y="20802"/>
                      </a:cubicBezTo>
                      <a:lnTo>
                        <a:pt x="43443" y="346501"/>
                      </a:lnTo>
                      <a:cubicBezTo>
                        <a:pt x="43443" y="359089"/>
                        <a:pt x="33247" y="369285"/>
                        <a:pt x="20659" y="369285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5690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Freeform: Shape 537">
                  <a:extLst>
                    <a:ext uri="{FF2B5EF4-FFF2-40B4-BE49-F238E27FC236}">
                      <a16:creationId xmlns:a16="http://schemas.microsoft.com/office/drawing/2014/main" id="{95E78736-35FD-D061-B12F-421535169753}"/>
                    </a:ext>
                  </a:extLst>
                </p:cNvPr>
                <p:cNvSpPr/>
                <p:nvPr/>
              </p:nvSpPr>
              <p:spPr>
                <a:xfrm>
                  <a:off x="8004837" y="1708714"/>
                  <a:ext cx="9752" cy="108612"/>
                </a:xfrm>
                <a:custGeom>
                  <a:avLst/>
                  <a:gdLst>
                    <a:gd name="connsiteX0" fmla="*/ 20659 w 45568"/>
                    <a:gd name="connsiteY0" fmla="*/ 505533 h 507515"/>
                    <a:gd name="connsiteX1" fmla="*/ -2125 w 45568"/>
                    <a:gd name="connsiteY1" fmla="*/ 482749 h 507515"/>
                    <a:gd name="connsiteX2" fmla="*/ -2125 w 45568"/>
                    <a:gd name="connsiteY2" fmla="*/ 20802 h 507515"/>
                    <a:gd name="connsiteX3" fmla="*/ 20659 w 45568"/>
                    <a:gd name="connsiteY3" fmla="*/ -1982 h 507515"/>
                    <a:gd name="connsiteX4" fmla="*/ 43443 w 45568"/>
                    <a:gd name="connsiteY4" fmla="*/ 20802 h 507515"/>
                    <a:gd name="connsiteX5" fmla="*/ 43443 w 45568"/>
                    <a:gd name="connsiteY5" fmla="*/ 482749 h 507515"/>
                    <a:gd name="connsiteX6" fmla="*/ 20659 w 45568"/>
                    <a:gd name="connsiteY6" fmla="*/ 505533 h 5075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5568" h="507515">
                      <a:moveTo>
                        <a:pt x="20659" y="505533"/>
                      </a:moveTo>
                      <a:cubicBezTo>
                        <a:pt x="8071" y="505533"/>
                        <a:pt x="-2125" y="495337"/>
                        <a:pt x="-2125" y="482749"/>
                      </a:cubicBezTo>
                      <a:lnTo>
                        <a:pt x="-2125" y="20802"/>
                      </a:lnTo>
                      <a:cubicBezTo>
                        <a:pt x="-2125" y="8214"/>
                        <a:pt x="8071" y="-1982"/>
                        <a:pt x="20659" y="-1982"/>
                      </a:cubicBezTo>
                      <a:cubicBezTo>
                        <a:pt x="33247" y="-1982"/>
                        <a:pt x="43443" y="8214"/>
                        <a:pt x="43443" y="20802"/>
                      </a:cubicBezTo>
                      <a:lnTo>
                        <a:pt x="43443" y="482749"/>
                      </a:lnTo>
                      <a:cubicBezTo>
                        <a:pt x="43443" y="495337"/>
                        <a:pt x="33247" y="505533"/>
                        <a:pt x="20659" y="505533"/>
                      </a:cubicBezTo>
                      <a:close/>
                    </a:path>
                  </a:pathLst>
                </a:custGeom>
                <a:solidFill>
                  <a:srgbClr val="2060FF"/>
                </a:solidFill>
                <a:ln w="5690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8" name="Freeform: Shape 538">
                <a:extLst>
                  <a:ext uri="{FF2B5EF4-FFF2-40B4-BE49-F238E27FC236}">
                    <a16:creationId xmlns:a16="http://schemas.microsoft.com/office/drawing/2014/main" id="{80CF801F-21E6-A98B-81BC-28A4A48B0DC8}"/>
                  </a:ext>
                </a:extLst>
              </p:cNvPr>
              <p:cNvSpPr/>
              <p:nvPr/>
            </p:nvSpPr>
            <p:spPr>
              <a:xfrm>
                <a:off x="8011713" y="1911401"/>
                <a:ext cx="364610" cy="364866"/>
              </a:xfrm>
              <a:custGeom>
                <a:avLst/>
                <a:gdLst>
                  <a:gd name="connsiteX0" fmla="*/ 1701610 w 1703735"/>
                  <a:gd name="connsiteY0" fmla="*/ 1702949 h 1704931"/>
                  <a:gd name="connsiteX1" fmla="*/ 632012 w 1703735"/>
                  <a:gd name="connsiteY1" fmla="*/ 1702949 h 1704931"/>
                  <a:gd name="connsiteX2" fmla="*/ -2125 w 1703735"/>
                  <a:gd name="connsiteY2" fmla="*/ 1036344 h 1704931"/>
                  <a:gd name="connsiteX3" fmla="*/ -2125 w 1703735"/>
                  <a:gd name="connsiteY3" fmla="*/ 664623 h 1704931"/>
                  <a:gd name="connsiteX4" fmla="*/ 632012 w 1703735"/>
                  <a:gd name="connsiteY4" fmla="*/ -1982 h 1704931"/>
                  <a:gd name="connsiteX5" fmla="*/ 1701610 w 1703735"/>
                  <a:gd name="connsiteY5" fmla="*/ -1982 h 1704931"/>
                  <a:gd name="connsiteX6" fmla="*/ 1701610 w 1703735"/>
                  <a:gd name="connsiteY6" fmla="*/ 43586 h 1704931"/>
                  <a:gd name="connsiteX7" fmla="*/ 632012 w 1703735"/>
                  <a:gd name="connsiteY7" fmla="*/ 43586 h 1704931"/>
                  <a:gd name="connsiteX8" fmla="*/ 43443 w 1703735"/>
                  <a:gd name="connsiteY8" fmla="*/ 664623 h 1704931"/>
                  <a:gd name="connsiteX9" fmla="*/ 43443 w 1703735"/>
                  <a:gd name="connsiteY9" fmla="*/ 1036344 h 1704931"/>
                  <a:gd name="connsiteX10" fmla="*/ 632012 w 1703735"/>
                  <a:gd name="connsiteY10" fmla="*/ 1657381 h 1704931"/>
                  <a:gd name="connsiteX11" fmla="*/ 1701610 w 1703735"/>
                  <a:gd name="connsiteY11" fmla="*/ 1657381 h 1704931"/>
                  <a:gd name="connsiteX12" fmla="*/ 1701610 w 1703735"/>
                  <a:gd name="connsiteY12" fmla="*/ 1702949 h 17049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03735" h="1704931">
                    <a:moveTo>
                      <a:pt x="1701610" y="1702949"/>
                    </a:moveTo>
                    <a:lnTo>
                      <a:pt x="632012" y="1702949"/>
                    </a:lnTo>
                    <a:cubicBezTo>
                      <a:pt x="282333" y="1702949"/>
                      <a:pt x="-2125" y="1403908"/>
                      <a:pt x="-2125" y="1036344"/>
                    </a:cubicBezTo>
                    <a:lnTo>
                      <a:pt x="-2125" y="664623"/>
                    </a:lnTo>
                    <a:cubicBezTo>
                      <a:pt x="-2125" y="297059"/>
                      <a:pt x="282333" y="-1982"/>
                      <a:pt x="632012" y="-1982"/>
                    </a:cubicBezTo>
                    <a:lnTo>
                      <a:pt x="1701610" y="-1982"/>
                    </a:lnTo>
                    <a:lnTo>
                      <a:pt x="1701610" y="43586"/>
                    </a:lnTo>
                    <a:lnTo>
                      <a:pt x="632012" y="43586"/>
                    </a:lnTo>
                    <a:cubicBezTo>
                      <a:pt x="307454" y="43586"/>
                      <a:pt x="43443" y="322178"/>
                      <a:pt x="43443" y="664623"/>
                    </a:cubicBezTo>
                    <a:lnTo>
                      <a:pt x="43443" y="1036344"/>
                    </a:lnTo>
                    <a:cubicBezTo>
                      <a:pt x="43443" y="1378788"/>
                      <a:pt x="307454" y="1657381"/>
                      <a:pt x="632012" y="1657381"/>
                    </a:cubicBezTo>
                    <a:lnTo>
                      <a:pt x="1701610" y="1657381"/>
                    </a:lnTo>
                    <a:lnTo>
                      <a:pt x="1701610" y="1702949"/>
                    </a:lnTo>
                    <a:close/>
                  </a:path>
                </a:pathLst>
              </a:custGeom>
              <a:solidFill>
                <a:schemeClr val="tx1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539">
                <a:extLst>
                  <a:ext uri="{FF2B5EF4-FFF2-40B4-BE49-F238E27FC236}">
                    <a16:creationId xmlns:a16="http://schemas.microsoft.com/office/drawing/2014/main" id="{48AE7009-F2DA-E454-F802-C52C70170F3B}"/>
                  </a:ext>
                </a:extLst>
              </p:cNvPr>
              <p:cNvSpPr/>
              <p:nvPr/>
            </p:nvSpPr>
            <p:spPr>
              <a:xfrm>
                <a:off x="8440640" y="2292842"/>
                <a:ext cx="108311" cy="119114"/>
              </a:xfrm>
              <a:custGeom>
                <a:avLst/>
                <a:gdLst>
                  <a:gd name="connsiteX0" fmla="*/ 41034 w 506111"/>
                  <a:gd name="connsiteY0" fmla="*/ 41321 h 556590"/>
                  <a:gd name="connsiteX1" fmla="*/ 425003 w 506111"/>
                  <a:gd name="connsiteY1" fmla="*/ 133254 h 556590"/>
                  <a:gd name="connsiteX2" fmla="*/ 423920 w 506111"/>
                  <a:gd name="connsiteY2" fmla="*/ 528046 h 556590"/>
                  <a:gd name="connsiteX3" fmla="*/ 151252 w 506111"/>
                  <a:gd name="connsiteY3" fmla="*/ 348621 h 556590"/>
                  <a:gd name="connsiteX4" fmla="*/ 41034 w 506111"/>
                  <a:gd name="connsiteY4" fmla="*/ 41321 h 556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6111" h="556590">
                    <a:moveTo>
                      <a:pt x="41034" y="41321"/>
                    </a:moveTo>
                    <a:cubicBezTo>
                      <a:pt x="147322" y="-42296"/>
                      <a:pt x="319228" y="-1171"/>
                      <a:pt x="425003" y="133254"/>
                    </a:cubicBezTo>
                    <a:cubicBezTo>
                      <a:pt x="530720" y="267624"/>
                      <a:pt x="530265" y="444371"/>
                      <a:pt x="423920" y="528046"/>
                    </a:cubicBezTo>
                    <a:cubicBezTo>
                      <a:pt x="317633" y="611663"/>
                      <a:pt x="256971" y="482991"/>
                      <a:pt x="151252" y="348621"/>
                    </a:cubicBezTo>
                    <a:cubicBezTo>
                      <a:pt x="45477" y="214196"/>
                      <a:pt x="-65310" y="124996"/>
                      <a:pt x="41034" y="41321"/>
                    </a:cubicBezTo>
                    <a:close/>
                  </a:path>
                </a:pathLst>
              </a:custGeom>
              <a:solidFill>
                <a:srgbClr val="2060FF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540">
                <a:extLst>
                  <a:ext uri="{FF2B5EF4-FFF2-40B4-BE49-F238E27FC236}">
                    <a16:creationId xmlns:a16="http://schemas.microsoft.com/office/drawing/2014/main" id="{1F5B435C-9275-8A7A-6D2E-1EBBF4F717BD}"/>
                  </a:ext>
                </a:extLst>
              </p:cNvPr>
              <p:cNvSpPr/>
              <p:nvPr/>
            </p:nvSpPr>
            <p:spPr>
              <a:xfrm>
                <a:off x="8699476" y="2539653"/>
                <a:ext cx="82354" cy="41177"/>
              </a:xfrm>
              <a:custGeom>
                <a:avLst/>
                <a:gdLst>
                  <a:gd name="connsiteX0" fmla="*/ 382698 w 384822"/>
                  <a:gd name="connsiteY0" fmla="*/ -1982 h 192411"/>
                  <a:gd name="connsiteX1" fmla="*/ 190286 w 384822"/>
                  <a:gd name="connsiteY1" fmla="*/ 190429 h 192411"/>
                  <a:gd name="connsiteX2" fmla="*/ -2125 w 384822"/>
                  <a:gd name="connsiteY2" fmla="*/ -1982 h 192411"/>
                  <a:gd name="connsiteX3" fmla="*/ 382698 w 384822"/>
                  <a:gd name="connsiteY3" fmla="*/ -1982 h 192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4822" h="192411">
                    <a:moveTo>
                      <a:pt x="382698" y="-1982"/>
                    </a:moveTo>
                    <a:cubicBezTo>
                      <a:pt x="382698" y="104249"/>
                      <a:pt x="296573" y="190429"/>
                      <a:pt x="190286" y="190429"/>
                    </a:cubicBezTo>
                    <a:cubicBezTo>
                      <a:pt x="83999" y="190429"/>
                      <a:pt x="-2125" y="104249"/>
                      <a:pt x="-2125" y="-1982"/>
                    </a:cubicBezTo>
                    <a:lnTo>
                      <a:pt x="382698" y="-1982"/>
                    </a:lnTo>
                    <a:close/>
                  </a:path>
                </a:pathLst>
              </a:custGeom>
              <a:solidFill>
                <a:srgbClr val="2060FF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541">
                <a:extLst>
                  <a:ext uri="{FF2B5EF4-FFF2-40B4-BE49-F238E27FC236}">
                    <a16:creationId xmlns:a16="http://schemas.microsoft.com/office/drawing/2014/main" id="{57389B78-C80F-52AC-F6C0-0D4F396342FE}"/>
                  </a:ext>
                </a:extLst>
              </p:cNvPr>
              <p:cNvSpPr/>
              <p:nvPr/>
            </p:nvSpPr>
            <p:spPr>
              <a:xfrm>
                <a:off x="8094677" y="1911401"/>
                <a:ext cx="500332" cy="364854"/>
              </a:xfrm>
              <a:custGeom>
                <a:avLst/>
                <a:gdLst>
                  <a:gd name="connsiteX0" fmla="*/ 1701609 w 2337928"/>
                  <a:gd name="connsiteY0" fmla="*/ -1982 h 1704874"/>
                  <a:gd name="connsiteX1" fmla="*/ 632068 w 2337928"/>
                  <a:gd name="connsiteY1" fmla="*/ -1982 h 1704874"/>
                  <a:gd name="connsiteX2" fmla="*/ -2125 w 2337928"/>
                  <a:gd name="connsiteY2" fmla="*/ 664566 h 1704874"/>
                  <a:gd name="connsiteX3" fmla="*/ -2125 w 2337928"/>
                  <a:gd name="connsiteY3" fmla="*/ 1036344 h 1704874"/>
                  <a:gd name="connsiteX4" fmla="*/ 632068 w 2337928"/>
                  <a:gd name="connsiteY4" fmla="*/ 1702892 h 1704874"/>
                  <a:gd name="connsiteX5" fmla="*/ 1701609 w 2337928"/>
                  <a:gd name="connsiteY5" fmla="*/ 1702892 h 1704874"/>
                  <a:gd name="connsiteX6" fmla="*/ 2335803 w 2337928"/>
                  <a:gd name="connsiteY6" fmla="*/ 1036344 h 1704874"/>
                  <a:gd name="connsiteX7" fmla="*/ 2335803 w 2337928"/>
                  <a:gd name="connsiteY7" fmla="*/ 664566 h 1704874"/>
                  <a:gd name="connsiteX8" fmla="*/ 1701609 w 2337928"/>
                  <a:gd name="connsiteY8" fmla="*/ -1982 h 1704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37928" h="1704874">
                    <a:moveTo>
                      <a:pt x="1701609" y="-1982"/>
                    </a:moveTo>
                    <a:lnTo>
                      <a:pt x="632068" y="-1982"/>
                    </a:lnTo>
                    <a:cubicBezTo>
                      <a:pt x="282333" y="-1982"/>
                      <a:pt x="-2125" y="297059"/>
                      <a:pt x="-2125" y="664566"/>
                    </a:cubicBezTo>
                    <a:lnTo>
                      <a:pt x="-2125" y="1036344"/>
                    </a:lnTo>
                    <a:cubicBezTo>
                      <a:pt x="-2125" y="1403851"/>
                      <a:pt x="282333" y="1702892"/>
                      <a:pt x="632068" y="1702892"/>
                    </a:cubicBezTo>
                    <a:lnTo>
                      <a:pt x="1701609" y="1702892"/>
                    </a:lnTo>
                    <a:cubicBezTo>
                      <a:pt x="2051288" y="1702892"/>
                      <a:pt x="2335803" y="1403851"/>
                      <a:pt x="2335803" y="1036344"/>
                    </a:cubicBezTo>
                    <a:lnTo>
                      <a:pt x="2335803" y="664566"/>
                    </a:lnTo>
                    <a:cubicBezTo>
                      <a:pt x="2335803" y="297059"/>
                      <a:pt x="2051288" y="-1982"/>
                      <a:pt x="1701609" y="-1982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542">
                <a:extLst>
                  <a:ext uri="{FF2B5EF4-FFF2-40B4-BE49-F238E27FC236}">
                    <a16:creationId xmlns:a16="http://schemas.microsoft.com/office/drawing/2014/main" id="{889E7877-405F-3E5C-C662-F92661F19415}"/>
                  </a:ext>
                </a:extLst>
              </p:cNvPr>
              <p:cNvSpPr/>
              <p:nvPr/>
            </p:nvSpPr>
            <p:spPr>
              <a:xfrm>
                <a:off x="8155504" y="1975202"/>
                <a:ext cx="378653" cy="237251"/>
              </a:xfrm>
              <a:custGeom>
                <a:avLst/>
                <a:gdLst>
                  <a:gd name="connsiteX0" fmla="*/ 1417378 w 1769353"/>
                  <a:gd name="connsiteY0" fmla="*/ 1106632 h 1108614"/>
                  <a:gd name="connsiteX1" fmla="*/ 1767228 w 1769353"/>
                  <a:gd name="connsiteY1" fmla="*/ 738215 h 1108614"/>
                  <a:gd name="connsiteX2" fmla="*/ 1767228 w 1769353"/>
                  <a:gd name="connsiteY2" fmla="*/ 366493 h 1108614"/>
                  <a:gd name="connsiteX3" fmla="*/ 1417378 w 1769353"/>
                  <a:gd name="connsiteY3" fmla="*/ -1982 h 1108614"/>
                  <a:gd name="connsiteX4" fmla="*/ 347838 w 1769353"/>
                  <a:gd name="connsiteY4" fmla="*/ -1982 h 1108614"/>
                  <a:gd name="connsiteX5" fmla="*/ -2125 w 1769353"/>
                  <a:gd name="connsiteY5" fmla="*/ 366493 h 1108614"/>
                  <a:gd name="connsiteX6" fmla="*/ -2125 w 1769353"/>
                  <a:gd name="connsiteY6" fmla="*/ 738215 h 1108614"/>
                  <a:gd name="connsiteX7" fmla="*/ 347838 w 1769353"/>
                  <a:gd name="connsiteY7" fmla="*/ 1106632 h 1108614"/>
                  <a:gd name="connsiteX8" fmla="*/ 1417378 w 1769353"/>
                  <a:gd name="connsiteY8" fmla="*/ 1106632 h 1108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69353" h="1108614">
                    <a:moveTo>
                      <a:pt x="1417378" y="1106632"/>
                    </a:moveTo>
                    <a:cubicBezTo>
                      <a:pt x="1610303" y="1106632"/>
                      <a:pt x="1767228" y="941391"/>
                      <a:pt x="1767228" y="738215"/>
                    </a:cubicBezTo>
                    <a:lnTo>
                      <a:pt x="1767228" y="366493"/>
                    </a:lnTo>
                    <a:cubicBezTo>
                      <a:pt x="1767228" y="163316"/>
                      <a:pt x="1610303" y="-1982"/>
                      <a:pt x="1417378" y="-1982"/>
                    </a:cubicBezTo>
                    <a:lnTo>
                      <a:pt x="347838" y="-1982"/>
                    </a:lnTo>
                    <a:cubicBezTo>
                      <a:pt x="154857" y="-1982"/>
                      <a:pt x="-2125" y="163316"/>
                      <a:pt x="-2125" y="366493"/>
                    </a:cubicBezTo>
                    <a:lnTo>
                      <a:pt x="-2125" y="738215"/>
                    </a:lnTo>
                    <a:cubicBezTo>
                      <a:pt x="-2125" y="941391"/>
                      <a:pt x="154857" y="1106632"/>
                      <a:pt x="347838" y="1106632"/>
                    </a:cubicBezTo>
                    <a:lnTo>
                      <a:pt x="1417378" y="1106632"/>
                    </a:lnTo>
                    <a:close/>
                  </a:path>
                </a:pathLst>
              </a:custGeom>
              <a:solidFill>
                <a:schemeClr val="accent3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543">
                <a:extLst>
                  <a:ext uri="{FF2B5EF4-FFF2-40B4-BE49-F238E27FC236}">
                    <a16:creationId xmlns:a16="http://schemas.microsoft.com/office/drawing/2014/main" id="{77E862BD-1F7C-9844-3C47-91AD0D460D2A}"/>
                  </a:ext>
                </a:extLst>
              </p:cNvPr>
              <p:cNvSpPr/>
              <p:nvPr/>
            </p:nvSpPr>
            <p:spPr>
              <a:xfrm>
                <a:off x="8101942" y="2295917"/>
                <a:ext cx="408951" cy="436067"/>
              </a:xfrm>
              <a:custGeom>
                <a:avLst/>
                <a:gdLst>
                  <a:gd name="connsiteX0" fmla="*/ 941419 w 1910926"/>
                  <a:gd name="connsiteY0" fmla="*/ 2035653 h 2037634"/>
                  <a:gd name="connsiteX1" fmla="*/ 1893565 w 1910926"/>
                  <a:gd name="connsiteY1" fmla="*/ 852306 h 2037634"/>
                  <a:gd name="connsiteX2" fmla="*/ 1902393 w 1910926"/>
                  <a:gd name="connsiteY2" fmla="*/ 566024 h 2037634"/>
                  <a:gd name="connsiteX3" fmla="*/ 954520 w 1910926"/>
                  <a:gd name="connsiteY3" fmla="*/ -1982 h 2037634"/>
                  <a:gd name="connsiteX4" fmla="*/ -2125 w 1910926"/>
                  <a:gd name="connsiteY4" fmla="*/ 719020 h 2037634"/>
                  <a:gd name="connsiteX5" fmla="*/ 941419 w 1910926"/>
                  <a:gd name="connsiteY5" fmla="*/ 2035653 h 2037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10926" h="2037634">
                    <a:moveTo>
                      <a:pt x="941419" y="2035653"/>
                    </a:moveTo>
                    <a:cubicBezTo>
                      <a:pt x="1632859" y="2035653"/>
                      <a:pt x="1839111" y="1186947"/>
                      <a:pt x="1893565" y="852306"/>
                    </a:cubicBezTo>
                    <a:cubicBezTo>
                      <a:pt x="1909001" y="757582"/>
                      <a:pt x="1914070" y="661261"/>
                      <a:pt x="1902393" y="566024"/>
                    </a:cubicBezTo>
                    <a:cubicBezTo>
                      <a:pt x="1839054" y="48656"/>
                      <a:pt x="1438852" y="-1982"/>
                      <a:pt x="954520" y="-1982"/>
                    </a:cubicBezTo>
                    <a:cubicBezTo>
                      <a:pt x="426158" y="-1982"/>
                      <a:pt x="-2125" y="14935"/>
                      <a:pt x="-2125" y="719020"/>
                    </a:cubicBezTo>
                    <a:cubicBezTo>
                      <a:pt x="-2125" y="719020"/>
                      <a:pt x="-2125" y="2035653"/>
                      <a:pt x="941419" y="2035653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544">
                <a:extLst>
                  <a:ext uri="{FF2B5EF4-FFF2-40B4-BE49-F238E27FC236}">
                    <a16:creationId xmlns:a16="http://schemas.microsoft.com/office/drawing/2014/main" id="{43EE92BA-C6B8-DDBF-8B31-C3EA1719AD22}"/>
                  </a:ext>
                </a:extLst>
              </p:cNvPr>
              <p:cNvSpPr/>
              <p:nvPr/>
            </p:nvSpPr>
            <p:spPr>
              <a:xfrm>
                <a:off x="8208986" y="2307580"/>
                <a:ext cx="221145" cy="105481"/>
              </a:xfrm>
              <a:custGeom>
                <a:avLst/>
                <a:gdLst>
                  <a:gd name="connsiteX0" fmla="*/ 798594 w 1033357"/>
                  <a:gd name="connsiteY0" fmla="*/ 490906 h 492887"/>
                  <a:gd name="connsiteX1" fmla="*/ 311130 w 1033357"/>
                  <a:gd name="connsiteY1" fmla="*/ 490906 h 492887"/>
                  <a:gd name="connsiteX2" fmla="*/ 200683 w 1033357"/>
                  <a:gd name="connsiteY2" fmla="*/ 423293 h 492887"/>
                  <a:gd name="connsiteX3" fmla="*/ 355 w 1033357"/>
                  <a:gd name="connsiteY3" fmla="*/ 31181 h 492887"/>
                  <a:gd name="connsiteX4" fmla="*/ 10323 w 1033357"/>
                  <a:gd name="connsiteY4" fmla="*/ 535 h 492887"/>
                  <a:gd name="connsiteX5" fmla="*/ 40967 w 1033357"/>
                  <a:gd name="connsiteY5" fmla="*/ 10446 h 492887"/>
                  <a:gd name="connsiteX6" fmla="*/ 241240 w 1033357"/>
                  <a:gd name="connsiteY6" fmla="*/ 402560 h 492887"/>
                  <a:gd name="connsiteX7" fmla="*/ 311130 w 1033357"/>
                  <a:gd name="connsiteY7" fmla="*/ 445338 h 492887"/>
                  <a:gd name="connsiteX8" fmla="*/ 798594 w 1033357"/>
                  <a:gd name="connsiteY8" fmla="*/ 445338 h 492887"/>
                  <a:gd name="connsiteX9" fmla="*/ 873668 w 1033357"/>
                  <a:gd name="connsiteY9" fmla="*/ 389687 h 492887"/>
                  <a:gd name="connsiteX10" fmla="*/ 873895 w 1033357"/>
                  <a:gd name="connsiteY10" fmla="*/ 389003 h 492887"/>
                  <a:gd name="connsiteX11" fmla="*/ 986847 w 1033357"/>
                  <a:gd name="connsiteY11" fmla="*/ 54022 h 492887"/>
                  <a:gd name="connsiteX12" fmla="*/ 1015726 w 1033357"/>
                  <a:gd name="connsiteY12" fmla="*/ 39725 h 492887"/>
                  <a:gd name="connsiteX13" fmla="*/ 1030023 w 1033357"/>
                  <a:gd name="connsiteY13" fmla="*/ 68602 h 492887"/>
                  <a:gd name="connsiteX14" fmla="*/ 917185 w 1033357"/>
                  <a:gd name="connsiteY14" fmla="*/ 403300 h 492887"/>
                  <a:gd name="connsiteX15" fmla="*/ 798594 w 1033357"/>
                  <a:gd name="connsiteY15" fmla="*/ 490906 h 492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33357" h="492887">
                    <a:moveTo>
                      <a:pt x="798594" y="490906"/>
                    </a:moveTo>
                    <a:lnTo>
                      <a:pt x="311130" y="490906"/>
                    </a:lnTo>
                    <a:cubicBezTo>
                      <a:pt x="264309" y="490906"/>
                      <a:pt x="221986" y="464988"/>
                      <a:pt x="200683" y="423293"/>
                    </a:cubicBezTo>
                    <a:lnTo>
                      <a:pt x="355" y="31181"/>
                    </a:lnTo>
                    <a:cubicBezTo>
                      <a:pt x="-5341" y="19960"/>
                      <a:pt x="-898" y="6231"/>
                      <a:pt x="10323" y="535"/>
                    </a:cubicBezTo>
                    <a:cubicBezTo>
                      <a:pt x="21487" y="-5218"/>
                      <a:pt x="35214" y="-775"/>
                      <a:pt x="40967" y="10446"/>
                    </a:cubicBezTo>
                    <a:lnTo>
                      <a:pt x="241240" y="402560"/>
                    </a:lnTo>
                    <a:cubicBezTo>
                      <a:pt x="254738" y="428932"/>
                      <a:pt x="281509" y="445338"/>
                      <a:pt x="311130" y="445338"/>
                    </a:cubicBezTo>
                    <a:lnTo>
                      <a:pt x="798594" y="445338"/>
                    </a:lnTo>
                    <a:cubicBezTo>
                      <a:pt x="833397" y="445338"/>
                      <a:pt x="863586" y="422953"/>
                      <a:pt x="873668" y="389687"/>
                    </a:cubicBezTo>
                    <a:cubicBezTo>
                      <a:pt x="873725" y="389459"/>
                      <a:pt x="873838" y="389231"/>
                      <a:pt x="873895" y="389003"/>
                    </a:cubicBezTo>
                    <a:lnTo>
                      <a:pt x="986847" y="54022"/>
                    </a:lnTo>
                    <a:cubicBezTo>
                      <a:pt x="990834" y="42116"/>
                      <a:pt x="1003764" y="35681"/>
                      <a:pt x="1015726" y="39725"/>
                    </a:cubicBezTo>
                    <a:cubicBezTo>
                      <a:pt x="1027630" y="43769"/>
                      <a:pt x="1034067" y="56699"/>
                      <a:pt x="1030023" y="68602"/>
                    </a:cubicBezTo>
                    <a:lnTo>
                      <a:pt x="917185" y="403300"/>
                    </a:lnTo>
                    <a:cubicBezTo>
                      <a:pt x="901065" y="455705"/>
                      <a:pt x="853504" y="490906"/>
                      <a:pt x="798594" y="490906"/>
                    </a:cubicBezTo>
                    <a:close/>
                  </a:path>
                </a:pathLst>
              </a:custGeom>
              <a:solidFill>
                <a:schemeClr val="tx1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545">
                <a:extLst>
                  <a:ext uri="{FF2B5EF4-FFF2-40B4-BE49-F238E27FC236}">
                    <a16:creationId xmlns:a16="http://schemas.microsoft.com/office/drawing/2014/main" id="{143CAE8D-E037-9379-30B1-9B1DECCC1DE1}"/>
                  </a:ext>
                </a:extLst>
              </p:cNvPr>
              <p:cNvSpPr/>
              <p:nvPr/>
            </p:nvSpPr>
            <p:spPr>
              <a:xfrm>
                <a:off x="8300278" y="2403308"/>
                <a:ext cx="43808" cy="320910"/>
              </a:xfrm>
              <a:custGeom>
                <a:avLst/>
                <a:gdLst>
                  <a:gd name="connsiteX0" fmla="*/ 20679 w 204706"/>
                  <a:gd name="connsiteY0" fmla="*/ 1497555 h 1499536"/>
                  <a:gd name="connsiteX1" fmla="*/ 12135 w 204706"/>
                  <a:gd name="connsiteY1" fmla="*/ 1495903 h 1499536"/>
                  <a:gd name="connsiteX2" fmla="*/ -452 w 204706"/>
                  <a:gd name="connsiteY2" fmla="*/ 1466227 h 1499536"/>
                  <a:gd name="connsiteX3" fmla="*/ 146789 w 204706"/>
                  <a:gd name="connsiteY3" fmla="*/ 22515 h 1499536"/>
                  <a:gd name="connsiteX4" fmla="*/ 167808 w 204706"/>
                  <a:gd name="connsiteY4" fmla="*/ -1921 h 1499536"/>
                  <a:gd name="connsiteX5" fmla="*/ 192244 w 204706"/>
                  <a:gd name="connsiteY5" fmla="*/ 19097 h 1499536"/>
                  <a:gd name="connsiteX6" fmla="*/ 199477 w 204706"/>
                  <a:gd name="connsiteY6" fmla="*/ 547117 h 1499536"/>
                  <a:gd name="connsiteX7" fmla="*/ 41811 w 204706"/>
                  <a:gd name="connsiteY7" fmla="*/ 1483315 h 1499536"/>
                  <a:gd name="connsiteX8" fmla="*/ 20679 w 204706"/>
                  <a:gd name="connsiteY8" fmla="*/ 1497555 h 1499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4706" h="1499536">
                    <a:moveTo>
                      <a:pt x="20679" y="1497555"/>
                    </a:moveTo>
                    <a:cubicBezTo>
                      <a:pt x="17831" y="1497555"/>
                      <a:pt x="14926" y="1497042"/>
                      <a:pt x="12135" y="1495903"/>
                    </a:cubicBezTo>
                    <a:cubicBezTo>
                      <a:pt x="458" y="1491175"/>
                      <a:pt x="-5181" y="1477847"/>
                      <a:pt x="-452" y="1466227"/>
                    </a:cubicBezTo>
                    <a:cubicBezTo>
                      <a:pt x="212635" y="940313"/>
                      <a:pt x="147473" y="31628"/>
                      <a:pt x="146789" y="22515"/>
                    </a:cubicBezTo>
                    <a:cubicBezTo>
                      <a:pt x="145821" y="9983"/>
                      <a:pt x="155277" y="-953"/>
                      <a:pt x="167808" y="-1921"/>
                    </a:cubicBezTo>
                    <a:cubicBezTo>
                      <a:pt x="180453" y="-2833"/>
                      <a:pt x="191275" y="6566"/>
                      <a:pt x="192244" y="19097"/>
                    </a:cubicBezTo>
                    <a:cubicBezTo>
                      <a:pt x="192414" y="21432"/>
                      <a:pt x="209389" y="252976"/>
                      <a:pt x="199477" y="547117"/>
                    </a:cubicBezTo>
                    <a:cubicBezTo>
                      <a:pt x="190250" y="819387"/>
                      <a:pt x="155447" y="1202786"/>
                      <a:pt x="41811" y="1483315"/>
                    </a:cubicBezTo>
                    <a:cubicBezTo>
                      <a:pt x="38224" y="1492201"/>
                      <a:pt x="29680" y="1497555"/>
                      <a:pt x="20679" y="1497555"/>
                    </a:cubicBezTo>
                    <a:close/>
                  </a:path>
                </a:pathLst>
              </a:custGeom>
              <a:solidFill>
                <a:schemeClr val="tx1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546">
                <a:extLst>
                  <a:ext uri="{FF2B5EF4-FFF2-40B4-BE49-F238E27FC236}">
                    <a16:creationId xmlns:a16="http://schemas.microsoft.com/office/drawing/2014/main" id="{6559BFE9-89BC-994A-7BBE-06C35C589B73}"/>
                  </a:ext>
                </a:extLst>
              </p:cNvPr>
              <p:cNvSpPr/>
              <p:nvPr/>
            </p:nvSpPr>
            <p:spPr>
              <a:xfrm>
                <a:off x="8236713" y="2073379"/>
                <a:ext cx="40897" cy="40897"/>
              </a:xfrm>
              <a:custGeom>
                <a:avLst/>
                <a:gdLst>
                  <a:gd name="connsiteX0" fmla="*/ -2125 w 191100"/>
                  <a:gd name="connsiteY0" fmla="*/ 93597 h 191101"/>
                  <a:gd name="connsiteX1" fmla="*/ 93397 w 191100"/>
                  <a:gd name="connsiteY1" fmla="*/ -1982 h 191101"/>
                  <a:gd name="connsiteX2" fmla="*/ 188975 w 191100"/>
                  <a:gd name="connsiteY2" fmla="*/ 93597 h 191101"/>
                  <a:gd name="connsiteX3" fmla="*/ 93397 w 191100"/>
                  <a:gd name="connsiteY3" fmla="*/ 189120 h 191101"/>
                  <a:gd name="connsiteX4" fmla="*/ -2125 w 191100"/>
                  <a:gd name="connsiteY4" fmla="*/ 93597 h 191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100" h="191101">
                    <a:moveTo>
                      <a:pt x="-2125" y="93597"/>
                    </a:moveTo>
                    <a:cubicBezTo>
                      <a:pt x="-2125" y="40795"/>
                      <a:pt x="40652" y="-1982"/>
                      <a:pt x="93397" y="-1982"/>
                    </a:cubicBezTo>
                    <a:cubicBezTo>
                      <a:pt x="146198" y="-1982"/>
                      <a:pt x="188975" y="40795"/>
                      <a:pt x="188975" y="93597"/>
                    </a:cubicBezTo>
                    <a:cubicBezTo>
                      <a:pt x="188975" y="146342"/>
                      <a:pt x="146198" y="189120"/>
                      <a:pt x="93397" y="189120"/>
                    </a:cubicBezTo>
                    <a:cubicBezTo>
                      <a:pt x="40652" y="189120"/>
                      <a:pt x="-2125" y="146342"/>
                      <a:pt x="-2125" y="93597"/>
                    </a:cubicBezTo>
                    <a:close/>
                  </a:path>
                </a:pathLst>
              </a:custGeom>
              <a:solidFill>
                <a:srgbClr val="FFFFFF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547">
                <a:extLst>
                  <a:ext uri="{FF2B5EF4-FFF2-40B4-BE49-F238E27FC236}">
                    <a16:creationId xmlns:a16="http://schemas.microsoft.com/office/drawing/2014/main" id="{E6566841-D8E2-E489-C393-1078DB1DFE8F}"/>
                  </a:ext>
                </a:extLst>
              </p:cNvPr>
              <p:cNvSpPr/>
              <p:nvPr/>
            </p:nvSpPr>
            <p:spPr>
              <a:xfrm>
                <a:off x="8419962" y="2073379"/>
                <a:ext cx="40897" cy="40897"/>
              </a:xfrm>
              <a:custGeom>
                <a:avLst/>
                <a:gdLst>
                  <a:gd name="connsiteX0" fmla="*/ -2125 w 191101"/>
                  <a:gd name="connsiteY0" fmla="*/ 93597 h 191101"/>
                  <a:gd name="connsiteX1" fmla="*/ 93397 w 191101"/>
                  <a:gd name="connsiteY1" fmla="*/ -1982 h 191101"/>
                  <a:gd name="connsiteX2" fmla="*/ 188976 w 191101"/>
                  <a:gd name="connsiteY2" fmla="*/ 93597 h 191101"/>
                  <a:gd name="connsiteX3" fmla="*/ 93397 w 191101"/>
                  <a:gd name="connsiteY3" fmla="*/ 189120 h 191101"/>
                  <a:gd name="connsiteX4" fmla="*/ -2125 w 191101"/>
                  <a:gd name="connsiteY4" fmla="*/ 93597 h 191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101" h="191101">
                    <a:moveTo>
                      <a:pt x="-2125" y="93597"/>
                    </a:moveTo>
                    <a:cubicBezTo>
                      <a:pt x="-2125" y="40795"/>
                      <a:pt x="40652" y="-1982"/>
                      <a:pt x="93397" y="-1982"/>
                    </a:cubicBezTo>
                    <a:cubicBezTo>
                      <a:pt x="146199" y="-1982"/>
                      <a:pt x="188976" y="40795"/>
                      <a:pt x="188976" y="93597"/>
                    </a:cubicBezTo>
                    <a:cubicBezTo>
                      <a:pt x="188976" y="146342"/>
                      <a:pt x="146199" y="189120"/>
                      <a:pt x="93397" y="189120"/>
                    </a:cubicBezTo>
                    <a:cubicBezTo>
                      <a:pt x="40652" y="189120"/>
                      <a:pt x="-2125" y="146342"/>
                      <a:pt x="-2125" y="93597"/>
                    </a:cubicBezTo>
                    <a:close/>
                  </a:path>
                </a:pathLst>
              </a:custGeom>
              <a:solidFill>
                <a:srgbClr val="FFFFFF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Freeform: Shape 548">
                <a:extLst>
                  <a:ext uri="{FF2B5EF4-FFF2-40B4-BE49-F238E27FC236}">
                    <a16:creationId xmlns:a16="http://schemas.microsoft.com/office/drawing/2014/main" id="{460344DC-8F44-4A44-C642-397C4A113E03}"/>
                  </a:ext>
                </a:extLst>
              </p:cNvPr>
              <p:cNvSpPr/>
              <p:nvPr/>
            </p:nvSpPr>
            <p:spPr>
              <a:xfrm>
                <a:off x="8433603" y="2271988"/>
                <a:ext cx="494150" cy="272528"/>
              </a:xfrm>
              <a:custGeom>
                <a:avLst/>
                <a:gdLst>
                  <a:gd name="connsiteX0" fmla="*/ 2292912 w 2309044"/>
                  <a:gd name="connsiteY0" fmla="*/ 31909 h 1273456"/>
                  <a:gd name="connsiteX1" fmla="*/ 2228205 w 2309044"/>
                  <a:gd name="connsiteY1" fmla="*/ -1982 h 1273456"/>
                  <a:gd name="connsiteX2" fmla="*/ 530622 w 2309044"/>
                  <a:gd name="connsiteY2" fmla="*/ -1982 h 1273456"/>
                  <a:gd name="connsiteX3" fmla="*/ 456973 w 2309044"/>
                  <a:gd name="connsiteY3" fmla="*/ 49054 h 1273456"/>
                  <a:gd name="connsiteX4" fmla="*/ -2125 w 2309044"/>
                  <a:gd name="connsiteY4" fmla="*/ 1271475 h 1273456"/>
                  <a:gd name="connsiteX5" fmla="*/ 1809093 w 2309044"/>
                  <a:gd name="connsiteY5" fmla="*/ 1271475 h 1273456"/>
                  <a:gd name="connsiteX6" fmla="*/ 1882742 w 2309044"/>
                  <a:gd name="connsiteY6" fmla="*/ 1220439 h 1273456"/>
                  <a:gd name="connsiteX7" fmla="*/ 2301912 w 2309044"/>
                  <a:gd name="connsiteY7" fmla="*/ 104419 h 1273456"/>
                  <a:gd name="connsiteX8" fmla="*/ 2292912 w 2309044"/>
                  <a:gd name="connsiteY8" fmla="*/ 31909 h 1273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09044" h="1273456">
                    <a:moveTo>
                      <a:pt x="2292912" y="31909"/>
                    </a:moveTo>
                    <a:cubicBezTo>
                      <a:pt x="2278216" y="10720"/>
                      <a:pt x="2254008" y="-1982"/>
                      <a:pt x="2228205" y="-1982"/>
                    </a:cubicBezTo>
                    <a:lnTo>
                      <a:pt x="530622" y="-1982"/>
                    </a:lnTo>
                    <a:cubicBezTo>
                      <a:pt x="498041" y="-1982"/>
                      <a:pt x="468422" y="18580"/>
                      <a:pt x="456973" y="49054"/>
                    </a:cubicBezTo>
                    <a:lnTo>
                      <a:pt x="-2125" y="1271475"/>
                    </a:lnTo>
                    <a:lnTo>
                      <a:pt x="1809093" y="1271475"/>
                    </a:lnTo>
                    <a:cubicBezTo>
                      <a:pt x="1841731" y="1271475"/>
                      <a:pt x="1871350" y="1250970"/>
                      <a:pt x="1882742" y="1220439"/>
                    </a:cubicBezTo>
                    <a:lnTo>
                      <a:pt x="2301912" y="104419"/>
                    </a:lnTo>
                    <a:cubicBezTo>
                      <a:pt x="2310968" y="80211"/>
                      <a:pt x="2307608" y="53155"/>
                      <a:pt x="2292912" y="31909"/>
                    </a:cubicBezTo>
                    <a:close/>
                  </a:path>
                </a:pathLst>
              </a:custGeom>
              <a:solidFill>
                <a:srgbClr val="061F79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Freeform: Shape 549">
                <a:extLst>
                  <a:ext uri="{FF2B5EF4-FFF2-40B4-BE49-F238E27FC236}">
                    <a16:creationId xmlns:a16="http://schemas.microsoft.com/office/drawing/2014/main" id="{11505392-3470-8B3D-9D0D-F932975126EB}"/>
                  </a:ext>
                </a:extLst>
              </p:cNvPr>
              <p:cNvSpPr/>
              <p:nvPr/>
            </p:nvSpPr>
            <p:spPr>
              <a:xfrm>
                <a:off x="8316459" y="2504790"/>
                <a:ext cx="142353" cy="39726"/>
              </a:xfrm>
              <a:custGeom>
                <a:avLst/>
                <a:gdLst>
                  <a:gd name="connsiteX0" fmla="*/ 75113 w 665180"/>
                  <a:gd name="connsiteY0" fmla="*/ -1982 h 185632"/>
                  <a:gd name="connsiteX1" fmla="*/ -2125 w 665180"/>
                  <a:gd name="connsiteY1" fmla="*/ 75256 h 185632"/>
                  <a:gd name="connsiteX2" fmla="*/ -2125 w 665180"/>
                  <a:gd name="connsiteY2" fmla="*/ 106413 h 185632"/>
                  <a:gd name="connsiteX3" fmla="*/ 75113 w 665180"/>
                  <a:gd name="connsiteY3" fmla="*/ 183650 h 185632"/>
                  <a:gd name="connsiteX4" fmla="*/ 593962 w 665180"/>
                  <a:gd name="connsiteY4" fmla="*/ 183650 h 185632"/>
                  <a:gd name="connsiteX5" fmla="*/ 663055 w 665180"/>
                  <a:gd name="connsiteY5" fmla="*/ -1982 h 185632"/>
                  <a:gd name="connsiteX6" fmla="*/ 75113 w 665180"/>
                  <a:gd name="connsiteY6" fmla="*/ -1982 h 185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65180" h="185632">
                    <a:moveTo>
                      <a:pt x="75113" y="-1982"/>
                    </a:moveTo>
                    <a:cubicBezTo>
                      <a:pt x="32507" y="-1982"/>
                      <a:pt x="-2125" y="32706"/>
                      <a:pt x="-2125" y="75256"/>
                    </a:cubicBezTo>
                    <a:lnTo>
                      <a:pt x="-2125" y="106413"/>
                    </a:lnTo>
                    <a:cubicBezTo>
                      <a:pt x="-2125" y="149019"/>
                      <a:pt x="32507" y="183650"/>
                      <a:pt x="75113" y="183650"/>
                    </a:cubicBezTo>
                    <a:lnTo>
                      <a:pt x="593962" y="183650"/>
                    </a:lnTo>
                    <a:lnTo>
                      <a:pt x="663055" y="-1982"/>
                    </a:lnTo>
                    <a:lnTo>
                      <a:pt x="75113" y="-1982"/>
                    </a:lnTo>
                    <a:close/>
                  </a:path>
                </a:pathLst>
              </a:custGeom>
              <a:solidFill>
                <a:srgbClr val="061F79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Freeform: Shape 550">
                <a:extLst>
                  <a:ext uri="{FF2B5EF4-FFF2-40B4-BE49-F238E27FC236}">
                    <a16:creationId xmlns:a16="http://schemas.microsoft.com/office/drawing/2014/main" id="{8F0EE89C-DDEE-4D7D-7178-CCC51518CA02}"/>
                  </a:ext>
                </a:extLst>
              </p:cNvPr>
              <p:cNvSpPr/>
              <p:nvPr/>
            </p:nvSpPr>
            <p:spPr>
              <a:xfrm>
                <a:off x="8655995" y="2384159"/>
                <a:ext cx="65020" cy="65033"/>
              </a:xfrm>
              <a:custGeom>
                <a:avLst/>
                <a:gdLst>
                  <a:gd name="connsiteX0" fmla="*/ 149787 w 303824"/>
                  <a:gd name="connsiteY0" fmla="*/ 43586 h 303881"/>
                  <a:gd name="connsiteX1" fmla="*/ 43443 w 303824"/>
                  <a:gd name="connsiteY1" fmla="*/ 149930 h 303881"/>
                  <a:gd name="connsiteX2" fmla="*/ 149787 w 303824"/>
                  <a:gd name="connsiteY2" fmla="*/ 256331 h 303881"/>
                  <a:gd name="connsiteX3" fmla="*/ 256131 w 303824"/>
                  <a:gd name="connsiteY3" fmla="*/ 149930 h 303881"/>
                  <a:gd name="connsiteX4" fmla="*/ 149787 w 303824"/>
                  <a:gd name="connsiteY4" fmla="*/ 43586 h 303881"/>
                  <a:gd name="connsiteX5" fmla="*/ 149787 w 303824"/>
                  <a:gd name="connsiteY5" fmla="*/ 301899 h 303881"/>
                  <a:gd name="connsiteX6" fmla="*/ -2125 w 303824"/>
                  <a:gd name="connsiteY6" fmla="*/ 149930 h 303881"/>
                  <a:gd name="connsiteX7" fmla="*/ 149787 w 303824"/>
                  <a:gd name="connsiteY7" fmla="*/ -1982 h 303881"/>
                  <a:gd name="connsiteX8" fmla="*/ 301699 w 303824"/>
                  <a:gd name="connsiteY8" fmla="*/ 149930 h 303881"/>
                  <a:gd name="connsiteX9" fmla="*/ 149787 w 303824"/>
                  <a:gd name="connsiteY9" fmla="*/ 301899 h 303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3824" h="303881">
                    <a:moveTo>
                      <a:pt x="149787" y="43586"/>
                    </a:moveTo>
                    <a:cubicBezTo>
                      <a:pt x="91118" y="43586"/>
                      <a:pt x="43443" y="91318"/>
                      <a:pt x="43443" y="149930"/>
                    </a:cubicBezTo>
                    <a:cubicBezTo>
                      <a:pt x="43443" y="208599"/>
                      <a:pt x="91118" y="256331"/>
                      <a:pt x="149787" y="256331"/>
                    </a:cubicBezTo>
                    <a:cubicBezTo>
                      <a:pt x="208456" y="256331"/>
                      <a:pt x="256131" y="208599"/>
                      <a:pt x="256131" y="149930"/>
                    </a:cubicBezTo>
                    <a:cubicBezTo>
                      <a:pt x="256131" y="91318"/>
                      <a:pt x="208456" y="43586"/>
                      <a:pt x="149787" y="43586"/>
                    </a:cubicBezTo>
                    <a:close/>
                    <a:moveTo>
                      <a:pt x="149787" y="301899"/>
                    </a:moveTo>
                    <a:cubicBezTo>
                      <a:pt x="65999" y="301899"/>
                      <a:pt x="-2125" y="233718"/>
                      <a:pt x="-2125" y="149930"/>
                    </a:cubicBezTo>
                    <a:cubicBezTo>
                      <a:pt x="-2125" y="66199"/>
                      <a:pt x="65999" y="-1982"/>
                      <a:pt x="149787" y="-1982"/>
                    </a:cubicBezTo>
                    <a:cubicBezTo>
                      <a:pt x="233575" y="-1982"/>
                      <a:pt x="301699" y="66199"/>
                      <a:pt x="301699" y="149930"/>
                    </a:cubicBezTo>
                    <a:cubicBezTo>
                      <a:pt x="301699" y="233718"/>
                      <a:pt x="233575" y="301899"/>
                      <a:pt x="149787" y="301899"/>
                    </a:cubicBezTo>
                    <a:close/>
                  </a:path>
                </a:pathLst>
              </a:custGeom>
              <a:solidFill>
                <a:srgbClr val="FFFFFF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Freeform: Shape 551">
                <a:extLst>
                  <a:ext uri="{FF2B5EF4-FFF2-40B4-BE49-F238E27FC236}">
                    <a16:creationId xmlns:a16="http://schemas.microsoft.com/office/drawing/2014/main" id="{077771C5-21FD-6818-69B6-1195EA73F5A4}"/>
                  </a:ext>
                </a:extLst>
              </p:cNvPr>
              <p:cNvSpPr/>
              <p:nvPr/>
            </p:nvSpPr>
            <p:spPr>
              <a:xfrm>
                <a:off x="7789138" y="2324246"/>
                <a:ext cx="302320" cy="157176"/>
              </a:xfrm>
              <a:custGeom>
                <a:avLst/>
                <a:gdLst>
                  <a:gd name="connsiteX0" fmla="*/ 636513 w 1412666"/>
                  <a:gd name="connsiteY0" fmla="*/ 732463 h 734445"/>
                  <a:gd name="connsiteX1" fmla="*/ 529142 w 1412666"/>
                  <a:gd name="connsiteY1" fmla="*/ 722950 h 734445"/>
                  <a:gd name="connsiteX2" fmla="*/ 122732 w 1412666"/>
                  <a:gd name="connsiteY2" fmla="*/ 418954 h 734445"/>
                  <a:gd name="connsiteX3" fmla="*/ -2125 w 1412666"/>
                  <a:gd name="connsiteY3" fmla="*/ 20802 h 734445"/>
                  <a:gd name="connsiteX4" fmla="*/ 20659 w 1412666"/>
                  <a:gd name="connsiteY4" fmla="*/ -1982 h 734445"/>
                  <a:gd name="connsiteX5" fmla="*/ 43443 w 1412666"/>
                  <a:gd name="connsiteY5" fmla="*/ 20802 h 734445"/>
                  <a:gd name="connsiteX6" fmla="*/ 161749 w 1412666"/>
                  <a:gd name="connsiteY6" fmla="*/ 395429 h 734445"/>
                  <a:gd name="connsiteX7" fmla="*/ 537344 w 1412666"/>
                  <a:gd name="connsiteY7" fmla="*/ 678066 h 734445"/>
                  <a:gd name="connsiteX8" fmla="*/ 1113155 w 1412666"/>
                  <a:gd name="connsiteY8" fmla="*/ 518748 h 734445"/>
                  <a:gd name="connsiteX9" fmla="*/ 1370614 w 1412666"/>
                  <a:gd name="connsiteY9" fmla="*/ 297857 h 734445"/>
                  <a:gd name="connsiteX10" fmla="*/ 1402797 w 1412666"/>
                  <a:gd name="connsiteY10" fmla="*/ 295749 h 734445"/>
                  <a:gd name="connsiteX11" fmla="*/ 1404904 w 1412666"/>
                  <a:gd name="connsiteY11" fmla="*/ 327875 h 734445"/>
                  <a:gd name="connsiteX12" fmla="*/ 1139585 w 1412666"/>
                  <a:gd name="connsiteY12" fmla="*/ 555887 h 734445"/>
                  <a:gd name="connsiteX13" fmla="*/ 636513 w 1412666"/>
                  <a:gd name="connsiteY13" fmla="*/ 732463 h 734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12666" h="734445">
                    <a:moveTo>
                      <a:pt x="636513" y="732463"/>
                    </a:moveTo>
                    <a:cubicBezTo>
                      <a:pt x="600000" y="732463"/>
                      <a:pt x="564173" y="729330"/>
                      <a:pt x="529142" y="722950"/>
                    </a:cubicBezTo>
                    <a:cubicBezTo>
                      <a:pt x="321979" y="685186"/>
                      <a:pt x="193819" y="536804"/>
                      <a:pt x="122732" y="418954"/>
                    </a:cubicBezTo>
                    <a:cubicBezTo>
                      <a:pt x="30570" y="266130"/>
                      <a:pt x="-2125" y="108919"/>
                      <a:pt x="-2125" y="20802"/>
                    </a:cubicBezTo>
                    <a:cubicBezTo>
                      <a:pt x="-2125" y="8214"/>
                      <a:pt x="8071" y="-1982"/>
                      <a:pt x="20659" y="-1982"/>
                    </a:cubicBezTo>
                    <a:cubicBezTo>
                      <a:pt x="33247" y="-1982"/>
                      <a:pt x="43443" y="8214"/>
                      <a:pt x="43443" y="20802"/>
                    </a:cubicBezTo>
                    <a:cubicBezTo>
                      <a:pt x="43443" y="109603"/>
                      <a:pt x="80012" y="259864"/>
                      <a:pt x="161749" y="395429"/>
                    </a:cubicBezTo>
                    <a:cubicBezTo>
                      <a:pt x="227995" y="505248"/>
                      <a:pt x="346870" y="643377"/>
                      <a:pt x="537344" y="678066"/>
                    </a:cubicBezTo>
                    <a:cubicBezTo>
                      <a:pt x="758521" y="718393"/>
                      <a:pt x="972577" y="613644"/>
                      <a:pt x="1113155" y="518748"/>
                    </a:cubicBezTo>
                    <a:cubicBezTo>
                      <a:pt x="1267346" y="414625"/>
                      <a:pt x="1369646" y="298996"/>
                      <a:pt x="1370614" y="297857"/>
                    </a:cubicBezTo>
                    <a:cubicBezTo>
                      <a:pt x="1378930" y="288401"/>
                      <a:pt x="1393341" y="287490"/>
                      <a:pt x="1402797" y="295749"/>
                    </a:cubicBezTo>
                    <a:cubicBezTo>
                      <a:pt x="1412252" y="304065"/>
                      <a:pt x="1413163" y="318419"/>
                      <a:pt x="1404904" y="327875"/>
                    </a:cubicBezTo>
                    <a:cubicBezTo>
                      <a:pt x="1400632" y="332773"/>
                      <a:pt x="1298389" y="448459"/>
                      <a:pt x="1139585" y="555887"/>
                    </a:cubicBezTo>
                    <a:cubicBezTo>
                      <a:pt x="967166" y="672484"/>
                      <a:pt x="795431" y="732463"/>
                      <a:pt x="636513" y="732463"/>
                    </a:cubicBezTo>
                    <a:close/>
                  </a:path>
                </a:pathLst>
              </a:custGeom>
              <a:solidFill>
                <a:schemeClr val="tx1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Freeform: Shape 552">
                <a:extLst>
                  <a:ext uri="{FF2B5EF4-FFF2-40B4-BE49-F238E27FC236}">
                    <a16:creationId xmlns:a16="http://schemas.microsoft.com/office/drawing/2014/main" id="{0847D65F-833F-0E4C-3BD4-F9584B00BDFA}"/>
                  </a:ext>
                </a:extLst>
              </p:cNvPr>
              <p:cNvSpPr/>
              <p:nvPr/>
            </p:nvSpPr>
            <p:spPr>
              <a:xfrm>
                <a:off x="7773499" y="2312922"/>
                <a:ext cx="40116" cy="20760"/>
              </a:xfrm>
              <a:custGeom>
                <a:avLst/>
                <a:gdLst>
                  <a:gd name="connsiteX0" fmla="*/ -2125 w 187453"/>
                  <a:gd name="connsiteY0" fmla="*/ 4569 h 97005"/>
                  <a:gd name="connsiteX1" fmla="*/ 94821 w 187453"/>
                  <a:gd name="connsiteY1" fmla="*/ 94964 h 97005"/>
                  <a:gd name="connsiteX2" fmla="*/ 185273 w 187453"/>
                  <a:gd name="connsiteY2" fmla="*/ -1982 h 97005"/>
                  <a:gd name="connsiteX3" fmla="*/ -2125 w 187453"/>
                  <a:gd name="connsiteY3" fmla="*/ 4569 h 97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453" h="97005">
                    <a:moveTo>
                      <a:pt x="-2125" y="4569"/>
                    </a:moveTo>
                    <a:cubicBezTo>
                      <a:pt x="-360" y="56289"/>
                      <a:pt x="43044" y="96787"/>
                      <a:pt x="94821" y="94964"/>
                    </a:cubicBezTo>
                    <a:cubicBezTo>
                      <a:pt x="146540" y="93200"/>
                      <a:pt x="187039" y="49795"/>
                      <a:pt x="185273" y="-1982"/>
                    </a:cubicBezTo>
                    <a:lnTo>
                      <a:pt x="-2125" y="4569"/>
                    </a:lnTo>
                    <a:close/>
                  </a:path>
                </a:pathLst>
              </a:custGeom>
              <a:solidFill>
                <a:schemeClr val="tx1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Freeform: Shape 553">
                <a:extLst>
                  <a:ext uri="{FF2B5EF4-FFF2-40B4-BE49-F238E27FC236}">
                    <a16:creationId xmlns:a16="http://schemas.microsoft.com/office/drawing/2014/main" id="{C5C48AC9-9CFE-DA4C-3C9A-3B9A28A8476A}"/>
                  </a:ext>
                </a:extLst>
              </p:cNvPr>
              <p:cNvSpPr/>
              <p:nvPr/>
            </p:nvSpPr>
            <p:spPr>
              <a:xfrm>
                <a:off x="7875054" y="2431201"/>
                <a:ext cx="79470" cy="79470"/>
              </a:xfrm>
              <a:custGeom>
                <a:avLst/>
                <a:gdLst>
                  <a:gd name="connsiteX0" fmla="*/ 260626 w 371345"/>
                  <a:gd name="connsiteY0" fmla="*/ 14816 h 371344"/>
                  <a:gd name="connsiteX1" fmla="*/ 352388 w 371345"/>
                  <a:gd name="connsiteY1" fmla="*/ 260770 h 371344"/>
                  <a:gd name="connsiteX2" fmla="*/ 106435 w 371345"/>
                  <a:gd name="connsiteY2" fmla="*/ 352532 h 371344"/>
                  <a:gd name="connsiteX3" fmla="*/ 14673 w 371345"/>
                  <a:gd name="connsiteY3" fmla="*/ 106578 h 371344"/>
                  <a:gd name="connsiteX4" fmla="*/ 260626 w 371345"/>
                  <a:gd name="connsiteY4" fmla="*/ 14816 h 371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1345" h="371344">
                    <a:moveTo>
                      <a:pt x="260626" y="14816"/>
                    </a:moveTo>
                    <a:cubicBezTo>
                      <a:pt x="353926" y="57422"/>
                      <a:pt x="394996" y="167525"/>
                      <a:pt x="352388" y="260770"/>
                    </a:cubicBezTo>
                    <a:cubicBezTo>
                      <a:pt x="309839" y="354070"/>
                      <a:pt x="199679" y="395138"/>
                      <a:pt x="106435" y="352532"/>
                    </a:cubicBezTo>
                    <a:cubicBezTo>
                      <a:pt x="13192" y="309983"/>
                      <a:pt x="-27877" y="199823"/>
                      <a:pt x="14673" y="106578"/>
                    </a:cubicBezTo>
                    <a:cubicBezTo>
                      <a:pt x="57279" y="13335"/>
                      <a:pt x="167382" y="-27734"/>
                      <a:pt x="260626" y="148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Freeform: Shape 554">
                <a:extLst>
                  <a:ext uri="{FF2B5EF4-FFF2-40B4-BE49-F238E27FC236}">
                    <a16:creationId xmlns:a16="http://schemas.microsoft.com/office/drawing/2014/main" id="{29299DDA-6A69-3D59-6E32-D8741C23C769}"/>
                  </a:ext>
                </a:extLst>
              </p:cNvPr>
              <p:cNvSpPr/>
              <p:nvPr/>
            </p:nvSpPr>
            <p:spPr>
              <a:xfrm>
                <a:off x="7736551" y="2207479"/>
                <a:ext cx="113984" cy="111086"/>
              </a:xfrm>
              <a:custGeom>
                <a:avLst/>
                <a:gdLst>
                  <a:gd name="connsiteX0" fmla="*/ 520826 w 532617"/>
                  <a:gd name="connsiteY0" fmla="*/ 69845 h 519078"/>
                  <a:gd name="connsiteX1" fmla="*/ 516497 w 532617"/>
                  <a:gd name="connsiteY1" fmla="*/ 20802 h 519078"/>
                  <a:gd name="connsiteX2" fmla="*/ 516041 w 532617"/>
                  <a:gd name="connsiteY2" fmla="*/ -1982 h 519078"/>
                  <a:gd name="connsiteX3" fmla="*/ 360312 w 532617"/>
                  <a:gd name="connsiteY3" fmla="*/ 1322 h 519078"/>
                  <a:gd name="connsiteX4" fmla="*/ 360825 w 532617"/>
                  <a:gd name="connsiteY4" fmla="*/ 24106 h 519078"/>
                  <a:gd name="connsiteX5" fmla="*/ 366407 w 532617"/>
                  <a:gd name="connsiteY5" fmla="*/ 90123 h 519078"/>
                  <a:gd name="connsiteX6" fmla="*/ 344193 w 532617"/>
                  <a:gd name="connsiteY6" fmla="*/ 334767 h 519078"/>
                  <a:gd name="connsiteX7" fmla="*/ 270031 w 532617"/>
                  <a:gd name="connsiteY7" fmla="*/ 361310 h 519078"/>
                  <a:gd name="connsiteX8" fmla="*/ 184819 w 532617"/>
                  <a:gd name="connsiteY8" fmla="*/ 335849 h 519078"/>
                  <a:gd name="connsiteX9" fmla="*/ 160154 w 532617"/>
                  <a:gd name="connsiteY9" fmla="*/ 103622 h 519078"/>
                  <a:gd name="connsiteX10" fmla="*/ 164940 w 532617"/>
                  <a:gd name="connsiteY10" fmla="*/ 28264 h 519078"/>
                  <a:gd name="connsiteX11" fmla="*/ 164426 w 532617"/>
                  <a:gd name="connsiteY11" fmla="*/ 5480 h 519078"/>
                  <a:gd name="connsiteX12" fmla="*/ 8811 w 532617"/>
                  <a:gd name="connsiteY12" fmla="*/ 8841 h 519078"/>
                  <a:gd name="connsiteX13" fmla="*/ 9267 w 532617"/>
                  <a:gd name="connsiteY13" fmla="*/ 31511 h 519078"/>
                  <a:gd name="connsiteX14" fmla="*/ 5223 w 532617"/>
                  <a:gd name="connsiteY14" fmla="*/ 88928 h 519078"/>
                  <a:gd name="connsiteX15" fmla="*/ 70784 w 532617"/>
                  <a:gd name="connsiteY15" fmla="*/ 441795 h 519078"/>
                  <a:gd name="connsiteX16" fmla="*/ 264620 w 532617"/>
                  <a:gd name="connsiteY16" fmla="*/ 517096 h 519078"/>
                  <a:gd name="connsiteX17" fmla="*/ 273333 w 532617"/>
                  <a:gd name="connsiteY17" fmla="*/ 516982 h 519078"/>
                  <a:gd name="connsiteX18" fmla="*/ 461189 w 532617"/>
                  <a:gd name="connsiteY18" fmla="*/ 437580 h 519078"/>
                  <a:gd name="connsiteX19" fmla="*/ 520826 w 532617"/>
                  <a:gd name="connsiteY19" fmla="*/ 69845 h 519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2617" h="519078">
                    <a:moveTo>
                      <a:pt x="520826" y="69845"/>
                    </a:moveTo>
                    <a:cubicBezTo>
                      <a:pt x="518661" y="50251"/>
                      <a:pt x="516781" y="33448"/>
                      <a:pt x="516497" y="20802"/>
                    </a:cubicBezTo>
                    <a:lnTo>
                      <a:pt x="516041" y="-1982"/>
                    </a:lnTo>
                    <a:lnTo>
                      <a:pt x="360312" y="1322"/>
                    </a:lnTo>
                    <a:lnTo>
                      <a:pt x="360825" y="24106"/>
                    </a:lnTo>
                    <a:cubicBezTo>
                      <a:pt x="361224" y="40909"/>
                      <a:pt x="363502" y="63693"/>
                      <a:pt x="366407" y="90123"/>
                    </a:cubicBezTo>
                    <a:cubicBezTo>
                      <a:pt x="373812" y="158305"/>
                      <a:pt x="387596" y="285212"/>
                      <a:pt x="344193" y="334767"/>
                    </a:cubicBezTo>
                    <a:cubicBezTo>
                      <a:pt x="329098" y="351912"/>
                      <a:pt x="304890" y="360570"/>
                      <a:pt x="270031" y="361310"/>
                    </a:cubicBezTo>
                    <a:cubicBezTo>
                      <a:pt x="229702" y="362620"/>
                      <a:pt x="201622" y="353906"/>
                      <a:pt x="184819" y="335849"/>
                    </a:cubicBezTo>
                    <a:cubicBezTo>
                      <a:pt x="142439" y="290224"/>
                      <a:pt x="153548" y="173512"/>
                      <a:pt x="160154" y="103622"/>
                    </a:cubicBezTo>
                    <a:cubicBezTo>
                      <a:pt x="163002" y="74687"/>
                      <a:pt x="165394" y="49624"/>
                      <a:pt x="164940" y="28264"/>
                    </a:cubicBezTo>
                    <a:lnTo>
                      <a:pt x="164426" y="5480"/>
                    </a:lnTo>
                    <a:lnTo>
                      <a:pt x="8811" y="8841"/>
                    </a:lnTo>
                    <a:lnTo>
                      <a:pt x="9267" y="31511"/>
                    </a:lnTo>
                    <a:cubicBezTo>
                      <a:pt x="9495" y="43529"/>
                      <a:pt x="7330" y="66313"/>
                      <a:pt x="5223" y="88928"/>
                    </a:cubicBezTo>
                    <a:cubicBezTo>
                      <a:pt x="-4517" y="190886"/>
                      <a:pt x="-19213" y="344963"/>
                      <a:pt x="70784" y="441795"/>
                    </a:cubicBezTo>
                    <a:cubicBezTo>
                      <a:pt x="117149" y="491749"/>
                      <a:pt x="182368" y="517096"/>
                      <a:pt x="264620" y="517096"/>
                    </a:cubicBezTo>
                    <a:cubicBezTo>
                      <a:pt x="267525" y="517096"/>
                      <a:pt x="270428" y="517039"/>
                      <a:pt x="273333" y="516982"/>
                    </a:cubicBezTo>
                    <a:cubicBezTo>
                      <a:pt x="353192" y="515273"/>
                      <a:pt x="416361" y="488559"/>
                      <a:pt x="461189" y="437580"/>
                    </a:cubicBezTo>
                    <a:cubicBezTo>
                      <a:pt x="549761" y="336590"/>
                      <a:pt x="532616" y="178298"/>
                      <a:pt x="520826" y="69845"/>
                    </a:cubicBezTo>
                    <a:close/>
                  </a:path>
                </a:pathLst>
              </a:custGeom>
              <a:solidFill>
                <a:srgbClr val="2060FF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Freeform: Shape 555">
                <a:extLst>
                  <a:ext uri="{FF2B5EF4-FFF2-40B4-BE49-F238E27FC236}">
                    <a16:creationId xmlns:a16="http://schemas.microsoft.com/office/drawing/2014/main" id="{C86E6F4F-41C3-6A1E-8E1A-F431AFBAE289}"/>
                  </a:ext>
                </a:extLst>
              </p:cNvPr>
              <p:cNvSpPr/>
              <p:nvPr/>
            </p:nvSpPr>
            <p:spPr>
              <a:xfrm>
                <a:off x="8066716" y="2292842"/>
                <a:ext cx="108310" cy="119114"/>
              </a:xfrm>
              <a:custGeom>
                <a:avLst/>
                <a:gdLst>
                  <a:gd name="connsiteX0" fmla="*/ 460833 w 506108"/>
                  <a:gd name="connsiteY0" fmla="*/ 41321 h 556590"/>
                  <a:gd name="connsiteX1" fmla="*/ 76865 w 506108"/>
                  <a:gd name="connsiteY1" fmla="*/ 133254 h 556590"/>
                  <a:gd name="connsiteX2" fmla="*/ 77890 w 506108"/>
                  <a:gd name="connsiteY2" fmla="*/ 528046 h 556590"/>
                  <a:gd name="connsiteX3" fmla="*/ 350616 w 506108"/>
                  <a:gd name="connsiteY3" fmla="*/ 348621 h 556590"/>
                  <a:gd name="connsiteX4" fmla="*/ 460833 w 506108"/>
                  <a:gd name="connsiteY4" fmla="*/ 41321 h 556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6108" h="556590">
                    <a:moveTo>
                      <a:pt x="460833" y="41321"/>
                    </a:moveTo>
                    <a:cubicBezTo>
                      <a:pt x="354489" y="-42296"/>
                      <a:pt x="182584" y="-1171"/>
                      <a:pt x="76865" y="133254"/>
                    </a:cubicBezTo>
                    <a:cubicBezTo>
                      <a:pt x="-28853" y="267624"/>
                      <a:pt x="-28397" y="444371"/>
                      <a:pt x="77890" y="528046"/>
                    </a:cubicBezTo>
                    <a:cubicBezTo>
                      <a:pt x="184236" y="611663"/>
                      <a:pt x="244841" y="482991"/>
                      <a:pt x="350616" y="348621"/>
                    </a:cubicBezTo>
                    <a:cubicBezTo>
                      <a:pt x="456334" y="214196"/>
                      <a:pt x="567179" y="124996"/>
                      <a:pt x="460833" y="41321"/>
                    </a:cubicBezTo>
                    <a:close/>
                  </a:path>
                </a:pathLst>
              </a:custGeom>
              <a:solidFill>
                <a:srgbClr val="2060FF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Freeform: Shape 556">
                <a:extLst>
                  <a:ext uri="{FF2B5EF4-FFF2-40B4-BE49-F238E27FC236}">
                    <a16:creationId xmlns:a16="http://schemas.microsoft.com/office/drawing/2014/main" id="{C40AECBC-E045-8E15-14E7-0CFEDE4DF10F}"/>
                  </a:ext>
                </a:extLst>
              </p:cNvPr>
              <p:cNvSpPr/>
              <p:nvPr/>
            </p:nvSpPr>
            <p:spPr>
              <a:xfrm>
                <a:off x="8015869" y="2012357"/>
                <a:ext cx="66934" cy="141292"/>
              </a:xfrm>
              <a:custGeom>
                <a:avLst/>
                <a:gdLst>
                  <a:gd name="connsiteX0" fmla="*/ 129681 w 312768"/>
                  <a:gd name="connsiteY0" fmla="*/ 658242 h 660224"/>
                  <a:gd name="connsiteX1" fmla="*/ -2125 w 312768"/>
                  <a:gd name="connsiteY1" fmla="*/ 658242 h 660224"/>
                  <a:gd name="connsiteX2" fmla="*/ -2125 w 312768"/>
                  <a:gd name="connsiteY2" fmla="*/ 612674 h 660224"/>
                  <a:gd name="connsiteX3" fmla="*/ 129681 w 312768"/>
                  <a:gd name="connsiteY3" fmla="*/ 612674 h 660224"/>
                  <a:gd name="connsiteX4" fmla="*/ 265076 w 312768"/>
                  <a:gd name="connsiteY4" fmla="*/ 328102 h 660224"/>
                  <a:gd name="connsiteX5" fmla="*/ 129681 w 312768"/>
                  <a:gd name="connsiteY5" fmla="*/ 43586 h 660224"/>
                  <a:gd name="connsiteX6" fmla="*/ -2125 w 312768"/>
                  <a:gd name="connsiteY6" fmla="*/ 43586 h 660224"/>
                  <a:gd name="connsiteX7" fmla="*/ -2125 w 312768"/>
                  <a:gd name="connsiteY7" fmla="*/ -1982 h 660224"/>
                  <a:gd name="connsiteX8" fmla="*/ 129681 w 312768"/>
                  <a:gd name="connsiteY8" fmla="*/ -1982 h 660224"/>
                  <a:gd name="connsiteX9" fmla="*/ 310644 w 312768"/>
                  <a:gd name="connsiteY9" fmla="*/ 328102 h 660224"/>
                  <a:gd name="connsiteX10" fmla="*/ 129681 w 312768"/>
                  <a:gd name="connsiteY10" fmla="*/ 658242 h 660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12768" h="660224">
                    <a:moveTo>
                      <a:pt x="129681" y="658242"/>
                    </a:moveTo>
                    <a:lnTo>
                      <a:pt x="-2125" y="658242"/>
                    </a:lnTo>
                    <a:lnTo>
                      <a:pt x="-2125" y="612674"/>
                    </a:lnTo>
                    <a:lnTo>
                      <a:pt x="129681" y="612674"/>
                    </a:lnTo>
                    <a:cubicBezTo>
                      <a:pt x="203045" y="612674"/>
                      <a:pt x="265076" y="482350"/>
                      <a:pt x="265076" y="328102"/>
                    </a:cubicBezTo>
                    <a:cubicBezTo>
                      <a:pt x="265076" y="173910"/>
                      <a:pt x="203045" y="43586"/>
                      <a:pt x="129681" y="43586"/>
                    </a:cubicBezTo>
                    <a:lnTo>
                      <a:pt x="-2125" y="43586"/>
                    </a:lnTo>
                    <a:lnTo>
                      <a:pt x="-2125" y="-1982"/>
                    </a:lnTo>
                    <a:lnTo>
                      <a:pt x="129681" y="-1982"/>
                    </a:lnTo>
                    <a:cubicBezTo>
                      <a:pt x="231128" y="-1982"/>
                      <a:pt x="310644" y="143038"/>
                      <a:pt x="310644" y="328102"/>
                    </a:cubicBezTo>
                    <a:cubicBezTo>
                      <a:pt x="310644" y="513222"/>
                      <a:pt x="231128" y="658242"/>
                      <a:pt x="129681" y="658242"/>
                    </a:cubicBezTo>
                    <a:close/>
                  </a:path>
                </a:pathLst>
              </a:custGeom>
              <a:solidFill>
                <a:schemeClr val="tx1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Freeform: Shape 557">
                <a:extLst>
                  <a:ext uri="{FF2B5EF4-FFF2-40B4-BE49-F238E27FC236}">
                    <a16:creationId xmlns:a16="http://schemas.microsoft.com/office/drawing/2014/main" id="{4145019B-8BAE-3442-8FBD-95056D387F10}"/>
                  </a:ext>
                </a:extLst>
              </p:cNvPr>
              <p:cNvSpPr/>
              <p:nvPr/>
            </p:nvSpPr>
            <p:spPr>
              <a:xfrm>
                <a:off x="7977142" y="2012345"/>
                <a:ext cx="77442" cy="141304"/>
              </a:xfrm>
              <a:custGeom>
                <a:avLst/>
                <a:gdLst>
                  <a:gd name="connsiteX0" fmla="*/ 178837 w 361867"/>
                  <a:gd name="connsiteY0" fmla="*/ -1982 h 660281"/>
                  <a:gd name="connsiteX1" fmla="*/ -2125 w 361867"/>
                  <a:gd name="connsiteY1" fmla="*/ 328159 h 660281"/>
                  <a:gd name="connsiteX2" fmla="*/ 178837 w 361867"/>
                  <a:gd name="connsiteY2" fmla="*/ 658299 h 660281"/>
                  <a:gd name="connsiteX3" fmla="*/ 359743 w 361867"/>
                  <a:gd name="connsiteY3" fmla="*/ 328159 h 660281"/>
                  <a:gd name="connsiteX4" fmla="*/ 178837 w 361867"/>
                  <a:gd name="connsiteY4" fmla="*/ -1982 h 660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1867" h="660281">
                    <a:moveTo>
                      <a:pt x="178837" y="-1982"/>
                    </a:moveTo>
                    <a:cubicBezTo>
                      <a:pt x="77335" y="-1982"/>
                      <a:pt x="-2125" y="143038"/>
                      <a:pt x="-2125" y="328159"/>
                    </a:cubicBezTo>
                    <a:cubicBezTo>
                      <a:pt x="-2125" y="513279"/>
                      <a:pt x="77335" y="658299"/>
                      <a:pt x="178837" y="658299"/>
                    </a:cubicBezTo>
                    <a:cubicBezTo>
                      <a:pt x="280284" y="658299"/>
                      <a:pt x="359743" y="513279"/>
                      <a:pt x="359743" y="328159"/>
                    </a:cubicBezTo>
                    <a:cubicBezTo>
                      <a:pt x="359743" y="143038"/>
                      <a:pt x="280284" y="-1982"/>
                      <a:pt x="178837" y="-1982"/>
                    </a:cubicBezTo>
                    <a:close/>
                  </a:path>
                </a:pathLst>
              </a:custGeom>
              <a:solidFill>
                <a:srgbClr val="2060FF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Freeform: Shape 558">
                <a:extLst>
                  <a:ext uri="{FF2B5EF4-FFF2-40B4-BE49-F238E27FC236}">
                    <a16:creationId xmlns:a16="http://schemas.microsoft.com/office/drawing/2014/main" id="{D7AF0216-7D3B-FCC8-9920-FF0346B4EC07}"/>
                  </a:ext>
                </a:extLst>
              </p:cNvPr>
              <p:cNvSpPr/>
              <p:nvPr/>
            </p:nvSpPr>
            <p:spPr>
              <a:xfrm>
                <a:off x="8047612" y="2790775"/>
                <a:ext cx="316680" cy="86511"/>
              </a:xfrm>
              <a:custGeom>
                <a:avLst/>
                <a:gdLst>
                  <a:gd name="connsiteX0" fmla="*/ 1454858 w 1479767"/>
                  <a:gd name="connsiteY0" fmla="*/ 356697 h 404247"/>
                  <a:gd name="connsiteX1" fmla="*/ 1298332 w 1479767"/>
                  <a:gd name="connsiteY1" fmla="*/ 200169 h 404247"/>
                  <a:gd name="connsiteX2" fmla="*/ 1454858 w 1479767"/>
                  <a:gd name="connsiteY2" fmla="*/ 43586 h 404247"/>
                  <a:gd name="connsiteX3" fmla="*/ 1477642 w 1479767"/>
                  <a:gd name="connsiteY3" fmla="*/ 20802 h 404247"/>
                  <a:gd name="connsiteX4" fmla="*/ 1454858 w 1479767"/>
                  <a:gd name="connsiteY4" fmla="*/ -1982 h 404247"/>
                  <a:gd name="connsiteX5" fmla="*/ 200026 w 1479767"/>
                  <a:gd name="connsiteY5" fmla="*/ -1982 h 404247"/>
                  <a:gd name="connsiteX6" fmla="*/ -2125 w 1479767"/>
                  <a:gd name="connsiteY6" fmla="*/ 200169 h 404247"/>
                  <a:gd name="connsiteX7" fmla="*/ 200026 w 1479767"/>
                  <a:gd name="connsiteY7" fmla="*/ 402265 h 404247"/>
                  <a:gd name="connsiteX8" fmla="*/ 1454858 w 1479767"/>
                  <a:gd name="connsiteY8" fmla="*/ 402265 h 404247"/>
                  <a:gd name="connsiteX9" fmla="*/ 1477642 w 1479767"/>
                  <a:gd name="connsiteY9" fmla="*/ 379481 h 404247"/>
                  <a:gd name="connsiteX10" fmla="*/ 1454858 w 1479767"/>
                  <a:gd name="connsiteY10" fmla="*/ 356697 h 404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79767" h="404247">
                    <a:moveTo>
                      <a:pt x="1454858" y="356697"/>
                    </a:moveTo>
                    <a:cubicBezTo>
                      <a:pt x="1368564" y="356697"/>
                      <a:pt x="1298332" y="286522"/>
                      <a:pt x="1298332" y="200169"/>
                    </a:cubicBezTo>
                    <a:cubicBezTo>
                      <a:pt x="1298332" y="113818"/>
                      <a:pt x="1368564" y="43586"/>
                      <a:pt x="1454858" y="43586"/>
                    </a:cubicBezTo>
                    <a:cubicBezTo>
                      <a:pt x="1467446" y="43586"/>
                      <a:pt x="1477642" y="33448"/>
                      <a:pt x="1477642" y="20802"/>
                    </a:cubicBezTo>
                    <a:cubicBezTo>
                      <a:pt x="1477642" y="8214"/>
                      <a:pt x="1467446" y="-1982"/>
                      <a:pt x="1454858" y="-1982"/>
                    </a:cubicBezTo>
                    <a:lnTo>
                      <a:pt x="200026" y="-1982"/>
                    </a:lnTo>
                    <a:cubicBezTo>
                      <a:pt x="88555" y="-1982"/>
                      <a:pt x="-2125" y="88756"/>
                      <a:pt x="-2125" y="200169"/>
                    </a:cubicBezTo>
                    <a:cubicBezTo>
                      <a:pt x="-2125" y="311584"/>
                      <a:pt x="88555" y="402265"/>
                      <a:pt x="200026" y="402265"/>
                    </a:cubicBezTo>
                    <a:lnTo>
                      <a:pt x="1454858" y="402265"/>
                    </a:lnTo>
                    <a:cubicBezTo>
                      <a:pt x="1467446" y="402265"/>
                      <a:pt x="1477642" y="392069"/>
                      <a:pt x="1477642" y="379481"/>
                    </a:cubicBezTo>
                    <a:cubicBezTo>
                      <a:pt x="1477642" y="366892"/>
                      <a:pt x="1467446" y="356697"/>
                      <a:pt x="1454858" y="35669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Freeform: Shape 559">
                <a:extLst>
                  <a:ext uri="{FF2B5EF4-FFF2-40B4-BE49-F238E27FC236}">
                    <a16:creationId xmlns:a16="http://schemas.microsoft.com/office/drawing/2014/main" id="{A23CA1D8-112D-7F0A-C623-D339FAA05B3B}"/>
                  </a:ext>
                </a:extLst>
              </p:cNvPr>
              <p:cNvSpPr/>
              <p:nvPr/>
            </p:nvSpPr>
            <p:spPr>
              <a:xfrm>
                <a:off x="8316166" y="2790788"/>
                <a:ext cx="289228" cy="86511"/>
              </a:xfrm>
              <a:custGeom>
                <a:avLst/>
                <a:gdLst>
                  <a:gd name="connsiteX0" fmla="*/ 200026 w 1351493"/>
                  <a:gd name="connsiteY0" fmla="*/ 43586 h 404245"/>
                  <a:gd name="connsiteX1" fmla="*/ 43443 w 1351493"/>
                  <a:gd name="connsiteY1" fmla="*/ 200112 h 404245"/>
                  <a:gd name="connsiteX2" fmla="*/ 200026 w 1351493"/>
                  <a:gd name="connsiteY2" fmla="*/ 356696 h 404245"/>
                  <a:gd name="connsiteX3" fmla="*/ 1286256 w 1351493"/>
                  <a:gd name="connsiteY3" fmla="*/ 356696 h 404245"/>
                  <a:gd name="connsiteX4" fmla="*/ 1286598 w 1351493"/>
                  <a:gd name="connsiteY4" fmla="*/ 43586 h 404245"/>
                  <a:gd name="connsiteX5" fmla="*/ 200026 w 1351493"/>
                  <a:gd name="connsiteY5" fmla="*/ 43586 h 404245"/>
                  <a:gd name="connsiteX6" fmla="*/ 1349368 w 1351493"/>
                  <a:gd name="connsiteY6" fmla="*/ 402264 h 404245"/>
                  <a:gd name="connsiteX7" fmla="*/ 200026 w 1351493"/>
                  <a:gd name="connsiteY7" fmla="*/ 402264 h 404245"/>
                  <a:gd name="connsiteX8" fmla="*/ -2125 w 1351493"/>
                  <a:gd name="connsiteY8" fmla="*/ 200112 h 404245"/>
                  <a:gd name="connsiteX9" fmla="*/ 200026 w 1351493"/>
                  <a:gd name="connsiteY9" fmla="*/ -1982 h 404245"/>
                  <a:gd name="connsiteX10" fmla="*/ 1348172 w 1351493"/>
                  <a:gd name="connsiteY10" fmla="*/ -1982 h 404245"/>
                  <a:gd name="connsiteX11" fmla="*/ 1333134 w 1351493"/>
                  <a:gd name="connsiteY11" fmla="*/ 47004 h 404245"/>
                  <a:gd name="connsiteX12" fmla="*/ 1338887 w 1351493"/>
                  <a:gd name="connsiteY12" fmla="*/ 372019 h 404245"/>
                  <a:gd name="connsiteX13" fmla="*/ 1349368 w 1351493"/>
                  <a:gd name="connsiteY13" fmla="*/ 402264 h 40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51493" h="404245">
                    <a:moveTo>
                      <a:pt x="200026" y="43586"/>
                    </a:moveTo>
                    <a:cubicBezTo>
                      <a:pt x="113675" y="43586"/>
                      <a:pt x="43443" y="113818"/>
                      <a:pt x="43443" y="200112"/>
                    </a:cubicBezTo>
                    <a:cubicBezTo>
                      <a:pt x="43443" y="286465"/>
                      <a:pt x="113675" y="356696"/>
                      <a:pt x="200026" y="356696"/>
                    </a:cubicBezTo>
                    <a:lnTo>
                      <a:pt x="1286256" y="356696"/>
                    </a:lnTo>
                    <a:cubicBezTo>
                      <a:pt x="1256808" y="254055"/>
                      <a:pt x="1256865" y="146627"/>
                      <a:pt x="1286598" y="43586"/>
                    </a:cubicBezTo>
                    <a:lnTo>
                      <a:pt x="200026" y="43586"/>
                    </a:lnTo>
                    <a:close/>
                    <a:moveTo>
                      <a:pt x="1349368" y="402264"/>
                    </a:moveTo>
                    <a:lnTo>
                      <a:pt x="200026" y="402264"/>
                    </a:lnTo>
                    <a:cubicBezTo>
                      <a:pt x="88555" y="402264"/>
                      <a:pt x="-2125" y="311584"/>
                      <a:pt x="-2125" y="200112"/>
                    </a:cubicBezTo>
                    <a:cubicBezTo>
                      <a:pt x="-2125" y="88699"/>
                      <a:pt x="88555" y="-1982"/>
                      <a:pt x="200026" y="-1982"/>
                    </a:cubicBezTo>
                    <a:lnTo>
                      <a:pt x="1348172" y="-1982"/>
                    </a:lnTo>
                    <a:lnTo>
                      <a:pt x="1333134" y="47004"/>
                    </a:lnTo>
                    <a:cubicBezTo>
                      <a:pt x="1300211" y="153919"/>
                      <a:pt x="1302205" y="266301"/>
                      <a:pt x="1338887" y="372019"/>
                    </a:cubicBezTo>
                    <a:lnTo>
                      <a:pt x="1349368" y="402264"/>
                    </a:lnTo>
                    <a:close/>
                  </a:path>
                </a:pathLst>
              </a:custGeom>
              <a:solidFill>
                <a:schemeClr val="tx1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Freeform: Shape 560">
                <a:extLst>
                  <a:ext uri="{FF2B5EF4-FFF2-40B4-BE49-F238E27FC236}">
                    <a16:creationId xmlns:a16="http://schemas.microsoft.com/office/drawing/2014/main" id="{66EA45A2-CDD9-8A73-A6EF-15488B2258E2}"/>
                  </a:ext>
                </a:extLst>
              </p:cNvPr>
              <p:cNvSpPr/>
              <p:nvPr/>
            </p:nvSpPr>
            <p:spPr>
              <a:xfrm>
                <a:off x="8080025" y="2829161"/>
                <a:ext cx="127018" cy="9752"/>
              </a:xfrm>
              <a:custGeom>
                <a:avLst/>
                <a:gdLst>
                  <a:gd name="connsiteX0" fmla="*/ 568615 w 593524"/>
                  <a:gd name="connsiteY0" fmla="*/ 43586 h 45568"/>
                  <a:gd name="connsiteX1" fmla="*/ 20659 w 593524"/>
                  <a:gd name="connsiteY1" fmla="*/ 43586 h 45568"/>
                  <a:gd name="connsiteX2" fmla="*/ -2125 w 593524"/>
                  <a:gd name="connsiteY2" fmla="*/ 20802 h 45568"/>
                  <a:gd name="connsiteX3" fmla="*/ 20659 w 593524"/>
                  <a:gd name="connsiteY3" fmla="*/ -1982 h 45568"/>
                  <a:gd name="connsiteX4" fmla="*/ 568615 w 593524"/>
                  <a:gd name="connsiteY4" fmla="*/ -1982 h 45568"/>
                  <a:gd name="connsiteX5" fmla="*/ 591399 w 593524"/>
                  <a:gd name="connsiteY5" fmla="*/ 20802 h 45568"/>
                  <a:gd name="connsiteX6" fmla="*/ 568615 w 593524"/>
                  <a:gd name="connsiteY6" fmla="*/ 43586 h 4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93524" h="45568">
                    <a:moveTo>
                      <a:pt x="568615" y="43586"/>
                    </a:moveTo>
                    <a:lnTo>
                      <a:pt x="20659" y="43586"/>
                    </a:lnTo>
                    <a:cubicBezTo>
                      <a:pt x="8071" y="43586"/>
                      <a:pt x="-2125" y="33391"/>
                      <a:pt x="-2125" y="20802"/>
                    </a:cubicBezTo>
                    <a:cubicBezTo>
                      <a:pt x="-2125" y="8214"/>
                      <a:pt x="8071" y="-1982"/>
                      <a:pt x="20659" y="-1982"/>
                    </a:cubicBezTo>
                    <a:lnTo>
                      <a:pt x="568615" y="-1982"/>
                    </a:lnTo>
                    <a:cubicBezTo>
                      <a:pt x="581203" y="-1982"/>
                      <a:pt x="591399" y="8214"/>
                      <a:pt x="591399" y="20802"/>
                    </a:cubicBezTo>
                    <a:cubicBezTo>
                      <a:pt x="591399" y="33391"/>
                      <a:pt x="581203" y="43586"/>
                      <a:pt x="568615" y="43586"/>
                    </a:cubicBezTo>
                    <a:close/>
                  </a:path>
                </a:pathLst>
              </a:custGeom>
              <a:solidFill>
                <a:srgbClr val="FFFFFF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Freeform: Shape 561">
                <a:extLst>
                  <a:ext uri="{FF2B5EF4-FFF2-40B4-BE49-F238E27FC236}">
                    <a16:creationId xmlns:a16="http://schemas.microsoft.com/office/drawing/2014/main" id="{82AA95B6-3854-F993-A6C4-D7F6CCDFA03D}"/>
                  </a:ext>
                </a:extLst>
              </p:cNvPr>
              <p:cNvSpPr/>
              <p:nvPr/>
            </p:nvSpPr>
            <p:spPr>
              <a:xfrm>
                <a:off x="8245526" y="2829161"/>
                <a:ext cx="28963" cy="9752"/>
              </a:xfrm>
              <a:custGeom>
                <a:avLst/>
                <a:gdLst>
                  <a:gd name="connsiteX0" fmla="*/ 110428 w 135337"/>
                  <a:gd name="connsiteY0" fmla="*/ 43586 h 45568"/>
                  <a:gd name="connsiteX1" fmla="*/ 20659 w 135337"/>
                  <a:gd name="connsiteY1" fmla="*/ 43586 h 45568"/>
                  <a:gd name="connsiteX2" fmla="*/ -2125 w 135337"/>
                  <a:gd name="connsiteY2" fmla="*/ 20802 h 45568"/>
                  <a:gd name="connsiteX3" fmla="*/ 20659 w 135337"/>
                  <a:gd name="connsiteY3" fmla="*/ -1982 h 45568"/>
                  <a:gd name="connsiteX4" fmla="*/ 110428 w 135337"/>
                  <a:gd name="connsiteY4" fmla="*/ -1982 h 45568"/>
                  <a:gd name="connsiteX5" fmla="*/ 133212 w 135337"/>
                  <a:gd name="connsiteY5" fmla="*/ 20802 h 45568"/>
                  <a:gd name="connsiteX6" fmla="*/ 110428 w 135337"/>
                  <a:gd name="connsiteY6" fmla="*/ 43586 h 4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5337" h="45568">
                    <a:moveTo>
                      <a:pt x="110428" y="43586"/>
                    </a:moveTo>
                    <a:lnTo>
                      <a:pt x="20659" y="43586"/>
                    </a:lnTo>
                    <a:cubicBezTo>
                      <a:pt x="8071" y="43586"/>
                      <a:pt x="-2125" y="33391"/>
                      <a:pt x="-2125" y="20802"/>
                    </a:cubicBezTo>
                    <a:cubicBezTo>
                      <a:pt x="-2125" y="8214"/>
                      <a:pt x="8071" y="-1982"/>
                      <a:pt x="20659" y="-1982"/>
                    </a:cubicBezTo>
                    <a:lnTo>
                      <a:pt x="110428" y="-1982"/>
                    </a:lnTo>
                    <a:cubicBezTo>
                      <a:pt x="123016" y="-1982"/>
                      <a:pt x="133212" y="8214"/>
                      <a:pt x="133212" y="20802"/>
                    </a:cubicBezTo>
                    <a:cubicBezTo>
                      <a:pt x="133212" y="33391"/>
                      <a:pt x="123016" y="43586"/>
                      <a:pt x="110428" y="43586"/>
                    </a:cubicBezTo>
                    <a:close/>
                  </a:path>
                </a:pathLst>
              </a:custGeom>
              <a:solidFill>
                <a:srgbClr val="FFFFFF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Freeform: Shape 562">
                <a:extLst>
                  <a:ext uri="{FF2B5EF4-FFF2-40B4-BE49-F238E27FC236}">
                    <a16:creationId xmlns:a16="http://schemas.microsoft.com/office/drawing/2014/main" id="{E213FD00-AF66-6D2B-72F6-61E6B08A5FE2}"/>
                  </a:ext>
                </a:extLst>
              </p:cNvPr>
              <p:cNvSpPr/>
              <p:nvPr/>
            </p:nvSpPr>
            <p:spPr>
              <a:xfrm>
                <a:off x="7999706" y="2898997"/>
                <a:ext cx="311816" cy="86511"/>
              </a:xfrm>
              <a:custGeom>
                <a:avLst/>
                <a:gdLst>
                  <a:gd name="connsiteX0" fmla="*/ 1454915 w 1457040"/>
                  <a:gd name="connsiteY0" fmla="*/ 43586 h 404245"/>
                  <a:gd name="connsiteX1" fmla="*/ 1454915 w 1457040"/>
                  <a:gd name="connsiteY1" fmla="*/ -1982 h 404245"/>
                  <a:gd name="connsiteX2" fmla="*/ 199969 w 1457040"/>
                  <a:gd name="connsiteY2" fmla="*/ -1982 h 404245"/>
                  <a:gd name="connsiteX3" fmla="*/ -2125 w 1457040"/>
                  <a:gd name="connsiteY3" fmla="*/ 200112 h 404245"/>
                  <a:gd name="connsiteX4" fmla="*/ 199969 w 1457040"/>
                  <a:gd name="connsiteY4" fmla="*/ 402264 h 404245"/>
                  <a:gd name="connsiteX5" fmla="*/ 1454915 w 1457040"/>
                  <a:gd name="connsiteY5" fmla="*/ 402264 h 404245"/>
                  <a:gd name="connsiteX6" fmla="*/ 1454915 w 1457040"/>
                  <a:gd name="connsiteY6" fmla="*/ 356696 h 404245"/>
                  <a:gd name="connsiteX7" fmla="*/ 1298332 w 1457040"/>
                  <a:gd name="connsiteY7" fmla="*/ 200112 h 404245"/>
                  <a:gd name="connsiteX8" fmla="*/ 1454915 w 1457040"/>
                  <a:gd name="connsiteY8" fmla="*/ 43586 h 40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57040" h="404245">
                    <a:moveTo>
                      <a:pt x="1454915" y="43586"/>
                    </a:moveTo>
                    <a:lnTo>
                      <a:pt x="1454915" y="-1982"/>
                    </a:lnTo>
                    <a:lnTo>
                      <a:pt x="199969" y="-1982"/>
                    </a:lnTo>
                    <a:cubicBezTo>
                      <a:pt x="88556" y="-1982"/>
                      <a:pt x="-2125" y="88699"/>
                      <a:pt x="-2125" y="200112"/>
                    </a:cubicBezTo>
                    <a:cubicBezTo>
                      <a:pt x="-2125" y="311584"/>
                      <a:pt x="88556" y="402264"/>
                      <a:pt x="199969" y="402264"/>
                    </a:cubicBezTo>
                    <a:lnTo>
                      <a:pt x="1454915" y="402264"/>
                    </a:lnTo>
                    <a:lnTo>
                      <a:pt x="1454915" y="356696"/>
                    </a:lnTo>
                    <a:cubicBezTo>
                      <a:pt x="1368564" y="356696"/>
                      <a:pt x="1298332" y="286465"/>
                      <a:pt x="1298332" y="200112"/>
                    </a:cubicBezTo>
                    <a:cubicBezTo>
                      <a:pt x="1298332" y="113818"/>
                      <a:pt x="1368564" y="43586"/>
                      <a:pt x="1454915" y="43586"/>
                    </a:cubicBezTo>
                    <a:close/>
                  </a:path>
                </a:pathLst>
              </a:custGeom>
              <a:solidFill>
                <a:srgbClr val="2060FF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Freeform: Shape 563">
                <a:extLst>
                  <a:ext uri="{FF2B5EF4-FFF2-40B4-BE49-F238E27FC236}">
                    <a16:creationId xmlns:a16="http://schemas.microsoft.com/office/drawing/2014/main" id="{9D0D8392-4041-1D96-F088-A78A1FD5C76E}"/>
                  </a:ext>
                </a:extLst>
              </p:cNvPr>
              <p:cNvSpPr/>
              <p:nvPr/>
            </p:nvSpPr>
            <p:spPr>
              <a:xfrm>
                <a:off x="8268260" y="2898997"/>
                <a:ext cx="289228" cy="86511"/>
              </a:xfrm>
              <a:custGeom>
                <a:avLst/>
                <a:gdLst>
                  <a:gd name="connsiteX0" fmla="*/ 200026 w 1351493"/>
                  <a:gd name="connsiteY0" fmla="*/ 43586 h 404245"/>
                  <a:gd name="connsiteX1" fmla="*/ 43443 w 1351493"/>
                  <a:gd name="connsiteY1" fmla="*/ 200169 h 404245"/>
                  <a:gd name="connsiteX2" fmla="*/ 200026 w 1351493"/>
                  <a:gd name="connsiteY2" fmla="*/ 356696 h 404245"/>
                  <a:gd name="connsiteX3" fmla="*/ 1286256 w 1351493"/>
                  <a:gd name="connsiteY3" fmla="*/ 356696 h 404245"/>
                  <a:gd name="connsiteX4" fmla="*/ 1286598 w 1351493"/>
                  <a:gd name="connsiteY4" fmla="*/ 43586 h 404245"/>
                  <a:gd name="connsiteX5" fmla="*/ 200026 w 1351493"/>
                  <a:gd name="connsiteY5" fmla="*/ 43586 h 404245"/>
                  <a:gd name="connsiteX6" fmla="*/ 1349368 w 1351493"/>
                  <a:gd name="connsiteY6" fmla="*/ 402264 h 404245"/>
                  <a:gd name="connsiteX7" fmla="*/ 200026 w 1351493"/>
                  <a:gd name="connsiteY7" fmla="*/ 402264 h 404245"/>
                  <a:gd name="connsiteX8" fmla="*/ -2125 w 1351493"/>
                  <a:gd name="connsiteY8" fmla="*/ 200169 h 404245"/>
                  <a:gd name="connsiteX9" fmla="*/ 200026 w 1351493"/>
                  <a:gd name="connsiteY9" fmla="*/ -1982 h 404245"/>
                  <a:gd name="connsiteX10" fmla="*/ 1348172 w 1351493"/>
                  <a:gd name="connsiteY10" fmla="*/ -1982 h 404245"/>
                  <a:gd name="connsiteX11" fmla="*/ 1333134 w 1351493"/>
                  <a:gd name="connsiteY11" fmla="*/ 47004 h 404245"/>
                  <a:gd name="connsiteX12" fmla="*/ 1338887 w 1351493"/>
                  <a:gd name="connsiteY12" fmla="*/ 372019 h 404245"/>
                  <a:gd name="connsiteX13" fmla="*/ 1349368 w 1351493"/>
                  <a:gd name="connsiteY13" fmla="*/ 402264 h 40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51493" h="404245">
                    <a:moveTo>
                      <a:pt x="200026" y="43586"/>
                    </a:moveTo>
                    <a:cubicBezTo>
                      <a:pt x="113675" y="43586"/>
                      <a:pt x="43443" y="113818"/>
                      <a:pt x="43443" y="200169"/>
                    </a:cubicBezTo>
                    <a:cubicBezTo>
                      <a:pt x="43443" y="286465"/>
                      <a:pt x="113675" y="356696"/>
                      <a:pt x="200026" y="356696"/>
                    </a:cubicBezTo>
                    <a:lnTo>
                      <a:pt x="1286256" y="356696"/>
                    </a:lnTo>
                    <a:cubicBezTo>
                      <a:pt x="1256808" y="254054"/>
                      <a:pt x="1256865" y="146627"/>
                      <a:pt x="1286598" y="43586"/>
                    </a:cubicBezTo>
                    <a:lnTo>
                      <a:pt x="200026" y="43586"/>
                    </a:lnTo>
                    <a:close/>
                    <a:moveTo>
                      <a:pt x="1349368" y="402264"/>
                    </a:moveTo>
                    <a:lnTo>
                      <a:pt x="200026" y="402264"/>
                    </a:lnTo>
                    <a:cubicBezTo>
                      <a:pt x="88555" y="402264"/>
                      <a:pt x="-2125" y="311584"/>
                      <a:pt x="-2125" y="200169"/>
                    </a:cubicBezTo>
                    <a:cubicBezTo>
                      <a:pt x="-2125" y="88699"/>
                      <a:pt x="88555" y="-1982"/>
                      <a:pt x="200026" y="-1982"/>
                    </a:cubicBezTo>
                    <a:lnTo>
                      <a:pt x="1348172" y="-1982"/>
                    </a:lnTo>
                    <a:lnTo>
                      <a:pt x="1333134" y="47004"/>
                    </a:lnTo>
                    <a:cubicBezTo>
                      <a:pt x="1300212" y="153919"/>
                      <a:pt x="1302205" y="266301"/>
                      <a:pt x="1338887" y="372019"/>
                    </a:cubicBezTo>
                    <a:lnTo>
                      <a:pt x="1349368" y="402264"/>
                    </a:lnTo>
                    <a:close/>
                  </a:path>
                </a:pathLst>
              </a:custGeom>
              <a:solidFill>
                <a:schemeClr val="tx1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Freeform: Shape 564">
                <a:extLst>
                  <a:ext uri="{FF2B5EF4-FFF2-40B4-BE49-F238E27FC236}">
                    <a16:creationId xmlns:a16="http://schemas.microsoft.com/office/drawing/2014/main" id="{38F6991E-981D-E607-7C58-76FC52421760}"/>
                  </a:ext>
                </a:extLst>
              </p:cNvPr>
              <p:cNvSpPr/>
              <p:nvPr/>
            </p:nvSpPr>
            <p:spPr>
              <a:xfrm>
                <a:off x="8032118" y="2937383"/>
                <a:ext cx="127018" cy="9752"/>
              </a:xfrm>
              <a:custGeom>
                <a:avLst/>
                <a:gdLst>
                  <a:gd name="connsiteX0" fmla="*/ 568615 w 593524"/>
                  <a:gd name="connsiteY0" fmla="*/ 43586 h 45568"/>
                  <a:gd name="connsiteX1" fmla="*/ 20659 w 593524"/>
                  <a:gd name="connsiteY1" fmla="*/ 43586 h 45568"/>
                  <a:gd name="connsiteX2" fmla="*/ -2125 w 593524"/>
                  <a:gd name="connsiteY2" fmla="*/ 20802 h 45568"/>
                  <a:gd name="connsiteX3" fmla="*/ 20659 w 593524"/>
                  <a:gd name="connsiteY3" fmla="*/ -1982 h 45568"/>
                  <a:gd name="connsiteX4" fmla="*/ 568615 w 593524"/>
                  <a:gd name="connsiteY4" fmla="*/ -1982 h 45568"/>
                  <a:gd name="connsiteX5" fmla="*/ 591399 w 593524"/>
                  <a:gd name="connsiteY5" fmla="*/ 20802 h 45568"/>
                  <a:gd name="connsiteX6" fmla="*/ 568615 w 593524"/>
                  <a:gd name="connsiteY6" fmla="*/ 43586 h 4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93524" h="45568">
                    <a:moveTo>
                      <a:pt x="568615" y="43586"/>
                    </a:moveTo>
                    <a:lnTo>
                      <a:pt x="20659" y="43586"/>
                    </a:lnTo>
                    <a:cubicBezTo>
                      <a:pt x="8071" y="43586"/>
                      <a:pt x="-2125" y="33334"/>
                      <a:pt x="-2125" y="20802"/>
                    </a:cubicBezTo>
                    <a:cubicBezTo>
                      <a:pt x="-2125" y="8214"/>
                      <a:pt x="8071" y="-1982"/>
                      <a:pt x="20659" y="-1982"/>
                    </a:cubicBezTo>
                    <a:lnTo>
                      <a:pt x="568615" y="-1982"/>
                    </a:lnTo>
                    <a:cubicBezTo>
                      <a:pt x="581203" y="-1982"/>
                      <a:pt x="591399" y="8214"/>
                      <a:pt x="591399" y="20802"/>
                    </a:cubicBezTo>
                    <a:cubicBezTo>
                      <a:pt x="591399" y="33334"/>
                      <a:pt x="581203" y="43586"/>
                      <a:pt x="568615" y="43586"/>
                    </a:cubicBezTo>
                    <a:close/>
                  </a:path>
                </a:pathLst>
              </a:custGeom>
              <a:solidFill>
                <a:srgbClr val="FFFFFF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565">
                <a:extLst>
                  <a:ext uri="{FF2B5EF4-FFF2-40B4-BE49-F238E27FC236}">
                    <a16:creationId xmlns:a16="http://schemas.microsoft.com/office/drawing/2014/main" id="{50283E36-F59C-B614-CDDF-BB2E5AABD3EB}"/>
                  </a:ext>
                </a:extLst>
              </p:cNvPr>
              <p:cNvSpPr/>
              <p:nvPr/>
            </p:nvSpPr>
            <p:spPr>
              <a:xfrm>
                <a:off x="8197620" y="2937383"/>
                <a:ext cx="28963" cy="9752"/>
              </a:xfrm>
              <a:custGeom>
                <a:avLst/>
                <a:gdLst>
                  <a:gd name="connsiteX0" fmla="*/ 110428 w 135337"/>
                  <a:gd name="connsiteY0" fmla="*/ 43586 h 45568"/>
                  <a:gd name="connsiteX1" fmla="*/ 20659 w 135337"/>
                  <a:gd name="connsiteY1" fmla="*/ 43586 h 45568"/>
                  <a:gd name="connsiteX2" fmla="*/ -2125 w 135337"/>
                  <a:gd name="connsiteY2" fmla="*/ 20802 h 45568"/>
                  <a:gd name="connsiteX3" fmla="*/ 20659 w 135337"/>
                  <a:gd name="connsiteY3" fmla="*/ -1982 h 45568"/>
                  <a:gd name="connsiteX4" fmla="*/ 110428 w 135337"/>
                  <a:gd name="connsiteY4" fmla="*/ -1982 h 45568"/>
                  <a:gd name="connsiteX5" fmla="*/ 133212 w 135337"/>
                  <a:gd name="connsiteY5" fmla="*/ 20802 h 45568"/>
                  <a:gd name="connsiteX6" fmla="*/ 110428 w 135337"/>
                  <a:gd name="connsiteY6" fmla="*/ 43586 h 4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5337" h="45568">
                    <a:moveTo>
                      <a:pt x="110428" y="43586"/>
                    </a:moveTo>
                    <a:lnTo>
                      <a:pt x="20659" y="43586"/>
                    </a:lnTo>
                    <a:cubicBezTo>
                      <a:pt x="8071" y="43586"/>
                      <a:pt x="-2125" y="33334"/>
                      <a:pt x="-2125" y="20802"/>
                    </a:cubicBezTo>
                    <a:cubicBezTo>
                      <a:pt x="-2125" y="8214"/>
                      <a:pt x="8071" y="-1982"/>
                      <a:pt x="20659" y="-1982"/>
                    </a:cubicBezTo>
                    <a:lnTo>
                      <a:pt x="110428" y="-1982"/>
                    </a:lnTo>
                    <a:cubicBezTo>
                      <a:pt x="123016" y="-1982"/>
                      <a:pt x="133212" y="8214"/>
                      <a:pt x="133212" y="20802"/>
                    </a:cubicBezTo>
                    <a:cubicBezTo>
                      <a:pt x="133212" y="33334"/>
                      <a:pt x="123016" y="43586"/>
                      <a:pt x="110428" y="43586"/>
                    </a:cubicBezTo>
                    <a:close/>
                  </a:path>
                </a:pathLst>
              </a:custGeom>
              <a:solidFill>
                <a:srgbClr val="FFFFFF"/>
              </a:solidFill>
              <a:ln w="569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61" name="TextBox 260">
              <a:extLst>
                <a:ext uri="{FF2B5EF4-FFF2-40B4-BE49-F238E27FC236}">
                  <a16:creationId xmlns:a16="http://schemas.microsoft.com/office/drawing/2014/main" id="{2458374D-14B2-BDD6-4A2D-927217D28087}"/>
                </a:ext>
              </a:extLst>
            </p:cNvPr>
            <p:cNvSpPr txBox="1">
              <a:spLocks/>
            </p:cNvSpPr>
            <p:nvPr/>
          </p:nvSpPr>
          <p:spPr>
            <a:xfrm>
              <a:off x="5340099" y="3788797"/>
              <a:ext cx="1816601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GB" sz="1400" noProof="0" dirty="0"/>
                <a:t>Evolving consumer preferences</a:t>
              </a:r>
            </a:p>
          </p:txBody>
        </p:sp>
        <p:sp>
          <p:nvSpPr>
            <p:cNvPr id="264" name="IconEnclosure">
              <a:extLst>
                <a:ext uri="{FF2B5EF4-FFF2-40B4-BE49-F238E27FC236}">
                  <a16:creationId xmlns:a16="http://schemas.microsoft.com/office/drawing/2014/main" id="{873CE896-D6E3-11B6-0B02-0A2E3B66E379}"/>
                </a:ext>
              </a:extLst>
            </p:cNvPr>
            <p:cNvSpPr/>
            <p:nvPr/>
          </p:nvSpPr>
          <p:spPr>
            <a:xfrm>
              <a:off x="4961655" y="3788797"/>
              <a:ext cx="322073" cy="322073"/>
            </a:xfrm>
            <a:prstGeom prst="ellipse">
              <a:avLst/>
            </a:prstGeom>
            <a:solidFill>
              <a:schemeClr val="accent2"/>
            </a:solidFill>
            <a:ln w="12700" cap="sq" cmpd="sng" algn="ctr">
              <a:solidFill>
                <a:srgbClr val="061F79"/>
              </a:solidFill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clip" horzOverflow="clip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GB" sz="1400" dirty="0">
                  <a:solidFill>
                    <a:schemeClr val="tx1"/>
                  </a:solidFill>
                </a:rPr>
                <a:t>B1</a:t>
              </a:r>
            </a:p>
          </p:txBody>
        </p:sp>
        <p:sp>
          <p:nvSpPr>
            <p:cNvPr id="267" name="TextBox 266">
              <a:extLst>
                <a:ext uri="{FF2B5EF4-FFF2-40B4-BE49-F238E27FC236}">
                  <a16:creationId xmlns:a16="http://schemas.microsoft.com/office/drawing/2014/main" id="{7A2F5D1A-039F-4BB2-1F20-52CD00A114E1}"/>
                </a:ext>
              </a:extLst>
            </p:cNvPr>
            <p:cNvSpPr txBox="1">
              <a:spLocks/>
            </p:cNvSpPr>
            <p:nvPr/>
          </p:nvSpPr>
          <p:spPr>
            <a:xfrm>
              <a:off x="5340099" y="4926299"/>
              <a:ext cx="1816601" cy="64633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GB" sz="1400" noProof="0" dirty="0"/>
                <a:t>Robotics and automation usage growing</a:t>
              </a:r>
            </a:p>
          </p:txBody>
        </p:sp>
        <p:sp>
          <p:nvSpPr>
            <p:cNvPr id="269" name="IconEnclosure">
              <a:extLst>
                <a:ext uri="{FF2B5EF4-FFF2-40B4-BE49-F238E27FC236}">
                  <a16:creationId xmlns:a16="http://schemas.microsoft.com/office/drawing/2014/main" id="{C886ACCC-BF8D-1BFF-519A-AF3AC892BD06}"/>
                </a:ext>
              </a:extLst>
            </p:cNvPr>
            <p:cNvSpPr/>
            <p:nvPr/>
          </p:nvSpPr>
          <p:spPr>
            <a:xfrm>
              <a:off x="4961655" y="4926299"/>
              <a:ext cx="322073" cy="322073"/>
            </a:xfrm>
            <a:prstGeom prst="ellipse">
              <a:avLst/>
            </a:prstGeom>
            <a:solidFill>
              <a:schemeClr val="accent2"/>
            </a:solidFill>
            <a:ln w="12700" cap="sq" cmpd="sng" algn="ctr">
              <a:solidFill>
                <a:srgbClr val="061F79"/>
              </a:solidFill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clip" horzOverflow="clip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GB" sz="1400" dirty="0">
                  <a:solidFill>
                    <a:schemeClr val="tx1"/>
                  </a:solidFill>
                </a:rPr>
                <a:t>C3</a:t>
              </a:r>
            </a:p>
          </p:txBody>
        </p:sp>
        <p:sp>
          <p:nvSpPr>
            <p:cNvPr id="272" name="TextBox 271">
              <a:extLst>
                <a:ext uri="{FF2B5EF4-FFF2-40B4-BE49-F238E27FC236}">
                  <a16:creationId xmlns:a16="http://schemas.microsoft.com/office/drawing/2014/main" id="{A38FFF80-E426-2AE3-6B00-1183E652CFA2}"/>
                </a:ext>
              </a:extLst>
            </p:cNvPr>
            <p:cNvSpPr txBox="1">
              <a:spLocks/>
            </p:cNvSpPr>
            <p:nvPr/>
          </p:nvSpPr>
          <p:spPr>
            <a:xfrm>
              <a:off x="5340099" y="5710494"/>
              <a:ext cx="1816601" cy="64633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GB" sz="1400" noProof="0" dirty="0"/>
                <a:t>(Gen)AI fundamentally transforming ops &amp; overhead</a:t>
              </a:r>
            </a:p>
          </p:txBody>
        </p:sp>
        <p:sp>
          <p:nvSpPr>
            <p:cNvPr id="274" name="IconEnclosure">
              <a:extLst>
                <a:ext uri="{FF2B5EF4-FFF2-40B4-BE49-F238E27FC236}">
                  <a16:creationId xmlns:a16="http://schemas.microsoft.com/office/drawing/2014/main" id="{7E7AE49F-5122-C2B5-611D-C8B15E289A55}"/>
                </a:ext>
              </a:extLst>
            </p:cNvPr>
            <p:cNvSpPr/>
            <p:nvPr/>
          </p:nvSpPr>
          <p:spPr>
            <a:xfrm>
              <a:off x="4961655" y="5710494"/>
              <a:ext cx="322073" cy="322073"/>
            </a:xfrm>
            <a:prstGeom prst="ellipse">
              <a:avLst/>
            </a:prstGeom>
            <a:solidFill>
              <a:schemeClr val="accent2"/>
            </a:solidFill>
            <a:ln w="12700" cap="sq" cmpd="sng" algn="ctr">
              <a:solidFill>
                <a:srgbClr val="061F79"/>
              </a:solidFill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clip" horzOverflow="clip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GB" sz="1400" dirty="0">
                  <a:solidFill>
                    <a:schemeClr val="tx1"/>
                  </a:solidFill>
                </a:rPr>
                <a:t>C4</a:t>
              </a:r>
            </a:p>
          </p:txBody>
        </p:sp>
        <p:sp>
          <p:nvSpPr>
            <p:cNvPr id="287" name="TextBox 286">
              <a:extLst>
                <a:ext uri="{FF2B5EF4-FFF2-40B4-BE49-F238E27FC236}">
                  <a16:creationId xmlns:a16="http://schemas.microsoft.com/office/drawing/2014/main" id="{122621BC-D053-A43D-8866-07615C17D64E}"/>
                </a:ext>
              </a:extLst>
            </p:cNvPr>
            <p:cNvSpPr txBox="1">
              <a:spLocks/>
            </p:cNvSpPr>
            <p:nvPr/>
          </p:nvSpPr>
          <p:spPr>
            <a:xfrm>
              <a:off x="5340099" y="4357548"/>
              <a:ext cx="1816601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GB" sz="1400" noProof="0" dirty="0"/>
                <a:t>Continuing inflationary pressures</a:t>
              </a:r>
            </a:p>
          </p:txBody>
        </p:sp>
        <p:sp>
          <p:nvSpPr>
            <p:cNvPr id="289" name="IconEnclosure">
              <a:extLst>
                <a:ext uri="{FF2B5EF4-FFF2-40B4-BE49-F238E27FC236}">
                  <a16:creationId xmlns:a16="http://schemas.microsoft.com/office/drawing/2014/main" id="{2FDC064D-4631-B432-01C9-243018B0A293}"/>
                </a:ext>
              </a:extLst>
            </p:cNvPr>
            <p:cNvSpPr/>
            <p:nvPr/>
          </p:nvSpPr>
          <p:spPr>
            <a:xfrm>
              <a:off x="4961656" y="4357548"/>
              <a:ext cx="314312" cy="314312"/>
            </a:xfrm>
            <a:prstGeom prst="ellipse">
              <a:avLst/>
            </a:prstGeom>
            <a:solidFill>
              <a:schemeClr val="tx1"/>
            </a:solidFill>
            <a:ln w="12700" cap="sq" cmpd="sng" algn="ctr">
              <a:solidFill>
                <a:srgbClr val="061F79"/>
              </a:solidFill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clip" horzOverflow="clip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GB" sz="1400" noProof="0" dirty="0">
                  <a:solidFill>
                    <a:schemeClr val="bg1"/>
                  </a:solidFill>
                </a:rPr>
                <a:t>B2</a:t>
              </a:r>
            </a:p>
          </p:txBody>
        </p: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7D260D5A-97F5-F07B-8720-E7288101646A}"/>
                </a:ext>
              </a:extLst>
            </p:cNvPr>
            <p:cNvGrpSpPr/>
            <p:nvPr/>
          </p:nvGrpSpPr>
          <p:grpSpPr>
            <a:xfrm>
              <a:off x="4961655" y="4288616"/>
              <a:ext cx="2195045" cy="1352946"/>
              <a:chOff x="5272421" y="4288616"/>
              <a:chExt cx="1884279" cy="1352946"/>
            </a:xfrm>
          </p:grpSpPr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2AEB01B9-3B83-D0A7-E240-354EE68BB0E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72421" y="5641562"/>
                <a:ext cx="1884279" cy="0"/>
              </a:xfrm>
              <a:prstGeom prst="line">
                <a:avLst/>
              </a:prstGeom>
              <a:ln w="6350" cap="flat">
                <a:solidFill>
                  <a:schemeClr val="accent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2920216F-4E98-9C31-B3AB-9C98D72D4A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72421" y="4857367"/>
                <a:ext cx="1884279" cy="0"/>
              </a:xfrm>
              <a:prstGeom prst="line">
                <a:avLst/>
              </a:prstGeom>
              <a:ln w="6350" cap="flat">
                <a:solidFill>
                  <a:schemeClr val="accent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65AE42D8-7B3F-B60E-DB45-1CB9E52038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72421" y="4288616"/>
                <a:ext cx="1884279" cy="0"/>
              </a:xfrm>
              <a:prstGeom prst="line">
                <a:avLst/>
              </a:prstGeom>
              <a:ln w="6350" cap="flat">
                <a:solidFill>
                  <a:schemeClr val="accent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" name="Rectangle: Top Corners Rounded 6">
            <a:extLst>
              <a:ext uri="{FF2B5EF4-FFF2-40B4-BE49-F238E27FC236}">
                <a16:creationId xmlns:a16="http://schemas.microsoft.com/office/drawing/2014/main" id="{697B242A-5AE3-30CF-7979-AEB0C32E9B71}"/>
              </a:ext>
            </a:extLst>
          </p:cNvPr>
          <p:cNvSpPr/>
          <p:nvPr/>
        </p:nvSpPr>
        <p:spPr>
          <a:xfrm rot="16200000">
            <a:off x="6760827" y="2692467"/>
            <a:ext cx="5517641" cy="2752466"/>
          </a:xfrm>
          <a:prstGeom prst="roundRect">
            <a:avLst>
              <a:gd name="adj" fmla="val 50000"/>
            </a:avLst>
          </a:prstGeom>
          <a:solidFill>
            <a:schemeClr val="bg1">
              <a:lumMod val="90000"/>
              <a:lumOff val="10000"/>
              <a:alpha val="72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E8D03AF4-B16D-7BBB-464B-839AA9D03C38}"/>
              </a:ext>
            </a:extLst>
          </p:cNvPr>
          <p:cNvSpPr/>
          <p:nvPr/>
        </p:nvSpPr>
        <p:spPr>
          <a:xfrm>
            <a:off x="9398075" y="1238206"/>
            <a:ext cx="243144" cy="215561"/>
          </a:xfrm>
          <a:custGeom>
            <a:avLst/>
            <a:gdLst>
              <a:gd name="connsiteX0" fmla="*/ 239732 w 243104"/>
              <a:gd name="connsiteY0" fmla="*/ 105510 h 221489"/>
              <a:gd name="connsiteX1" fmla="*/ 8132 w 243104"/>
              <a:gd name="connsiteY1" fmla="*/ 519 h 221489"/>
              <a:gd name="connsiteX2" fmla="*/ 0 w 243104"/>
              <a:gd name="connsiteY2" fmla="*/ 5754 h 221489"/>
              <a:gd name="connsiteX3" fmla="*/ 0 w 243104"/>
              <a:gd name="connsiteY3" fmla="*/ 215735 h 221489"/>
              <a:gd name="connsiteX4" fmla="*/ 8132 w 243104"/>
              <a:gd name="connsiteY4" fmla="*/ 220970 h 221489"/>
              <a:gd name="connsiteX5" fmla="*/ 239732 w 243104"/>
              <a:gd name="connsiteY5" fmla="*/ 115980 h 221489"/>
              <a:gd name="connsiteX6" fmla="*/ 239732 w 243104"/>
              <a:gd name="connsiteY6" fmla="*/ 105510 h 221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3104" h="221489">
                <a:moveTo>
                  <a:pt x="239732" y="105510"/>
                </a:moveTo>
                <a:lnTo>
                  <a:pt x="8132" y="519"/>
                </a:lnTo>
                <a:cubicBezTo>
                  <a:pt x="4325" y="-1205"/>
                  <a:pt x="0" y="1577"/>
                  <a:pt x="0" y="5754"/>
                </a:cubicBezTo>
                <a:lnTo>
                  <a:pt x="0" y="215735"/>
                </a:lnTo>
                <a:cubicBezTo>
                  <a:pt x="0" y="219914"/>
                  <a:pt x="4325" y="222694"/>
                  <a:pt x="8132" y="220970"/>
                </a:cubicBezTo>
                <a:lnTo>
                  <a:pt x="239732" y="115980"/>
                </a:lnTo>
                <a:cubicBezTo>
                  <a:pt x="244229" y="113941"/>
                  <a:pt x="244229" y="107550"/>
                  <a:pt x="239732" y="105510"/>
                </a:cubicBezTo>
                <a:close/>
              </a:path>
            </a:pathLst>
          </a:custGeom>
          <a:solidFill>
            <a:schemeClr val="accent2"/>
          </a:solidFill>
          <a:ln w="1913" cap="flat">
            <a:noFill/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DBB4E1C-F117-EFEE-3EE5-E435A5001642}"/>
              </a:ext>
            </a:extLst>
          </p:cNvPr>
          <p:cNvSpPr/>
          <p:nvPr/>
        </p:nvSpPr>
        <p:spPr>
          <a:xfrm>
            <a:off x="9388642" y="1229022"/>
            <a:ext cx="262009" cy="233929"/>
          </a:xfrm>
          <a:custGeom>
            <a:avLst/>
            <a:gdLst>
              <a:gd name="connsiteX0" fmla="*/ 18885 w 261965"/>
              <a:gd name="connsiteY0" fmla="*/ 20912 h 240362"/>
              <a:gd name="connsiteX1" fmla="*/ 18885 w 261965"/>
              <a:gd name="connsiteY1" fmla="*/ 219451 h 240362"/>
              <a:gd name="connsiteX2" fmla="*/ 237857 w 261965"/>
              <a:gd name="connsiteY2" fmla="*/ 120182 h 240362"/>
              <a:gd name="connsiteX3" fmla="*/ 18885 w 261965"/>
              <a:gd name="connsiteY3" fmla="*/ 20912 h 240362"/>
              <a:gd name="connsiteX4" fmla="*/ 15173 w 261965"/>
              <a:gd name="connsiteY4" fmla="*/ 240362 h 240362"/>
              <a:gd name="connsiteX5" fmla="*/ 6964 w 261965"/>
              <a:gd name="connsiteY5" fmla="*/ 237932 h 240362"/>
              <a:gd name="connsiteX6" fmla="*/ 0 w 261965"/>
              <a:gd name="connsiteY6" fmla="*/ 225172 h 240362"/>
              <a:gd name="connsiteX7" fmla="*/ 0 w 261965"/>
              <a:gd name="connsiteY7" fmla="*/ 15191 h 240362"/>
              <a:gd name="connsiteX8" fmla="*/ 6964 w 261965"/>
              <a:gd name="connsiteY8" fmla="*/ 2431 h 240362"/>
              <a:gd name="connsiteX9" fmla="*/ 21449 w 261965"/>
              <a:gd name="connsiteY9" fmla="*/ 1363 h 240362"/>
              <a:gd name="connsiteX10" fmla="*/ 253050 w 261965"/>
              <a:gd name="connsiteY10" fmla="*/ 106354 h 240362"/>
              <a:gd name="connsiteX11" fmla="*/ 261966 w 261965"/>
              <a:gd name="connsiteY11" fmla="*/ 120184 h 240362"/>
              <a:gd name="connsiteX12" fmla="*/ 253050 w 261965"/>
              <a:gd name="connsiteY12" fmla="*/ 134011 h 240362"/>
              <a:gd name="connsiteX13" fmla="*/ 21449 w 261965"/>
              <a:gd name="connsiteY13" fmla="*/ 239000 h 240362"/>
              <a:gd name="connsiteX14" fmla="*/ 15173 w 261965"/>
              <a:gd name="connsiteY14" fmla="*/ 240362 h 240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61965" h="240362">
                <a:moveTo>
                  <a:pt x="18885" y="20912"/>
                </a:moveTo>
                <a:lnTo>
                  <a:pt x="18885" y="219451"/>
                </a:lnTo>
                <a:lnTo>
                  <a:pt x="237857" y="120182"/>
                </a:lnTo>
                <a:lnTo>
                  <a:pt x="18885" y="20912"/>
                </a:lnTo>
                <a:close/>
                <a:moveTo>
                  <a:pt x="15173" y="240362"/>
                </a:moveTo>
                <a:cubicBezTo>
                  <a:pt x="12322" y="240362"/>
                  <a:pt x="9471" y="239545"/>
                  <a:pt x="6964" y="237932"/>
                </a:cubicBezTo>
                <a:cubicBezTo>
                  <a:pt x="2602" y="235125"/>
                  <a:pt x="0" y="230353"/>
                  <a:pt x="0" y="225172"/>
                </a:cubicBezTo>
                <a:lnTo>
                  <a:pt x="0" y="15191"/>
                </a:lnTo>
                <a:cubicBezTo>
                  <a:pt x="0" y="10010"/>
                  <a:pt x="2602" y="5239"/>
                  <a:pt x="6964" y="2431"/>
                </a:cubicBezTo>
                <a:cubicBezTo>
                  <a:pt x="11327" y="-380"/>
                  <a:pt x="16742" y="-776"/>
                  <a:pt x="21449" y="1363"/>
                </a:cubicBezTo>
                <a:lnTo>
                  <a:pt x="253050" y="106354"/>
                </a:lnTo>
                <a:cubicBezTo>
                  <a:pt x="258560" y="108847"/>
                  <a:pt x="261966" y="114148"/>
                  <a:pt x="261966" y="120184"/>
                </a:cubicBezTo>
                <a:cubicBezTo>
                  <a:pt x="261966" y="126221"/>
                  <a:pt x="258560" y="131519"/>
                  <a:pt x="253050" y="134011"/>
                </a:cubicBezTo>
                <a:lnTo>
                  <a:pt x="21449" y="239000"/>
                </a:lnTo>
                <a:cubicBezTo>
                  <a:pt x="19440" y="239913"/>
                  <a:pt x="17316" y="240362"/>
                  <a:pt x="15173" y="240362"/>
                </a:cubicBezTo>
                <a:close/>
              </a:path>
            </a:pathLst>
          </a:custGeom>
          <a:solidFill>
            <a:schemeClr val="accent2"/>
          </a:solidFill>
          <a:ln w="1913" cap="flat">
            <a:noFill/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7B6CB1EC-CB98-B9C7-ED29-0BE9C9221A06}"/>
              </a:ext>
            </a:extLst>
          </p:cNvPr>
          <p:cNvSpPr/>
          <p:nvPr/>
        </p:nvSpPr>
        <p:spPr>
          <a:xfrm>
            <a:off x="8646718" y="1554416"/>
            <a:ext cx="1745858" cy="1698856"/>
          </a:xfrm>
          <a:custGeom>
            <a:avLst/>
            <a:gdLst>
              <a:gd name="connsiteX0" fmla="*/ 0 w 1200767"/>
              <a:gd name="connsiteY0" fmla="*/ 600387 h 1200772"/>
              <a:gd name="connsiteX1" fmla="*/ 600374 w 1200767"/>
              <a:gd name="connsiteY1" fmla="*/ 0 h 1200772"/>
              <a:gd name="connsiteX2" fmla="*/ 1200767 w 1200767"/>
              <a:gd name="connsiteY2" fmla="*/ 600385 h 1200772"/>
              <a:gd name="connsiteX3" fmla="*/ 600374 w 1200767"/>
              <a:gd name="connsiteY3" fmla="*/ 1200773 h 1200772"/>
              <a:gd name="connsiteX4" fmla="*/ 0 w 1200767"/>
              <a:gd name="connsiteY4" fmla="*/ 600387 h 1200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0767" h="1200772">
                <a:moveTo>
                  <a:pt x="0" y="600387"/>
                </a:moveTo>
                <a:cubicBezTo>
                  <a:pt x="0" y="268803"/>
                  <a:pt x="268797" y="0"/>
                  <a:pt x="600374" y="0"/>
                </a:cubicBezTo>
                <a:cubicBezTo>
                  <a:pt x="931970" y="0"/>
                  <a:pt x="1200767" y="268803"/>
                  <a:pt x="1200767" y="600385"/>
                </a:cubicBezTo>
                <a:cubicBezTo>
                  <a:pt x="1200767" y="931970"/>
                  <a:pt x="931970" y="1200773"/>
                  <a:pt x="600374" y="1200773"/>
                </a:cubicBezTo>
                <a:cubicBezTo>
                  <a:pt x="268797" y="1200773"/>
                  <a:pt x="0" y="931970"/>
                  <a:pt x="0" y="600387"/>
                </a:cubicBezTo>
                <a:close/>
              </a:path>
            </a:pathLst>
          </a:custGeom>
          <a:solidFill>
            <a:schemeClr val="accent5">
              <a:lumMod val="50000"/>
            </a:schemeClr>
          </a:solidFill>
          <a:ln w="1913" cap="flat">
            <a:noFill/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6" name="TextBox 505">
            <a:extLst>
              <a:ext uri="{FF2B5EF4-FFF2-40B4-BE49-F238E27FC236}">
                <a16:creationId xmlns:a16="http://schemas.microsoft.com/office/drawing/2014/main" id="{EC1024A2-B231-6553-83E1-5CC2AF341AF3}"/>
              </a:ext>
            </a:extLst>
          </p:cNvPr>
          <p:cNvSpPr txBox="1"/>
          <p:nvPr/>
        </p:nvSpPr>
        <p:spPr>
          <a:xfrm>
            <a:off x="8542848" y="3409677"/>
            <a:ext cx="209571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tructural shif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2DA563B-032C-9192-0569-8FD3716CA629}"/>
              </a:ext>
            </a:extLst>
          </p:cNvPr>
          <p:cNvGrpSpPr/>
          <p:nvPr/>
        </p:nvGrpSpPr>
        <p:grpSpPr>
          <a:xfrm>
            <a:off x="8787223" y="1568741"/>
            <a:ext cx="1504214" cy="1450586"/>
            <a:chOff x="914560" y="2380632"/>
            <a:chExt cx="1504214" cy="1450586"/>
          </a:xfrm>
        </p:grpSpPr>
        <p:grpSp>
          <p:nvGrpSpPr>
            <p:cNvPr id="2593" name="Group 2592">
              <a:extLst>
                <a:ext uri="{FF2B5EF4-FFF2-40B4-BE49-F238E27FC236}">
                  <a16:creationId xmlns:a16="http://schemas.microsoft.com/office/drawing/2014/main" id="{2B6F14FA-ADFD-D108-6B18-74A56345F014}"/>
                </a:ext>
              </a:extLst>
            </p:cNvPr>
            <p:cNvGrpSpPr/>
            <p:nvPr/>
          </p:nvGrpSpPr>
          <p:grpSpPr>
            <a:xfrm>
              <a:off x="914560" y="2591696"/>
              <a:ext cx="1504214" cy="1239522"/>
              <a:chOff x="914560" y="1579721"/>
              <a:chExt cx="1504214" cy="1239522"/>
            </a:xfrm>
          </p:grpSpPr>
          <p:sp>
            <p:nvSpPr>
              <p:cNvPr id="2475" name="Freeform: Shape 2474">
                <a:extLst>
                  <a:ext uri="{FF2B5EF4-FFF2-40B4-BE49-F238E27FC236}">
                    <a16:creationId xmlns:a16="http://schemas.microsoft.com/office/drawing/2014/main" id="{D0E86D41-3995-E5A2-A7E9-68F3EE731760}"/>
                  </a:ext>
                </a:extLst>
              </p:cNvPr>
              <p:cNvSpPr/>
              <p:nvPr/>
            </p:nvSpPr>
            <p:spPr>
              <a:xfrm>
                <a:off x="1262443" y="1684238"/>
                <a:ext cx="805478" cy="1134996"/>
              </a:xfrm>
              <a:custGeom>
                <a:avLst/>
                <a:gdLst>
                  <a:gd name="connsiteX0" fmla="*/ 233625 w 4428681"/>
                  <a:gd name="connsiteY0" fmla="*/ 0 h 6240435"/>
                  <a:gd name="connsiteX1" fmla="*/ 4195057 w 4428681"/>
                  <a:gd name="connsiteY1" fmla="*/ 0 h 6240435"/>
                  <a:gd name="connsiteX2" fmla="*/ 4428682 w 4428681"/>
                  <a:gd name="connsiteY2" fmla="*/ 233625 h 6240435"/>
                  <a:gd name="connsiteX3" fmla="*/ 4428682 w 4428681"/>
                  <a:gd name="connsiteY3" fmla="*/ 6006810 h 6240435"/>
                  <a:gd name="connsiteX4" fmla="*/ 4195057 w 4428681"/>
                  <a:gd name="connsiteY4" fmla="*/ 6240436 h 6240435"/>
                  <a:gd name="connsiteX5" fmla="*/ 233625 w 4428681"/>
                  <a:gd name="connsiteY5" fmla="*/ 6240436 h 6240435"/>
                  <a:gd name="connsiteX6" fmla="*/ 0 w 4428681"/>
                  <a:gd name="connsiteY6" fmla="*/ 6006810 h 6240435"/>
                  <a:gd name="connsiteX7" fmla="*/ 0 w 4428681"/>
                  <a:gd name="connsiteY7" fmla="*/ 233625 h 6240435"/>
                  <a:gd name="connsiteX8" fmla="*/ 233625 w 4428681"/>
                  <a:gd name="connsiteY8" fmla="*/ 0 h 6240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28681" h="6240435">
                    <a:moveTo>
                      <a:pt x="233625" y="0"/>
                    </a:moveTo>
                    <a:lnTo>
                      <a:pt x="4195057" y="0"/>
                    </a:lnTo>
                    <a:cubicBezTo>
                      <a:pt x="4323989" y="0"/>
                      <a:pt x="4428682" y="104693"/>
                      <a:pt x="4428682" y="233625"/>
                    </a:cubicBezTo>
                    <a:lnTo>
                      <a:pt x="4428682" y="6006810"/>
                    </a:lnTo>
                    <a:cubicBezTo>
                      <a:pt x="4428682" y="6135743"/>
                      <a:pt x="4323989" y="6240436"/>
                      <a:pt x="4195057" y="6240436"/>
                    </a:cubicBezTo>
                    <a:lnTo>
                      <a:pt x="233625" y="6240436"/>
                    </a:lnTo>
                    <a:cubicBezTo>
                      <a:pt x="104693" y="6240436"/>
                      <a:pt x="0" y="6135743"/>
                      <a:pt x="0" y="6006810"/>
                    </a:cubicBezTo>
                    <a:lnTo>
                      <a:pt x="0" y="233625"/>
                    </a:lnTo>
                    <a:cubicBezTo>
                      <a:pt x="0" y="104693"/>
                      <a:pt x="104693" y="0"/>
                      <a:pt x="233625" y="0"/>
                    </a:cubicBezTo>
                    <a:close/>
                  </a:path>
                </a:pathLst>
              </a:custGeom>
              <a:solidFill>
                <a:srgbClr val="307FED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76" name="Freeform: Shape 2475">
                <a:extLst>
                  <a:ext uri="{FF2B5EF4-FFF2-40B4-BE49-F238E27FC236}">
                    <a16:creationId xmlns:a16="http://schemas.microsoft.com/office/drawing/2014/main" id="{8EBBD83E-35D1-A94E-E71F-8B61BE0222DD}"/>
                  </a:ext>
                </a:extLst>
              </p:cNvPr>
              <p:cNvSpPr/>
              <p:nvPr/>
            </p:nvSpPr>
            <p:spPr>
              <a:xfrm>
                <a:off x="1262434" y="1953782"/>
                <a:ext cx="805496" cy="865461"/>
              </a:xfrm>
              <a:custGeom>
                <a:avLst/>
                <a:gdLst>
                  <a:gd name="connsiteX0" fmla="*/ 4428780 w 4428780"/>
                  <a:gd name="connsiteY0" fmla="*/ 3212126 h 4758476"/>
                  <a:gd name="connsiteX1" fmla="*/ 4428780 w 4428780"/>
                  <a:gd name="connsiteY1" fmla="*/ 4621908 h 4758476"/>
                  <a:gd name="connsiteX2" fmla="*/ 4292212 w 4428780"/>
                  <a:gd name="connsiteY2" fmla="*/ 4758477 h 4758476"/>
                  <a:gd name="connsiteX3" fmla="*/ 136569 w 4428780"/>
                  <a:gd name="connsiteY3" fmla="*/ 4758477 h 4758476"/>
                  <a:gd name="connsiteX4" fmla="*/ 0 w 4428780"/>
                  <a:gd name="connsiteY4" fmla="*/ 4621908 h 4758476"/>
                  <a:gd name="connsiteX5" fmla="*/ 0 w 4428780"/>
                  <a:gd name="connsiteY5" fmla="*/ 0 h 4758476"/>
                  <a:gd name="connsiteX6" fmla="*/ 4428731 w 4428780"/>
                  <a:gd name="connsiteY6" fmla="*/ 3212126 h 4758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28780" h="4758476">
                    <a:moveTo>
                      <a:pt x="4428780" y="3212126"/>
                    </a:moveTo>
                    <a:lnTo>
                      <a:pt x="4428780" y="4621908"/>
                    </a:lnTo>
                    <a:cubicBezTo>
                      <a:pt x="4428780" y="4697287"/>
                      <a:pt x="4367639" y="4758477"/>
                      <a:pt x="4292212" y="4758477"/>
                    </a:cubicBezTo>
                    <a:lnTo>
                      <a:pt x="136569" y="4758477"/>
                    </a:lnTo>
                    <a:cubicBezTo>
                      <a:pt x="61190" y="4758477"/>
                      <a:pt x="0" y="4697336"/>
                      <a:pt x="0" y="4621908"/>
                    </a:cubicBezTo>
                    <a:lnTo>
                      <a:pt x="0" y="0"/>
                    </a:lnTo>
                    <a:lnTo>
                      <a:pt x="4428731" y="3212126"/>
                    </a:lnTo>
                    <a:close/>
                  </a:path>
                </a:pathLst>
              </a:custGeom>
              <a:solidFill>
                <a:srgbClr val="1F70C1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77" name="Freeform: Shape 2476">
                <a:extLst>
                  <a:ext uri="{FF2B5EF4-FFF2-40B4-BE49-F238E27FC236}">
                    <a16:creationId xmlns:a16="http://schemas.microsoft.com/office/drawing/2014/main" id="{717A8A75-2FCC-4970-39BC-794D3F5FE2BE}"/>
                  </a:ext>
                </a:extLst>
              </p:cNvPr>
              <p:cNvSpPr/>
              <p:nvPr/>
            </p:nvSpPr>
            <p:spPr>
              <a:xfrm>
                <a:off x="1309244" y="1734444"/>
                <a:ext cx="711884" cy="1034584"/>
              </a:xfrm>
              <a:custGeom>
                <a:avLst/>
                <a:gdLst>
                  <a:gd name="connsiteX0" fmla="*/ 3829888 w 3914085"/>
                  <a:gd name="connsiteY0" fmla="*/ 0 h 5688346"/>
                  <a:gd name="connsiteX1" fmla="*/ 3914085 w 3914085"/>
                  <a:gd name="connsiteY1" fmla="*/ 84198 h 5688346"/>
                  <a:gd name="connsiteX2" fmla="*/ 3914085 w 3914085"/>
                  <a:gd name="connsiteY2" fmla="*/ 5604149 h 5688346"/>
                  <a:gd name="connsiteX3" fmla="*/ 3829888 w 3914085"/>
                  <a:gd name="connsiteY3" fmla="*/ 5688347 h 5688346"/>
                  <a:gd name="connsiteX4" fmla="*/ 84198 w 3914085"/>
                  <a:gd name="connsiteY4" fmla="*/ 5688347 h 5688346"/>
                  <a:gd name="connsiteX5" fmla="*/ 0 w 3914085"/>
                  <a:gd name="connsiteY5" fmla="*/ 5604149 h 5688346"/>
                  <a:gd name="connsiteX6" fmla="*/ 0 w 3914085"/>
                  <a:gd name="connsiteY6" fmla="*/ 84198 h 5688346"/>
                  <a:gd name="connsiteX7" fmla="*/ 84198 w 3914085"/>
                  <a:gd name="connsiteY7" fmla="*/ 0 h 5688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14085" h="5688346">
                    <a:moveTo>
                      <a:pt x="3829888" y="0"/>
                    </a:moveTo>
                    <a:cubicBezTo>
                      <a:pt x="3876389" y="0"/>
                      <a:pt x="3914085" y="37697"/>
                      <a:pt x="3914085" y="84198"/>
                    </a:cubicBezTo>
                    <a:lnTo>
                      <a:pt x="3914085" y="5604149"/>
                    </a:lnTo>
                    <a:cubicBezTo>
                      <a:pt x="3914085" y="5650650"/>
                      <a:pt x="3876389" y="5688347"/>
                      <a:pt x="3829888" y="5688347"/>
                    </a:cubicBezTo>
                    <a:lnTo>
                      <a:pt x="84198" y="5688347"/>
                    </a:lnTo>
                    <a:cubicBezTo>
                      <a:pt x="37697" y="5688347"/>
                      <a:pt x="0" y="5650650"/>
                      <a:pt x="0" y="5604149"/>
                    </a:cubicBezTo>
                    <a:lnTo>
                      <a:pt x="0" y="84198"/>
                    </a:lnTo>
                    <a:cubicBezTo>
                      <a:pt x="0" y="37697"/>
                      <a:pt x="37696" y="0"/>
                      <a:pt x="8419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78" name="Freeform: Shape 2477">
                <a:extLst>
                  <a:ext uri="{FF2B5EF4-FFF2-40B4-BE49-F238E27FC236}">
                    <a16:creationId xmlns:a16="http://schemas.microsoft.com/office/drawing/2014/main" id="{F620368F-D46E-994E-6813-A44881730A01}"/>
                  </a:ext>
                </a:extLst>
              </p:cNvPr>
              <p:cNvSpPr/>
              <p:nvPr/>
            </p:nvSpPr>
            <p:spPr>
              <a:xfrm>
                <a:off x="1484120" y="1579721"/>
                <a:ext cx="362107" cy="177196"/>
              </a:xfrm>
              <a:custGeom>
                <a:avLst/>
                <a:gdLst>
                  <a:gd name="connsiteX0" fmla="*/ 1975074 w 1990938"/>
                  <a:gd name="connsiteY0" fmla="*/ 552237 h 974259"/>
                  <a:gd name="connsiteX1" fmla="*/ 1715731 w 1990938"/>
                  <a:gd name="connsiteY1" fmla="*/ 369357 h 974259"/>
                  <a:gd name="connsiteX2" fmla="*/ 1318687 w 1990938"/>
                  <a:gd name="connsiteY2" fmla="*/ 369357 h 974259"/>
                  <a:gd name="connsiteX3" fmla="*/ 1321544 w 1990938"/>
                  <a:gd name="connsiteY3" fmla="*/ 326100 h 974259"/>
                  <a:gd name="connsiteX4" fmla="*/ 995494 w 1990938"/>
                  <a:gd name="connsiteY4" fmla="*/ 0 h 974259"/>
                  <a:gd name="connsiteX5" fmla="*/ 669394 w 1990938"/>
                  <a:gd name="connsiteY5" fmla="*/ 326100 h 974259"/>
                  <a:gd name="connsiteX6" fmla="*/ 672252 w 1990938"/>
                  <a:gd name="connsiteY6" fmla="*/ 369357 h 974259"/>
                  <a:gd name="connsiteX7" fmla="*/ 275207 w 1990938"/>
                  <a:gd name="connsiteY7" fmla="*/ 369357 h 974259"/>
                  <a:gd name="connsiteX8" fmla="*/ 0 w 1990938"/>
                  <a:gd name="connsiteY8" fmla="*/ 644563 h 974259"/>
                  <a:gd name="connsiteX9" fmla="*/ 0 w 1990938"/>
                  <a:gd name="connsiteY9" fmla="*/ 974260 h 974259"/>
                  <a:gd name="connsiteX10" fmla="*/ 1990938 w 1990938"/>
                  <a:gd name="connsiteY10" fmla="*/ 974260 h 974259"/>
                  <a:gd name="connsiteX11" fmla="*/ 1990938 w 1990938"/>
                  <a:gd name="connsiteY11" fmla="*/ 644563 h 974259"/>
                  <a:gd name="connsiteX12" fmla="*/ 1975025 w 1990938"/>
                  <a:gd name="connsiteY12" fmla="*/ 552187 h 974259"/>
                  <a:gd name="connsiteX13" fmla="*/ 995543 w 1990938"/>
                  <a:gd name="connsiteY13" fmla="*/ 120212 h 974259"/>
                  <a:gd name="connsiteX14" fmla="*/ 1201530 w 1990938"/>
                  <a:gd name="connsiteY14" fmla="*/ 326198 h 974259"/>
                  <a:gd name="connsiteX15" fmla="*/ 1196948 w 1990938"/>
                  <a:gd name="connsiteY15" fmla="*/ 369455 h 974259"/>
                  <a:gd name="connsiteX16" fmla="*/ 995543 w 1990938"/>
                  <a:gd name="connsiteY16" fmla="*/ 532185 h 974259"/>
                  <a:gd name="connsiteX17" fmla="*/ 794139 w 1990938"/>
                  <a:gd name="connsiteY17" fmla="*/ 369455 h 974259"/>
                  <a:gd name="connsiteX18" fmla="*/ 789557 w 1990938"/>
                  <a:gd name="connsiteY18" fmla="*/ 326198 h 974259"/>
                  <a:gd name="connsiteX19" fmla="*/ 995543 w 1990938"/>
                  <a:gd name="connsiteY19" fmla="*/ 120212 h 974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990938" h="974259">
                    <a:moveTo>
                      <a:pt x="1975074" y="552237"/>
                    </a:moveTo>
                    <a:cubicBezTo>
                      <a:pt x="1937139" y="445671"/>
                      <a:pt x="1835352" y="369357"/>
                      <a:pt x="1715731" y="369357"/>
                    </a:cubicBezTo>
                    <a:lnTo>
                      <a:pt x="1318687" y="369357"/>
                    </a:lnTo>
                    <a:cubicBezTo>
                      <a:pt x="1320608" y="355217"/>
                      <a:pt x="1321544" y="340782"/>
                      <a:pt x="1321544" y="326100"/>
                    </a:cubicBezTo>
                    <a:cubicBezTo>
                      <a:pt x="1321544" y="146028"/>
                      <a:pt x="1175566" y="0"/>
                      <a:pt x="995494" y="0"/>
                    </a:cubicBezTo>
                    <a:cubicBezTo>
                      <a:pt x="815422" y="0"/>
                      <a:pt x="669394" y="146028"/>
                      <a:pt x="669394" y="326100"/>
                    </a:cubicBezTo>
                    <a:cubicBezTo>
                      <a:pt x="669394" y="340782"/>
                      <a:pt x="670379" y="355168"/>
                      <a:pt x="672252" y="369357"/>
                    </a:cubicBezTo>
                    <a:lnTo>
                      <a:pt x="275207" y="369357"/>
                    </a:lnTo>
                    <a:cubicBezTo>
                      <a:pt x="123217" y="369357"/>
                      <a:pt x="0" y="492574"/>
                      <a:pt x="0" y="644563"/>
                    </a:cubicBezTo>
                    <a:lnTo>
                      <a:pt x="0" y="974260"/>
                    </a:lnTo>
                    <a:lnTo>
                      <a:pt x="1990938" y="974260"/>
                    </a:lnTo>
                    <a:lnTo>
                      <a:pt x="1990938" y="644563"/>
                    </a:lnTo>
                    <a:cubicBezTo>
                      <a:pt x="1990938" y="612145"/>
                      <a:pt x="1985322" y="581058"/>
                      <a:pt x="1975025" y="552187"/>
                    </a:cubicBezTo>
                    <a:close/>
                    <a:moveTo>
                      <a:pt x="995543" y="120212"/>
                    </a:moveTo>
                    <a:cubicBezTo>
                      <a:pt x="1109252" y="120212"/>
                      <a:pt x="1201530" y="212440"/>
                      <a:pt x="1201530" y="326198"/>
                    </a:cubicBezTo>
                    <a:cubicBezTo>
                      <a:pt x="1201530" y="341028"/>
                      <a:pt x="1199953" y="355512"/>
                      <a:pt x="1196948" y="369455"/>
                    </a:cubicBezTo>
                    <a:cubicBezTo>
                      <a:pt x="1177093" y="462422"/>
                      <a:pt x="1094422" y="532185"/>
                      <a:pt x="995543" y="532185"/>
                    </a:cubicBezTo>
                    <a:cubicBezTo>
                      <a:pt x="896664" y="532185"/>
                      <a:pt x="813993" y="462422"/>
                      <a:pt x="794139" y="369455"/>
                    </a:cubicBezTo>
                    <a:cubicBezTo>
                      <a:pt x="791182" y="355562"/>
                      <a:pt x="789557" y="341077"/>
                      <a:pt x="789557" y="326198"/>
                    </a:cubicBezTo>
                    <a:cubicBezTo>
                      <a:pt x="789557" y="212490"/>
                      <a:pt x="881785" y="120212"/>
                      <a:pt x="995543" y="120212"/>
                    </a:cubicBezTo>
                    <a:close/>
                  </a:path>
                </a:pathLst>
              </a:custGeom>
              <a:solidFill>
                <a:srgbClr val="006CCA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479" name="Graphic 2463">
                <a:extLst>
                  <a:ext uri="{FF2B5EF4-FFF2-40B4-BE49-F238E27FC236}">
                    <a16:creationId xmlns:a16="http://schemas.microsoft.com/office/drawing/2014/main" id="{497EEBFC-B156-D9C1-9199-E93CA2804364}"/>
                  </a:ext>
                </a:extLst>
              </p:cNvPr>
              <p:cNvGrpSpPr/>
              <p:nvPr/>
            </p:nvGrpSpPr>
            <p:grpSpPr>
              <a:xfrm>
                <a:off x="1386511" y="1865600"/>
                <a:ext cx="557350" cy="126604"/>
                <a:chOff x="-8408429" y="629814"/>
                <a:chExt cx="3064422" cy="696096"/>
              </a:xfrm>
            </p:grpSpPr>
            <p:sp>
              <p:nvSpPr>
                <p:cNvPr id="2480" name="Freeform: Shape 2479">
                  <a:extLst>
                    <a:ext uri="{FF2B5EF4-FFF2-40B4-BE49-F238E27FC236}">
                      <a16:creationId xmlns:a16="http://schemas.microsoft.com/office/drawing/2014/main" id="{FE00D061-8004-4598-8FA0-6E371CA3FA1B}"/>
                    </a:ext>
                  </a:extLst>
                </p:cNvPr>
                <p:cNvSpPr/>
                <p:nvPr/>
              </p:nvSpPr>
              <p:spPr>
                <a:xfrm>
                  <a:off x="-8408429" y="629814"/>
                  <a:ext cx="3064422" cy="696096"/>
                </a:xfrm>
                <a:custGeom>
                  <a:avLst/>
                  <a:gdLst>
                    <a:gd name="connsiteX0" fmla="*/ 0 w 3064422"/>
                    <a:gd name="connsiteY0" fmla="*/ 0 h 696096"/>
                    <a:gd name="connsiteX1" fmla="*/ 3064423 w 3064422"/>
                    <a:gd name="connsiteY1" fmla="*/ 0 h 696096"/>
                    <a:gd name="connsiteX2" fmla="*/ 3064423 w 3064422"/>
                    <a:gd name="connsiteY2" fmla="*/ 696097 h 696096"/>
                    <a:gd name="connsiteX3" fmla="*/ 0 w 3064422"/>
                    <a:gd name="connsiteY3" fmla="*/ 696097 h 6960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64422" h="696096">
                      <a:moveTo>
                        <a:pt x="0" y="0"/>
                      </a:moveTo>
                      <a:lnTo>
                        <a:pt x="3064423" y="0"/>
                      </a:lnTo>
                      <a:lnTo>
                        <a:pt x="3064423" y="696097"/>
                      </a:lnTo>
                      <a:lnTo>
                        <a:pt x="0" y="696097"/>
                      </a:lnTo>
                      <a:close/>
                    </a:path>
                  </a:pathLst>
                </a:custGeom>
                <a:solidFill>
                  <a:srgbClr val="3FA7FF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grpSp>
              <p:nvGrpSpPr>
                <p:cNvPr id="2481" name="Graphic 2463">
                  <a:extLst>
                    <a:ext uri="{FF2B5EF4-FFF2-40B4-BE49-F238E27FC236}">
                      <a16:creationId xmlns:a16="http://schemas.microsoft.com/office/drawing/2014/main" id="{3444606B-2EC4-7F35-81A8-64636E1E0DC3}"/>
                    </a:ext>
                  </a:extLst>
                </p:cNvPr>
                <p:cNvGrpSpPr/>
                <p:nvPr/>
              </p:nvGrpSpPr>
              <p:grpSpPr>
                <a:xfrm>
                  <a:off x="-7613107" y="721156"/>
                  <a:ext cx="1473681" cy="513807"/>
                  <a:chOff x="-7613107" y="721156"/>
                  <a:chExt cx="1473681" cy="513807"/>
                </a:xfrm>
                <a:solidFill>
                  <a:srgbClr val="FFFFFF"/>
                </a:solidFill>
              </p:grpSpPr>
              <p:sp>
                <p:nvSpPr>
                  <p:cNvPr id="2482" name="Freeform: Shape 2481">
                    <a:extLst>
                      <a:ext uri="{FF2B5EF4-FFF2-40B4-BE49-F238E27FC236}">
                        <a16:creationId xmlns:a16="http://schemas.microsoft.com/office/drawing/2014/main" id="{3DA7B616-60C9-D33E-69CD-F194C7193E01}"/>
                      </a:ext>
                    </a:extLst>
                  </p:cNvPr>
                  <p:cNvSpPr/>
                  <p:nvPr/>
                </p:nvSpPr>
                <p:spPr>
                  <a:xfrm>
                    <a:off x="-7613107" y="726477"/>
                    <a:ext cx="392512" cy="502722"/>
                  </a:xfrm>
                  <a:custGeom>
                    <a:avLst/>
                    <a:gdLst>
                      <a:gd name="connsiteX0" fmla="*/ 93509 w 392512"/>
                      <a:gd name="connsiteY0" fmla="*/ 306295 h 502722"/>
                      <a:gd name="connsiteX1" fmla="*/ 93509 w 392512"/>
                      <a:gd name="connsiteY1" fmla="*/ 502723 h 502722"/>
                      <a:gd name="connsiteX2" fmla="*/ 0 w 392512"/>
                      <a:gd name="connsiteY2" fmla="*/ 502723 h 502722"/>
                      <a:gd name="connsiteX3" fmla="*/ 0 w 392512"/>
                      <a:gd name="connsiteY3" fmla="*/ 0 h 502722"/>
                      <a:gd name="connsiteX4" fmla="*/ 153320 w 392512"/>
                      <a:gd name="connsiteY4" fmla="*/ 0 h 502722"/>
                      <a:gd name="connsiteX5" fmla="*/ 241459 w 392512"/>
                      <a:gd name="connsiteY5" fmla="*/ 10592 h 502722"/>
                      <a:gd name="connsiteX6" fmla="*/ 301614 w 392512"/>
                      <a:gd name="connsiteY6" fmla="*/ 40301 h 502722"/>
                      <a:gd name="connsiteX7" fmla="*/ 336052 w 392512"/>
                      <a:gd name="connsiteY7" fmla="*/ 86021 h 502722"/>
                      <a:gd name="connsiteX8" fmla="*/ 346989 w 392512"/>
                      <a:gd name="connsiteY8" fmla="*/ 144599 h 502722"/>
                      <a:gd name="connsiteX9" fmla="*/ 339500 w 392512"/>
                      <a:gd name="connsiteY9" fmla="*/ 192586 h 502722"/>
                      <a:gd name="connsiteX10" fmla="*/ 317921 w 392512"/>
                      <a:gd name="connsiteY10" fmla="*/ 233625 h 502722"/>
                      <a:gd name="connsiteX11" fmla="*/ 283139 w 392512"/>
                      <a:gd name="connsiteY11" fmla="*/ 265945 h 502722"/>
                      <a:gd name="connsiteX12" fmla="*/ 236039 w 392512"/>
                      <a:gd name="connsiteY12" fmla="*/ 288213 h 502722"/>
                      <a:gd name="connsiteX13" fmla="*/ 266634 w 392512"/>
                      <a:gd name="connsiteY13" fmla="*/ 317084 h 502722"/>
                      <a:gd name="connsiteX14" fmla="*/ 392512 w 392512"/>
                      <a:gd name="connsiteY14" fmla="*/ 502723 h 502722"/>
                      <a:gd name="connsiteX15" fmla="*/ 308364 w 392512"/>
                      <a:gd name="connsiteY15" fmla="*/ 502723 h 502722"/>
                      <a:gd name="connsiteX16" fmla="*/ 287671 w 392512"/>
                      <a:gd name="connsiteY16" fmla="*/ 497846 h 502722"/>
                      <a:gd name="connsiteX17" fmla="*/ 273236 w 392512"/>
                      <a:gd name="connsiteY17" fmla="*/ 483952 h 502722"/>
                      <a:gd name="connsiteX18" fmla="*/ 167558 w 392512"/>
                      <a:gd name="connsiteY18" fmla="*/ 322996 h 502722"/>
                      <a:gd name="connsiteX19" fmla="*/ 154502 w 392512"/>
                      <a:gd name="connsiteY19" fmla="*/ 310137 h 502722"/>
                      <a:gd name="connsiteX20" fmla="*/ 133465 w 392512"/>
                      <a:gd name="connsiteY20" fmla="*/ 306295 h 502722"/>
                      <a:gd name="connsiteX21" fmla="*/ 93460 w 392512"/>
                      <a:gd name="connsiteY21" fmla="*/ 306295 h 502722"/>
                      <a:gd name="connsiteX22" fmla="*/ 93509 w 392512"/>
                      <a:gd name="connsiteY22" fmla="*/ 239193 h 502722"/>
                      <a:gd name="connsiteX23" fmla="*/ 151940 w 392512"/>
                      <a:gd name="connsiteY23" fmla="*/ 239193 h 502722"/>
                      <a:gd name="connsiteX24" fmla="*/ 198005 w 392512"/>
                      <a:gd name="connsiteY24" fmla="*/ 232591 h 502722"/>
                      <a:gd name="connsiteX25" fmla="*/ 230324 w 392512"/>
                      <a:gd name="connsiteY25" fmla="*/ 214362 h 502722"/>
                      <a:gd name="connsiteX26" fmla="*/ 249292 w 392512"/>
                      <a:gd name="connsiteY26" fmla="*/ 186723 h 502722"/>
                      <a:gd name="connsiteX27" fmla="*/ 255549 w 392512"/>
                      <a:gd name="connsiteY27" fmla="*/ 151595 h 502722"/>
                      <a:gd name="connsiteX28" fmla="*/ 230324 w 392512"/>
                      <a:gd name="connsiteY28" fmla="*/ 92819 h 502722"/>
                      <a:gd name="connsiteX29" fmla="*/ 153320 w 392512"/>
                      <a:gd name="connsiteY29" fmla="*/ 72324 h 502722"/>
                      <a:gd name="connsiteX30" fmla="*/ 93509 w 392512"/>
                      <a:gd name="connsiteY30" fmla="*/ 72324 h 502722"/>
                      <a:gd name="connsiteX31" fmla="*/ 93509 w 392512"/>
                      <a:gd name="connsiteY31" fmla="*/ 239193 h 5027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</a:cxnLst>
                    <a:rect l="l" t="t" r="r" b="b"/>
                    <a:pathLst>
                      <a:path w="392512" h="502722">
                        <a:moveTo>
                          <a:pt x="93509" y="306295"/>
                        </a:moveTo>
                        <a:lnTo>
                          <a:pt x="93509" y="502723"/>
                        </a:lnTo>
                        <a:lnTo>
                          <a:pt x="0" y="502723"/>
                        </a:lnTo>
                        <a:lnTo>
                          <a:pt x="0" y="0"/>
                        </a:lnTo>
                        <a:lnTo>
                          <a:pt x="153320" y="0"/>
                        </a:lnTo>
                        <a:cubicBezTo>
                          <a:pt x="187609" y="0"/>
                          <a:pt x="216973" y="3547"/>
                          <a:pt x="241459" y="10592"/>
                        </a:cubicBezTo>
                        <a:cubicBezTo>
                          <a:pt x="265895" y="17687"/>
                          <a:pt x="285947" y="27590"/>
                          <a:pt x="301614" y="40301"/>
                        </a:cubicBezTo>
                        <a:cubicBezTo>
                          <a:pt x="317281" y="53061"/>
                          <a:pt x="328711" y="68284"/>
                          <a:pt x="336052" y="86021"/>
                        </a:cubicBezTo>
                        <a:cubicBezTo>
                          <a:pt x="343393" y="103757"/>
                          <a:pt x="346989" y="123267"/>
                          <a:pt x="346989" y="144599"/>
                        </a:cubicBezTo>
                        <a:cubicBezTo>
                          <a:pt x="346989" y="161498"/>
                          <a:pt x="344476" y="177510"/>
                          <a:pt x="339500" y="192586"/>
                        </a:cubicBezTo>
                        <a:cubicBezTo>
                          <a:pt x="334524" y="207661"/>
                          <a:pt x="327332" y="221309"/>
                          <a:pt x="317921" y="233625"/>
                        </a:cubicBezTo>
                        <a:cubicBezTo>
                          <a:pt x="308511" y="245893"/>
                          <a:pt x="296933" y="256682"/>
                          <a:pt x="283139" y="265945"/>
                        </a:cubicBezTo>
                        <a:cubicBezTo>
                          <a:pt x="269344" y="275207"/>
                          <a:pt x="253628" y="282646"/>
                          <a:pt x="236039" y="288213"/>
                        </a:cubicBezTo>
                        <a:cubicBezTo>
                          <a:pt x="247863" y="294963"/>
                          <a:pt x="258062" y="304570"/>
                          <a:pt x="266634" y="317084"/>
                        </a:cubicBezTo>
                        <a:lnTo>
                          <a:pt x="392512" y="502723"/>
                        </a:lnTo>
                        <a:lnTo>
                          <a:pt x="308364" y="502723"/>
                        </a:lnTo>
                        <a:cubicBezTo>
                          <a:pt x="300235" y="502723"/>
                          <a:pt x="293337" y="501097"/>
                          <a:pt x="287671" y="497846"/>
                        </a:cubicBezTo>
                        <a:cubicBezTo>
                          <a:pt x="282006" y="494594"/>
                          <a:pt x="277178" y="489963"/>
                          <a:pt x="273236" y="483952"/>
                        </a:cubicBezTo>
                        <a:lnTo>
                          <a:pt x="167558" y="322996"/>
                        </a:lnTo>
                        <a:cubicBezTo>
                          <a:pt x="163616" y="316985"/>
                          <a:pt x="159281" y="312699"/>
                          <a:pt x="154502" y="310137"/>
                        </a:cubicBezTo>
                        <a:cubicBezTo>
                          <a:pt x="149772" y="307575"/>
                          <a:pt x="142727" y="306295"/>
                          <a:pt x="133465" y="306295"/>
                        </a:cubicBezTo>
                        <a:lnTo>
                          <a:pt x="93460" y="306295"/>
                        </a:lnTo>
                        <a:close/>
                        <a:moveTo>
                          <a:pt x="93509" y="239193"/>
                        </a:moveTo>
                        <a:lnTo>
                          <a:pt x="151940" y="239193"/>
                        </a:lnTo>
                        <a:cubicBezTo>
                          <a:pt x="169528" y="239193"/>
                          <a:pt x="184900" y="236975"/>
                          <a:pt x="198005" y="232591"/>
                        </a:cubicBezTo>
                        <a:cubicBezTo>
                          <a:pt x="211110" y="228206"/>
                          <a:pt x="221850" y="222097"/>
                          <a:pt x="230324" y="214362"/>
                        </a:cubicBezTo>
                        <a:cubicBezTo>
                          <a:pt x="238798" y="206578"/>
                          <a:pt x="245105" y="197365"/>
                          <a:pt x="249292" y="186723"/>
                        </a:cubicBezTo>
                        <a:cubicBezTo>
                          <a:pt x="253480" y="176081"/>
                          <a:pt x="255549" y="164356"/>
                          <a:pt x="255549" y="151595"/>
                        </a:cubicBezTo>
                        <a:cubicBezTo>
                          <a:pt x="255549" y="126124"/>
                          <a:pt x="247124" y="106516"/>
                          <a:pt x="230324" y="92819"/>
                        </a:cubicBezTo>
                        <a:cubicBezTo>
                          <a:pt x="213524" y="79123"/>
                          <a:pt x="187856" y="72324"/>
                          <a:pt x="153320" y="72324"/>
                        </a:cubicBezTo>
                        <a:lnTo>
                          <a:pt x="93509" y="72324"/>
                        </a:lnTo>
                        <a:lnTo>
                          <a:pt x="93509" y="23919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92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83" name="Freeform: Shape 2482">
                    <a:extLst>
                      <a:ext uri="{FF2B5EF4-FFF2-40B4-BE49-F238E27FC236}">
                        <a16:creationId xmlns:a16="http://schemas.microsoft.com/office/drawing/2014/main" id="{77F3FA5D-FE24-5C97-5B4D-047C40673F44}"/>
                      </a:ext>
                    </a:extLst>
                  </p:cNvPr>
                  <p:cNvSpPr/>
                  <p:nvPr/>
                </p:nvSpPr>
                <p:spPr>
                  <a:xfrm>
                    <a:off x="-7149306" y="726477"/>
                    <a:ext cx="93854" cy="502722"/>
                  </a:xfrm>
                  <a:custGeom>
                    <a:avLst/>
                    <a:gdLst>
                      <a:gd name="connsiteX0" fmla="*/ 93854 w 93854"/>
                      <a:gd name="connsiteY0" fmla="*/ 502723 h 502722"/>
                      <a:gd name="connsiteX1" fmla="*/ 0 w 93854"/>
                      <a:gd name="connsiteY1" fmla="*/ 502723 h 502722"/>
                      <a:gd name="connsiteX2" fmla="*/ 0 w 93854"/>
                      <a:gd name="connsiteY2" fmla="*/ 0 h 502722"/>
                      <a:gd name="connsiteX3" fmla="*/ 93854 w 93854"/>
                      <a:gd name="connsiteY3" fmla="*/ 0 h 502722"/>
                      <a:gd name="connsiteX4" fmla="*/ 93854 w 93854"/>
                      <a:gd name="connsiteY4" fmla="*/ 502723 h 5027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3854" h="502722">
                        <a:moveTo>
                          <a:pt x="93854" y="502723"/>
                        </a:moveTo>
                        <a:lnTo>
                          <a:pt x="0" y="502723"/>
                        </a:lnTo>
                        <a:lnTo>
                          <a:pt x="0" y="0"/>
                        </a:lnTo>
                        <a:lnTo>
                          <a:pt x="93854" y="0"/>
                        </a:lnTo>
                        <a:lnTo>
                          <a:pt x="93854" y="50272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92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84" name="Freeform: Shape 2483">
                    <a:extLst>
                      <a:ext uri="{FF2B5EF4-FFF2-40B4-BE49-F238E27FC236}">
                        <a16:creationId xmlns:a16="http://schemas.microsoft.com/office/drawing/2014/main" id="{7AA6B9FF-0C81-A9CD-CAE0-BFD32F7B32A5}"/>
                      </a:ext>
                    </a:extLst>
                  </p:cNvPr>
                  <p:cNvSpPr/>
                  <p:nvPr/>
                </p:nvSpPr>
                <p:spPr>
                  <a:xfrm>
                    <a:off x="-6980812" y="721156"/>
                    <a:ext cx="339697" cy="513807"/>
                  </a:xfrm>
                  <a:custGeom>
                    <a:avLst/>
                    <a:gdLst>
                      <a:gd name="connsiteX0" fmla="*/ 307773 w 339697"/>
                      <a:gd name="connsiteY0" fmla="*/ 96761 h 513807"/>
                      <a:gd name="connsiteX1" fmla="*/ 298905 w 339697"/>
                      <a:gd name="connsiteY1" fmla="*/ 107550 h 513807"/>
                      <a:gd name="connsiteX2" fmla="*/ 286932 w 339697"/>
                      <a:gd name="connsiteY2" fmla="*/ 110704 h 513807"/>
                      <a:gd name="connsiteX3" fmla="*/ 271265 w 339697"/>
                      <a:gd name="connsiteY3" fmla="*/ 105333 h 513807"/>
                      <a:gd name="connsiteX4" fmla="*/ 250770 w 339697"/>
                      <a:gd name="connsiteY4" fmla="*/ 93361 h 513807"/>
                      <a:gd name="connsiteX5" fmla="*/ 223132 w 339697"/>
                      <a:gd name="connsiteY5" fmla="*/ 81389 h 513807"/>
                      <a:gd name="connsiteX6" fmla="*/ 185738 w 339697"/>
                      <a:gd name="connsiteY6" fmla="*/ 76019 h 513807"/>
                      <a:gd name="connsiteX7" fmla="*/ 151842 w 339697"/>
                      <a:gd name="connsiteY7" fmla="*/ 80700 h 513807"/>
                      <a:gd name="connsiteX8" fmla="*/ 127504 w 339697"/>
                      <a:gd name="connsiteY8" fmla="*/ 93756 h 513807"/>
                      <a:gd name="connsiteX9" fmla="*/ 112723 w 339697"/>
                      <a:gd name="connsiteY9" fmla="*/ 113758 h 513807"/>
                      <a:gd name="connsiteX10" fmla="*/ 107846 w 339697"/>
                      <a:gd name="connsiteY10" fmla="*/ 139328 h 513807"/>
                      <a:gd name="connsiteX11" fmla="*/ 117749 w 339697"/>
                      <a:gd name="connsiteY11" fmla="*/ 168888 h 513807"/>
                      <a:gd name="connsiteX12" fmla="*/ 144008 w 339697"/>
                      <a:gd name="connsiteY12" fmla="*/ 189038 h 513807"/>
                      <a:gd name="connsiteX13" fmla="*/ 181205 w 339697"/>
                      <a:gd name="connsiteY13" fmla="*/ 203966 h 513807"/>
                      <a:gd name="connsiteX14" fmla="*/ 223772 w 339697"/>
                      <a:gd name="connsiteY14" fmla="*/ 218057 h 513807"/>
                      <a:gd name="connsiteX15" fmla="*/ 266339 w 339697"/>
                      <a:gd name="connsiteY15" fmla="*/ 235448 h 513807"/>
                      <a:gd name="connsiteX16" fmla="*/ 303536 w 339697"/>
                      <a:gd name="connsiteY16" fmla="*/ 260476 h 513807"/>
                      <a:gd name="connsiteX17" fmla="*/ 329795 w 339697"/>
                      <a:gd name="connsiteY17" fmla="*/ 297525 h 513807"/>
                      <a:gd name="connsiteX18" fmla="*/ 339698 w 339697"/>
                      <a:gd name="connsiteY18" fmla="*/ 350734 h 513807"/>
                      <a:gd name="connsiteX19" fmla="*/ 328071 w 339697"/>
                      <a:gd name="connsiteY19" fmla="*/ 414535 h 513807"/>
                      <a:gd name="connsiteX20" fmla="*/ 293978 w 339697"/>
                      <a:gd name="connsiteY20" fmla="*/ 466314 h 513807"/>
                      <a:gd name="connsiteX21" fmla="*/ 239242 w 339697"/>
                      <a:gd name="connsiteY21" fmla="*/ 501097 h 513807"/>
                      <a:gd name="connsiteX22" fmla="*/ 165193 w 339697"/>
                      <a:gd name="connsiteY22" fmla="*/ 513808 h 513807"/>
                      <a:gd name="connsiteX23" fmla="*/ 117896 w 339697"/>
                      <a:gd name="connsiteY23" fmla="*/ 509128 h 513807"/>
                      <a:gd name="connsiteX24" fmla="*/ 73211 w 339697"/>
                      <a:gd name="connsiteY24" fmla="*/ 495727 h 513807"/>
                      <a:gd name="connsiteX25" fmla="*/ 33206 w 339697"/>
                      <a:gd name="connsiteY25" fmla="*/ 474887 h 513807"/>
                      <a:gd name="connsiteX26" fmla="*/ 0 w 339697"/>
                      <a:gd name="connsiteY26" fmla="*/ 447790 h 513807"/>
                      <a:gd name="connsiteX27" fmla="*/ 27097 w 339697"/>
                      <a:gd name="connsiteY27" fmla="*/ 402957 h 513807"/>
                      <a:gd name="connsiteX28" fmla="*/ 36310 w 339697"/>
                      <a:gd name="connsiteY28" fmla="*/ 394778 h 513807"/>
                      <a:gd name="connsiteX29" fmla="*/ 48282 w 339697"/>
                      <a:gd name="connsiteY29" fmla="*/ 391477 h 513807"/>
                      <a:gd name="connsiteX30" fmla="*/ 67053 w 339697"/>
                      <a:gd name="connsiteY30" fmla="*/ 398621 h 513807"/>
                      <a:gd name="connsiteX31" fmla="*/ 90849 w 339697"/>
                      <a:gd name="connsiteY31" fmla="*/ 414436 h 513807"/>
                      <a:gd name="connsiteX32" fmla="*/ 123168 w 339697"/>
                      <a:gd name="connsiteY32" fmla="*/ 430251 h 513807"/>
                      <a:gd name="connsiteX33" fmla="*/ 167854 w 339697"/>
                      <a:gd name="connsiteY33" fmla="*/ 437395 h 513807"/>
                      <a:gd name="connsiteX34" fmla="*/ 229733 w 339697"/>
                      <a:gd name="connsiteY34" fmla="*/ 418427 h 513807"/>
                      <a:gd name="connsiteX35" fmla="*/ 251657 w 339697"/>
                      <a:gd name="connsiteY35" fmla="*/ 364036 h 513807"/>
                      <a:gd name="connsiteX36" fmla="*/ 241754 w 339697"/>
                      <a:gd name="connsiteY36" fmla="*/ 331716 h 513807"/>
                      <a:gd name="connsiteX37" fmla="*/ 215495 w 339697"/>
                      <a:gd name="connsiteY37" fmla="*/ 310679 h 513807"/>
                      <a:gd name="connsiteX38" fmla="*/ 178298 w 339697"/>
                      <a:gd name="connsiteY38" fmla="*/ 296244 h 513807"/>
                      <a:gd name="connsiteX39" fmla="*/ 135879 w 339697"/>
                      <a:gd name="connsiteY39" fmla="*/ 283385 h 513807"/>
                      <a:gd name="connsiteX40" fmla="*/ 93460 w 339697"/>
                      <a:gd name="connsiteY40" fmla="*/ 266684 h 513807"/>
                      <a:gd name="connsiteX41" fmla="*/ 56263 w 339697"/>
                      <a:gd name="connsiteY41" fmla="*/ 241311 h 513807"/>
                      <a:gd name="connsiteX42" fmla="*/ 30004 w 339697"/>
                      <a:gd name="connsiteY42" fmla="*/ 202193 h 513807"/>
                      <a:gd name="connsiteX43" fmla="*/ 20101 w 339697"/>
                      <a:gd name="connsiteY43" fmla="*/ 144304 h 513807"/>
                      <a:gd name="connsiteX44" fmla="*/ 31038 w 339697"/>
                      <a:gd name="connsiteY44" fmla="*/ 90750 h 513807"/>
                      <a:gd name="connsiteX45" fmla="*/ 63013 w 339697"/>
                      <a:gd name="connsiteY45" fmla="*/ 44488 h 513807"/>
                      <a:gd name="connsiteX46" fmla="*/ 114645 w 339697"/>
                      <a:gd name="connsiteY46" fmla="*/ 12169 h 513807"/>
                      <a:gd name="connsiteX47" fmla="*/ 184506 w 339697"/>
                      <a:gd name="connsiteY47" fmla="*/ 0 h 513807"/>
                      <a:gd name="connsiteX48" fmla="*/ 266536 w 339697"/>
                      <a:gd name="connsiteY48" fmla="*/ 13893 h 513807"/>
                      <a:gd name="connsiteX49" fmla="*/ 330485 w 339697"/>
                      <a:gd name="connsiteY49" fmla="*/ 52814 h 513807"/>
                      <a:gd name="connsiteX50" fmla="*/ 307526 w 339697"/>
                      <a:gd name="connsiteY50" fmla="*/ 96958 h 5138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</a:cxnLst>
                    <a:rect l="l" t="t" r="r" b="b"/>
                    <a:pathLst>
                      <a:path w="339697" h="513807">
                        <a:moveTo>
                          <a:pt x="307773" y="96761"/>
                        </a:moveTo>
                        <a:cubicBezTo>
                          <a:pt x="305211" y="101835"/>
                          <a:pt x="302255" y="105432"/>
                          <a:pt x="298905" y="107550"/>
                        </a:cubicBezTo>
                        <a:cubicBezTo>
                          <a:pt x="295554" y="109620"/>
                          <a:pt x="291564" y="110704"/>
                          <a:pt x="286932" y="110704"/>
                        </a:cubicBezTo>
                        <a:cubicBezTo>
                          <a:pt x="282301" y="110704"/>
                          <a:pt x="277079" y="108930"/>
                          <a:pt x="271265" y="105333"/>
                        </a:cubicBezTo>
                        <a:cubicBezTo>
                          <a:pt x="265452" y="101737"/>
                          <a:pt x="258653" y="97746"/>
                          <a:pt x="250770" y="93361"/>
                        </a:cubicBezTo>
                        <a:cubicBezTo>
                          <a:pt x="242887" y="88977"/>
                          <a:pt x="233674" y="84986"/>
                          <a:pt x="223132" y="81389"/>
                        </a:cubicBezTo>
                        <a:cubicBezTo>
                          <a:pt x="212588" y="77793"/>
                          <a:pt x="200124" y="76019"/>
                          <a:pt x="185738" y="76019"/>
                        </a:cubicBezTo>
                        <a:cubicBezTo>
                          <a:pt x="172731" y="76019"/>
                          <a:pt x="161449" y="77596"/>
                          <a:pt x="151842" y="80700"/>
                        </a:cubicBezTo>
                        <a:cubicBezTo>
                          <a:pt x="142235" y="83853"/>
                          <a:pt x="134106" y="88188"/>
                          <a:pt x="127504" y="93756"/>
                        </a:cubicBezTo>
                        <a:cubicBezTo>
                          <a:pt x="120902" y="99323"/>
                          <a:pt x="115975" y="105974"/>
                          <a:pt x="112723" y="113758"/>
                        </a:cubicBezTo>
                        <a:cubicBezTo>
                          <a:pt x="109472" y="121542"/>
                          <a:pt x="107846" y="130065"/>
                          <a:pt x="107846" y="139328"/>
                        </a:cubicBezTo>
                        <a:cubicBezTo>
                          <a:pt x="107846" y="151152"/>
                          <a:pt x="111147" y="161005"/>
                          <a:pt x="117749" y="168888"/>
                        </a:cubicBezTo>
                        <a:cubicBezTo>
                          <a:pt x="124350" y="176771"/>
                          <a:pt x="133120" y="183471"/>
                          <a:pt x="144008" y="189038"/>
                        </a:cubicBezTo>
                        <a:cubicBezTo>
                          <a:pt x="154896" y="194606"/>
                          <a:pt x="167312" y="199582"/>
                          <a:pt x="181205" y="203966"/>
                        </a:cubicBezTo>
                        <a:cubicBezTo>
                          <a:pt x="195098" y="208351"/>
                          <a:pt x="209287" y="213081"/>
                          <a:pt x="223772" y="218057"/>
                        </a:cubicBezTo>
                        <a:cubicBezTo>
                          <a:pt x="238257" y="223033"/>
                          <a:pt x="252445" y="228846"/>
                          <a:pt x="266339" y="235448"/>
                        </a:cubicBezTo>
                        <a:cubicBezTo>
                          <a:pt x="280232" y="242050"/>
                          <a:pt x="292648" y="250376"/>
                          <a:pt x="303536" y="260476"/>
                        </a:cubicBezTo>
                        <a:cubicBezTo>
                          <a:pt x="314424" y="270576"/>
                          <a:pt x="323193" y="282892"/>
                          <a:pt x="329795" y="297525"/>
                        </a:cubicBezTo>
                        <a:cubicBezTo>
                          <a:pt x="336397" y="312108"/>
                          <a:pt x="339698" y="329844"/>
                          <a:pt x="339698" y="350734"/>
                        </a:cubicBezTo>
                        <a:cubicBezTo>
                          <a:pt x="339698" y="373446"/>
                          <a:pt x="335806" y="394729"/>
                          <a:pt x="328071" y="414535"/>
                        </a:cubicBezTo>
                        <a:cubicBezTo>
                          <a:pt x="320286" y="434340"/>
                          <a:pt x="308955" y="451633"/>
                          <a:pt x="293978" y="466314"/>
                        </a:cubicBezTo>
                        <a:cubicBezTo>
                          <a:pt x="279050" y="481045"/>
                          <a:pt x="260771" y="492623"/>
                          <a:pt x="239242" y="501097"/>
                        </a:cubicBezTo>
                        <a:cubicBezTo>
                          <a:pt x="217663" y="509571"/>
                          <a:pt x="192980" y="513808"/>
                          <a:pt x="165193" y="513808"/>
                        </a:cubicBezTo>
                        <a:cubicBezTo>
                          <a:pt x="149181" y="513808"/>
                          <a:pt x="133416" y="512232"/>
                          <a:pt x="117896" y="509128"/>
                        </a:cubicBezTo>
                        <a:cubicBezTo>
                          <a:pt x="102377" y="505974"/>
                          <a:pt x="87499" y="501540"/>
                          <a:pt x="73211" y="495727"/>
                        </a:cubicBezTo>
                        <a:cubicBezTo>
                          <a:pt x="58973" y="489913"/>
                          <a:pt x="45622" y="482967"/>
                          <a:pt x="33206" y="474887"/>
                        </a:cubicBezTo>
                        <a:cubicBezTo>
                          <a:pt x="20791" y="466758"/>
                          <a:pt x="9755" y="457742"/>
                          <a:pt x="0" y="447790"/>
                        </a:cubicBezTo>
                        <a:lnTo>
                          <a:pt x="27097" y="402957"/>
                        </a:lnTo>
                        <a:cubicBezTo>
                          <a:pt x="29659" y="399705"/>
                          <a:pt x="32714" y="396995"/>
                          <a:pt x="36310" y="394778"/>
                        </a:cubicBezTo>
                        <a:cubicBezTo>
                          <a:pt x="39907" y="392561"/>
                          <a:pt x="43897" y="391477"/>
                          <a:pt x="48282" y="391477"/>
                        </a:cubicBezTo>
                        <a:cubicBezTo>
                          <a:pt x="54096" y="391477"/>
                          <a:pt x="60352" y="393842"/>
                          <a:pt x="67053" y="398621"/>
                        </a:cubicBezTo>
                        <a:cubicBezTo>
                          <a:pt x="73753" y="403351"/>
                          <a:pt x="81685" y="408672"/>
                          <a:pt x="90849" y="414436"/>
                        </a:cubicBezTo>
                        <a:cubicBezTo>
                          <a:pt x="100012" y="420250"/>
                          <a:pt x="110802" y="425521"/>
                          <a:pt x="123168" y="430251"/>
                        </a:cubicBezTo>
                        <a:cubicBezTo>
                          <a:pt x="135584" y="435030"/>
                          <a:pt x="150462" y="437395"/>
                          <a:pt x="167854" y="437395"/>
                        </a:cubicBezTo>
                        <a:cubicBezTo>
                          <a:pt x="194507" y="437395"/>
                          <a:pt x="215150" y="431088"/>
                          <a:pt x="229733" y="418427"/>
                        </a:cubicBezTo>
                        <a:cubicBezTo>
                          <a:pt x="244316" y="405814"/>
                          <a:pt x="251657" y="387635"/>
                          <a:pt x="251657" y="364036"/>
                        </a:cubicBezTo>
                        <a:cubicBezTo>
                          <a:pt x="251657" y="350832"/>
                          <a:pt x="248356" y="340042"/>
                          <a:pt x="241754" y="331716"/>
                        </a:cubicBezTo>
                        <a:cubicBezTo>
                          <a:pt x="235153" y="323390"/>
                          <a:pt x="226383" y="316345"/>
                          <a:pt x="215495" y="310679"/>
                        </a:cubicBezTo>
                        <a:cubicBezTo>
                          <a:pt x="204607" y="305014"/>
                          <a:pt x="192192" y="300185"/>
                          <a:pt x="178298" y="296244"/>
                        </a:cubicBezTo>
                        <a:cubicBezTo>
                          <a:pt x="164405" y="292302"/>
                          <a:pt x="150265" y="288016"/>
                          <a:pt x="135879" y="283385"/>
                        </a:cubicBezTo>
                        <a:cubicBezTo>
                          <a:pt x="121493" y="278754"/>
                          <a:pt x="107354" y="273187"/>
                          <a:pt x="93460" y="266684"/>
                        </a:cubicBezTo>
                        <a:cubicBezTo>
                          <a:pt x="79567" y="260180"/>
                          <a:pt x="67151" y="251756"/>
                          <a:pt x="56263" y="241311"/>
                        </a:cubicBezTo>
                        <a:cubicBezTo>
                          <a:pt x="45375" y="230866"/>
                          <a:pt x="36606" y="217860"/>
                          <a:pt x="30004" y="202193"/>
                        </a:cubicBezTo>
                        <a:cubicBezTo>
                          <a:pt x="23402" y="186526"/>
                          <a:pt x="20101" y="167262"/>
                          <a:pt x="20101" y="144304"/>
                        </a:cubicBezTo>
                        <a:cubicBezTo>
                          <a:pt x="20101" y="125976"/>
                          <a:pt x="23747" y="108142"/>
                          <a:pt x="31038" y="90750"/>
                        </a:cubicBezTo>
                        <a:cubicBezTo>
                          <a:pt x="38330" y="73359"/>
                          <a:pt x="49021" y="57938"/>
                          <a:pt x="63013" y="44488"/>
                        </a:cubicBezTo>
                        <a:cubicBezTo>
                          <a:pt x="77054" y="31038"/>
                          <a:pt x="94248" y="20249"/>
                          <a:pt x="114645" y="12169"/>
                        </a:cubicBezTo>
                        <a:cubicBezTo>
                          <a:pt x="135042" y="4040"/>
                          <a:pt x="158345" y="0"/>
                          <a:pt x="184506" y="0"/>
                        </a:cubicBezTo>
                        <a:cubicBezTo>
                          <a:pt x="214165" y="0"/>
                          <a:pt x="241508" y="4631"/>
                          <a:pt x="266536" y="13893"/>
                        </a:cubicBezTo>
                        <a:cubicBezTo>
                          <a:pt x="291564" y="23156"/>
                          <a:pt x="312896" y="36162"/>
                          <a:pt x="330485" y="52814"/>
                        </a:cubicBezTo>
                        <a:lnTo>
                          <a:pt x="307526" y="9695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92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85" name="Freeform: Shape 2484">
                    <a:extLst>
                      <a:ext uri="{FF2B5EF4-FFF2-40B4-BE49-F238E27FC236}">
                        <a16:creationId xmlns:a16="http://schemas.microsoft.com/office/drawing/2014/main" id="{EBD0DA3A-1EC2-55C3-3EEB-2362653B303D}"/>
                      </a:ext>
                    </a:extLst>
                  </p:cNvPr>
                  <p:cNvSpPr/>
                  <p:nvPr/>
                </p:nvSpPr>
                <p:spPr>
                  <a:xfrm>
                    <a:off x="-6566425" y="726132"/>
                    <a:ext cx="426998" cy="503067"/>
                  </a:xfrm>
                  <a:custGeom>
                    <a:avLst/>
                    <a:gdLst>
                      <a:gd name="connsiteX0" fmla="*/ 93657 w 426998"/>
                      <a:gd name="connsiteY0" fmla="*/ 211012 h 503067"/>
                      <a:gd name="connsiteX1" fmla="*/ 115581 w 426998"/>
                      <a:gd name="connsiteY1" fmla="*/ 211012 h 503067"/>
                      <a:gd name="connsiteX2" fmla="*/ 137504 w 426998"/>
                      <a:gd name="connsiteY2" fmla="*/ 207366 h 503067"/>
                      <a:gd name="connsiteX3" fmla="*/ 152433 w 426998"/>
                      <a:gd name="connsiteY3" fmla="*/ 195739 h 503067"/>
                      <a:gd name="connsiteX4" fmla="*/ 291169 w 426998"/>
                      <a:gd name="connsiteY4" fmla="*/ 20150 h 503067"/>
                      <a:gd name="connsiteX5" fmla="*/ 309398 w 426998"/>
                      <a:gd name="connsiteY5" fmla="*/ 4680 h 503067"/>
                      <a:gd name="connsiteX6" fmla="*/ 333539 w 426998"/>
                      <a:gd name="connsiteY6" fmla="*/ 345 h 503067"/>
                      <a:gd name="connsiteX7" fmla="*/ 414189 w 426998"/>
                      <a:gd name="connsiteY7" fmla="*/ 345 h 503067"/>
                      <a:gd name="connsiteX8" fmla="*/ 244858 w 426998"/>
                      <a:gd name="connsiteY8" fmla="*/ 209287 h 503067"/>
                      <a:gd name="connsiteX9" fmla="*/ 229585 w 426998"/>
                      <a:gd name="connsiteY9" fmla="*/ 225644 h 503067"/>
                      <a:gd name="connsiteX10" fmla="*/ 213918 w 426998"/>
                      <a:gd name="connsiteY10" fmla="*/ 236434 h 503067"/>
                      <a:gd name="connsiteX11" fmla="*/ 234611 w 426998"/>
                      <a:gd name="connsiteY11" fmla="*/ 248258 h 503067"/>
                      <a:gd name="connsiteX12" fmla="*/ 252495 w 426998"/>
                      <a:gd name="connsiteY12" fmla="*/ 267718 h 503067"/>
                      <a:gd name="connsiteX13" fmla="*/ 426999 w 426998"/>
                      <a:gd name="connsiteY13" fmla="*/ 503068 h 503067"/>
                      <a:gd name="connsiteX14" fmla="*/ 344230 w 426998"/>
                      <a:gd name="connsiteY14" fmla="*/ 503068 h 503067"/>
                      <a:gd name="connsiteX15" fmla="*/ 319350 w 426998"/>
                      <a:gd name="connsiteY15" fmla="*/ 498387 h 503067"/>
                      <a:gd name="connsiteX16" fmla="*/ 305605 w 426998"/>
                      <a:gd name="connsiteY16" fmla="*/ 484642 h 503067"/>
                      <a:gd name="connsiteX17" fmla="*/ 163419 w 426998"/>
                      <a:gd name="connsiteY17" fmla="*/ 299003 h 503067"/>
                      <a:gd name="connsiteX18" fmla="*/ 147752 w 426998"/>
                      <a:gd name="connsiteY18" fmla="*/ 285947 h 503067"/>
                      <a:gd name="connsiteX19" fmla="*/ 123069 w 426998"/>
                      <a:gd name="connsiteY19" fmla="*/ 281956 h 503067"/>
                      <a:gd name="connsiteX20" fmla="*/ 93509 w 426998"/>
                      <a:gd name="connsiteY20" fmla="*/ 281956 h 503067"/>
                      <a:gd name="connsiteX21" fmla="*/ 93509 w 426998"/>
                      <a:gd name="connsiteY21" fmla="*/ 503068 h 503067"/>
                      <a:gd name="connsiteX22" fmla="*/ 0 w 426998"/>
                      <a:gd name="connsiteY22" fmla="*/ 503068 h 503067"/>
                      <a:gd name="connsiteX23" fmla="*/ 0 w 426998"/>
                      <a:gd name="connsiteY23" fmla="*/ 0 h 503067"/>
                      <a:gd name="connsiteX24" fmla="*/ 93509 w 426998"/>
                      <a:gd name="connsiteY24" fmla="*/ 0 h 503067"/>
                      <a:gd name="connsiteX25" fmla="*/ 93509 w 426998"/>
                      <a:gd name="connsiteY25" fmla="*/ 211012 h 5030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</a:cxnLst>
                    <a:rect l="l" t="t" r="r" b="b"/>
                    <a:pathLst>
                      <a:path w="426998" h="503067">
                        <a:moveTo>
                          <a:pt x="93657" y="211012"/>
                        </a:moveTo>
                        <a:lnTo>
                          <a:pt x="115581" y="211012"/>
                        </a:lnTo>
                        <a:cubicBezTo>
                          <a:pt x="124400" y="211012"/>
                          <a:pt x="131691" y="209780"/>
                          <a:pt x="137504" y="207366"/>
                        </a:cubicBezTo>
                        <a:cubicBezTo>
                          <a:pt x="143318" y="204952"/>
                          <a:pt x="148294" y="201060"/>
                          <a:pt x="152433" y="195739"/>
                        </a:cubicBezTo>
                        <a:lnTo>
                          <a:pt x="291169" y="20150"/>
                        </a:lnTo>
                        <a:cubicBezTo>
                          <a:pt x="296983" y="12711"/>
                          <a:pt x="303043" y="7587"/>
                          <a:pt x="309398" y="4680"/>
                        </a:cubicBezTo>
                        <a:cubicBezTo>
                          <a:pt x="315754" y="1774"/>
                          <a:pt x="323833" y="345"/>
                          <a:pt x="333539" y="345"/>
                        </a:cubicBezTo>
                        <a:lnTo>
                          <a:pt x="414189" y="345"/>
                        </a:lnTo>
                        <a:lnTo>
                          <a:pt x="244858" y="209287"/>
                        </a:lnTo>
                        <a:cubicBezTo>
                          <a:pt x="239537" y="215791"/>
                          <a:pt x="234413" y="221210"/>
                          <a:pt x="229585" y="225644"/>
                        </a:cubicBezTo>
                        <a:cubicBezTo>
                          <a:pt x="224708" y="230029"/>
                          <a:pt x="219485" y="233625"/>
                          <a:pt x="213918" y="236434"/>
                        </a:cubicBezTo>
                        <a:cubicBezTo>
                          <a:pt x="221555" y="239193"/>
                          <a:pt x="228452" y="243183"/>
                          <a:pt x="234611" y="248258"/>
                        </a:cubicBezTo>
                        <a:cubicBezTo>
                          <a:pt x="240769" y="253382"/>
                          <a:pt x="246730" y="259836"/>
                          <a:pt x="252495" y="267718"/>
                        </a:cubicBezTo>
                        <a:lnTo>
                          <a:pt x="426999" y="503068"/>
                        </a:lnTo>
                        <a:lnTo>
                          <a:pt x="344230" y="503068"/>
                        </a:lnTo>
                        <a:cubicBezTo>
                          <a:pt x="333096" y="503068"/>
                          <a:pt x="324819" y="501491"/>
                          <a:pt x="319350" y="498387"/>
                        </a:cubicBezTo>
                        <a:cubicBezTo>
                          <a:pt x="313881" y="495234"/>
                          <a:pt x="309300" y="490702"/>
                          <a:pt x="305605" y="484642"/>
                        </a:cubicBezTo>
                        <a:lnTo>
                          <a:pt x="163419" y="299003"/>
                        </a:lnTo>
                        <a:cubicBezTo>
                          <a:pt x="158788" y="292992"/>
                          <a:pt x="153566" y="288657"/>
                          <a:pt x="147752" y="285947"/>
                        </a:cubicBezTo>
                        <a:cubicBezTo>
                          <a:pt x="141939" y="283287"/>
                          <a:pt x="133711" y="281956"/>
                          <a:pt x="123069" y="281956"/>
                        </a:cubicBezTo>
                        <a:lnTo>
                          <a:pt x="93509" y="281956"/>
                        </a:lnTo>
                        <a:lnTo>
                          <a:pt x="93509" y="503068"/>
                        </a:lnTo>
                        <a:lnTo>
                          <a:pt x="0" y="503068"/>
                        </a:lnTo>
                        <a:lnTo>
                          <a:pt x="0" y="0"/>
                        </a:lnTo>
                        <a:lnTo>
                          <a:pt x="93509" y="0"/>
                        </a:lnTo>
                        <a:lnTo>
                          <a:pt x="93509" y="21101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92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2486" name="Freeform: Shape 2485">
                <a:extLst>
                  <a:ext uri="{FF2B5EF4-FFF2-40B4-BE49-F238E27FC236}">
                    <a16:creationId xmlns:a16="http://schemas.microsoft.com/office/drawing/2014/main" id="{2FA0F8DF-513C-7A39-F5C6-2EA4A09C27C5}"/>
                  </a:ext>
                </a:extLst>
              </p:cNvPr>
              <p:cNvSpPr/>
              <p:nvPr/>
            </p:nvSpPr>
            <p:spPr>
              <a:xfrm>
                <a:off x="1820017" y="2056515"/>
                <a:ext cx="123844" cy="123845"/>
              </a:xfrm>
              <a:custGeom>
                <a:avLst/>
                <a:gdLst>
                  <a:gd name="connsiteX0" fmla="*/ 622738 w 680922"/>
                  <a:gd name="connsiteY0" fmla="*/ 680922 h 680922"/>
                  <a:gd name="connsiteX1" fmla="*/ 58185 w 680922"/>
                  <a:gd name="connsiteY1" fmla="*/ 680922 h 680922"/>
                  <a:gd name="connsiteX2" fmla="*/ 0 w 680922"/>
                  <a:gd name="connsiteY2" fmla="*/ 622738 h 680922"/>
                  <a:gd name="connsiteX3" fmla="*/ 0 w 680922"/>
                  <a:gd name="connsiteY3" fmla="*/ 58185 h 680922"/>
                  <a:gd name="connsiteX4" fmla="*/ 58185 w 680922"/>
                  <a:gd name="connsiteY4" fmla="*/ 0 h 680922"/>
                  <a:gd name="connsiteX5" fmla="*/ 622738 w 680922"/>
                  <a:gd name="connsiteY5" fmla="*/ 0 h 680922"/>
                  <a:gd name="connsiteX6" fmla="*/ 680923 w 680922"/>
                  <a:gd name="connsiteY6" fmla="*/ 58185 h 680922"/>
                  <a:gd name="connsiteX7" fmla="*/ 680923 w 680922"/>
                  <a:gd name="connsiteY7" fmla="*/ 622738 h 680922"/>
                  <a:gd name="connsiteX8" fmla="*/ 622738 w 680922"/>
                  <a:gd name="connsiteY8" fmla="*/ 680922 h 680922"/>
                  <a:gd name="connsiteX9" fmla="*/ 58185 w 680922"/>
                  <a:gd name="connsiteY9" fmla="*/ 31925 h 680922"/>
                  <a:gd name="connsiteX10" fmla="*/ 31926 w 680922"/>
                  <a:gd name="connsiteY10" fmla="*/ 58185 h 680922"/>
                  <a:gd name="connsiteX11" fmla="*/ 31926 w 680922"/>
                  <a:gd name="connsiteY11" fmla="*/ 622738 h 680922"/>
                  <a:gd name="connsiteX12" fmla="*/ 58185 w 680922"/>
                  <a:gd name="connsiteY12" fmla="*/ 648997 h 680922"/>
                  <a:gd name="connsiteX13" fmla="*/ 622738 w 680922"/>
                  <a:gd name="connsiteY13" fmla="*/ 648997 h 680922"/>
                  <a:gd name="connsiteX14" fmla="*/ 648998 w 680922"/>
                  <a:gd name="connsiteY14" fmla="*/ 622738 h 680922"/>
                  <a:gd name="connsiteX15" fmla="*/ 648998 w 680922"/>
                  <a:gd name="connsiteY15" fmla="*/ 58185 h 680922"/>
                  <a:gd name="connsiteX16" fmla="*/ 622738 w 680922"/>
                  <a:gd name="connsiteY16" fmla="*/ 31925 h 680922"/>
                  <a:gd name="connsiteX17" fmla="*/ 58185 w 680922"/>
                  <a:gd name="connsiteY17" fmla="*/ 31925 h 680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80922" h="680922">
                    <a:moveTo>
                      <a:pt x="622738" y="680922"/>
                    </a:moveTo>
                    <a:lnTo>
                      <a:pt x="58185" y="680922"/>
                    </a:lnTo>
                    <a:cubicBezTo>
                      <a:pt x="26112" y="680922"/>
                      <a:pt x="0" y="654811"/>
                      <a:pt x="0" y="622738"/>
                    </a:cubicBezTo>
                    <a:lnTo>
                      <a:pt x="0" y="58185"/>
                    </a:lnTo>
                    <a:cubicBezTo>
                      <a:pt x="0" y="26112"/>
                      <a:pt x="26112" y="0"/>
                      <a:pt x="58185" y="0"/>
                    </a:cubicBezTo>
                    <a:lnTo>
                      <a:pt x="622738" y="0"/>
                    </a:lnTo>
                    <a:cubicBezTo>
                      <a:pt x="654811" y="0"/>
                      <a:pt x="680923" y="26112"/>
                      <a:pt x="680923" y="58185"/>
                    </a:cubicBezTo>
                    <a:lnTo>
                      <a:pt x="680923" y="622738"/>
                    </a:lnTo>
                    <a:cubicBezTo>
                      <a:pt x="680923" y="654811"/>
                      <a:pt x="654811" y="680922"/>
                      <a:pt x="622738" y="680922"/>
                    </a:cubicBezTo>
                    <a:close/>
                    <a:moveTo>
                      <a:pt x="58185" y="31925"/>
                    </a:moveTo>
                    <a:cubicBezTo>
                      <a:pt x="43701" y="31925"/>
                      <a:pt x="31926" y="43700"/>
                      <a:pt x="31926" y="58185"/>
                    </a:cubicBezTo>
                    <a:lnTo>
                      <a:pt x="31926" y="622738"/>
                    </a:lnTo>
                    <a:cubicBezTo>
                      <a:pt x="31926" y="637222"/>
                      <a:pt x="43701" y="648997"/>
                      <a:pt x="58185" y="648997"/>
                    </a:cubicBezTo>
                    <a:lnTo>
                      <a:pt x="622738" y="648997"/>
                    </a:lnTo>
                    <a:cubicBezTo>
                      <a:pt x="637223" y="648997"/>
                      <a:pt x="648998" y="637222"/>
                      <a:pt x="648998" y="622738"/>
                    </a:cubicBezTo>
                    <a:lnTo>
                      <a:pt x="648998" y="58185"/>
                    </a:lnTo>
                    <a:cubicBezTo>
                      <a:pt x="648998" y="43700"/>
                      <a:pt x="637223" y="31925"/>
                      <a:pt x="622738" y="31925"/>
                    </a:cubicBezTo>
                    <a:lnTo>
                      <a:pt x="58185" y="31925"/>
                    </a:lnTo>
                    <a:close/>
                  </a:path>
                </a:pathLst>
              </a:custGeom>
              <a:solidFill>
                <a:srgbClr val="3FA7FF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487" name="Graphic 2463">
                <a:extLst>
                  <a:ext uri="{FF2B5EF4-FFF2-40B4-BE49-F238E27FC236}">
                    <a16:creationId xmlns:a16="http://schemas.microsoft.com/office/drawing/2014/main" id="{8DDEC5C7-AE40-F51A-BEA2-E6DC4CCD5F05}"/>
                  </a:ext>
                </a:extLst>
              </p:cNvPr>
              <p:cNvGrpSpPr/>
              <p:nvPr/>
            </p:nvGrpSpPr>
            <p:grpSpPr>
              <a:xfrm>
                <a:off x="1386511" y="2065969"/>
                <a:ext cx="392564" cy="104938"/>
                <a:chOff x="-8408429" y="1731479"/>
                <a:chExt cx="2158397" cy="576968"/>
              </a:xfrm>
            </p:grpSpPr>
            <p:sp>
              <p:nvSpPr>
                <p:cNvPr id="2488" name="Freeform: Shape 2487">
                  <a:extLst>
                    <a:ext uri="{FF2B5EF4-FFF2-40B4-BE49-F238E27FC236}">
                      <a16:creationId xmlns:a16="http://schemas.microsoft.com/office/drawing/2014/main" id="{3340225D-C61C-538C-270C-ADCD96BC3974}"/>
                    </a:ext>
                  </a:extLst>
                </p:cNvPr>
                <p:cNvSpPr/>
                <p:nvPr/>
              </p:nvSpPr>
              <p:spPr>
                <a:xfrm>
                  <a:off x="-8408429" y="1731479"/>
                  <a:ext cx="2158397" cy="74442"/>
                </a:xfrm>
                <a:custGeom>
                  <a:avLst/>
                  <a:gdLst>
                    <a:gd name="connsiteX0" fmla="*/ 2125635 w 2158397"/>
                    <a:gd name="connsiteY0" fmla="*/ 0 h 74442"/>
                    <a:gd name="connsiteX1" fmla="*/ 2158398 w 2158397"/>
                    <a:gd name="connsiteY1" fmla="*/ 32763 h 74442"/>
                    <a:gd name="connsiteX2" fmla="*/ 2158398 w 2158397"/>
                    <a:gd name="connsiteY2" fmla="*/ 41680 h 74442"/>
                    <a:gd name="connsiteX3" fmla="*/ 2125635 w 2158397"/>
                    <a:gd name="connsiteY3" fmla="*/ 74443 h 74442"/>
                    <a:gd name="connsiteX4" fmla="*/ 32763 w 2158397"/>
                    <a:gd name="connsiteY4" fmla="*/ 74443 h 74442"/>
                    <a:gd name="connsiteX5" fmla="*/ 0 w 2158397"/>
                    <a:gd name="connsiteY5" fmla="*/ 41680 h 74442"/>
                    <a:gd name="connsiteX6" fmla="*/ 0 w 2158397"/>
                    <a:gd name="connsiteY6" fmla="*/ 32763 h 74442"/>
                    <a:gd name="connsiteX7" fmla="*/ 32763 w 2158397"/>
                    <a:gd name="connsiteY7" fmla="*/ 0 h 74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58397" h="74442">
                      <a:moveTo>
                        <a:pt x="2125635" y="0"/>
                      </a:moveTo>
                      <a:cubicBezTo>
                        <a:pt x="2143730" y="0"/>
                        <a:pt x="2158398" y="14668"/>
                        <a:pt x="2158398" y="32763"/>
                      </a:cubicBezTo>
                      <a:lnTo>
                        <a:pt x="2158398" y="41680"/>
                      </a:lnTo>
                      <a:cubicBezTo>
                        <a:pt x="2158398" y="59774"/>
                        <a:pt x="2143730" y="74443"/>
                        <a:pt x="2125635" y="74443"/>
                      </a:cubicBezTo>
                      <a:lnTo>
                        <a:pt x="32763" y="74443"/>
                      </a:lnTo>
                      <a:cubicBezTo>
                        <a:pt x="14668" y="74443"/>
                        <a:pt x="0" y="59775"/>
                        <a:pt x="0" y="41680"/>
                      </a:cubicBezTo>
                      <a:lnTo>
                        <a:pt x="0" y="32763"/>
                      </a:lnTo>
                      <a:cubicBezTo>
                        <a:pt x="0" y="14669"/>
                        <a:pt x="14668" y="0"/>
                        <a:pt x="32763" y="0"/>
                      </a:cubicBezTo>
                      <a:close/>
                    </a:path>
                  </a:pathLst>
                </a:custGeom>
                <a:solidFill>
                  <a:srgbClr val="3FA7FF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89" name="Freeform: Shape 2488">
                  <a:extLst>
                    <a:ext uri="{FF2B5EF4-FFF2-40B4-BE49-F238E27FC236}">
                      <a16:creationId xmlns:a16="http://schemas.microsoft.com/office/drawing/2014/main" id="{18B8CFA0-6C03-2BC6-EF08-01DAF26D8C69}"/>
                    </a:ext>
                  </a:extLst>
                </p:cNvPr>
                <p:cNvSpPr/>
                <p:nvPr/>
              </p:nvSpPr>
              <p:spPr>
                <a:xfrm>
                  <a:off x="-8408429" y="1898988"/>
                  <a:ext cx="2158397" cy="74442"/>
                </a:xfrm>
                <a:custGeom>
                  <a:avLst/>
                  <a:gdLst>
                    <a:gd name="connsiteX0" fmla="*/ 2125635 w 2158397"/>
                    <a:gd name="connsiteY0" fmla="*/ 0 h 74442"/>
                    <a:gd name="connsiteX1" fmla="*/ 2158398 w 2158397"/>
                    <a:gd name="connsiteY1" fmla="*/ 32763 h 74442"/>
                    <a:gd name="connsiteX2" fmla="*/ 2158398 w 2158397"/>
                    <a:gd name="connsiteY2" fmla="*/ 41680 h 74442"/>
                    <a:gd name="connsiteX3" fmla="*/ 2125635 w 2158397"/>
                    <a:gd name="connsiteY3" fmla="*/ 74443 h 74442"/>
                    <a:gd name="connsiteX4" fmla="*/ 32763 w 2158397"/>
                    <a:gd name="connsiteY4" fmla="*/ 74443 h 74442"/>
                    <a:gd name="connsiteX5" fmla="*/ 0 w 2158397"/>
                    <a:gd name="connsiteY5" fmla="*/ 41680 h 74442"/>
                    <a:gd name="connsiteX6" fmla="*/ 0 w 2158397"/>
                    <a:gd name="connsiteY6" fmla="*/ 32763 h 74442"/>
                    <a:gd name="connsiteX7" fmla="*/ 32763 w 2158397"/>
                    <a:gd name="connsiteY7" fmla="*/ 0 h 74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58397" h="74442">
                      <a:moveTo>
                        <a:pt x="2125635" y="0"/>
                      </a:moveTo>
                      <a:cubicBezTo>
                        <a:pt x="2143730" y="0"/>
                        <a:pt x="2158398" y="14668"/>
                        <a:pt x="2158398" y="32763"/>
                      </a:cubicBezTo>
                      <a:lnTo>
                        <a:pt x="2158398" y="41680"/>
                      </a:lnTo>
                      <a:cubicBezTo>
                        <a:pt x="2158398" y="59774"/>
                        <a:pt x="2143730" y="74443"/>
                        <a:pt x="2125635" y="74443"/>
                      </a:cubicBezTo>
                      <a:lnTo>
                        <a:pt x="32763" y="74443"/>
                      </a:lnTo>
                      <a:cubicBezTo>
                        <a:pt x="14668" y="74443"/>
                        <a:pt x="0" y="59775"/>
                        <a:pt x="0" y="41680"/>
                      </a:cubicBezTo>
                      <a:lnTo>
                        <a:pt x="0" y="32763"/>
                      </a:lnTo>
                      <a:cubicBezTo>
                        <a:pt x="0" y="14669"/>
                        <a:pt x="14668" y="0"/>
                        <a:pt x="32763" y="0"/>
                      </a:cubicBezTo>
                      <a:close/>
                    </a:path>
                  </a:pathLst>
                </a:custGeom>
                <a:solidFill>
                  <a:srgbClr val="83CDFF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90" name="Freeform: Shape 2489">
                  <a:extLst>
                    <a:ext uri="{FF2B5EF4-FFF2-40B4-BE49-F238E27FC236}">
                      <a16:creationId xmlns:a16="http://schemas.microsoft.com/office/drawing/2014/main" id="{585DE88D-5874-CA3A-2EF8-C32364C6C1D7}"/>
                    </a:ext>
                  </a:extLst>
                </p:cNvPr>
                <p:cNvSpPr/>
                <p:nvPr/>
              </p:nvSpPr>
              <p:spPr>
                <a:xfrm>
                  <a:off x="-8408429" y="2066496"/>
                  <a:ext cx="2158397" cy="74442"/>
                </a:xfrm>
                <a:custGeom>
                  <a:avLst/>
                  <a:gdLst>
                    <a:gd name="connsiteX0" fmla="*/ 2125635 w 2158397"/>
                    <a:gd name="connsiteY0" fmla="*/ 0 h 74442"/>
                    <a:gd name="connsiteX1" fmla="*/ 2158398 w 2158397"/>
                    <a:gd name="connsiteY1" fmla="*/ 32763 h 74442"/>
                    <a:gd name="connsiteX2" fmla="*/ 2158398 w 2158397"/>
                    <a:gd name="connsiteY2" fmla="*/ 41680 h 74442"/>
                    <a:gd name="connsiteX3" fmla="*/ 2125635 w 2158397"/>
                    <a:gd name="connsiteY3" fmla="*/ 74443 h 74442"/>
                    <a:gd name="connsiteX4" fmla="*/ 32763 w 2158397"/>
                    <a:gd name="connsiteY4" fmla="*/ 74443 h 74442"/>
                    <a:gd name="connsiteX5" fmla="*/ 0 w 2158397"/>
                    <a:gd name="connsiteY5" fmla="*/ 41680 h 74442"/>
                    <a:gd name="connsiteX6" fmla="*/ 0 w 2158397"/>
                    <a:gd name="connsiteY6" fmla="*/ 32763 h 74442"/>
                    <a:gd name="connsiteX7" fmla="*/ 32763 w 2158397"/>
                    <a:gd name="connsiteY7" fmla="*/ 0 h 74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58397" h="74442">
                      <a:moveTo>
                        <a:pt x="2125635" y="0"/>
                      </a:moveTo>
                      <a:cubicBezTo>
                        <a:pt x="2143730" y="0"/>
                        <a:pt x="2158398" y="14668"/>
                        <a:pt x="2158398" y="32763"/>
                      </a:cubicBezTo>
                      <a:lnTo>
                        <a:pt x="2158398" y="41680"/>
                      </a:lnTo>
                      <a:cubicBezTo>
                        <a:pt x="2158398" y="59774"/>
                        <a:pt x="2143730" y="74443"/>
                        <a:pt x="2125635" y="74443"/>
                      </a:cubicBezTo>
                      <a:lnTo>
                        <a:pt x="32763" y="74443"/>
                      </a:lnTo>
                      <a:cubicBezTo>
                        <a:pt x="14668" y="74443"/>
                        <a:pt x="0" y="59775"/>
                        <a:pt x="0" y="41680"/>
                      </a:cubicBezTo>
                      <a:lnTo>
                        <a:pt x="0" y="32763"/>
                      </a:lnTo>
                      <a:cubicBezTo>
                        <a:pt x="0" y="14669"/>
                        <a:pt x="14668" y="0"/>
                        <a:pt x="32763" y="0"/>
                      </a:cubicBezTo>
                      <a:close/>
                    </a:path>
                  </a:pathLst>
                </a:custGeom>
                <a:solidFill>
                  <a:srgbClr val="83CDFF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91" name="Freeform: Shape 2490">
                  <a:extLst>
                    <a:ext uri="{FF2B5EF4-FFF2-40B4-BE49-F238E27FC236}">
                      <a16:creationId xmlns:a16="http://schemas.microsoft.com/office/drawing/2014/main" id="{DF9563F0-B3B1-1B65-9E6E-30A5A1BF94F5}"/>
                    </a:ext>
                  </a:extLst>
                </p:cNvPr>
                <p:cNvSpPr/>
                <p:nvPr/>
              </p:nvSpPr>
              <p:spPr>
                <a:xfrm>
                  <a:off x="-8408429" y="2234005"/>
                  <a:ext cx="2158397" cy="74442"/>
                </a:xfrm>
                <a:custGeom>
                  <a:avLst/>
                  <a:gdLst>
                    <a:gd name="connsiteX0" fmla="*/ 2125635 w 2158397"/>
                    <a:gd name="connsiteY0" fmla="*/ 0 h 74442"/>
                    <a:gd name="connsiteX1" fmla="*/ 2158398 w 2158397"/>
                    <a:gd name="connsiteY1" fmla="*/ 32763 h 74442"/>
                    <a:gd name="connsiteX2" fmla="*/ 2158398 w 2158397"/>
                    <a:gd name="connsiteY2" fmla="*/ 41680 h 74442"/>
                    <a:gd name="connsiteX3" fmla="*/ 2125635 w 2158397"/>
                    <a:gd name="connsiteY3" fmla="*/ 74443 h 74442"/>
                    <a:gd name="connsiteX4" fmla="*/ 32763 w 2158397"/>
                    <a:gd name="connsiteY4" fmla="*/ 74443 h 74442"/>
                    <a:gd name="connsiteX5" fmla="*/ 0 w 2158397"/>
                    <a:gd name="connsiteY5" fmla="*/ 41680 h 74442"/>
                    <a:gd name="connsiteX6" fmla="*/ 0 w 2158397"/>
                    <a:gd name="connsiteY6" fmla="*/ 32763 h 74442"/>
                    <a:gd name="connsiteX7" fmla="*/ 32763 w 2158397"/>
                    <a:gd name="connsiteY7" fmla="*/ 0 h 74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58397" h="74442">
                      <a:moveTo>
                        <a:pt x="2125635" y="0"/>
                      </a:moveTo>
                      <a:cubicBezTo>
                        <a:pt x="2143730" y="0"/>
                        <a:pt x="2158398" y="14668"/>
                        <a:pt x="2158398" y="32763"/>
                      </a:cubicBezTo>
                      <a:lnTo>
                        <a:pt x="2158398" y="41680"/>
                      </a:lnTo>
                      <a:cubicBezTo>
                        <a:pt x="2158398" y="59774"/>
                        <a:pt x="2143730" y="74443"/>
                        <a:pt x="2125635" y="74443"/>
                      </a:cubicBezTo>
                      <a:lnTo>
                        <a:pt x="32763" y="74443"/>
                      </a:lnTo>
                      <a:cubicBezTo>
                        <a:pt x="14668" y="74443"/>
                        <a:pt x="0" y="59775"/>
                        <a:pt x="0" y="41680"/>
                      </a:cubicBezTo>
                      <a:lnTo>
                        <a:pt x="0" y="32763"/>
                      </a:lnTo>
                      <a:cubicBezTo>
                        <a:pt x="0" y="14669"/>
                        <a:pt x="14668" y="0"/>
                        <a:pt x="32763" y="0"/>
                      </a:cubicBezTo>
                      <a:close/>
                    </a:path>
                  </a:pathLst>
                </a:custGeom>
                <a:solidFill>
                  <a:srgbClr val="83CDFF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492" name="Freeform: Shape 2491">
                <a:extLst>
                  <a:ext uri="{FF2B5EF4-FFF2-40B4-BE49-F238E27FC236}">
                    <a16:creationId xmlns:a16="http://schemas.microsoft.com/office/drawing/2014/main" id="{3856DEF6-EAB9-A188-789A-CC0AB34618C7}"/>
                  </a:ext>
                </a:extLst>
              </p:cNvPr>
              <p:cNvSpPr/>
              <p:nvPr/>
            </p:nvSpPr>
            <p:spPr>
              <a:xfrm>
                <a:off x="1830339" y="2080906"/>
                <a:ext cx="103504" cy="80744"/>
              </a:xfrm>
              <a:custGeom>
                <a:avLst/>
                <a:gdLst>
                  <a:gd name="connsiteX0" fmla="*/ 180811 w 569085"/>
                  <a:gd name="connsiteY0" fmla="*/ 443947 h 443947"/>
                  <a:gd name="connsiteX1" fmla="*/ 0 w 569085"/>
                  <a:gd name="connsiteY1" fmla="*/ 243380 h 443947"/>
                  <a:gd name="connsiteX2" fmla="*/ 63210 w 569085"/>
                  <a:gd name="connsiteY2" fmla="*/ 186427 h 443947"/>
                  <a:gd name="connsiteX3" fmla="*/ 184408 w 569085"/>
                  <a:gd name="connsiteY3" fmla="*/ 320878 h 443947"/>
                  <a:gd name="connsiteX4" fmla="*/ 509325 w 569085"/>
                  <a:gd name="connsiteY4" fmla="*/ 0 h 443947"/>
                  <a:gd name="connsiteX5" fmla="*/ 569086 w 569085"/>
                  <a:gd name="connsiteY5" fmla="*/ 60549 h 443947"/>
                  <a:gd name="connsiteX6" fmla="*/ 180811 w 569085"/>
                  <a:gd name="connsiteY6" fmla="*/ 443947 h 443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9085" h="443947">
                    <a:moveTo>
                      <a:pt x="180811" y="443947"/>
                    </a:moveTo>
                    <a:lnTo>
                      <a:pt x="0" y="243380"/>
                    </a:lnTo>
                    <a:lnTo>
                      <a:pt x="63210" y="186427"/>
                    </a:lnTo>
                    <a:lnTo>
                      <a:pt x="184408" y="320878"/>
                    </a:lnTo>
                    <a:lnTo>
                      <a:pt x="509325" y="0"/>
                    </a:lnTo>
                    <a:lnTo>
                      <a:pt x="569086" y="60549"/>
                    </a:lnTo>
                    <a:lnTo>
                      <a:pt x="180811" y="443947"/>
                    </a:lnTo>
                    <a:close/>
                  </a:path>
                </a:pathLst>
              </a:custGeom>
              <a:solidFill>
                <a:srgbClr val="EA6565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93" name="Freeform: Shape 2492">
                <a:extLst>
                  <a:ext uri="{FF2B5EF4-FFF2-40B4-BE49-F238E27FC236}">
                    <a16:creationId xmlns:a16="http://schemas.microsoft.com/office/drawing/2014/main" id="{B512A900-2E2D-A57B-E802-8881B00FC928}"/>
                  </a:ext>
                </a:extLst>
              </p:cNvPr>
              <p:cNvSpPr/>
              <p:nvPr/>
            </p:nvSpPr>
            <p:spPr>
              <a:xfrm>
                <a:off x="1820017" y="2225656"/>
                <a:ext cx="123844" cy="123845"/>
              </a:xfrm>
              <a:custGeom>
                <a:avLst/>
                <a:gdLst>
                  <a:gd name="connsiteX0" fmla="*/ 0 w 680922"/>
                  <a:gd name="connsiteY0" fmla="*/ 622738 h 680922"/>
                  <a:gd name="connsiteX1" fmla="*/ 0 w 680922"/>
                  <a:gd name="connsiteY1" fmla="*/ 58185 h 680922"/>
                  <a:gd name="connsiteX2" fmla="*/ 58185 w 680922"/>
                  <a:gd name="connsiteY2" fmla="*/ 0 h 680922"/>
                  <a:gd name="connsiteX3" fmla="*/ 622738 w 680922"/>
                  <a:gd name="connsiteY3" fmla="*/ 0 h 680922"/>
                  <a:gd name="connsiteX4" fmla="*/ 680923 w 680922"/>
                  <a:gd name="connsiteY4" fmla="*/ 58185 h 680922"/>
                  <a:gd name="connsiteX5" fmla="*/ 680923 w 680922"/>
                  <a:gd name="connsiteY5" fmla="*/ 622738 h 680922"/>
                  <a:gd name="connsiteX6" fmla="*/ 622738 w 680922"/>
                  <a:gd name="connsiteY6" fmla="*/ 680923 h 680922"/>
                  <a:gd name="connsiteX7" fmla="*/ 58185 w 680922"/>
                  <a:gd name="connsiteY7" fmla="*/ 680923 h 680922"/>
                  <a:gd name="connsiteX8" fmla="*/ 0 w 680922"/>
                  <a:gd name="connsiteY8" fmla="*/ 622738 h 680922"/>
                  <a:gd name="connsiteX9" fmla="*/ 58185 w 680922"/>
                  <a:gd name="connsiteY9" fmla="*/ 31925 h 680922"/>
                  <a:gd name="connsiteX10" fmla="*/ 31926 w 680922"/>
                  <a:gd name="connsiteY10" fmla="*/ 58185 h 680922"/>
                  <a:gd name="connsiteX11" fmla="*/ 31926 w 680922"/>
                  <a:gd name="connsiteY11" fmla="*/ 622738 h 680922"/>
                  <a:gd name="connsiteX12" fmla="*/ 58185 w 680922"/>
                  <a:gd name="connsiteY12" fmla="*/ 648998 h 680922"/>
                  <a:gd name="connsiteX13" fmla="*/ 622738 w 680922"/>
                  <a:gd name="connsiteY13" fmla="*/ 648998 h 680922"/>
                  <a:gd name="connsiteX14" fmla="*/ 648998 w 680922"/>
                  <a:gd name="connsiteY14" fmla="*/ 622738 h 680922"/>
                  <a:gd name="connsiteX15" fmla="*/ 648998 w 680922"/>
                  <a:gd name="connsiteY15" fmla="*/ 58185 h 680922"/>
                  <a:gd name="connsiteX16" fmla="*/ 622738 w 680922"/>
                  <a:gd name="connsiteY16" fmla="*/ 31925 h 680922"/>
                  <a:gd name="connsiteX17" fmla="*/ 58185 w 680922"/>
                  <a:gd name="connsiteY17" fmla="*/ 31925 h 680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80922" h="680922">
                    <a:moveTo>
                      <a:pt x="0" y="622738"/>
                    </a:moveTo>
                    <a:lnTo>
                      <a:pt x="0" y="58185"/>
                    </a:lnTo>
                    <a:cubicBezTo>
                      <a:pt x="0" y="26112"/>
                      <a:pt x="26112" y="0"/>
                      <a:pt x="58185" y="0"/>
                    </a:cubicBezTo>
                    <a:lnTo>
                      <a:pt x="622738" y="0"/>
                    </a:lnTo>
                    <a:cubicBezTo>
                      <a:pt x="654811" y="0"/>
                      <a:pt x="680923" y="26112"/>
                      <a:pt x="680923" y="58185"/>
                    </a:cubicBezTo>
                    <a:lnTo>
                      <a:pt x="680923" y="622738"/>
                    </a:lnTo>
                    <a:cubicBezTo>
                      <a:pt x="680923" y="654811"/>
                      <a:pt x="654811" y="680923"/>
                      <a:pt x="622738" y="680923"/>
                    </a:cubicBezTo>
                    <a:lnTo>
                      <a:pt x="58185" y="680923"/>
                    </a:lnTo>
                    <a:cubicBezTo>
                      <a:pt x="26112" y="680923"/>
                      <a:pt x="0" y="654811"/>
                      <a:pt x="0" y="622738"/>
                    </a:cubicBezTo>
                    <a:close/>
                    <a:moveTo>
                      <a:pt x="58185" y="31925"/>
                    </a:moveTo>
                    <a:cubicBezTo>
                      <a:pt x="43701" y="31925"/>
                      <a:pt x="31926" y="43700"/>
                      <a:pt x="31926" y="58185"/>
                    </a:cubicBezTo>
                    <a:lnTo>
                      <a:pt x="31926" y="622738"/>
                    </a:lnTo>
                    <a:cubicBezTo>
                      <a:pt x="31926" y="637223"/>
                      <a:pt x="43701" y="648998"/>
                      <a:pt x="58185" y="648998"/>
                    </a:cubicBezTo>
                    <a:lnTo>
                      <a:pt x="622738" y="648998"/>
                    </a:lnTo>
                    <a:cubicBezTo>
                      <a:pt x="637223" y="648998"/>
                      <a:pt x="648998" y="637223"/>
                      <a:pt x="648998" y="622738"/>
                    </a:cubicBezTo>
                    <a:lnTo>
                      <a:pt x="648998" y="58185"/>
                    </a:lnTo>
                    <a:cubicBezTo>
                      <a:pt x="648998" y="43700"/>
                      <a:pt x="637223" y="31925"/>
                      <a:pt x="622738" y="31925"/>
                    </a:cubicBezTo>
                    <a:lnTo>
                      <a:pt x="58185" y="31925"/>
                    </a:lnTo>
                    <a:close/>
                  </a:path>
                </a:pathLst>
              </a:custGeom>
              <a:solidFill>
                <a:srgbClr val="3FA7FF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494" name="Graphic 2463">
                <a:extLst>
                  <a:ext uri="{FF2B5EF4-FFF2-40B4-BE49-F238E27FC236}">
                    <a16:creationId xmlns:a16="http://schemas.microsoft.com/office/drawing/2014/main" id="{FCBCCE15-7F56-76DD-8B7F-17CF46B3A69D}"/>
                  </a:ext>
                </a:extLst>
              </p:cNvPr>
              <p:cNvGrpSpPr/>
              <p:nvPr/>
            </p:nvGrpSpPr>
            <p:grpSpPr>
              <a:xfrm>
                <a:off x="1386511" y="2235109"/>
                <a:ext cx="392564" cy="104938"/>
                <a:chOff x="-8408429" y="2661448"/>
                <a:chExt cx="2158397" cy="576968"/>
              </a:xfrm>
            </p:grpSpPr>
            <p:sp>
              <p:nvSpPr>
                <p:cNvPr id="2495" name="Freeform: Shape 2494">
                  <a:extLst>
                    <a:ext uri="{FF2B5EF4-FFF2-40B4-BE49-F238E27FC236}">
                      <a16:creationId xmlns:a16="http://schemas.microsoft.com/office/drawing/2014/main" id="{E9C00D42-67C0-0BE9-5EFC-E1EBB355AC91}"/>
                    </a:ext>
                  </a:extLst>
                </p:cNvPr>
                <p:cNvSpPr/>
                <p:nvPr/>
              </p:nvSpPr>
              <p:spPr>
                <a:xfrm>
                  <a:off x="-8408429" y="2661448"/>
                  <a:ext cx="2158397" cy="74442"/>
                </a:xfrm>
                <a:custGeom>
                  <a:avLst/>
                  <a:gdLst>
                    <a:gd name="connsiteX0" fmla="*/ 2125635 w 2158397"/>
                    <a:gd name="connsiteY0" fmla="*/ 0 h 74442"/>
                    <a:gd name="connsiteX1" fmla="*/ 2158398 w 2158397"/>
                    <a:gd name="connsiteY1" fmla="*/ 32763 h 74442"/>
                    <a:gd name="connsiteX2" fmla="*/ 2158398 w 2158397"/>
                    <a:gd name="connsiteY2" fmla="*/ 41680 h 74442"/>
                    <a:gd name="connsiteX3" fmla="*/ 2125635 w 2158397"/>
                    <a:gd name="connsiteY3" fmla="*/ 74443 h 74442"/>
                    <a:gd name="connsiteX4" fmla="*/ 32763 w 2158397"/>
                    <a:gd name="connsiteY4" fmla="*/ 74443 h 74442"/>
                    <a:gd name="connsiteX5" fmla="*/ 0 w 2158397"/>
                    <a:gd name="connsiteY5" fmla="*/ 41680 h 74442"/>
                    <a:gd name="connsiteX6" fmla="*/ 0 w 2158397"/>
                    <a:gd name="connsiteY6" fmla="*/ 32763 h 74442"/>
                    <a:gd name="connsiteX7" fmla="*/ 32763 w 2158397"/>
                    <a:gd name="connsiteY7" fmla="*/ 0 h 74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58397" h="74442">
                      <a:moveTo>
                        <a:pt x="2125635" y="0"/>
                      </a:moveTo>
                      <a:cubicBezTo>
                        <a:pt x="2143730" y="0"/>
                        <a:pt x="2158398" y="14668"/>
                        <a:pt x="2158398" y="32763"/>
                      </a:cubicBezTo>
                      <a:lnTo>
                        <a:pt x="2158398" y="41680"/>
                      </a:lnTo>
                      <a:cubicBezTo>
                        <a:pt x="2158398" y="59775"/>
                        <a:pt x="2143730" y="74443"/>
                        <a:pt x="2125635" y="74443"/>
                      </a:cubicBezTo>
                      <a:lnTo>
                        <a:pt x="32763" y="74443"/>
                      </a:lnTo>
                      <a:cubicBezTo>
                        <a:pt x="14668" y="74443"/>
                        <a:pt x="0" y="59775"/>
                        <a:pt x="0" y="41680"/>
                      </a:cubicBezTo>
                      <a:lnTo>
                        <a:pt x="0" y="32763"/>
                      </a:lnTo>
                      <a:cubicBezTo>
                        <a:pt x="0" y="14669"/>
                        <a:pt x="14668" y="0"/>
                        <a:pt x="32763" y="0"/>
                      </a:cubicBezTo>
                      <a:close/>
                    </a:path>
                  </a:pathLst>
                </a:custGeom>
                <a:solidFill>
                  <a:srgbClr val="3FA7FF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96" name="Freeform: Shape 2495">
                  <a:extLst>
                    <a:ext uri="{FF2B5EF4-FFF2-40B4-BE49-F238E27FC236}">
                      <a16:creationId xmlns:a16="http://schemas.microsoft.com/office/drawing/2014/main" id="{C384B6C1-E747-EA92-16EA-55A7E0064788}"/>
                    </a:ext>
                  </a:extLst>
                </p:cNvPr>
                <p:cNvSpPr/>
                <p:nvPr/>
              </p:nvSpPr>
              <p:spPr>
                <a:xfrm>
                  <a:off x="-8408429" y="2828956"/>
                  <a:ext cx="2158397" cy="74442"/>
                </a:xfrm>
                <a:custGeom>
                  <a:avLst/>
                  <a:gdLst>
                    <a:gd name="connsiteX0" fmla="*/ 2125635 w 2158397"/>
                    <a:gd name="connsiteY0" fmla="*/ 0 h 74442"/>
                    <a:gd name="connsiteX1" fmla="*/ 2158398 w 2158397"/>
                    <a:gd name="connsiteY1" fmla="*/ 32763 h 74442"/>
                    <a:gd name="connsiteX2" fmla="*/ 2158398 w 2158397"/>
                    <a:gd name="connsiteY2" fmla="*/ 41680 h 74442"/>
                    <a:gd name="connsiteX3" fmla="*/ 2125635 w 2158397"/>
                    <a:gd name="connsiteY3" fmla="*/ 74443 h 74442"/>
                    <a:gd name="connsiteX4" fmla="*/ 32763 w 2158397"/>
                    <a:gd name="connsiteY4" fmla="*/ 74443 h 74442"/>
                    <a:gd name="connsiteX5" fmla="*/ 0 w 2158397"/>
                    <a:gd name="connsiteY5" fmla="*/ 41680 h 74442"/>
                    <a:gd name="connsiteX6" fmla="*/ 0 w 2158397"/>
                    <a:gd name="connsiteY6" fmla="*/ 32763 h 74442"/>
                    <a:gd name="connsiteX7" fmla="*/ 32763 w 2158397"/>
                    <a:gd name="connsiteY7" fmla="*/ 0 h 74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58397" h="74442">
                      <a:moveTo>
                        <a:pt x="2125635" y="0"/>
                      </a:moveTo>
                      <a:cubicBezTo>
                        <a:pt x="2143730" y="0"/>
                        <a:pt x="2158398" y="14668"/>
                        <a:pt x="2158398" y="32763"/>
                      </a:cubicBezTo>
                      <a:lnTo>
                        <a:pt x="2158398" y="41680"/>
                      </a:lnTo>
                      <a:cubicBezTo>
                        <a:pt x="2158398" y="59775"/>
                        <a:pt x="2143730" y="74443"/>
                        <a:pt x="2125635" y="74443"/>
                      </a:cubicBezTo>
                      <a:lnTo>
                        <a:pt x="32763" y="74443"/>
                      </a:lnTo>
                      <a:cubicBezTo>
                        <a:pt x="14668" y="74443"/>
                        <a:pt x="0" y="59775"/>
                        <a:pt x="0" y="41680"/>
                      </a:cubicBezTo>
                      <a:lnTo>
                        <a:pt x="0" y="32763"/>
                      </a:lnTo>
                      <a:cubicBezTo>
                        <a:pt x="0" y="14669"/>
                        <a:pt x="14668" y="0"/>
                        <a:pt x="32763" y="0"/>
                      </a:cubicBezTo>
                      <a:close/>
                    </a:path>
                  </a:pathLst>
                </a:custGeom>
                <a:solidFill>
                  <a:srgbClr val="83CDFF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97" name="Freeform: Shape 2496">
                  <a:extLst>
                    <a:ext uri="{FF2B5EF4-FFF2-40B4-BE49-F238E27FC236}">
                      <a16:creationId xmlns:a16="http://schemas.microsoft.com/office/drawing/2014/main" id="{FF65BC10-72A3-0670-5994-FB7A107CCB97}"/>
                    </a:ext>
                  </a:extLst>
                </p:cNvPr>
                <p:cNvSpPr/>
                <p:nvPr/>
              </p:nvSpPr>
              <p:spPr>
                <a:xfrm>
                  <a:off x="-8408429" y="2996465"/>
                  <a:ext cx="2158397" cy="74442"/>
                </a:xfrm>
                <a:custGeom>
                  <a:avLst/>
                  <a:gdLst>
                    <a:gd name="connsiteX0" fmla="*/ 2125635 w 2158397"/>
                    <a:gd name="connsiteY0" fmla="*/ 0 h 74442"/>
                    <a:gd name="connsiteX1" fmla="*/ 2158398 w 2158397"/>
                    <a:gd name="connsiteY1" fmla="*/ 32763 h 74442"/>
                    <a:gd name="connsiteX2" fmla="*/ 2158398 w 2158397"/>
                    <a:gd name="connsiteY2" fmla="*/ 41680 h 74442"/>
                    <a:gd name="connsiteX3" fmla="*/ 2125635 w 2158397"/>
                    <a:gd name="connsiteY3" fmla="*/ 74443 h 74442"/>
                    <a:gd name="connsiteX4" fmla="*/ 32763 w 2158397"/>
                    <a:gd name="connsiteY4" fmla="*/ 74443 h 74442"/>
                    <a:gd name="connsiteX5" fmla="*/ 0 w 2158397"/>
                    <a:gd name="connsiteY5" fmla="*/ 41680 h 74442"/>
                    <a:gd name="connsiteX6" fmla="*/ 0 w 2158397"/>
                    <a:gd name="connsiteY6" fmla="*/ 32763 h 74442"/>
                    <a:gd name="connsiteX7" fmla="*/ 32763 w 2158397"/>
                    <a:gd name="connsiteY7" fmla="*/ 0 h 74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58397" h="74442">
                      <a:moveTo>
                        <a:pt x="2125635" y="0"/>
                      </a:moveTo>
                      <a:cubicBezTo>
                        <a:pt x="2143730" y="0"/>
                        <a:pt x="2158398" y="14668"/>
                        <a:pt x="2158398" y="32763"/>
                      </a:cubicBezTo>
                      <a:lnTo>
                        <a:pt x="2158398" y="41680"/>
                      </a:lnTo>
                      <a:cubicBezTo>
                        <a:pt x="2158398" y="59775"/>
                        <a:pt x="2143730" y="74443"/>
                        <a:pt x="2125635" y="74443"/>
                      </a:cubicBezTo>
                      <a:lnTo>
                        <a:pt x="32763" y="74443"/>
                      </a:lnTo>
                      <a:cubicBezTo>
                        <a:pt x="14668" y="74443"/>
                        <a:pt x="0" y="59775"/>
                        <a:pt x="0" y="41680"/>
                      </a:cubicBezTo>
                      <a:lnTo>
                        <a:pt x="0" y="32763"/>
                      </a:lnTo>
                      <a:cubicBezTo>
                        <a:pt x="0" y="14669"/>
                        <a:pt x="14668" y="0"/>
                        <a:pt x="32763" y="0"/>
                      </a:cubicBezTo>
                      <a:close/>
                    </a:path>
                  </a:pathLst>
                </a:custGeom>
                <a:solidFill>
                  <a:srgbClr val="83CDFF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98" name="Freeform: Shape 2497">
                  <a:extLst>
                    <a:ext uri="{FF2B5EF4-FFF2-40B4-BE49-F238E27FC236}">
                      <a16:creationId xmlns:a16="http://schemas.microsoft.com/office/drawing/2014/main" id="{3851164C-96C2-4640-2D9E-1C7B4A1BE840}"/>
                    </a:ext>
                  </a:extLst>
                </p:cNvPr>
                <p:cNvSpPr/>
                <p:nvPr/>
              </p:nvSpPr>
              <p:spPr>
                <a:xfrm>
                  <a:off x="-8408429" y="3163973"/>
                  <a:ext cx="2158397" cy="74442"/>
                </a:xfrm>
                <a:custGeom>
                  <a:avLst/>
                  <a:gdLst>
                    <a:gd name="connsiteX0" fmla="*/ 2125635 w 2158397"/>
                    <a:gd name="connsiteY0" fmla="*/ 0 h 74442"/>
                    <a:gd name="connsiteX1" fmla="*/ 2158398 w 2158397"/>
                    <a:gd name="connsiteY1" fmla="*/ 32763 h 74442"/>
                    <a:gd name="connsiteX2" fmla="*/ 2158398 w 2158397"/>
                    <a:gd name="connsiteY2" fmla="*/ 41680 h 74442"/>
                    <a:gd name="connsiteX3" fmla="*/ 2125635 w 2158397"/>
                    <a:gd name="connsiteY3" fmla="*/ 74443 h 74442"/>
                    <a:gd name="connsiteX4" fmla="*/ 32763 w 2158397"/>
                    <a:gd name="connsiteY4" fmla="*/ 74443 h 74442"/>
                    <a:gd name="connsiteX5" fmla="*/ 0 w 2158397"/>
                    <a:gd name="connsiteY5" fmla="*/ 41680 h 74442"/>
                    <a:gd name="connsiteX6" fmla="*/ 0 w 2158397"/>
                    <a:gd name="connsiteY6" fmla="*/ 32763 h 74442"/>
                    <a:gd name="connsiteX7" fmla="*/ 32763 w 2158397"/>
                    <a:gd name="connsiteY7" fmla="*/ 0 h 74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58397" h="74442">
                      <a:moveTo>
                        <a:pt x="2125635" y="0"/>
                      </a:moveTo>
                      <a:cubicBezTo>
                        <a:pt x="2143730" y="0"/>
                        <a:pt x="2158398" y="14668"/>
                        <a:pt x="2158398" y="32763"/>
                      </a:cubicBezTo>
                      <a:lnTo>
                        <a:pt x="2158398" y="41680"/>
                      </a:lnTo>
                      <a:cubicBezTo>
                        <a:pt x="2158398" y="59775"/>
                        <a:pt x="2143730" y="74443"/>
                        <a:pt x="2125635" y="74443"/>
                      </a:cubicBezTo>
                      <a:lnTo>
                        <a:pt x="32763" y="74443"/>
                      </a:lnTo>
                      <a:cubicBezTo>
                        <a:pt x="14668" y="74443"/>
                        <a:pt x="0" y="59775"/>
                        <a:pt x="0" y="41680"/>
                      </a:cubicBezTo>
                      <a:lnTo>
                        <a:pt x="0" y="32763"/>
                      </a:lnTo>
                      <a:cubicBezTo>
                        <a:pt x="0" y="14669"/>
                        <a:pt x="14668" y="0"/>
                        <a:pt x="32763" y="0"/>
                      </a:cubicBezTo>
                      <a:close/>
                    </a:path>
                  </a:pathLst>
                </a:custGeom>
                <a:solidFill>
                  <a:srgbClr val="83CDFF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499" name="Freeform: Shape 2498">
                <a:extLst>
                  <a:ext uri="{FF2B5EF4-FFF2-40B4-BE49-F238E27FC236}">
                    <a16:creationId xmlns:a16="http://schemas.microsoft.com/office/drawing/2014/main" id="{1813A850-2484-5839-AD21-A347D47CFBC2}"/>
                  </a:ext>
                </a:extLst>
              </p:cNvPr>
              <p:cNvSpPr/>
              <p:nvPr/>
            </p:nvSpPr>
            <p:spPr>
              <a:xfrm>
                <a:off x="1830339" y="2250056"/>
                <a:ext cx="103504" cy="80744"/>
              </a:xfrm>
              <a:custGeom>
                <a:avLst/>
                <a:gdLst>
                  <a:gd name="connsiteX0" fmla="*/ 180811 w 569085"/>
                  <a:gd name="connsiteY0" fmla="*/ 443947 h 443947"/>
                  <a:gd name="connsiteX1" fmla="*/ 0 w 569085"/>
                  <a:gd name="connsiteY1" fmla="*/ 243380 h 443947"/>
                  <a:gd name="connsiteX2" fmla="*/ 63210 w 569085"/>
                  <a:gd name="connsiteY2" fmla="*/ 186378 h 443947"/>
                  <a:gd name="connsiteX3" fmla="*/ 184408 w 569085"/>
                  <a:gd name="connsiteY3" fmla="*/ 320828 h 443947"/>
                  <a:gd name="connsiteX4" fmla="*/ 509325 w 569085"/>
                  <a:gd name="connsiteY4" fmla="*/ 0 h 443947"/>
                  <a:gd name="connsiteX5" fmla="*/ 569086 w 569085"/>
                  <a:gd name="connsiteY5" fmla="*/ 60500 h 443947"/>
                  <a:gd name="connsiteX6" fmla="*/ 180811 w 569085"/>
                  <a:gd name="connsiteY6" fmla="*/ 443947 h 443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9085" h="443947">
                    <a:moveTo>
                      <a:pt x="180811" y="443947"/>
                    </a:moveTo>
                    <a:lnTo>
                      <a:pt x="0" y="243380"/>
                    </a:lnTo>
                    <a:lnTo>
                      <a:pt x="63210" y="186378"/>
                    </a:lnTo>
                    <a:lnTo>
                      <a:pt x="184408" y="320828"/>
                    </a:lnTo>
                    <a:lnTo>
                      <a:pt x="509325" y="0"/>
                    </a:lnTo>
                    <a:lnTo>
                      <a:pt x="569086" y="60500"/>
                    </a:lnTo>
                    <a:lnTo>
                      <a:pt x="180811" y="443947"/>
                    </a:lnTo>
                    <a:close/>
                  </a:path>
                </a:pathLst>
              </a:custGeom>
              <a:solidFill>
                <a:srgbClr val="EA6565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00" name="Freeform: Shape 2499">
                <a:extLst>
                  <a:ext uri="{FF2B5EF4-FFF2-40B4-BE49-F238E27FC236}">
                    <a16:creationId xmlns:a16="http://schemas.microsoft.com/office/drawing/2014/main" id="{4E4FA2E4-8E79-EC08-146E-ADC8155FDF4E}"/>
                  </a:ext>
                </a:extLst>
              </p:cNvPr>
              <p:cNvSpPr/>
              <p:nvPr/>
            </p:nvSpPr>
            <p:spPr>
              <a:xfrm>
                <a:off x="1820017" y="2394805"/>
                <a:ext cx="123844" cy="123845"/>
              </a:xfrm>
              <a:custGeom>
                <a:avLst/>
                <a:gdLst>
                  <a:gd name="connsiteX0" fmla="*/ 0 w 680922"/>
                  <a:gd name="connsiteY0" fmla="*/ 622738 h 680922"/>
                  <a:gd name="connsiteX1" fmla="*/ 0 w 680922"/>
                  <a:gd name="connsiteY1" fmla="*/ 58185 h 680922"/>
                  <a:gd name="connsiteX2" fmla="*/ 58185 w 680922"/>
                  <a:gd name="connsiteY2" fmla="*/ 0 h 680922"/>
                  <a:gd name="connsiteX3" fmla="*/ 622738 w 680922"/>
                  <a:gd name="connsiteY3" fmla="*/ 0 h 680922"/>
                  <a:gd name="connsiteX4" fmla="*/ 680923 w 680922"/>
                  <a:gd name="connsiteY4" fmla="*/ 58185 h 680922"/>
                  <a:gd name="connsiteX5" fmla="*/ 680923 w 680922"/>
                  <a:gd name="connsiteY5" fmla="*/ 622738 h 680922"/>
                  <a:gd name="connsiteX6" fmla="*/ 622738 w 680922"/>
                  <a:gd name="connsiteY6" fmla="*/ 680922 h 680922"/>
                  <a:gd name="connsiteX7" fmla="*/ 58185 w 680922"/>
                  <a:gd name="connsiteY7" fmla="*/ 680922 h 680922"/>
                  <a:gd name="connsiteX8" fmla="*/ 0 w 680922"/>
                  <a:gd name="connsiteY8" fmla="*/ 622738 h 680922"/>
                  <a:gd name="connsiteX9" fmla="*/ 58185 w 680922"/>
                  <a:gd name="connsiteY9" fmla="*/ 31876 h 680922"/>
                  <a:gd name="connsiteX10" fmla="*/ 31926 w 680922"/>
                  <a:gd name="connsiteY10" fmla="*/ 58135 h 680922"/>
                  <a:gd name="connsiteX11" fmla="*/ 31926 w 680922"/>
                  <a:gd name="connsiteY11" fmla="*/ 622689 h 680922"/>
                  <a:gd name="connsiteX12" fmla="*/ 58185 w 680922"/>
                  <a:gd name="connsiteY12" fmla="*/ 648948 h 680922"/>
                  <a:gd name="connsiteX13" fmla="*/ 622738 w 680922"/>
                  <a:gd name="connsiteY13" fmla="*/ 648948 h 680922"/>
                  <a:gd name="connsiteX14" fmla="*/ 648998 w 680922"/>
                  <a:gd name="connsiteY14" fmla="*/ 622689 h 680922"/>
                  <a:gd name="connsiteX15" fmla="*/ 648998 w 680922"/>
                  <a:gd name="connsiteY15" fmla="*/ 58135 h 680922"/>
                  <a:gd name="connsiteX16" fmla="*/ 622738 w 680922"/>
                  <a:gd name="connsiteY16" fmla="*/ 31876 h 680922"/>
                  <a:gd name="connsiteX17" fmla="*/ 58185 w 680922"/>
                  <a:gd name="connsiteY17" fmla="*/ 31876 h 680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80922" h="680922">
                    <a:moveTo>
                      <a:pt x="0" y="622738"/>
                    </a:moveTo>
                    <a:lnTo>
                      <a:pt x="0" y="58185"/>
                    </a:lnTo>
                    <a:cubicBezTo>
                      <a:pt x="0" y="26112"/>
                      <a:pt x="26112" y="0"/>
                      <a:pt x="58185" y="0"/>
                    </a:cubicBezTo>
                    <a:lnTo>
                      <a:pt x="622738" y="0"/>
                    </a:lnTo>
                    <a:cubicBezTo>
                      <a:pt x="654811" y="0"/>
                      <a:pt x="680923" y="26112"/>
                      <a:pt x="680923" y="58185"/>
                    </a:cubicBezTo>
                    <a:lnTo>
                      <a:pt x="680923" y="622738"/>
                    </a:lnTo>
                    <a:cubicBezTo>
                      <a:pt x="680923" y="654811"/>
                      <a:pt x="654811" y="680922"/>
                      <a:pt x="622738" y="680922"/>
                    </a:cubicBezTo>
                    <a:lnTo>
                      <a:pt x="58185" y="680922"/>
                    </a:lnTo>
                    <a:cubicBezTo>
                      <a:pt x="26112" y="680922"/>
                      <a:pt x="0" y="654811"/>
                      <a:pt x="0" y="622738"/>
                    </a:cubicBezTo>
                    <a:close/>
                    <a:moveTo>
                      <a:pt x="58185" y="31876"/>
                    </a:moveTo>
                    <a:cubicBezTo>
                      <a:pt x="43701" y="31876"/>
                      <a:pt x="31926" y="43651"/>
                      <a:pt x="31926" y="58135"/>
                    </a:cubicBezTo>
                    <a:lnTo>
                      <a:pt x="31926" y="622689"/>
                    </a:lnTo>
                    <a:cubicBezTo>
                      <a:pt x="31926" y="637173"/>
                      <a:pt x="43701" y="648948"/>
                      <a:pt x="58185" y="648948"/>
                    </a:cubicBezTo>
                    <a:lnTo>
                      <a:pt x="622738" y="648948"/>
                    </a:lnTo>
                    <a:cubicBezTo>
                      <a:pt x="637223" y="648948"/>
                      <a:pt x="648998" y="637173"/>
                      <a:pt x="648998" y="622689"/>
                    </a:cubicBezTo>
                    <a:lnTo>
                      <a:pt x="648998" y="58135"/>
                    </a:lnTo>
                    <a:cubicBezTo>
                      <a:pt x="648998" y="43651"/>
                      <a:pt x="637223" y="31876"/>
                      <a:pt x="622738" y="31876"/>
                    </a:cubicBezTo>
                    <a:lnTo>
                      <a:pt x="58185" y="31876"/>
                    </a:lnTo>
                    <a:close/>
                  </a:path>
                </a:pathLst>
              </a:custGeom>
              <a:solidFill>
                <a:srgbClr val="3FA7FF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501" name="Graphic 2463">
                <a:extLst>
                  <a:ext uri="{FF2B5EF4-FFF2-40B4-BE49-F238E27FC236}">
                    <a16:creationId xmlns:a16="http://schemas.microsoft.com/office/drawing/2014/main" id="{3006754A-A62F-0410-7462-7CDECC68F519}"/>
                  </a:ext>
                </a:extLst>
              </p:cNvPr>
              <p:cNvGrpSpPr/>
              <p:nvPr/>
            </p:nvGrpSpPr>
            <p:grpSpPr>
              <a:xfrm>
                <a:off x="1386511" y="2404259"/>
                <a:ext cx="392564" cy="104929"/>
                <a:chOff x="-8408429" y="3591465"/>
                <a:chExt cx="2158397" cy="576919"/>
              </a:xfrm>
            </p:grpSpPr>
            <p:sp>
              <p:nvSpPr>
                <p:cNvPr id="2502" name="Freeform: Shape 2501">
                  <a:extLst>
                    <a:ext uri="{FF2B5EF4-FFF2-40B4-BE49-F238E27FC236}">
                      <a16:creationId xmlns:a16="http://schemas.microsoft.com/office/drawing/2014/main" id="{2A341DAA-51DF-E1D4-04F6-B7531F22DA0F}"/>
                    </a:ext>
                  </a:extLst>
                </p:cNvPr>
                <p:cNvSpPr/>
                <p:nvPr/>
              </p:nvSpPr>
              <p:spPr>
                <a:xfrm>
                  <a:off x="-8408429" y="3591465"/>
                  <a:ext cx="2158397" cy="74442"/>
                </a:xfrm>
                <a:custGeom>
                  <a:avLst/>
                  <a:gdLst>
                    <a:gd name="connsiteX0" fmla="*/ 2125635 w 2158397"/>
                    <a:gd name="connsiteY0" fmla="*/ 0 h 74442"/>
                    <a:gd name="connsiteX1" fmla="*/ 2158398 w 2158397"/>
                    <a:gd name="connsiteY1" fmla="*/ 32763 h 74442"/>
                    <a:gd name="connsiteX2" fmla="*/ 2158398 w 2158397"/>
                    <a:gd name="connsiteY2" fmla="*/ 41680 h 74442"/>
                    <a:gd name="connsiteX3" fmla="*/ 2125635 w 2158397"/>
                    <a:gd name="connsiteY3" fmla="*/ 74443 h 74442"/>
                    <a:gd name="connsiteX4" fmla="*/ 32763 w 2158397"/>
                    <a:gd name="connsiteY4" fmla="*/ 74443 h 74442"/>
                    <a:gd name="connsiteX5" fmla="*/ 0 w 2158397"/>
                    <a:gd name="connsiteY5" fmla="*/ 41680 h 74442"/>
                    <a:gd name="connsiteX6" fmla="*/ 0 w 2158397"/>
                    <a:gd name="connsiteY6" fmla="*/ 32763 h 74442"/>
                    <a:gd name="connsiteX7" fmla="*/ 32763 w 2158397"/>
                    <a:gd name="connsiteY7" fmla="*/ 0 h 74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58397" h="74442">
                      <a:moveTo>
                        <a:pt x="2125635" y="0"/>
                      </a:moveTo>
                      <a:cubicBezTo>
                        <a:pt x="2143730" y="0"/>
                        <a:pt x="2158398" y="14668"/>
                        <a:pt x="2158398" y="32763"/>
                      </a:cubicBezTo>
                      <a:lnTo>
                        <a:pt x="2158398" y="41680"/>
                      </a:lnTo>
                      <a:cubicBezTo>
                        <a:pt x="2158398" y="59774"/>
                        <a:pt x="2143730" y="74443"/>
                        <a:pt x="2125635" y="74443"/>
                      </a:cubicBezTo>
                      <a:lnTo>
                        <a:pt x="32763" y="74443"/>
                      </a:lnTo>
                      <a:cubicBezTo>
                        <a:pt x="14668" y="74443"/>
                        <a:pt x="0" y="59775"/>
                        <a:pt x="0" y="41680"/>
                      </a:cubicBezTo>
                      <a:lnTo>
                        <a:pt x="0" y="32763"/>
                      </a:lnTo>
                      <a:cubicBezTo>
                        <a:pt x="0" y="14669"/>
                        <a:pt x="14668" y="0"/>
                        <a:pt x="32763" y="0"/>
                      </a:cubicBezTo>
                      <a:close/>
                    </a:path>
                  </a:pathLst>
                </a:custGeom>
                <a:solidFill>
                  <a:srgbClr val="3FA7FF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03" name="Freeform: Shape 2502">
                  <a:extLst>
                    <a:ext uri="{FF2B5EF4-FFF2-40B4-BE49-F238E27FC236}">
                      <a16:creationId xmlns:a16="http://schemas.microsoft.com/office/drawing/2014/main" id="{8584C181-331C-8662-1E73-9CA0B8D104CE}"/>
                    </a:ext>
                  </a:extLst>
                </p:cNvPr>
                <p:cNvSpPr/>
                <p:nvPr/>
              </p:nvSpPr>
              <p:spPr>
                <a:xfrm>
                  <a:off x="-8408429" y="3758974"/>
                  <a:ext cx="2158397" cy="74442"/>
                </a:xfrm>
                <a:custGeom>
                  <a:avLst/>
                  <a:gdLst>
                    <a:gd name="connsiteX0" fmla="*/ 2125635 w 2158397"/>
                    <a:gd name="connsiteY0" fmla="*/ 0 h 74442"/>
                    <a:gd name="connsiteX1" fmla="*/ 2158398 w 2158397"/>
                    <a:gd name="connsiteY1" fmla="*/ 32763 h 74442"/>
                    <a:gd name="connsiteX2" fmla="*/ 2158398 w 2158397"/>
                    <a:gd name="connsiteY2" fmla="*/ 41680 h 74442"/>
                    <a:gd name="connsiteX3" fmla="*/ 2125635 w 2158397"/>
                    <a:gd name="connsiteY3" fmla="*/ 74443 h 74442"/>
                    <a:gd name="connsiteX4" fmla="*/ 32763 w 2158397"/>
                    <a:gd name="connsiteY4" fmla="*/ 74443 h 74442"/>
                    <a:gd name="connsiteX5" fmla="*/ 0 w 2158397"/>
                    <a:gd name="connsiteY5" fmla="*/ 41680 h 74442"/>
                    <a:gd name="connsiteX6" fmla="*/ 0 w 2158397"/>
                    <a:gd name="connsiteY6" fmla="*/ 32763 h 74442"/>
                    <a:gd name="connsiteX7" fmla="*/ 32763 w 2158397"/>
                    <a:gd name="connsiteY7" fmla="*/ 0 h 74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58397" h="74442">
                      <a:moveTo>
                        <a:pt x="2125635" y="0"/>
                      </a:moveTo>
                      <a:cubicBezTo>
                        <a:pt x="2143730" y="0"/>
                        <a:pt x="2158398" y="14668"/>
                        <a:pt x="2158398" y="32763"/>
                      </a:cubicBezTo>
                      <a:lnTo>
                        <a:pt x="2158398" y="41680"/>
                      </a:lnTo>
                      <a:cubicBezTo>
                        <a:pt x="2158398" y="59774"/>
                        <a:pt x="2143730" y="74443"/>
                        <a:pt x="2125635" y="74443"/>
                      </a:cubicBezTo>
                      <a:lnTo>
                        <a:pt x="32763" y="74443"/>
                      </a:lnTo>
                      <a:cubicBezTo>
                        <a:pt x="14668" y="74443"/>
                        <a:pt x="0" y="59775"/>
                        <a:pt x="0" y="41680"/>
                      </a:cubicBezTo>
                      <a:lnTo>
                        <a:pt x="0" y="32763"/>
                      </a:lnTo>
                      <a:cubicBezTo>
                        <a:pt x="0" y="14669"/>
                        <a:pt x="14668" y="0"/>
                        <a:pt x="32763" y="0"/>
                      </a:cubicBezTo>
                      <a:close/>
                    </a:path>
                  </a:pathLst>
                </a:custGeom>
                <a:solidFill>
                  <a:srgbClr val="83CDFF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04" name="Freeform: Shape 2503">
                  <a:extLst>
                    <a:ext uri="{FF2B5EF4-FFF2-40B4-BE49-F238E27FC236}">
                      <a16:creationId xmlns:a16="http://schemas.microsoft.com/office/drawing/2014/main" id="{83591EFB-4990-F589-1366-C7E604366E4A}"/>
                    </a:ext>
                  </a:extLst>
                </p:cNvPr>
                <p:cNvSpPr/>
                <p:nvPr/>
              </p:nvSpPr>
              <p:spPr>
                <a:xfrm>
                  <a:off x="-8408429" y="3926433"/>
                  <a:ext cx="2158397" cy="74442"/>
                </a:xfrm>
                <a:custGeom>
                  <a:avLst/>
                  <a:gdLst>
                    <a:gd name="connsiteX0" fmla="*/ 2125635 w 2158397"/>
                    <a:gd name="connsiteY0" fmla="*/ 0 h 74442"/>
                    <a:gd name="connsiteX1" fmla="*/ 2158398 w 2158397"/>
                    <a:gd name="connsiteY1" fmla="*/ 32763 h 74442"/>
                    <a:gd name="connsiteX2" fmla="*/ 2158398 w 2158397"/>
                    <a:gd name="connsiteY2" fmla="*/ 41680 h 74442"/>
                    <a:gd name="connsiteX3" fmla="*/ 2125635 w 2158397"/>
                    <a:gd name="connsiteY3" fmla="*/ 74443 h 74442"/>
                    <a:gd name="connsiteX4" fmla="*/ 32763 w 2158397"/>
                    <a:gd name="connsiteY4" fmla="*/ 74443 h 74442"/>
                    <a:gd name="connsiteX5" fmla="*/ 0 w 2158397"/>
                    <a:gd name="connsiteY5" fmla="*/ 41680 h 74442"/>
                    <a:gd name="connsiteX6" fmla="*/ 0 w 2158397"/>
                    <a:gd name="connsiteY6" fmla="*/ 32763 h 74442"/>
                    <a:gd name="connsiteX7" fmla="*/ 32763 w 2158397"/>
                    <a:gd name="connsiteY7" fmla="*/ 0 h 74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58397" h="74442">
                      <a:moveTo>
                        <a:pt x="2125635" y="0"/>
                      </a:moveTo>
                      <a:cubicBezTo>
                        <a:pt x="2143730" y="0"/>
                        <a:pt x="2158398" y="14668"/>
                        <a:pt x="2158398" y="32763"/>
                      </a:cubicBezTo>
                      <a:lnTo>
                        <a:pt x="2158398" y="41680"/>
                      </a:lnTo>
                      <a:cubicBezTo>
                        <a:pt x="2158398" y="59774"/>
                        <a:pt x="2143730" y="74443"/>
                        <a:pt x="2125635" y="74443"/>
                      </a:cubicBezTo>
                      <a:lnTo>
                        <a:pt x="32763" y="74443"/>
                      </a:lnTo>
                      <a:cubicBezTo>
                        <a:pt x="14668" y="74443"/>
                        <a:pt x="0" y="59775"/>
                        <a:pt x="0" y="41680"/>
                      </a:cubicBezTo>
                      <a:lnTo>
                        <a:pt x="0" y="32763"/>
                      </a:lnTo>
                      <a:cubicBezTo>
                        <a:pt x="0" y="14668"/>
                        <a:pt x="14668" y="0"/>
                        <a:pt x="32763" y="0"/>
                      </a:cubicBezTo>
                      <a:close/>
                    </a:path>
                  </a:pathLst>
                </a:custGeom>
                <a:solidFill>
                  <a:srgbClr val="83CDFF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05" name="Freeform: Shape 2504">
                  <a:extLst>
                    <a:ext uri="{FF2B5EF4-FFF2-40B4-BE49-F238E27FC236}">
                      <a16:creationId xmlns:a16="http://schemas.microsoft.com/office/drawing/2014/main" id="{B65626EF-F6DC-BC2B-F4EB-98EB7911C560}"/>
                    </a:ext>
                  </a:extLst>
                </p:cNvPr>
                <p:cNvSpPr/>
                <p:nvPr/>
              </p:nvSpPr>
              <p:spPr>
                <a:xfrm>
                  <a:off x="-8408429" y="4093942"/>
                  <a:ext cx="2158397" cy="74442"/>
                </a:xfrm>
                <a:custGeom>
                  <a:avLst/>
                  <a:gdLst>
                    <a:gd name="connsiteX0" fmla="*/ 2125635 w 2158397"/>
                    <a:gd name="connsiteY0" fmla="*/ 0 h 74442"/>
                    <a:gd name="connsiteX1" fmla="*/ 2158398 w 2158397"/>
                    <a:gd name="connsiteY1" fmla="*/ 32762 h 74442"/>
                    <a:gd name="connsiteX2" fmla="*/ 2158398 w 2158397"/>
                    <a:gd name="connsiteY2" fmla="*/ 41680 h 74442"/>
                    <a:gd name="connsiteX3" fmla="*/ 2125635 w 2158397"/>
                    <a:gd name="connsiteY3" fmla="*/ 74443 h 74442"/>
                    <a:gd name="connsiteX4" fmla="*/ 32763 w 2158397"/>
                    <a:gd name="connsiteY4" fmla="*/ 74443 h 74442"/>
                    <a:gd name="connsiteX5" fmla="*/ 0 w 2158397"/>
                    <a:gd name="connsiteY5" fmla="*/ 41680 h 74442"/>
                    <a:gd name="connsiteX6" fmla="*/ 0 w 2158397"/>
                    <a:gd name="connsiteY6" fmla="*/ 32762 h 74442"/>
                    <a:gd name="connsiteX7" fmla="*/ 32763 w 2158397"/>
                    <a:gd name="connsiteY7" fmla="*/ 0 h 74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58397" h="74442">
                      <a:moveTo>
                        <a:pt x="2125635" y="0"/>
                      </a:moveTo>
                      <a:cubicBezTo>
                        <a:pt x="2143730" y="0"/>
                        <a:pt x="2158398" y="14668"/>
                        <a:pt x="2158398" y="32762"/>
                      </a:cubicBezTo>
                      <a:lnTo>
                        <a:pt x="2158398" y="41680"/>
                      </a:lnTo>
                      <a:cubicBezTo>
                        <a:pt x="2158398" y="59775"/>
                        <a:pt x="2143730" y="74443"/>
                        <a:pt x="2125635" y="74443"/>
                      </a:cubicBezTo>
                      <a:lnTo>
                        <a:pt x="32763" y="74443"/>
                      </a:lnTo>
                      <a:cubicBezTo>
                        <a:pt x="14668" y="74443"/>
                        <a:pt x="0" y="59775"/>
                        <a:pt x="0" y="41680"/>
                      </a:cubicBezTo>
                      <a:lnTo>
                        <a:pt x="0" y="32762"/>
                      </a:lnTo>
                      <a:cubicBezTo>
                        <a:pt x="0" y="14668"/>
                        <a:pt x="14668" y="0"/>
                        <a:pt x="32763" y="0"/>
                      </a:cubicBezTo>
                      <a:close/>
                    </a:path>
                  </a:pathLst>
                </a:custGeom>
                <a:solidFill>
                  <a:srgbClr val="83CDFF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506" name="Freeform: Shape 2505">
                <a:extLst>
                  <a:ext uri="{FF2B5EF4-FFF2-40B4-BE49-F238E27FC236}">
                    <a16:creationId xmlns:a16="http://schemas.microsoft.com/office/drawing/2014/main" id="{535E99FA-427C-8066-A6B2-024E5BF08EE4}"/>
                  </a:ext>
                </a:extLst>
              </p:cNvPr>
              <p:cNvSpPr/>
              <p:nvPr/>
            </p:nvSpPr>
            <p:spPr>
              <a:xfrm>
                <a:off x="1830339" y="2419196"/>
                <a:ext cx="103504" cy="80744"/>
              </a:xfrm>
              <a:custGeom>
                <a:avLst/>
                <a:gdLst>
                  <a:gd name="connsiteX0" fmla="*/ 180811 w 569085"/>
                  <a:gd name="connsiteY0" fmla="*/ 443947 h 443946"/>
                  <a:gd name="connsiteX1" fmla="*/ 0 w 569085"/>
                  <a:gd name="connsiteY1" fmla="*/ 243380 h 443946"/>
                  <a:gd name="connsiteX2" fmla="*/ 63210 w 569085"/>
                  <a:gd name="connsiteY2" fmla="*/ 186427 h 443946"/>
                  <a:gd name="connsiteX3" fmla="*/ 184408 w 569085"/>
                  <a:gd name="connsiteY3" fmla="*/ 320828 h 443946"/>
                  <a:gd name="connsiteX4" fmla="*/ 509325 w 569085"/>
                  <a:gd name="connsiteY4" fmla="*/ 0 h 443946"/>
                  <a:gd name="connsiteX5" fmla="*/ 569086 w 569085"/>
                  <a:gd name="connsiteY5" fmla="*/ 60549 h 443946"/>
                  <a:gd name="connsiteX6" fmla="*/ 180811 w 569085"/>
                  <a:gd name="connsiteY6" fmla="*/ 443947 h 443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9085" h="443946">
                    <a:moveTo>
                      <a:pt x="180811" y="443947"/>
                    </a:moveTo>
                    <a:lnTo>
                      <a:pt x="0" y="243380"/>
                    </a:lnTo>
                    <a:lnTo>
                      <a:pt x="63210" y="186427"/>
                    </a:lnTo>
                    <a:lnTo>
                      <a:pt x="184408" y="320828"/>
                    </a:lnTo>
                    <a:lnTo>
                      <a:pt x="509325" y="0"/>
                    </a:lnTo>
                    <a:lnTo>
                      <a:pt x="569086" y="60549"/>
                    </a:lnTo>
                    <a:lnTo>
                      <a:pt x="180811" y="443947"/>
                    </a:lnTo>
                    <a:close/>
                  </a:path>
                </a:pathLst>
              </a:custGeom>
              <a:solidFill>
                <a:srgbClr val="EA6565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07" name="Freeform: Shape 2506">
                <a:extLst>
                  <a:ext uri="{FF2B5EF4-FFF2-40B4-BE49-F238E27FC236}">
                    <a16:creationId xmlns:a16="http://schemas.microsoft.com/office/drawing/2014/main" id="{C5CB7382-C5E0-3A72-F237-780B1B44DBC4}"/>
                  </a:ext>
                </a:extLst>
              </p:cNvPr>
              <p:cNvSpPr/>
              <p:nvPr/>
            </p:nvSpPr>
            <p:spPr>
              <a:xfrm>
                <a:off x="1820017" y="2563946"/>
                <a:ext cx="123844" cy="123845"/>
              </a:xfrm>
              <a:custGeom>
                <a:avLst/>
                <a:gdLst>
                  <a:gd name="connsiteX0" fmla="*/ 0 w 680922"/>
                  <a:gd name="connsiteY0" fmla="*/ 622738 h 680922"/>
                  <a:gd name="connsiteX1" fmla="*/ 0 w 680922"/>
                  <a:gd name="connsiteY1" fmla="*/ 58184 h 680922"/>
                  <a:gd name="connsiteX2" fmla="*/ 58185 w 680922"/>
                  <a:gd name="connsiteY2" fmla="*/ 0 h 680922"/>
                  <a:gd name="connsiteX3" fmla="*/ 622738 w 680922"/>
                  <a:gd name="connsiteY3" fmla="*/ 0 h 680922"/>
                  <a:gd name="connsiteX4" fmla="*/ 680923 w 680922"/>
                  <a:gd name="connsiteY4" fmla="*/ 58184 h 680922"/>
                  <a:gd name="connsiteX5" fmla="*/ 680923 w 680922"/>
                  <a:gd name="connsiteY5" fmla="*/ 622738 h 680922"/>
                  <a:gd name="connsiteX6" fmla="*/ 622738 w 680922"/>
                  <a:gd name="connsiteY6" fmla="*/ 680922 h 680922"/>
                  <a:gd name="connsiteX7" fmla="*/ 58185 w 680922"/>
                  <a:gd name="connsiteY7" fmla="*/ 680922 h 680922"/>
                  <a:gd name="connsiteX8" fmla="*/ 0 w 680922"/>
                  <a:gd name="connsiteY8" fmla="*/ 622738 h 680922"/>
                  <a:gd name="connsiteX9" fmla="*/ 58185 w 680922"/>
                  <a:gd name="connsiteY9" fmla="*/ 31925 h 680922"/>
                  <a:gd name="connsiteX10" fmla="*/ 31926 w 680922"/>
                  <a:gd name="connsiteY10" fmla="*/ 58184 h 680922"/>
                  <a:gd name="connsiteX11" fmla="*/ 31926 w 680922"/>
                  <a:gd name="connsiteY11" fmla="*/ 622738 h 680922"/>
                  <a:gd name="connsiteX12" fmla="*/ 58185 w 680922"/>
                  <a:gd name="connsiteY12" fmla="*/ 648997 h 680922"/>
                  <a:gd name="connsiteX13" fmla="*/ 622738 w 680922"/>
                  <a:gd name="connsiteY13" fmla="*/ 648997 h 680922"/>
                  <a:gd name="connsiteX14" fmla="*/ 648998 w 680922"/>
                  <a:gd name="connsiteY14" fmla="*/ 622738 h 680922"/>
                  <a:gd name="connsiteX15" fmla="*/ 648998 w 680922"/>
                  <a:gd name="connsiteY15" fmla="*/ 58184 h 680922"/>
                  <a:gd name="connsiteX16" fmla="*/ 622738 w 680922"/>
                  <a:gd name="connsiteY16" fmla="*/ 31925 h 680922"/>
                  <a:gd name="connsiteX17" fmla="*/ 58185 w 680922"/>
                  <a:gd name="connsiteY17" fmla="*/ 31925 h 680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80922" h="680922">
                    <a:moveTo>
                      <a:pt x="0" y="622738"/>
                    </a:moveTo>
                    <a:lnTo>
                      <a:pt x="0" y="58184"/>
                    </a:lnTo>
                    <a:cubicBezTo>
                      <a:pt x="0" y="26112"/>
                      <a:pt x="26112" y="0"/>
                      <a:pt x="58185" y="0"/>
                    </a:cubicBezTo>
                    <a:lnTo>
                      <a:pt x="622738" y="0"/>
                    </a:lnTo>
                    <a:cubicBezTo>
                      <a:pt x="654811" y="0"/>
                      <a:pt x="680923" y="26112"/>
                      <a:pt x="680923" y="58184"/>
                    </a:cubicBezTo>
                    <a:lnTo>
                      <a:pt x="680923" y="622738"/>
                    </a:lnTo>
                    <a:cubicBezTo>
                      <a:pt x="680923" y="654811"/>
                      <a:pt x="654811" y="680922"/>
                      <a:pt x="622738" y="680922"/>
                    </a:cubicBezTo>
                    <a:lnTo>
                      <a:pt x="58185" y="680922"/>
                    </a:lnTo>
                    <a:cubicBezTo>
                      <a:pt x="26112" y="680922"/>
                      <a:pt x="0" y="654811"/>
                      <a:pt x="0" y="622738"/>
                    </a:cubicBezTo>
                    <a:close/>
                    <a:moveTo>
                      <a:pt x="58185" y="31925"/>
                    </a:moveTo>
                    <a:cubicBezTo>
                      <a:pt x="43701" y="31925"/>
                      <a:pt x="31926" y="43700"/>
                      <a:pt x="31926" y="58184"/>
                    </a:cubicBezTo>
                    <a:lnTo>
                      <a:pt x="31926" y="622738"/>
                    </a:lnTo>
                    <a:cubicBezTo>
                      <a:pt x="31926" y="637222"/>
                      <a:pt x="43701" y="648997"/>
                      <a:pt x="58185" y="648997"/>
                    </a:cubicBezTo>
                    <a:lnTo>
                      <a:pt x="622738" y="648997"/>
                    </a:lnTo>
                    <a:cubicBezTo>
                      <a:pt x="637223" y="648997"/>
                      <a:pt x="648998" y="637222"/>
                      <a:pt x="648998" y="622738"/>
                    </a:cubicBezTo>
                    <a:lnTo>
                      <a:pt x="648998" y="58184"/>
                    </a:lnTo>
                    <a:cubicBezTo>
                      <a:pt x="648998" y="43700"/>
                      <a:pt x="637223" y="31925"/>
                      <a:pt x="622738" y="31925"/>
                    </a:cubicBezTo>
                    <a:lnTo>
                      <a:pt x="58185" y="31925"/>
                    </a:lnTo>
                    <a:close/>
                  </a:path>
                </a:pathLst>
              </a:custGeom>
              <a:solidFill>
                <a:srgbClr val="3FA7FF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508" name="Graphic 2463">
                <a:extLst>
                  <a:ext uri="{FF2B5EF4-FFF2-40B4-BE49-F238E27FC236}">
                    <a16:creationId xmlns:a16="http://schemas.microsoft.com/office/drawing/2014/main" id="{C5D52D8A-4E38-6609-CAD8-00F6582790C5}"/>
                  </a:ext>
                </a:extLst>
              </p:cNvPr>
              <p:cNvGrpSpPr/>
              <p:nvPr/>
            </p:nvGrpSpPr>
            <p:grpSpPr>
              <a:xfrm>
                <a:off x="1386511" y="2573400"/>
                <a:ext cx="392564" cy="104938"/>
                <a:chOff x="-8408429" y="4521434"/>
                <a:chExt cx="2158397" cy="576968"/>
              </a:xfrm>
            </p:grpSpPr>
            <p:sp>
              <p:nvSpPr>
                <p:cNvPr id="2509" name="Freeform: Shape 2508">
                  <a:extLst>
                    <a:ext uri="{FF2B5EF4-FFF2-40B4-BE49-F238E27FC236}">
                      <a16:creationId xmlns:a16="http://schemas.microsoft.com/office/drawing/2014/main" id="{C3233225-A47C-BE5A-FF9F-B9D166C4E7AA}"/>
                    </a:ext>
                  </a:extLst>
                </p:cNvPr>
                <p:cNvSpPr/>
                <p:nvPr/>
              </p:nvSpPr>
              <p:spPr>
                <a:xfrm>
                  <a:off x="-8408429" y="4521434"/>
                  <a:ext cx="2158397" cy="74442"/>
                </a:xfrm>
                <a:custGeom>
                  <a:avLst/>
                  <a:gdLst>
                    <a:gd name="connsiteX0" fmla="*/ 2125635 w 2158397"/>
                    <a:gd name="connsiteY0" fmla="*/ 0 h 74442"/>
                    <a:gd name="connsiteX1" fmla="*/ 2158398 w 2158397"/>
                    <a:gd name="connsiteY1" fmla="*/ 32763 h 74442"/>
                    <a:gd name="connsiteX2" fmla="*/ 2158398 w 2158397"/>
                    <a:gd name="connsiteY2" fmla="*/ 41681 h 74442"/>
                    <a:gd name="connsiteX3" fmla="*/ 2125635 w 2158397"/>
                    <a:gd name="connsiteY3" fmla="*/ 74444 h 74442"/>
                    <a:gd name="connsiteX4" fmla="*/ 32763 w 2158397"/>
                    <a:gd name="connsiteY4" fmla="*/ 74444 h 74442"/>
                    <a:gd name="connsiteX5" fmla="*/ 0 w 2158397"/>
                    <a:gd name="connsiteY5" fmla="*/ 41681 h 74442"/>
                    <a:gd name="connsiteX6" fmla="*/ 0 w 2158397"/>
                    <a:gd name="connsiteY6" fmla="*/ 32763 h 74442"/>
                    <a:gd name="connsiteX7" fmla="*/ 32763 w 2158397"/>
                    <a:gd name="connsiteY7" fmla="*/ 0 h 74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58397" h="74442">
                      <a:moveTo>
                        <a:pt x="2125635" y="0"/>
                      </a:moveTo>
                      <a:cubicBezTo>
                        <a:pt x="2143730" y="0"/>
                        <a:pt x="2158398" y="14669"/>
                        <a:pt x="2158398" y="32763"/>
                      </a:cubicBezTo>
                      <a:lnTo>
                        <a:pt x="2158398" y="41681"/>
                      </a:lnTo>
                      <a:cubicBezTo>
                        <a:pt x="2158398" y="59775"/>
                        <a:pt x="2143730" y="74444"/>
                        <a:pt x="2125635" y="74444"/>
                      </a:cubicBezTo>
                      <a:lnTo>
                        <a:pt x="32763" y="74444"/>
                      </a:lnTo>
                      <a:cubicBezTo>
                        <a:pt x="14668" y="74444"/>
                        <a:pt x="0" y="59775"/>
                        <a:pt x="0" y="41681"/>
                      </a:cubicBezTo>
                      <a:lnTo>
                        <a:pt x="0" y="32763"/>
                      </a:lnTo>
                      <a:cubicBezTo>
                        <a:pt x="0" y="14669"/>
                        <a:pt x="14668" y="0"/>
                        <a:pt x="32763" y="0"/>
                      </a:cubicBezTo>
                      <a:close/>
                    </a:path>
                  </a:pathLst>
                </a:custGeom>
                <a:solidFill>
                  <a:srgbClr val="3FA7FF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10" name="Freeform: Shape 2509">
                  <a:extLst>
                    <a:ext uri="{FF2B5EF4-FFF2-40B4-BE49-F238E27FC236}">
                      <a16:creationId xmlns:a16="http://schemas.microsoft.com/office/drawing/2014/main" id="{6FA55F99-9C6D-64F8-E88D-E88C0562A69D}"/>
                    </a:ext>
                  </a:extLst>
                </p:cNvPr>
                <p:cNvSpPr/>
                <p:nvPr/>
              </p:nvSpPr>
              <p:spPr>
                <a:xfrm>
                  <a:off x="-8408429" y="4688942"/>
                  <a:ext cx="2158397" cy="74442"/>
                </a:xfrm>
                <a:custGeom>
                  <a:avLst/>
                  <a:gdLst>
                    <a:gd name="connsiteX0" fmla="*/ 2125635 w 2158397"/>
                    <a:gd name="connsiteY0" fmla="*/ 0 h 74442"/>
                    <a:gd name="connsiteX1" fmla="*/ 2158398 w 2158397"/>
                    <a:gd name="connsiteY1" fmla="*/ 32763 h 74442"/>
                    <a:gd name="connsiteX2" fmla="*/ 2158398 w 2158397"/>
                    <a:gd name="connsiteY2" fmla="*/ 41681 h 74442"/>
                    <a:gd name="connsiteX3" fmla="*/ 2125635 w 2158397"/>
                    <a:gd name="connsiteY3" fmla="*/ 74444 h 74442"/>
                    <a:gd name="connsiteX4" fmla="*/ 32763 w 2158397"/>
                    <a:gd name="connsiteY4" fmla="*/ 74444 h 74442"/>
                    <a:gd name="connsiteX5" fmla="*/ 0 w 2158397"/>
                    <a:gd name="connsiteY5" fmla="*/ 41681 h 74442"/>
                    <a:gd name="connsiteX6" fmla="*/ 0 w 2158397"/>
                    <a:gd name="connsiteY6" fmla="*/ 32763 h 74442"/>
                    <a:gd name="connsiteX7" fmla="*/ 32763 w 2158397"/>
                    <a:gd name="connsiteY7" fmla="*/ 0 h 74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58397" h="74442">
                      <a:moveTo>
                        <a:pt x="2125635" y="0"/>
                      </a:moveTo>
                      <a:cubicBezTo>
                        <a:pt x="2143730" y="0"/>
                        <a:pt x="2158398" y="14669"/>
                        <a:pt x="2158398" y="32763"/>
                      </a:cubicBezTo>
                      <a:lnTo>
                        <a:pt x="2158398" y="41681"/>
                      </a:lnTo>
                      <a:cubicBezTo>
                        <a:pt x="2158398" y="59775"/>
                        <a:pt x="2143730" y="74444"/>
                        <a:pt x="2125635" y="74444"/>
                      </a:cubicBezTo>
                      <a:lnTo>
                        <a:pt x="32763" y="74444"/>
                      </a:lnTo>
                      <a:cubicBezTo>
                        <a:pt x="14668" y="74444"/>
                        <a:pt x="0" y="59775"/>
                        <a:pt x="0" y="41681"/>
                      </a:cubicBezTo>
                      <a:lnTo>
                        <a:pt x="0" y="32763"/>
                      </a:lnTo>
                      <a:cubicBezTo>
                        <a:pt x="0" y="14669"/>
                        <a:pt x="14668" y="0"/>
                        <a:pt x="32763" y="0"/>
                      </a:cubicBezTo>
                      <a:close/>
                    </a:path>
                  </a:pathLst>
                </a:custGeom>
                <a:solidFill>
                  <a:srgbClr val="83CDFF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11" name="Freeform: Shape 2510">
                  <a:extLst>
                    <a:ext uri="{FF2B5EF4-FFF2-40B4-BE49-F238E27FC236}">
                      <a16:creationId xmlns:a16="http://schemas.microsoft.com/office/drawing/2014/main" id="{25176A26-4A89-49C6-6124-FE90CCC4A812}"/>
                    </a:ext>
                  </a:extLst>
                </p:cNvPr>
                <p:cNvSpPr/>
                <p:nvPr/>
              </p:nvSpPr>
              <p:spPr>
                <a:xfrm>
                  <a:off x="-8408429" y="4856451"/>
                  <a:ext cx="2158397" cy="74442"/>
                </a:xfrm>
                <a:custGeom>
                  <a:avLst/>
                  <a:gdLst>
                    <a:gd name="connsiteX0" fmla="*/ 2125635 w 2158397"/>
                    <a:gd name="connsiteY0" fmla="*/ 0 h 74442"/>
                    <a:gd name="connsiteX1" fmla="*/ 2158398 w 2158397"/>
                    <a:gd name="connsiteY1" fmla="*/ 32763 h 74442"/>
                    <a:gd name="connsiteX2" fmla="*/ 2158398 w 2158397"/>
                    <a:gd name="connsiteY2" fmla="*/ 41681 h 74442"/>
                    <a:gd name="connsiteX3" fmla="*/ 2125635 w 2158397"/>
                    <a:gd name="connsiteY3" fmla="*/ 74444 h 74442"/>
                    <a:gd name="connsiteX4" fmla="*/ 32763 w 2158397"/>
                    <a:gd name="connsiteY4" fmla="*/ 74444 h 74442"/>
                    <a:gd name="connsiteX5" fmla="*/ 0 w 2158397"/>
                    <a:gd name="connsiteY5" fmla="*/ 41681 h 74442"/>
                    <a:gd name="connsiteX6" fmla="*/ 0 w 2158397"/>
                    <a:gd name="connsiteY6" fmla="*/ 32763 h 74442"/>
                    <a:gd name="connsiteX7" fmla="*/ 32763 w 2158397"/>
                    <a:gd name="connsiteY7" fmla="*/ 0 h 74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58397" h="74442">
                      <a:moveTo>
                        <a:pt x="2125635" y="0"/>
                      </a:moveTo>
                      <a:cubicBezTo>
                        <a:pt x="2143730" y="0"/>
                        <a:pt x="2158398" y="14669"/>
                        <a:pt x="2158398" y="32763"/>
                      </a:cubicBezTo>
                      <a:lnTo>
                        <a:pt x="2158398" y="41681"/>
                      </a:lnTo>
                      <a:cubicBezTo>
                        <a:pt x="2158398" y="59775"/>
                        <a:pt x="2143730" y="74444"/>
                        <a:pt x="2125635" y="74444"/>
                      </a:cubicBezTo>
                      <a:lnTo>
                        <a:pt x="32763" y="74444"/>
                      </a:lnTo>
                      <a:cubicBezTo>
                        <a:pt x="14668" y="74444"/>
                        <a:pt x="0" y="59775"/>
                        <a:pt x="0" y="41681"/>
                      </a:cubicBezTo>
                      <a:lnTo>
                        <a:pt x="0" y="32763"/>
                      </a:lnTo>
                      <a:cubicBezTo>
                        <a:pt x="0" y="14669"/>
                        <a:pt x="14668" y="0"/>
                        <a:pt x="32763" y="0"/>
                      </a:cubicBezTo>
                      <a:close/>
                    </a:path>
                  </a:pathLst>
                </a:custGeom>
                <a:solidFill>
                  <a:srgbClr val="83CDFF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12" name="Freeform: Shape 2511">
                  <a:extLst>
                    <a:ext uri="{FF2B5EF4-FFF2-40B4-BE49-F238E27FC236}">
                      <a16:creationId xmlns:a16="http://schemas.microsoft.com/office/drawing/2014/main" id="{9EACA20D-0217-E0E6-628D-3CE6FCE680F4}"/>
                    </a:ext>
                  </a:extLst>
                </p:cNvPr>
                <p:cNvSpPr/>
                <p:nvPr/>
              </p:nvSpPr>
              <p:spPr>
                <a:xfrm>
                  <a:off x="-8408429" y="5023960"/>
                  <a:ext cx="2158397" cy="74442"/>
                </a:xfrm>
                <a:custGeom>
                  <a:avLst/>
                  <a:gdLst>
                    <a:gd name="connsiteX0" fmla="*/ 2125635 w 2158397"/>
                    <a:gd name="connsiteY0" fmla="*/ 0 h 74442"/>
                    <a:gd name="connsiteX1" fmla="*/ 2158398 w 2158397"/>
                    <a:gd name="connsiteY1" fmla="*/ 32763 h 74442"/>
                    <a:gd name="connsiteX2" fmla="*/ 2158398 w 2158397"/>
                    <a:gd name="connsiteY2" fmla="*/ 41681 h 74442"/>
                    <a:gd name="connsiteX3" fmla="*/ 2125635 w 2158397"/>
                    <a:gd name="connsiteY3" fmla="*/ 74444 h 74442"/>
                    <a:gd name="connsiteX4" fmla="*/ 32763 w 2158397"/>
                    <a:gd name="connsiteY4" fmla="*/ 74444 h 74442"/>
                    <a:gd name="connsiteX5" fmla="*/ 0 w 2158397"/>
                    <a:gd name="connsiteY5" fmla="*/ 41681 h 74442"/>
                    <a:gd name="connsiteX6" fmla="*/ 0 w 2158397"/>
                    <a:gd name="connsiteY6" fmla="*/ 32763 h 74442"/>
                    <a:gd name="connsiteX7" fmla="*/ 32763 w 2158397"/>
                    <a:gd name="connsiteY7" fmla="*/ 0 h 74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58397" h="74442">
                      <a:moveTo>
                        <a:pt x="2125635" y="0"/>
                      </a:moveTo>
                      <a:cubicBezTo>
                        <a:pt x="2143730" y="0"/>
                        <a:pt x="2158398" y="14669"/>
                        <a:pt x="2158398" y="32763"/>
                      </a:cubicBezTo>
                      <a:lnTo>
                        <a:pt x="2158398" y="41681"/>
                      </a:lnTo>
                      <a:cubicBezTo>
                        <a:pt x="2158398" y="59775"/>
                        <a:pt x="2143730" y="74444"/>
                        <a:pt x="2125635" y="74444"/>
                      </a:cubicBezTo>
                      <a:lnTo>
                        <a:pt x="32763" y="74444"/>
                      </a:lnTo>
                      <a:cubicBezTo>
                        <a:pt x="14668" y="74444"/>
                        <a:pt x="0" y="59775"/>
                        <a:pt x="0" y="41681"/>
                      </a:cubicBezTo>
                      <a:lnTo>
                        <a:pt x="0" y="32763"/>
                      </a:lnTo>
                      <a:cubicBezTo>
                        <a:pt x="0" y="14669"/>
                        <a:pt x="14668" y="0"/>
                        <a:pt x="32763" y="0"/>
                      </a:cubicBezTo>
                      <a:close/>
                    </a:path>
                  </a:pathLst>
                </a:custGeom>
                <a:solidFill>
                  <a:srgbClr val="83CDFF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513" name="Freeform: Shape 2512">
                <a:extLst>
                  <a:ext uri="{FF2B5EF4-FFF2-40B4-BE49-F238E27FC236}">
                    <a16:creationId xmlns:a16="http://schemas.microsoft.com/office/drawing/2014/main" id="{7B7EA402-A73B-7DB1-96DB-D0EC3375BCD2}"/>
                  </a:ext>
                </a:extLst>
              </p:cNvPr>
              <p:cNvSpPr/>
              <p:nvPr/>
            </p:nvSpPr>
            <p:spPr>
              <a:xfrm>
                <a:off x="1830339" y="2588337"/>
                <a:ext cx="103504" cy="80744"/>
              </a:xfrm>
              <a:custGeom>
                <a:avLst/>
                <a:gdLst>
                  <a:gd name="connsiteX0" fmla="*/ 180811 w 569085"/>
                  <a:gd name="connsiteY0" fmla="*/ 443947 h 443947"/>
                  <a:gd name="connsiteX1" fmla="*/ 0 w 569085"/>
                  <a:gd name="connsiteY1" fmla="*/ 243380 h 443947"/>
                  <a:gd name="connsiteX2" fmla="*/ 63210 w 569085"/>
                  <a:gd name="connsiteY2" fmla="*/ 186427 h 443947"/>
                  <a:gd name="connsiteX3" fmla="*/ 184408 w 569085"/>
                  <a:gd name="connsiteY3" fmla="*/ 320878 h 443947"/>
                  <a:gd name="connsiteX4" fmla="*/ 509325 w 569085"/>
                  <a:gd name="connsiteY4" fmla="*/ 0 h 443947"/>
                  <a:gd name="connsiteX5" fmla="*/ 569086 w 569085"/>
                  <a:gd name="connsiteY5" fmla="*/ 60550 h 443947"/>
                  <a:gd name="connsiteX6" fmla="*/ 180811 w 569085"/>
                  <a:gd name="connsiteY6" fmla="*/ 443947 h 443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9085" h="443947">
                    <a:moveTo>
                      <a:pt x="180811" y="443947"/>
                    </a:moveTo>
                    <a:lnTo>
                      <a:pt x="0" y="243380"/>
                    </a:lnTo>
                    <a:lnTo>
                      <a:pt x="63210" y="186427"/>
                    </a:lnTo>
                    <a:lnTo>
                      <a:pt x="184408" y="320878"/>
                    </a:lnTo>
                    <a:lnTo>
                      <a:pt x="509325" y="0"/>
                    </a:lnTo>
                    <a:lnTo>
                      <a:pt x="569086" y="60550"/>
                    </a:lnTo>
                    <a:lnTo>
                      <a:pt x="180811" y="443947"/>
                    </a:lnTo>
                    <a:close/>
                  </a:path>
                </a:pathLst>
              </a:custGeom>
              <a:solidFill>
                <a:srgbClr val="EA6565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14" name="Freeform: Shape 2513">
                <a:extLst>
                  <a:ext uri="{FF2B5EF4-FFF2-40B4-BE49-F238E27FC236}">
                    <a16:creationId xmlns:a16="http://schemas.microsoft.com/office/drawing/2014/main" id="{3A6AEFDA-752E-8CE1-AFF0-D97435CA6748}"/>
                  </a:ext>
                </a:extLst>
              </p:cNvPr>
              <p:cNvSpPr/>
              <p:nvPr/>
            </p:nvSpPr>
            <p:spPr>
              <a:xfrm>
                <a:off x="1484128" y="1680161"/>
                <a:ext cx="362107" cy="76766"/>
              </a:xfrm>
              <a:custGeom>
                <a:avLst/>
                <a:gdLst>
                  <a:gd name="connsiteX0" fmla="*/ 1990938 w 1990938"/>
                  <a:gd name="connsiteY0" fmla="*/ 92376 h 422072"/>
                  <a:gd name="connsiteX1" fmla="*/ 1990938 w 1990938"/>
                  <a:gd name="connsiteY1" fmla="*/ 422072 h 422072"/>
                  <a:gd name="connsiteX2" fmla="*/ 0 w 1990938"/>
                  <a:gd name="connsiteY2" fmla="*/ 422072 h 422072"/>
                  <a:gd name="connsiteX3" fmla="*/ 0 w 1990938"/>
                  <a:gd name="connsiteY3" fmla="*/ 396995 h 422072"/>
                  <a:gd name="connsiteX4" fmla="*/ 1975025 w 1990938"/>
                  <a:gd name="connsiteY4" fmla="*/ 0 h 422072"/>
                  <a:gd name="connsiteX5" fmla="*/ 1990938 w 1990938"/>
                  <a:gd name="connsiteY5" fmla="*/ 92376 h 422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90938" h="422072">
                    <a:moveTo>
                      <a:pt x="1990938" y="92376"/>
                    </a:moveTo>
                    <a:lnTo>
                      <a:pt x="1990938" y="422072"/>
                    </a:lnTo>
                    <a:lnTo>
                      <a:pt x="0" y="422072"/>
                    </a:lnTo>
                    <a:lnTo>
                      <a:pt x="0" y="396995"/>
                    </a:lnTo>
                    <a:lnTo>
                      <a:pt x="1975025" y="0"/>
                    </a:lnTo>
                    <a:cubicBezTo>
                      <a:pt x="1985322" y="28871"/>
                      <a:pt x="1990938" y="59958"/>
                      <a:pt x="1990938" y="92376"/>
                    </a:cubicBezTo>
                    <a:close/>
                  </a:path>
                </a:pathLst>
              </a:custGeom>
              <a:solidFill>
                <a:srgbClr val="1F70C1">
                  <a:alpha val="50000"/>
                </a:srgbClr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16" name="Freeform: Shape 2515">
                <a:extLst>
                  <a:ext uri="{FF2B5EF4-FFF2-40B4-BE49-F238E27FC236}">
                    <a16:creationId xmlns:a16="http://schemas.microsoft.com/office/drawing/2014/main" id="{58D98CD2-CA76-1D75-2F34-A5CB138214CB}"/>
                  </a:ext>
                </a:extLst>
              </p:cNvPr>
              <p:cNvSpPr/>
              <p:nvPr/>
            </p:nvSpPr>
            <p:spPr>
              <a:xfrm>
                <a:off x="986017" y="2180494"/>
                <a:ext cx="458730" cy="638749"/>
              </a:xfrm>
              <a:custGeom>
                <a:avLst/>
                <a:gdLst>
                  <a:gd name="connsiteX0" fmla="*/ 2522187 w 2522187"/>
                  <a:gd name="connsiteY0" fmla="*/ 443996 h 3511966"/>
                  <a:gd name="connsiteX1" fmla="*/ 2522187 w 2522187"/>
                  <a:gd name="connsiteY1" fmla="*/ 2002171 h 3511966"/>
                  <a:gd name="connsiteX2" fmla="*/ 2048581 w 2522187"/>
                  <a:gd name="connsiteY2" fmla="*/ 2935145 h 3511966"/>
                  <a:gd name="connsiteX3" fmla="*/ 1262621 w 2522187"/>
                  <a:gd name="connsiteY3" fmla="*/ 3509749 h 3511966"/>
                  <a:gd name="connsiteX4" fmla="*/ 1262621 w 2522187"/>
                  <a:gd name="connsiteY4" fmla="*/ 3511966 h 3511966"/>
                  <a:gd name="connsiteX5" fmla="*/ 1261094 w 2522187"/>
                  <a:gd name="connsiteY5" fmla="*/ 3510882 h 3511966"/>
                  <a:gd name="connsiteX6" fmla="*/ 1259566 w 2522187"/>
                  <a:gd name="connsiteY6" fmla="*/ 3511966 h 3511966"/>
                  <a:gd name="connsiteX7" fmla="*/ 1259566 w 2522187"/>
                  <a:gd name="connsiteY7" fmla="*/ 3509749 h 3511966"/>
                  <a:gd name="connsiteX8" fmla="*/ 473606 w 2522187"/>
                  <a:gd name="connsiteY8" fmla="*/ 2935145 h 3511966"/>
                  <a:gd name="connsiteX9" fmla="*/ 0 w 2522187"/>
                  <a:gd name="connsiteY9" fmla="*/ 2002171 h 3511966"/>
                  <a:gd name="connsiteX10" fmla="*/ 0 w 2522187"/>
                  <a:gd name="connsiteY10" fmla="*/ 443996 h 3511966"/>
                  <a:gd name="connsiteX11" fmla="*/ 1259566 w 2522187"/>
                  <a:gd name="connsiteY11" fmla="*/ 2513 h 3511966"/>
                  <a:gd name="connsiteX12" fmla="*/ 1259566 w 2522187"/>
                  <a:gd name="connsiteY12" fmla="*/ 0 h 3511966"/>
                  <a:gd name="connsiteX13" fmla="*/ 1261094 w 2522187"/>
                  <a:gd name="connsiteY13" fmla="*/ 1281 h 3511966"/>
                  <a:gd name="connsiteX14" fmla="*/ 1262621 w 2522187"/>
                  <a:gd name="connsiteY14" fmla="*/ 0 h 3511966"/>
                  <a:gd name="connsiteX15" fmla="*/ 1262621 w 2522187"/>
                  <a:gd name="connsiteY15" fmla="*/ 2513 h 3511966"/>
                  <a:gd name="connsiteX16" fmla="*/ 2522187 w 2522187"/>
                  <a:gd name="connsiteY16" fmla="*/ 443996 h 3511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522187" h="3511966">
                    <a:moveTo>
                      <a:pt x="2522187" y="443996"/>
                    </a:moveTo>
                    <a:lnTo>
                      <a:pt x="2522187" y="2002171"/>
                    </a:lnTo>
                    <a:cubicBezTo>
                      <a:pt x="2522187" y="2370937"/>
                      <a:pt x="2346205" y="2717532"/>
                      <a:pt x="2048581" y="2935145"/>
                    </a:cubicBezTo>
                    <a:lnTo>
                      <a:pt x="1262621" y="3509749"/>
                    </a:lnTo>
                    <a:lnTo>
                      <a:pt x="1262621" y="3511966"/>
                    </a:lnTo>
                    <a:lnTo>
                      <a:pt x="1261094" y="3510882"/>
                    </a:lnTo>
                    <a:lnTo>
                      <a:pt x="1259566" y="3511966"/>
                    </a:lnTo>
                    <a:lnTo>
                      <a:pt x="1259566" y="3509749"/>
                    </a:lnTo>
                    <a:lnTo>
                      <a:pt x="473606" y="2935145"/>
                    </a:lnTo>
                    <a:cubicBezTo>
                      <a:pt x="175933" y="2717483"/>
                      <a:pt x="0" y="2370888"/>
                      <a:pt x="0" y="2002171"/>
                    </a:cubicBezTo>
                    <a:lnTo>
                      <a:pt x="0" y="443996"/>
                    </a:lnTo>
                    <a:cubicBezTo>
                      <a:pt x="565342" y="386058"/>
                      <a:pt x="964012" y="248849"/>
                      <a:pt x="1259566" y="2513"/>
                    </a:cubicBezTo>
                    <a:lnTo>
                      <a:pt x="1259566" y="0"/>
                    </a:lnTo>
                    <a:cubicBezTo>
                      <a:pt x="1260059" y="443"/>
                      <a:pt x="1260601" y="837"/>
                      <a:pt x="1261094" y="1281"/>
                    </a:cubicBezTo>
                    <a:cubicBezTo>
                      <a:pt x="1261586" y="837"/>
                      <a:pt x="1262128" y="443"/>
                      <a:pt x="1262621" y="0"/>
                    </a:cubicBezTo>
                    <a:lnTo>
                      <a:pt x="1262621" y="2513"/>
                    </a:lnTo>
                    <a:cubicBezTo>
                      <a:pt x="1558175" y="248849"/>
                      <a:pt x="1956846" y="386058"/>
                      <a:pt x="2522187" y="443996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17" name="Freeform: Shape 2516">
                <a:extLst>
                  <a:ext uri="{FF2B5EF4-FFF2-40B4-BE49-F238E27FC236}">
                    <a16:creationId xmlns:a16="http://schemas.microsoft.com/office/drawing/2014/main" id="{BA881F73-9E4C-E19B-B342-62E180C3559E}"/>
                  </a:ext>
                </a:extLst>
              </p:cNvPr>
              <p:cNvSpPr/>
              <p:nvPr/>
            </p:nvSpPr>
            <p:spPr>
              <a:xfrm>
                <a:off x="1215382" y="2180494"/>
                <a:ext cx="229365" cy="638749"/>
              </a:xfrm>
              <a:custGeom>
                <a:avLst/>
                <a:gdLst>
                  <a:gd name="connsiteX0" fmla="*/ 1261094 w 1261093"/>
                  <a:gd name="connsiteY0" fmla="*/ 443996 h 3511966"/>
                  <a:gd name="connsiteX1" fmla="*/ 1261094 w 1261093"/>
                  <a:gd name="connsiteY1" fmla="*/ 2002171 h 3511966"/>
                  <a:gd name="connsiteX2" fmla="*/ 787488 w 1261093"/>
                  <a:gd name="connsiteY2" fmla="*/ 2935145 h 3511966"/>
                  <a:gd name="connsiteX3" fmla="*/ 1527 w 1261093"/>
                  <a:gd name="connsiteY3" fmla="*/ 3509749 h 3511966"/>
                  <a:gd name="connsiteX4" fmla="*/ 1527 w 1261093"/>
                  <a:gd name="connsiteY4" fmla="*/ 3511966 h 3511966"/>
                  <a:gd name="connsiteX5" fmla="*/ 0 w 1261093"/>
                  <a:gd name="connsiteY5" fmla="*/ 3510882 h 3511966"/>
                  <a:gd name="connsiteX6" fmla="*/ 0 w 1261093"/>
                  <a:gd name="connsiteY6" fmla="*/ 1281 h 3511966"/>
                  <a:gd name="connsiteX7" fmla="*/ 1527 w 1261093"/>
                  <a:gd name="connsiteY7" fmla="*/ 0 h 3511966"/>
                  <a:gd name="connsiteX8" fmla="*/ 1527 w 1261093"/>
                  <a:gd name="connsiteY8" fmla="*/ 2513 h 3511966"/>
                  <a:gd name="connsiteX9" fmla="*/ 1261094 w 1261093"/>
                  <a:gd name="connsiteY9" fmla="*/ 443996 h 3511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61093" h="3511966">
                    <a:moveTo>
                      <a:pt x="1261094" y="443996"/>
                    </a:moveTo>
                    <a:lnTo>
                      <a:pt x="1261094" y="2002171"/>
                    </a:lnTo>
                    <a:cubicBezTo>
                      <a:pt x="1261094" y="2370937"/>
                      <a:pt x="1085111" y="2717532"/>
                      <a:pt x="787488" y="2935145"/>
                    </a:cubicBezTo>
                    <a:lnTo>
                      <a:pt x="1527" y="3509749"/>
                    </a:lnTo>
                    <a:lnTo>
                      <a:pt x="1527" y="3511966"/>
                    </a:lnTo>
                    <a:lnTo>
                      <a:pt x="0" y="3510882"/>
                    </a:lnTo>
                    <a:lnTo>
                      <a:pt x="0" y="1281"/>
                    </a:lnTo>
                    <a:cubicBezTo>
                      <a:pt x="493" y="837"/>
                      <a:pt x="1035" y="443"/>
                      <a:pt x="1527" y="0"/>
                    </a:cubicBezTo>
                    <a:lnTo>
                      <a:pt x="1527" y="2513"/>
                    </a:lnTo>
                    <a:cubicBezTo>
                      <a:pt x="297081" y="248849"/>
                      <a:pt x="695752" y="386058"/>
                      <a:pt x="1261094" y="443996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18" name="Freeform: Shape 2517">
                <a:extLst>
                  <a:ext uri="{FF2B5EF4-FFF2-40B4-BE49-F238E27FC236}">
                    <a16:creationId xmlns:a16="http://schemas.microsoft.com/office/drawing/2014/main" id="{4DE0D6B9-E3C8-63F2-369F-A75B4E43A311}"/>
                  </a:ext>
                </a:extLst>
              </p:cNvPr>
              <p:cNvSpPr/>
              <p:nvPr/>
            </p:nvSpPr>
            <p:spPr>
              <a:xfrm>
                <a:off x="1162156" y="2313980"/>
                <a:ext cx="106452" cy="371776"/>
              </a:xfrm>
              <a:custGeom>
                <a:avLst/>
                <a:gdLst>
                  <a:gd name="connsiteX0" fmla="*/ 292648 w 585294"/>
                  <a:gd name="connsiteY0" fmla="*/ 1317603 h 2044097"/>
                  <a:gd name="connsiteX1" fmla="*/ 164947 w 585294"/>
                  <a:gd name="connsiteY1" fmla="*/ 1210004 h 2044097"/>
                  <a:gd name="connsiteX2" fmla="*/ 4385 w 585294"/>
                  <a:gd name="connsiteY2" fmla="*/ 276636 h 2044097"/>
                  <a:gd name="connsiteX3" fmla="*/ 0 w 585294"/>
                  <a:gd name="connsiteY3" fmla="*/ 224215 h 2044097"/>
                  <a:gd name="connsiteX4" fmla="*/ 292648 w 585294"/>
                  <a:gd name="connsiteY4" fmla="*/ 0 h 2044097"/>
                  <a:gd name="connsiteX5" fmla="*/ 585295 w 585294"/>
                  <a:gd name="connsiteY5" fmla="*/ 222737 h 2044097"/>
                  <a:gd name="connsiteX6" fmla="*/ 580910 w 585294"/>
                  <a:gd name="connsiteY6" fmla="*/ 276586 h 2044097"/>
                  <a:gd name="connsiteX7" fmla="*/ 420348 w 585294"/>
                  <a:gd name="connsiteY7" fmla="*/ 1209954 h 2044097"/>
                  <a:gd name="connsiteX8" fmla="*/ 292648 w 585294"/>
                  <a:gd name="connsiteY8" fmla="*/ 1317554 h 2044097"/>
                  <a:gd name="connsiteX9" fmla="*/ 292648 w 585294"/>
                  <a:gd name="connsiteY9" fmla="*/ 1317554 h 2044097"/>
                  <a:gd name="connsiteX10" fmla="*/ 292648 w 585294"/>
                  <a:gd name="connsiteY10" fmla="*/ 1531620 h 2044097"/>
                  <a:gd name="connsiteX11" fmla="*/ 548886 w 585294"/>
                  <a:gd name="connsiteY11" fmla="*/ 1787859 h 2044097"/>
                  <a:gd name="connsiteX12" fmla="*/ 292648 w 585294"/>
                  <a:gd name="connsiteY12" fmla="*/ 2044098 h 2044097"/>
                  <a:gd name="connsiteX13" fmla="*/ 36409 w 585294"/>
                  <a:gd name="connsiteY13" fmla="*/ 1787859 h 2044097"/>
                  <a:gd name="connsiteX14" fmla="*/ 292648 w 585294"/>
                  <a:gd name="connsiteY14" fmla="*/ 1531620 h 2044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85294" h="2044097">
                    <a:moveTo>
                      <a:pt x="292648" y="1317603"/>
                    </a:moveTo>
                    <a:cubicBezTo>
                      <a:pt x="229536" y="1317603"/>
                      <a:pt x="175638" y="1272179"/>
                      <a:pt x="164947" y="1210004"/>
                    </a:cubicBezTo>
                    <a:lnTo>
                      <a:pt x="4385" y="276636"/>
                    </a:lnTo>
                    <a:cubicBezTo>
                      <a:pt x="1478" y="259146"/>
                      <a:pt x="0" y="241705"/>
                      <a:pt x="0" y="224215"/>
                    </a:cubicBezTo>
                    <a:cubicBezTo>
                      <a:pt x="0" y="74739"/>
                      <a:pt x="97549" y="0"/>
                      <a:pt x="292648" y="0"/>
                    </a:cubicBezTo>
                    <a:cubicBezTo>
                      <a:pt x="487746" y="0"/>
                      <a:pt x="585295" y="74246"/>
                      <a:pt x="585295" y="222737"/>
                    </a:cubicBezTo>
                    <a:cubicBezTo>
                      <a:pt x="585295" y="243134"/>
                      <a:pt x="583817" y="261067"/>
                      <a:pt x="580910" y="276586"/>
                    </a:cubicBezTo>
                    <a:lnTo>
                      <a:pt x="420348" y="1209954"/>
                    </a:lnTo>
                    <a:cubicBezTo>
                      <a:pt x="409657" y="1272130"/>
                      <a:pt x="355710" y="1317554"/>
                      <a:pt x="292648" y="1317554"/>
                    </a:cubicBezTo>
                    <a:lnTo>
                      <a:pt x="292648" y="1317554"/>
                    </a:lnTo>
                    <a:close/>
                    <a:moveTo>
                      <a:pt x="292648" y="1531620"/>
                    </a:moveTo>
                    <a:cubicBezTo>
                      <a:pt x="463457" y="1531620"/>
                      <a:pt x="548886" y="1617050"/>
                      <a:pt x="548886" y="1787859"/>
                    </a:cubicBezTo>
                    <a:cubicBezTo>
                      <a:pt x="548886" y="1958668"/>
                      <a:pt x="463457" y="2044098"/>
                      <a:pt x="292648" y="2044098"/>
                    </a:cubicBezTo>
                    <a:cubicBezTo>
                      <a:pt x="121838" y="2044098"/>
                      <a:pt x="36409" y="1958718"/>
                      <a:pt x="36409" y="1787859"/>
                    </a:cubicBezTo>
                    <a:cubicBezTo>
                      <a:pt x="36409" y="1617000"/>
                      <a:pt x="121789" y="1531620"/>
                      <a:pt x="292648" y="1531620"/>
                    </a:cubicBezTo>
                    <a:close/>
                  </a:path>
                </a:pathLst>
              </a:custGeom>
              <a:solidFill>
                <a:srgbClr val="FFFFFF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20" name="Freeform: Shape 2519">
                <a:extLst>
                  <a:ext uri="{FF2B5EF4-FFF2-40B4-BE49-F238E27FC236}">
                    <a16:creationId xmlns:a16="http://schemas.microsoft.com/office/drawing/2014/main" id="{63A7DA04-657E-18F0-0E06-7174179F2DED}"/>
                  </a:ext>
                </a:extLst>
              </p:cNvPr>
              <p:cNvSpPr/>
              <p:nvPr/>
            </p:nvSpPr>
            <p:spPr>
              <a:xfrm>
                <a:off x="2387170" y="2775829"/>
                <a:ext cx="26470" cy="16891"/>
              </a:xfrm>
              <a:custGeom>
                <a:avLst/>
                <a:gdLst>
                  <a:gd name="connsiteX0" fmla="*/ 0 w 145535"/>
                  <a:gd name="connsiteY0" fmla="*/ 11578 h 92868"/>
                  <a:gd name="connsiteX1" fmla="*/ 15174 w 145535"/>
                  <a:gd name="connsiteY1" fmla="*/ 92869 h 92868"/>
                  <a:gd name="connsiteX2" fmla="*/ 145536 w 145535"/>
                  <a:gd name="connsiteY2" fmla="*/ 58382 h 92868"/>
                  <a:gd name="connsiteX3" fmla="*/ 129376 w 145535"/>
                  <a:gd name="connsiteY3" fmla="*/ 0 h 92868"/>
                  <a:gd name="connsiteX4" fmla="*/ 0 w 145535"/>
                  <a:gd name="connsiteY4" fmla="*/ 11578 h 92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535" h="92868">
                    <a:moveTo>
                      <a:pt x="0" y="11578"/>
                    </a:moveTo>
                    <a:lnTo>
                      <a:pt x="15174" y="92869"/>
                    </a:lnTo>
                    <a:lnTo>
                      <a:pt x="145536" y="58382"/>
                    </a:lnTo>
                    <a:lnTo>
                      <a:pt x="129376" y="0"/>
                    </a:lnTo>
                    <a:lnTo>
                      <a:pt x="0" y="11578"/>
                    </a:lnTo>
                    <a:close/>
                  </a:path>
                </a:pathLst>
              </a:custGeom>
              <a:solidFill>
                <a:srgbClr val="FCC3DC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21" name="Freeform: Shape 2520">
                <a:extLst>
                  <a:ext uri="{FF2B5EF4-FFF2-40B4-BE49-F238E27FC236}">
                    <a16:creationId xmlns:a16="http://schemas.microsoft.com/office/drawing/2014/main" id="{8B7D9E77-D0C4-9359-153E-E982AB595E2E}"/>
                  </a:ext>
                </a:extLst>
              </p:cNvPr>
              <p:cNvSpPr/>
              <p:nvPr/>
            </p:nvSpPr>
            <p:spPr>
              <a:xfrm>
                <a:off x="2357471" y="2785363"/>
                <a:ext cx="61303" cy="32670"/>
              </a:xfrm>
              <a:custGeom>
                <a:avLst/>
                <a:gdLst>
                  <a:gd name="connsiteX0" fmla="*/ 334838 w 337057"/>
                  <a:gd name="connsiteY0" fmla="*/ 89371 h 179628"/>
                  <a:gd name="connsiteX1" fmla="*/ 315624 w 337057"/>
                  <a:gd name="connsiteY1" fmla="*/ 0 h 179628"/>
                  <a:gd name="connsiteX2" fmla="*/ 159348 w 337057"/>
                  <a:gd name="connsiteY2" fmla="*/ 21234 h 179628"/>
                  <a:gd name="connsiteX3" fmla="*/ 7211 w 337057"/>
                  <a:gd name="connsiteY3" fmla="*/ 152236 h 179628"/>
                  <a:gd name="connsiteX4" fmla="*/ 3417 w 337057"/>
                  <a:gd name="connsiteY4" fmla="*/ 157852 h 179628"/>
                  <a:gd name="connsiteX5" fmla="*/ 215 w 337057"/>
                  <a:gd name="connsiteY5" fmla="*/ 169233 h 179628"/>
                  <a:gd name="connsiteX6" fmla="*/ 14059 w 337057"/>
                  <a:gd name="connsiteY6" fmla="*/ 179628 h 179628"/>
                  <a:gd name="connsiteX7" fmla="*/ 334838 w 337057"/>
                  <a:gd name="connsiteY7" fmla="*/ 89420 h 179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7057" h="179628">
                    <a:moveTo>
                      <a:pt x="334838" y="89371"/>
                    </a:moveTo>
                    <a:cubicBezTo>
                      <a:pt x="339518" y="70896"/>
                      <a:pt x="338385" y="18229"/>
                      <a:pt x="315624" y="0"/>
                    </a:cubicBezTo>
                    <a:cubicBezTo>
                      <a:pt x="291384" y="14829"/>
                      <a:pt x="232756" y="12514"/>
                      <a:pt x="159348" y="21234"/>
                    </a:cubicBezTo>
                    <a:lnTo>
                      <a:pt x="7211" y="152236"/>
                    </a:lnTo>
                    <a:cubicBezTo>
                      <a:pt x="6324" y="153320"/>
                      <a:pt x="4846" y="155340"/>
                      <a:pt x="3417" y="157852"/>
                    </a:cubicBezTo>
                    <a:cubicBezTo>
                      <a:pt x="116" y="163666"/>
                      <a:pt x="-376" y="167607"/>
                      <a:pt x="215" y="169233"/>
                    </a:cubicBezTo>
                    <a:cubicBezTo>
                      <a:pt x="560" y="170169"/>
                      <a:pt x="11645" y="178249"/>
                      <a:pt x="14059" y="179628"/>
                    </a:cubicBezTo>
                    <a:lnTo>
                      <a:pt x="334838" y="89420"/>
                    </a:lnTo>
                    <a:close/>
                  </a:path>
                </a:pathLst>
              </a:custGeom>
              <a:solidFill>
                <a:srgbClr val="181A23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22" name="Freeform: Shape 2521">
                <a:extLst>
                  <a:ext uri="{FF2B5EF4-FFF2-40B4-BE49-F238E27FC236}">
                    <a16:creationId xmlns:a16="http://schemas.microsoft.com/office/drawing/2014/main" id="{1CDB344D-A8A9-0E65-00A7-FDC4649E83DA}"/>
                  </a:ext>
                </a:extLst>
              </p:cNvPr>
              <p:cNvSpPr/>
              <p:nvPr/>
            </p:nvSpPr>
            <p:spPr>
              <a:xfrm>
                <a:off x="2201246" y="2330764"/>
                <a:ext cx="133280" cy="103352"/>
              </a:xfrm>
              <a:custGeom>
                <a:avLst/>
                <a:gdLst>
                  <a:gd name="connsiteX0" fmla="*/ 657718 w 732800"/>
                  <a:gd name="connsiteY0" fmla="*/ 49 h 568248"/>
                  <a:gd name="connsiteX1" fmla="*/ 455328 w 732800"/>
                  <a:gd name="connsiteY1" fmla="*/ 298165 h 568248"/>
                  <a:gd name="connsiteX2" fmla="*/ 0 w 732800"/>
                  <a:gd name="connsiteY2" fmla="*/ 473951 h 568248"/>
                  <a:gd name="connsiteX3" fmla="*/ 64737 w 732800"/>
                  <a:gd name="connsiteY3" fmla="*/ 568248 h 568248"/>
                  <a:gd name="connsiteX4" fmla="*/ 450204 w 732800"/>
                  <a:gd name="connsiteY4" fmla="*/ 471192 h 568248"/>
                  <a:gd name="connsiteX5" fmla="*/ 567558 w 732800"/>
                  <a:gd name="connsiteY5" fmla="*/ 407095 h 568248"/>
                  <a:gd name="connsiteX6" fmla="*/ 732801 w 732800"/>
                  <a:gd name="connsiteY6" fmla="*/ 252199 h 568248"/>
                  <a:gd name="connsiteX7" fmla="*/ 657718 w 732800"/>
                  <a:gd name="connsiteY7" fmla="*/ 0 h 568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2800" h="568248">
                    <a:moveTo>
                      <a:pt x="657718" y="49"/>
                    </a:moveTo>
                    <a:lnTo>
                      <a:pt x="455328" y="298165"/>
                    </a:lnTo>
                    <a:lnTo>
                      <a:pt x="0" y="473951"/>
                    </a:lnTo>
                    <a:lnTo>
                      <a:pt x="64737" y="568248"/>
                    </a:lnTo>
                    <a:lnTo>
                      <a:pt x="450204" y="471192"/>
                    </a:lnTo>
                    <a:cubicBezTo>
                      <a:pt x="494150" y="460107"/>
                      <a:pt x="534550" y="438084"/>
                      <a:pt x="567558" y="407095"/>
                    </a:cubicBezTo>
                    <a:lnTo>
                      <a:pt x="732801" y="252199"/>
                    </a:lnTo>
                    <a:lnTo>
                      <a:pt x="657718" y="0"/>
                    </a:lnTo>
                    <a:close/>
                  </a:path>
                </a:pathLst>
              </a:custGeom>
              <a:solidFill>
                <a:srgbClr val="044789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23" name="Freeform: Shape 2522">
                <a:extLst>
                  <a:ext uri="{FF2B5EF4-FFF2-40B4-BE49-F238E27FC236}">
                    <a16:creationId xmlns:a16="http://schemas.microsoft.com/office/drawing/2014/main" id="{C1F6F1D8-CE51-2D2E-20A1-CBFAE1B9C1D6}"/>
                  </a:ext>
                </a:extLst>
              </p:cNvPr>
              <p:cNvSpPr/>
              <p:nvPr/>
            </p:nvSpPr>
            <p:spPr>
              <a:xfrm>
                <a:off x="2338218" y="2474242"/>
                <a:ext cx="75869" cy="305673"/>
              </a:xfrm>
              <a:custGeom>
                <a:avLst/>
                <a:gdLst>
                  <a:gd name="connsiteX0" fmla="*/ 351522 w 417145"/>
                  <a:gd name="connsiteY0" fmla="*/ 0 h 1680653"/>
                  <a:gd name="connsiteX1" fmla="*/ 319941 w 417145"/>
                  <a:gd name="connsiteY1" fmla="*/ 893412 h 1680653"/>
                  <a:gd name="connsiteX2" fmla="*/ 417146 w 417145"/>
                  <a:gd name="connsiteY2" fmla="*/ 1660848 h 1680653"/>
                  <a:gd name="connsiteX3" fmla="*/ 260279 w 417145"/>
                  <a:gd name="connsiteY3" fmla="*/ 1680653 h 1680653"/>
                  <a:gd name="connsiteX4" fmla="*/ 97549 w 417145"/>
                  <a:gd name="connsiteY4" fmla="*/ 919179 h 1680653"/>
                  <a:gd name="connsiteX5" fmla="*/ 0 w 417145"/>
                  <a:gd name="connsiteY5" fmla="*/ 0 h 1680653"/>
                  <a:gd name="connsiteX6" fmla="*/ 351522 w 417145"/>
                  <a:gd name="connsiteY6" fmla="*/ 0 h 1680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7145" h="1680653">
                    <a:moveTo>
                      <a:pt x="351522" y="0"/>
                    </a:moveTo>
                    <a:lnTo>
                      <a:pt x="319941" y="893412"/>
                    </a:lnTo>
                    <a:lnTo>
                      <a:pt x="417146" y="1660848"/>
                    </a:lnTo>
                    <a:lnTo>
                      <a:pt x="260279" y="1680653"/>
                    </a:lnTo>
                    <a:lnTo>
                      <a:pt x="97549" y="919179"/>
                    </a:lnTo>
                    <a:lnTo>
                      <a:pt x="0" y="0"/>
                    </a:lnTo>
                    <a:lnTo>
                      <a:pt x="351522" y="0"/>
                    </a:lnTo>
                    <a:close/>
                  </a:path>
                </a:pathLst>
              </a:custGeom>
              <a:solidFill>
                <a:schemeClr val="accent5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524" name="Graphic 2463">
                <a:extLst>
                  <a:ext uri="{FF2B5EF4-FFF2-40B4-BE49-F238E27FC236}">
                    <a16:creationId xmlns:a16="http://schemas.microsoft.com/office/drawing/2014/main" id="{C03525BB-3E48-BD7A-817D-0D0D94CB3345}"/>
                  </a:ext>
                </a:extLst>
              </p:cNvPr>
              <p:cNvGrpSpPr/>
              <p:nvPr/>
            </p:nvGrpSpPr>
            <p:grpSpPr>
              <a:xfrm>
                <a:off x="2320872" y="2206419"/>
                <a:ext cx="66437" cy="88959"/>
                <a:chOff x="-3271126" y="2503701"/>
                <a:chExt cx="365281" cy="489113"/>
              </a:xfrm>
            </p:grpSpPr>
            <p:sp>
              <p:nvSpPr>
                <p:cNvPr id="2525" name="Freeform: Shape 2524">
                  <a:extLst>
                    <a:ext uri="{FF2B5EF4-FFF2-40B4-BE49-F238E27FC236}">
                      <a16:creationId xmlns:a16="http://schemas.microsoft.com/office/drawing/2014/main" id="{8DDF92B9-1BA3-8F2C-5AA6-F8108C4AB8AB}"/>
                    </a:ext>
                  </a:extLst>
                </p:cNvPr>
                <p:cNvSpPr/>
                <p:nvPr/>
              </p:nvSpPr>
              <p:spPr>
                <a:xfrm>
                  <a:off x="-3171075" y="2808264"/>
                  <a:ext cx="218550" cy="184550"/>
                </a:xfrm>
                <a:custGeom>
                  <a:avLst/>
                  <a:gdLst>
                    <a:gd name="connsiteX0" fmla="*/ 49 w 218550"/>
                    <a:gd name="connsiteY0" fmla="*/ 56509 h 184550"/>
                    <a:gd name="connsiteX1" fmla="*/ 2858 w 218550"/>
                    <a:gd name="connsiteY1" fmla="*/ 63703 h 184550"/>
                    <a:gd name="connsiteX2" fmla="*/ 4582 w 218550"/>
                    <a:gd name="connsiteY2" fmla="*/ 68334 h 184550"/>
                    <a:gd name="connsiteX3" fmla="*/ 8326 w 218550"/>
                    <a:gd name="connsiteY3" fmla="*/ 79369 h 184550"/>
                    <a:gd name="connsiteX4" fmla="*/ 8967 w 218550"/>
                    <a:gd name="connsiteY4" fmla="*/ 81340 h 184550"/>
                    <a:gd name="connsiteX5" fmla="*/ 13795 w 218550"/>
                    <a:gd name="connsiteY5" fmla="*/ 106663 h 184550"/>
                    <a:gd name="connsiteX6" fmla="*/ 14042 w 218550"/>
                    <a:gd name="connsiteY6" fmla="*/ 110014 h 184550"/>
                    <a:gd name="connsiteX7" fmla="*/ 11134 w 218550"/>
                    <a:gd name="connsiteY7" fmla="*/ 158838 h 184550"/>
                    <a:gd name="connsiteX8" fmla="*/ 218550 w 218550"/>
                    <a:gd name="connsiteY8" fmla="*/ 158838 h 184550"/>
                    <a:gd name="connsiteX9" fmla="*/ 204854 w 218550"/>
                    <a:gd name="connsiteY9" fmla="*/ 53406 h 184550"/>
                    <a:gd name="connsiteX10" fmla="*/ 192093 w 218550"/>
                    <a:gd name="connsiteY10" fmla="*/ 18032 h 184550"/>
                    <a:gd name="connsiteX11" fmla="*/ 190073 w 218550"/>
                    <a:gd name="connsiteY11" fmla="*/ 2710 h 184550"/>
                    <a:gd name="connsiteX12" fmla="*/ 189876 w 218550"/>
                    <a:gd name="connsiteY12" fmla="*/ 0 h 184550"/>
                    <a:gd name="connsiteX13" fmla="*/ 164553 w 218550"/>
                    <a:gd name="connsiteY13" fmla="*/ 4631 h 184550"/>
                    <a:gd name="connsiteX14" fmla="*/ 147802 w 218550"/>
                    <a:gd name="connsiteY14" fmla="*/ 7686 h 184550"/>
                    <a:gd name="connsiteX15" fmla="*/ 141101 w 218550"/>
                    <a:gd name="connsiteY15" fmla="*/ 29018 h 184550"/>
                    <a:gd name="connsiteX16" fmla="*/ 140510 w 218550"/>
                    <a:gd name="connsiteY16" fmla="*/ 30940 h 184550"/>
                    <a:gd name="connsiteX17" fmla="*/ 134204 w 218550"/>
                    <a:gd name="connsiteY17" fmla="*/ 33206 h 184550"/>
                    <a:gd name="connsiteX18" fmla="*/ 38429 w 218550"/>
                    <a:gd name="connsiteY18" fmla="*/ 55918 h 184550"/>
                    <a:gd name="connsiteX19" fmla="*/ 38133 w 218550"/>
                    <a:gd name="connsiteY19" fmla="*/ 55968 h 184550"/>
                    <a:gd name="connsiteX20" fmla="*/ 0 w 218550"/>
                    <a:gd name="connsiteY20" fmla="*/ 56460 h 1845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18550" h="184550">
                      <a:moveTo>
                        <a:pt x="49" y="56509"/>
                      </a:moveTo>
                      <a:cubicBezTo>
                        <a:pt x="1084" y="58874"/>
                        <a:pt x="2020" y="61338"/>
                        <a:pt x="2858" y="63703"/>
                      </a:cubicBezTo>
                      <a:cubicBezTo>
                        <a:pt x="3498" y="65230"/>
                        <a:pt x="4040" y="66757"/>
                        <a:pt x="4582" y="68334"/>
                      </a:cubicBezTo>
                      <a:cubicBezTo>
                        <a:pt x="6060" y="72620"/>
                        <a:pt x="7292" y="76167"/>
                        <a:pt x="8326" y="79369"/>
                      </a:cubicBezTo>
                      <a:cubicBezTo>
                        <a:pt x="8524" y="80059"/>
                        <a:pt x="8770" y="80700"/>
                        <a:pt x="8967" y="81340"/>
                      </a:cubicBezTo>
                      <a:cubicBezTo>
                        <a:pt x="11529" y="89371"/>
                        <a:pt x="12908" y="95874"/>
                        <a:pt x="13795" y="106663"/>
                      </a:cubicBezTo>
                      <a:cubicBezTo>
                        <a:pt x="13894" y="107747"/>
                        <a:pt x="13992" y="108880"/>
                        <a:pt x="14042" y="110014"/>
                      </a:cubicBezTo>
                      <a:cubicBezTo>
                        <a:pt x="14928" y="123759"/>
                        <a:pt x="14977" y="147309"/>
                        <a:pt x="11134" y="158838"/>
                      </a:cubicBezTo>
                      <a:cubicBezTo>
                        <a:pt x="92179" y="160907"/>
                        <a:pt x="158789" y="215643"/>
                        <a:pt x="218550" y="158838"/>
                      </a:cubicBezTo>
                      <a:cubicBezTo>
                        <a:pt x="210026" y="151694"/>
                        <a:pt x="210224" y="62618"/>
                        <a:pt x="204854" y="53406"/>
                      </a:cubicBezTo>
                      <a:cubicBezTo>
                        <a:pt x="198695" y="42813"/>
                        <a:pt x="194508" y="30940"/>
                        <a:pt x="192093" y="18032"/>
                      </a:cubicBezTo>
                      <a:cubicBezTo>
                        <a:pt x="191157" y="13056"/>
                        <a:pt x="190517" y="7981"/>
                        <a:pt x="190073" y="2710"/>
                      </a:cubicBezTo>
                      <a:cubicBezTo>
                        <a:pt x="189975" y="1823"/>
                        <a:pt x="189925" y="887"/>
                        <a:pt x="189876" y="0"/>
                      </a:cubicBezTo>
                      <a:lnTo>
                        <a:pt x="164553" y="4631"/>
                      </a:lnTo>
                      <a:lnTo>
                        <a:pt x="147802" y="7686"/>
                      </a:lnTo>
                      <a:lnTo>
                        <a:pt x="141101" y="29018"/>
                      </a:lnTo>
                      <a:lnTo>
                        <a:pt x="140510" y="30940"/>
                      </a:lnTo>
                      <a:cubicBezTo>
                        <a:pt x="140510" y="30940"/>
                        <a:pt x="138293" y="31826"/>
                        <a:pt x="134204" y="33206"/>
                      </a:cubicBezTo>
                      <a:cubicBezTo>
                        <a:pt x="119128" y="38625"/>
                        <a:pt x="78976" y="51878"/>
                        <a:pt x="38429" y="55918"/>
                      </a:cubicBezTo>
                      <a:cubicBezTo>
                        <a:pt x="38330" y="55968"/>
                        <a:pt x="38231" y="55968"/>
                        <a:pt x="38133" y="55968"/>
                      </a:cubicBezTo>
                      <a:cubicBezTo>
                        <a:pt x="25176" y="57298"/>
                        <a:pt x="12219" y="57593"/>
                        <a:pt x="0" y="56460"/>
                      </a:cubicBezTo>
                      <a:close/>
                    </a:path>
                  </a:pathLst>
                </a:custGeom>
                <a:solidFill>
                  <a:srgbClr val="FCC3DC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grpSp>
              <p:nvGrpSpPr>
                <p:cNvPr id="2526" name="Graphic 2463">
                  <a:extLst>
                    <a:ext uri="{FF2B5EF4-FFF2-40B4-BE49-F238E27FC236}">
                      <a16:creationId xmlns:a16="http://schemas.microsoft.com/office/drawing/2014/main" id="{679085DA-7EFD-5F31-168A-5E86CF42363D}"/>
                    </a:ext>
                  </a:extLst>
                </p:cNvPr>
                <p:cNvGrpSpPr/>
                <p:nvPr/>
              </p:nvGrpSpPr>
              <p:grpSpPr>
                <a:xfrm>
                  <a:off x="-3271126" y="2503701"/>
                  <a:ext cx="365281" cy="414576"/>
                  <a:chOff x="-3271126" y="2503701"/>
                  <a:chExt cx="365281" cy="414576"/>
                </a:xfrm>
              </p:grpSpPr>
              <p:sp>
                <p:nvSpPr>
                  <p:cNvPr id="2527" name="Freeform: Shape 2526">
                    <a:extLst>
                      <a:ext uri="{FF2B5EF4-FFF2-40B4-BE49-F238E27FC236}">
                        <a16:creationId xmlns:a16="http://schemas.microsoft.com/office/drawing/2014/main" id="{850941CC-96AA-06DE-3CEC-8F9DFB18EDE6}"/>
                      </a:ext>
                    </a:extLst>
                  </p:cNvPr>
                  <p:cNvSpPr/>
                  <p:nvPr/>
                </p:nvSpPr>
                <p:spPr>
                  <a:xfrm>
                    <a:off x="-3196053" y="2829695"/>
                    <a:ext cx="183668" cy="88582"/>
                  </a:xfrm>
                  <a:custGeom>
                    <a:avLst/>
                    <a:gdLst>
                      <a:gd name="connsiteX0" fmla="*/ 0 w 183668"/>
                      <a:gd name="connsiteY0" fmla="*/ 47691 h 88582"/>
                      <a:gd name="connsiteX1" fmla="*/ 33995 w 183668"/>
                      <a:gd name="connsiteY1" fmla="*/ 59909 h 88582"/>
                      <a:gd name="connsiteX2" fmla="*/ 38823 w 183668"/>
                      <a:gd name="connsiteY2" fmla="*/ 85232 h 88582"/>
                      <a:gd name="connsiteX3" fmla="*/ 39069 w 183668"/>
                      <a:gd name="connsiteY3" fmla="*/ 88583 h 88582"/>
                      <a:gd name="connsiteX4" fmla="*/ 141643 w 183668"/>
                      <a:gd name="connsiteY4" fmla="*/ 17638 h 88582"/>
                      <a:gd name="connsiteX5" fmla="*/ 183668 w 183668"/>
                      <a:gd name="connsiteY5" fmla="*/ 0 h 88582"/>
                      <a:gd name="connsiteX6" fmla="*/ 183668 w 183668"/>
                      <a:gd name="connsiteY6" fmla="*/ 0 h 88582"/>
                      <a:gd name="connsiteX7" fmla="*/ 166129 w 183668"/>
                      <a:gd name="connsiteY7" fmla="*/ 7538 h 88582"/>
                      <a:gd name="connsiteX8" fmla="*/ 63506 w 183668"/>
                      <a:gd name="connsiteY8" fmla="*/ 34487 h 88582"/>
                      <a:gd name="connsiteX9" fmla="*/ 63210 w 183668"/>
                      <a:gd name="connsiteY9" fmla="*/ 34536 h 88582"/>
                      <a:gd name="connsiteX10" fmla="*/ 27885 w 183668"/>
                      <a:gd name="connsiteY10" fmla="*/ 42222 h 88582"/>
                      <a:gd name="connsiteX11" fmla="*/ 0 w 183668"/>
                      <a:gd name="connsiteY11" fmla="*/ 47691 h 885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183668" h="88582">
                        <a:moveTo>
                          <a:pt x="0" y="47691"/>
                        </a:moveTo>
                        <a:cubicBezTo>
                          <a:pt x="9656" y="55327"/>
                          <a:pt x="21332" y="59022"/>
                          <a:pt x="33995" y="59909"/>
                        </a:cubicBezTo>
                        <a:cubicBezTo>
                          <a:pt x="36557" y="67940"/>
                          <a:pt x="37936" y="74443"/>
                          <a:pt x="38823" y="85232"/>
                        </a:cubicBezTo>
                        <a:cubicBezTo>
                          <a:pt x="38921" y="86316"/>
                          <a:pt x="39020" y="87449"/>
                          <a:pt x="39069" y="88583"/>
                        </a:cubicBezTo>
                        <a:cubicBezTo>
                          <a:pt x="95184" y="68284"/>
                          <a:pt x="141643" y="17638"/>
                          <a:pt x="141643" y="17638"/>
                        </a:cubicBezTo>
                        <a:lnTo>
                          <a:pt x="183668" y="0"/>
                        </a:lnTo>
                        <a:lnTo>
                          <a:pt x="183668" y="0"/>
                        </a:lnTo>
                        <a:cubicBezTo>
                          <a:pt x="180663" y="2069"/>
                          <a:pt x="174505" y="4680"/>
                          <a:pt x="166129" y="7538"/>
                        </a:cubicBezTo>
                        <a:cubicBezTo>
                          <a:pt x="142579" y="15618"/>
                          <a:pt x="101589" y="25915"/>
                          <a:pt x="63506" y="34487"/>
                        </a:cubicBezTo>
                        <a:cubicBezTo>
                          <a:pt x="63407" y="34536"/>
                          <a:pt x="63308" y="34536"/>
                          <a:pt x="63210" y="34536"/>
                        </a:cubicBezTo>
                        <a:cubicBezTo>
                          <a:pt x="50893" y="37345"/>
                          <a:pt x="38872" y="39956"/>
                          <a:pt x="27885" y="42222"/>
                        </a:cubicBezTo>
                        <a:cubicBezTo>
                          <a:pt x="17490" y="44341"/>
                          <a:pt x="7981" y="46213"/>
                          <a:pt x="0" y="47691"/>
                        </a:cubicBezTo>
                        <a:close/>
                      </a:path>
                    </a:pathLst>
                  </a:custGeom>
                  <a:solidFill>
                    <a:srgbClr val="4D4D4D">
                      <a:alpha val="50000"/>
                    </a:srgbClr>
                  </a:solidFill>
                  <a:ln w="492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28" name="Freeform: Shape 2527">
                    <a:extLst>
                      <a:ext uri="{FF2B5EF4-FFF2-40B4-BE49-F238E27FC236}">
                        <a16:creationId xmlns:a16="http://schemas.microsoft.com/office/drawing/2014/main" id="{4DAD4AD5-78DF-658C-4EC6-296747B7EF4D}"/>
                      </a:ext>
                    </a:extLst>
                  </p:cNvPr>
                  <p:cNvSpPr/>
                  <p:nvPr/>
                </p:nvSpPr>
                <p:spPr>
                  <a:xfrm>
                    <a:off x="-3239032" y="2590108"/>
                    <a:ext cx="237337" cy="299698"/>
                  </a:xfrm>
                  <a:custGeom>
                    <a:avLst/>
                    <a:gdLst>
                      <a:gd name="connsiteX0" fmla="*/ 23814 w 237337"/>
                      <a:gd name="connsiteY0" fmla="*/ 260821 h 299698"/>
                      <a:gd name="connsiteX1" fmla="*/ 43028 w 237337"/>
                      <a:gd name="connsiteY1" fmla="*/ 287277 h 299698"/>
                      <a:gd name="connsiteX2" fmla="*/ 77022 w 237337"/>
                      <a:gd name="connsiteY2" fmla="*/ 299496 h 299698"/>
                      <a:gd name="connsiteX3" fmla="*/ 226696 w 237337"/>
                      <a:gd name="connsiteY3" fmla="*/ 239636 h 299698"/>
                      <a:gd name="connsiteX4" fmla="*/ 232165 w 237337"/>
                      <a:gd name="connsiteY4" fmla="*/ 235695 h 299698"/>
                      <a:gd name="connsiteX5" fmla="*/ 232608 w 237337"/>
                      <a:gd name="connsiteY5" fmla="*/ 222737 h 299698"/>
                      <a:gd name="connsiteX6" fmla="*/ 237338 w 237337"/>
                      <a:gd name="connsiteY6" fmla="*/ 86119 h 299698"/>
                      <a:gd name="connsiteX7" fmla="*/ 170236 w 237337"/>
                      <a:gd name="connsiteY7" fmla="*/ 0 h 299698"/>
                      <a:gd name="connsiteX8" fmla="*/ 7260 w 237337"/>
                      <a:gd name="connsiteY8" fmla="*/ 5961 h 299698"/>
                      <a:gd name="connsiteX9" fmla="*/ 23863 w 237337"/>
                      <a:gd name="connsiteY9" fmla="*/ 260771 h 2996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37337" h="299698">
                        <a:moveTo>
                          <a:pt x="23814" y="260821"/>
                        </a:moveTo>
                        <a:cubicBezTo>
                          <a:pt x="28642" y="272596"/>
                          <a:pt x="35145" y="281218"/>
                          <a:pt x="43028" y="287277"/>
                        </a:cubicBezTo>
                        <a:cubicBezTo>
                          <a:pt x="52684" y="294914"/>
                          <a:pt x="64360" y="298609"/>
                          <a:pt x="77022" y="299496"/>
                        </a:cubicBezTo>
                        <a:cubicBezTo>
                          <a:pt x="131906" y="303240"/>
                          <a:pt x="206201" y="254071"/>
                          <a:pt x="226696" y="239636"/>
                        </a:cubicBezTo>
                        <a:cubicBezTo>
                          <a:pt x="230194" y="237173"/>
                          <a:pt x="232165" y="235695"/>
                          <a:pt x="232165" y="235695"/>
                        </a:cubicBezTo>
                        <a:lnTo>
                          <a:pt x="232608" y="222737"/>
                        </a:lnTo>
                        <a:lnTo>
                          <a:pt x="237338" y="86119"/>
                        </a:lnTo>
                        <a:lnTo>
                          <a:pt x="170236" y="0"/>
                        </a:lnTo>
                        <a:lnTo>
                          <a:pt x="7260" y="5961"/>
                        </a:lnTo>
                        <a:cubicBezTo>
                          <a:pt x="7260" y="5961"/>
                          <a:pt x="-17275" y="160463"/>
                          <a:pt x="23863" y="260771"/>
                        </a:cubicBezTo>
                        <a:close/>
                      </a:path>
                    </a:pathLst>
                  </a:custGeom>
                  <a:solidFill>
                    <a:srgbClr val="FCC3DC"/>
                  </a:solidFill>
                  <a:ln w="492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29" name="Freeform: Shape 2528">
                    <a:extLst>
                      <a:ext uri="{FF2B5EF4-FFF2-40B4-BE49-F238E27FC236}">
                        <a16:creationId xmlns:a16="http://schemas.microsoft.com/office/drawing/2014/main" id="{AAD8FA6C-C447-A5C5-66CE-D66D22C07259}"/>
                      </a:ext>
                    </a:extLst>
                  </p:cNvPr>
                  <p:cNvSpPr/>
                  <p:nvPr/>
                </p:nvSpPr>
                <p:spPr>
                  <a:xfrm>
                    <a:off x="-3271126" y="2503701"/>
                    <a:ext cx="365281" cy="406910"/>
                  </a:xfrm>
                  <a:custGeom>
                    <a:avLst/>
                    <a:gdLst>
                      <a:gd name="connsiteX0" fmla="*/ 1172 w 365281"/>
                      <a:gd name="connsiteY0" fmla="*/ 66257 h 406910"/>
                      <a:gd name="connsiteX1" fmla="*/ 13982 w 365281"/>
                      <a:gd name="connsiteY1" fmla="*/ 99463 h 406910"/>
                      <a:gd name="connsiteX2" fmla="*/ 21668 w 365281"/>
                      <a:gd name="connsiteY2" fmla="*/ 113061 h 406910"/>
                      <a:gd name="connsiteX3" fmla="*/ 30881 w 365281"/>
                      <a:gd name="connsiteY3" fmla="*/ 121781 h 406910"/>
                      <a:gd name="connsiteX4" fmla="*/ 36645 w 365281"/>
                      <a:gd name="connsiteY4" fmla="*/ 113899 h 406910"/>
                      <a:gd name="connsiteX5" fmla="*/ 56893 w 365281"/>
                      <a:gd name="connsiteY5" fmla="*/ 112223 h 406910"/>
                      <a:gd name="connsiteX6" fmla="*/ 80690 w 365281"/>
                      <a:gd name="connsiteY6" fmla="*/ 113800 h 406910"/>
                      <a:gd name="connsiteX7" fmla="*/ 118971 w 365281"/>
                      <a:gd name="connsiteY7" fmla="*/ 131881 h 406910"/>
                      <a:gd name="connsiteX8" fmla="*/ 137249 w 365281"/>
                      <a:gd name="connsiteY8" fmla="*/ 182035 h 406910"/>
                      <a:gd name="connsiteX9" fmla="*/ 131879 w 365281"/>
                      <a:gd name="connsiteY9" fmla="*/ 236377 h 406910"/>
                      <a:gd name="connsiteX10" fmla="*/ 132322 w 365281"/>
                      <a:gd name="connsiteY10" fmla="*/ 258892 h 406910"/>
                      <a:gd name="connsiteX11" fmla="*/ 134293 w 365281"/>
                      <a:gd name="connsiteY11" fmla="*/ 273869 h 406910"/>
                      <a:gd name="connsiteX12" fmla="*/ 145378 w 365281"/>
                      <a:gd name="connsiteY12" fmla="*/ 267859 h 406910"/>
                      <a:gd name="connsiteX13" fmla="*/ 168484 w 365281"/>
                      <a:gd name="connsiteY13" fmla="*/ 216079 h 406910"/>
                      <a:gd name="connsiteX14" fmla="*/ 174593 w 365281"/>
                      <a:gd name="connsiteY14" fmla="*/ 202875 h 406910"/>
                      <a:gd name="connsiteX15" fmla="*/ 184003 w 365281"/>
                      <a:gd name="connsiteY15" fmla="*/ 197308 h 406910"/>
                      <a:gd name="connsiteX16" fmla="*/ 208982 w 365281"/>
                      <a:gd name="connsiteY16" fmla="*/ 196224 h 406910"/>
                      <a:gd name="connsiteX17" fmla="*/ 220855 w 365281"/>
                      <a:gd name="connsiteY17" fmla="*/ 224306 h 406910"/>
                      <a:gd name="connsiteX18" fmla="*/ 206912 w 365281"/>
                      <a:gd name="connsiteY18" fmla="*/ 248644 h 406910"/>
                      <a:gd name="connsiteX19" fmla="*/ 182821 w 365281"/>
                      <a:gd name="connsiteY19" fmla="*/ 265888 h 406910"/>
                      <a:gd name="connsiteX20" fmla="*/ 195039 w 365281"/>
                      <a:gd name="connsiteY20" fmla="*/ 297813 h 406910"/>
                      <a:gd name="connsiteX21" fmla="*/ 213909 w 365281"/>
                      <a:gd name="connsiteY21" fmla="*/ 337818 h 406910"/>
                      <a:gd name="connsiteX22" fmla="*/ 228541 w 365281"/>
                      <a:gd name="connsiteY22" fmla="*/ 364964 h 406910"/>
                      <a:gd name="connsiteX23" fmla="*/ 296825 w 365281"/>
                      <a:gd name="connsiteY23" fmla="*/ 405265 h 406910"/>
                      <a:gd name="connsiteX24" fmla="*/ 328307 w 365281"/>
                      <a:gd name="connsiteY24" fmla="*/ 401866 h 406910"/>
                      <a:gd name="connsiteX25" fmla="*/ 326583 w 365281"/>
                      <a:gd name="connsiteY25" fmla="*/ 370433 h 406910"/>
                      <a:gd name="connsiteX26" fmla="*/ 327863 w 365281"/>
                      <a:gd name="connsiteY26" fmla="*/ 330576 h 406910"/>
                      <a:gd name="connsiteX27" fmla="*/ 344072 w 365281"/>
                      <a:gd name="connsiteY27" fmla="*/ 222040 h 406910"/>
                      <a:gd name="connsiteX28" fmla="*/ 350428 w 365281"/>
                      <a:gd name="connsiteY28" fmla="*/ 198589 h 406910"/>
                      <a:gd name="connsiteX29" fmla="*/ 365208 w 365281"/>
                      <a:gd name="connsiteY29" fmla="*/ 121584 h 406910"/>
                      <a:gd name="connsiteX30" fmla="*/ 355601 w 365281"/>
                      <a:gd name="connsiteY30" fmla="*/ 92024 h 406910"/>
                      <a:gd name="connsiteX31" fmla="*/ 328060 w 365281"/>
                      <a:gd name="connsiteY31" fmla="*/ 92516 h 406910"/>
                      <a:gd name="connsiteX32" fmla="*/ 316335 w 365281"/>
                      <a:gd name="connsiteY32" fmla="*/ 36106 h 406910"/>
                      <a:gd name="connsiteX33" fmla="*/ 257214 w 365281"/>
                      <a:gd name="connsiteY33" fmla="*/ 7383 h 406910"/>
                      <a:gd name="connsiteX34" fmla="*/ 200606 w 365281"/>
                      <a:gd name="connsiteY34" fmla="*/ 1816 h 406910"/>
                      <a:gd name="connsiteX35" fmla="*/ 58569 w 365281"/>
                      <a:gd name="connsiteY35" fmla="*/ 3934 h 406910"/>
                      <a:gd name="connsiteX36" fmla="*/ 13736 w 365281"/>
                      <a:gd name="connsiteY36" fmla="*/ 18813 h 406910"/>
                      <a:gd name="connsiteX37" fmla="*/ 1172 w 365281"/>
                      <a:gd name="connsiteY37" fmla="*/ 66306 h 4069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</a:cxnLst>
                    <a:rect l="l" t="t" r="r" b="b"/>
                    <a:pathLst>
                      <a:path w="365281" h="406910">
                        <a:moveTo>
                          <a:pt x="1172" y="66257"/>
                        </a:moveTo>
                        <a:cubicBezTo>
                          <a:pt x="3439" y="77983"/>
                          <a:pt x="8316" y="88920"/>
                          <a:pt x="13982" y="99463"/>
                        </a:cubicBezTo>
                        <a:cubicBezTo>
                          <a:pt x="16494" y="104045"/>
                          <a:pt x="19106" y="108578"/>
                          <a:pt x="21668" y="113061"/>
                        </a:cubicBezTo>
                        <a:cubicBezTo>
                          <a:pt x="23786" y="116854"/>
                          <a:pt x="26545" y="120993"/>
                          <a:pt x="30881" y="121781"/>
                        </a:cubicBezTo>
                        <a:cubicBezTo>
                          <a:pt x="34871" y="122520"/>
                          <a:pt x="39601" y="117495"/>
                          <a:pt x="36645" y="113899"/>
                        </a:cubicBezTo>
                        <a:cubicBezTo>
                          <a:pt x="40783" y="110647"/>
                          <a:pt x="51721" y="112223"/>
                          <a:pt x="56893" y="112223"/>
                        </a:cubicBezTo>
                        <a:cubicBezTo>
                          <a:pt x="64826" y="112223"/>
                          <a:pt x="72807" y="112519"/>
                          <a:pt x="80690" y="113800"/>
                        </a:cubicBezTo>
                        <a:cubicBezTo>
                          <a:pt x="94879" y="116116"/>
                          <a:pt x="108871" y="121683"/>
                          <a:pt x="118971" y="131881"/>
                        </a:cubicBezTo>
                        <a:cubicBezTo>
                          <a:pt x="131780" y="144838"/>
                          <a:pt x="136805" y="163806"/>
                          <a:pt x="137249" y="182035"/>
                        </a:cubicBezTo>
                        <a:cubicBezTo>
                          <a:pt x="137692" y="200264"/>
                          <a:pt x="133997" y="218296"/>
                          <a:pt x="131879" y="236377"/>
                        </a:cubicBezTo>
                        <a:cubicBezTo>
                          <a:pt x="130991" y="244112"/>
                          <a:pt x="132864" y="251551"/>
                          <a:pt x="132322" y="258892"/>
                        </a:cubicBezTo>
                        <a:cubicBezTo>
                          <a:pt x="131977" y="263572"/>
                          <a:pt x="129366" y="270470"/>
                          <a:pt x="134293" y="273869"/>
                        </a:cubicBezTo>
                        <a:cubicBezTo>
                          <a:pt x="138776" y="277022"/>
                          <a:pt x="143703" y="271504"/>
                          <a:pt x="145378" y="267859"/>
                        </a:cubicBezTo>
                        <a:cubicBezTo>
                          <a:pt x="153458" y="250763"/>
                          <a:pt x="160798" y="233322"/>
                          <a:pt x="168484" y="216079"/>
                        </a:cubicBezTo>
                        <a:cubicBezTo>
                          <a:pt x="170208" y="212187"/>
                          <a:pt x="171686" y="205979"/>
                          <a:pt x="174593" y="202875"/>
                        </a:cubicBezTo>
                        <a:cubicBezTo>
                          <a:pt x="176712" y="200560"/>
                          <a:pt x="181244" y="198737"/>
                          <a:pt x="184003" y="197308"/>
                        </a:cubicBezTo>
                        <a:cubicBezTo>
                          <a:pt x="191984" y="193170"/>
                          <a:pt x="200803" y="191593"/>
                          <a:pt x="208982" y="196224"/>
                        </a:cubicBezTo>
                        <a:cubicBezTo>
                          <a:pt x="218638" y="201742"/>
                          <a:pt x="223072" y="213369"/>
                          <a:pt x="220855" y="224306"/>
                        </a:cubicBezTo>
                        <a:cubicBezTo>
                          <a:pt x="218933" y="233815"/>
                          <a:pt x="213810" y="241944"/>
                          <a:pt x="206912" y="248644"/>
                        </a:cubicBezTo>
                        <a:cubicBezTo>
                          <a:pt x="201641" y="253818"/>
                          <a:pt x="185580" y="259779"/>
                          <a:pt x="182821" y="265888"/>
                        </a:cubicBezTo>
                        <a:cubicBezTo>
                          <a:pt x="179323" y="273574"/>
                          <a:pt x="191689" y="290719"/>
                          <a:pt x="195039" y="297813"/>
                        </a:cubicBezTo>
                        <a:cubicBezTo>
                          <a:pt x="201345" y="311164"/>
                          <a:pt x="207602" y="324467"/>
                          <a:pt x="213909" y="337818"/>
                        </a:cubicBezTo>
                        <a:cubicBezTo>
                          <a:pt x="218293" y="347130"/>
                          <a:pt x="222727" y="356490"/>
                          <a:pt x="228541" y="364964"/>
                        </a:cubicBezTo>
                        <a:cubicBezTo>
                          <a:pt x="244011" y="387430"/>
                          <a:pt x="269778" y="402309"/>
                          <a:pt x="296825" y="405265"/>
                        </a:cubicBezTo>
                        <a:cubicBezTo>
                          <a:pt x="305200" y="406152"/>
                          <a:pt x="322395" y="409896"/>
                          <a:pt x="328307" y="401866"/>
                        </a:cubicBezTo>
                        <a:cubicBezTo>
                          <a:pt x="334071" y="394032"/>
                          <a:pt x="327568" y="378956"/>
                          <a:pt x="326583" y="370433"/>
                        </a:cubicBezTo>
                        <a:cubicBezTo>
                          <a:pt x="324907" y="356737"/>
                          <a:pt x="326090" y="343237"/>
                          <a:pt x="327863" y="330576"/>
                        </a:cubicBezTo>
                        <a:cubicBezTo>
                          <a:pt x="332987" y="294414"/>
                          <a:pt x="335648" y="257759"/>
                          <a:pt x="344072" y="222040"/>
                        </a:cubicBezTo>
                        <a:cubicBezTo>
                          <a:pt x="345944" y="214010"/>
                          <a:pt x="348162" y="206324"/>
                          <a:pt x="350428" y="198589"/>
                        </a:cubicBezTo>
                        <a:cubicBezTo>
                          <a:pt x="357966" y="173561"/>
                          <a:pt x="366144" y="149814"/>
                          <a:pt x="365208" y="121584"/>
                        </a:cubicBezTo>
                        <a:cubicBezTo>
                          <a:pt x="364814" y="111041"/>
                          <a:pt x="362991" y="99660"/>
                          <a:pt x="355601" y="92024"/>
                        </a:cubicBezTo>
                        <a:cubicBezTo>
                          <a:pt x="348211" y="84486"/>
                          <a:pt x="333578" y="83451"/>
                          <a:pt x="328060" y="92516"/>
                        </a:cubicBezTo>
                        <a:cubicBezTo>
                          <a:pt x="334515" y="73499"/>
                          <a:pt x="329883" y="51083"/>
                          <a:pt x="316335" y="36106"/>
                        </a:cubicBezTo>
                        <a:cubicBezTo>
                          <a:pt x="301309" y="19503"/>
                          <a:pt x="279828" y="11570"/>
                          <a:pt x="257214" y="7383"/>
                        </a:cubicBezTo>
                        <a:cubicBezTo>
                          <a:pt x="238000" y="3688"/>
                          <a:pt x="217948" y="2899"/>
                          <a:pt x="200606" y="1816"/>
                        </a:cubicBezTo>
                        <a:cubicBezTo>
                          <a:pt x="153260" y="-1190"/>
                          <a:pt x="105767" y="-451"/>
                          <a:pt x="58569" y="3934"/>
                        </a:cubicBezTo>
                        <a:cubicBezTo>
                          <a:pt x="42606" y="5412"/>
                          <a:pt x="25461" y="7875"/>
                          <a:pt x="13736" y="18813"/>
                        </a:cubicBezTo>
                        <a:cubicBezTo>
                          <a:pt x="1222" y="30440"/>
                          <a:pt x="-2079" y="49556"/>
                          <a:pt x="1172" y="66306"/>
                        </a:cubicBezTo>
                        <a:close/>
                      </a:path>
                    </a:pathLst>
                  </a:custGeom>
                  <a:solidFill>
                    <a:srgbClr val="43465E"/>
                  </a:solidFill>
                  <a:ln w="492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2530" name="Freeform: Shape 2529">
                <a:extLst>
                  <a:ext uri="{FF2B5EF4-FFF2-40B4-BE49-F238E27FC236}">
                    <a16:creationId xmlns:a16="http://schemas.microsoft.com/office/drawing/2014/main" id="{3CE991A2-9079-DE8F-4833-05ABB3CD7AB4}"/>
                  </a:ext>
                </a:extLst>
              </p:cNvPr>
              <p:cNvSpPr/>
              <p:nvPr/>
            </p:nvSpPr>
            <p:spPr>
              <a:xfrm>
                <a:off x="2309257" y="2789431"/>
                <a:ext cx="25968" cy="12876"/>
              </a:xfrm>
              <a:custGeom>
                <a:avLst/>
                <a:gdLst>
                  <a:gd name="connsiteX0" fmla="*/ 4434 w 142776"/>
                  <a:gd name="connsiteY0" fmla="*/ 0 h 70797"/>
                  <a:gd name="connsiteX1" fmla="*/ 0 w 142776"/>
                  <a:gd name="connsiteY1" fmla="*/ 70797 h 70797"/>
                  <a:gd name="connsiteX2" fmla="*/ 134844 w 142776"/>
                  <a:gd name="connsiteY2" fmla="*/ 70797 h 70797"/>
                  <a:gd name="connsiteX3" fmla="*/ 142776 w 142776"/>
                  <a:gd name="connsiteY3" fmla="*/ 0 h 70797"/>
                  <a:gd name="connsiteX4" fmla="*/ 4434 w 142776"/>
                  <a:gd name="connsiteY4" fmla="*/ 0 h 70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776" h="70797">
                    <a:moveTo>
                      <a:pt x="4434" y="0"/>
                    </a:moveTo>
                    <a:lnTo>
                      <a:pt x="0" y="70797"/>
                    </a:lnTo>
                    <a:lnTo>
                      <a:pt x="134844" y="70797"/>
                    </a:lnTo>
                    <a:lnTo>
                      <a:pt x="142776" y="0"/>
                    </a:lnTo>
                    <a:lnTo>
                      <a:pt x="4434" y="0"/>
                    </a:lnTo>
                    <a:close/>
                  </a:path>
                </a:pathLst>
              </a:custGeom>
              <a:solidFill>
                <a:srgbClr val="FCC3DC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31" name="Freeform: Shape 2530">
                <a:extLst>
                  <a:ext uri="{FF2B5EF4-FFF2-40B4-BE49-F238E27FC236}">
                    <a16:creationId xmlns:a16="http://schemas.microsoft.com/office/drawing/2014/main" id="{502902A6-3EDB-DFA1-E072-6C6242AB1156}"/>
                  </a:ext>
                </a:extLst>
              </p:cNvPr>
              <p:cNvSpPr/>
              <p:nvPr/>
            </p:nvSpPr>
            <p:spPr>
              <a:xfrm>
                <a:off x="2271961" y="2797720"/>
                <a:ext cx="67148" cy="21514"/>
              </a:xfrm>
              <a:custGeom>
                <a:avLst/>
                <a:gdLst>
                  <a:gd name="connsiteX0" fmla="*/ 356310 w 369193"/>
                  <a:gd name="connsiteY0" fmla="*/ 116221 h 118290"/>
                  <a:gd name="connsiteX1" fmla="*/ 359808 w 369193"/>
                  <a:gd name="connsiteY1" fmla="*/ 21678 h 118290"/>
                  <a:gd name="connsiteX2" fmla="*/ 197522 w 369193"/>
                  <a:gd name="connsiteY2" fmla="*/ 0 h 118290"/>
                  <a:gd name="connsiteX3" fmla="*/ 11341 w 369193"/>
                  <a:gd name="connsiteY3" fmla="*/ 89075 h 118290"/>
                  <a:gd name="connsiteX4" fmla="*/ 6119 w 369193"/>
                  <a:gd name="connsiteY4" fmla="*/ 93657 h 118290"/>
                  <a:gd name="connsiteX5" fmla="*/ 10 w 369193"/>
                  <a:gd name="connsiteY5" fmla="*/ 104151 h 118290"/>
                  <a:gd name="connsiteX6" fmla="*/ 11242 w 369193"/>
                  <a:gd name="connsiteY6" fmla="*/ 118291 h 118290"/>
                  <a:gd name="connsiteX7" fmla="*/ 356310 w 369193"/>
                  <a:gd name="connsiteY7" fmla="*/ 116221 h 118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9193" h="118290">
                    <a:moveTo>
                      <a:pt x="356310" y="116221"/>
                    </a:moveTo>
                    <a:cubicBezTo>
                      <a:pt x="365721" y="99027"/>
                      <a:pt x="378037" y="46163"/>
                      <a:pt x="359808" y="21678"/>
                    </a:cubicBezTo>
                    <a:cubicBezTo>
                      <a:pt x="331677" y="29856"/>
                      <a:pt x="273443" y="11479"/>
                      <a:pt x="197522" y="0"/>
                    </a:cubicBezTo>
                    <a:lnTo>
                      <a:pt x="11341" y="89075"/>
                    </a:lnTo>
                    <a:cubicBezTo>
                      <a:pt x="10208" y="89962"/>
                      <a:pt x="8188" y="91538"/>
                      <a:pt x="6119" y="93657"/>
                    </a:cubicBezTo>
                    <a:cubicBezTo>
                      <a:pt x="1340" y="98534"/>
                      <a:pt x="-138" y="102377"/>
                      <a:pt x="10" y="104151"/>
                    </a:cubicBezTo>
                    <a:cubicBezTo>
                      <a:pt x="108" y="105185"/>
                      <a:pt x="9174" y="116271"/>
                      <a:pt x="11242" y="118291"/>
                    </a:cubicBezTo>
                    <a:lnTo>
                      <a:pt x="356310" y="116221"/>
                    </a:lnTo>
                    <a:close/>
                  </a:path>
                </a:pathLst>
              </a:custGeom>
              <a:solidFill>
                <a:srgbClr val="2B2E3F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32" name="Freeform: Shape 2531">
                <a:extLst>
                  <a:ext uri="{FF2B5EF4-FFF2-40B4-BE49-F238E27FC236}">
                    <a16:creationId xmlns:a16="http://schemas.microsoft.com/office/drawing/2014/main" id="{F9DD3412-00FF-28D4-DF03-416C5613499C}"/>
                  </a:ext>
                </a:extLst>
              </p:cNvPr>
              <p:cNvSpPr/>
              <p:nvPr/>
            </p:nvSpPr>
            <p:spPr>
              <a:xfrm>
                <a:off x="2306587" y="2450514"/>
                <a:ext cx="87877" cy="339410"/>
              </a:xfrm>
              <a:custGeom>
                <a:avLst/>
                <a:gdLst>
                  <a:gd name="connsiteX0" fmla="*/ 425817 w 483164"/>
                  <a:gd name="connsiteY0" fmla="*/ 0 h 1866144"/>
                  <a:gd name="connsiteX1" fmla="*/ 424388 w 483164"/>
                  <a:gd name="connsiteY1" fmla="*/ 7144 h 1866144"/>
                  <a:gd name="connsiteX2" fmla="*/ 483164 w 483164"/>
                  <a:gd name="connsiteY2" fmla="*/ 105580 h 1866144"/>
                  <a:gd name="connsiteX3" fmla="*/ 469221 w 483164"/>
                  <a:gd name="connsiteY3" fmla="*/ 189186 h 1866144"/>
                  <a:gd name="connsiteX4" fmla="*/ 455427 w 483164"/>
                  <a:gd name="connsiteY4" fmla="*/ 237370 h 1866144"/>
                  <a:gd name="connsiteX5" fmla="*/ 455427 w 483164"/>
                  <a:gd name="connsiteY5" fmla="*/ 237370 h 1866144"/>
                  <a:gd name="connsiteX6" fmla="*/ 417294 w 483164"/>
                  <a:gd name="connsiteY6" fmla="*/ 298461 h 1866144"/>
                  <a:gd name="connsiteX7" fmla="*/ 389950 w 483164"/>
                  <a:gd name="connsiteY7" fmla="*/ 329500 h 1866144"/>
                  <a:gd name="connsiteX8" fmla="*/ 327381 w 483164"/>
                  <a:gd name="connsiteY8" fmla="*/ 461634 h 1866144"/>
                  <a:gd name="connsiteX9" fmla="*/ 224905 w 483164"/>
                  <a:gd name="connsiteY9" fmla="*/ 1027863 h 1866144"/>
                  <a:gd name="connsiteX10" fmla="*/ 170760 w 483164"/>
                  <a:gd name="connsiteY10" fmla="*/ 1862548 h 1866144"/>
                  <a:gd name="connsiteX11" fmla="*/ 170563 w 483164"/>
                  <a:gd name="connsiteY11" fmla="*/ 1864371 h 1866144"/>
                  <a:gd name="connsiteX12" fmla="*/ 170367 w 483164"/>
                  <a:gd name="connsiteY12" fmla="*/ 1866144 h 1866144"/>
                  <a:gd name="connsiteX13" fmla="*/ 0 w 483164"/>
                  <a:gd name="connsiteY13" fmla="*/ 1866144 h 1866144"/>
                  <a:gd name="connsiteX14" fmla="*/ 25718 w 483164"/>
                  <a:gd name="connsiteY14" fmla="*/ 326987 h 1866144"/>
                  <a:gd name="connsiteX15" fmla="*/ 34192 w 483164"/>
                  <a:gd name="connsiteY15" fmla="*/ 131248 h 1866144"/>
                  <a:gd name="connsiteX16" fmla="*/ 34389 w 483164"/>
                  <a:gd name="connsiteY16" fmla="*/ 127947 h 1866144"/>
                  <a:gd name="connsiteX17" fmla="*/ 42124 w 483164"/>
                  <a:gd name="connsiteY17" fmla="*/ 4188 h 1866144"/>
                  <a:gd name="connsiteX18" fmla="*/ 425768 w 483164"/>
                  <a:gd name="connsiteY18" fmla="*/ 49 h 1866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83164" h="1866144">
                    <a:moveTo>
                      <a:pt x="425817" y="0"/>
                    </a:moveTo>
                    <a:lnTo>
                      <a:pt x="424388" y="7144"/>
                    </a:lnTo>
                    <a:lnTo>
                      <a:pt x="483164" y="105580"/>
                    </a:lnTo>
                    <a:lnTo>
                      <a:pt x="469221" y="189186"/>
                    </a:lnTo>
                    <a:cubicBezTo>
                      <a:pt x="466463" y="205740"/>
                      <a:pt x="461831" y="221900"/>
                      <a:pt x="455427" y="237370"/>
                    </a:cubicBezTo>
                    <a:lnTo>
                      <a:pt x="455427" y="237370"/>
                    </a:lnTo>
                    <a:cubicBezTo>
                      <a:pt x="446164" y="259688"/>
                      <a:pt x="433306" y="280330"/>
                      <a:pt x="417294" y="298461"/>
                    </a:cubicBezTo>
                    <a:lnTo>
                      <a:pt x="389950" y="329500"/>
                    </a:lnTo>
                    <a:lnTo>
                      <a:pt x="327381" y="461634"/>
                    </a:lnTo>
                    <a:lnTo>
                      <a:pt x="224905" y="1027863"/>
                    </a:lnTo>
                    <a:lnTo>
                      <a:pt x="170760" y="1862548"/>
                    </a:lnTo>
                    <a:lnTo>
                      <a:pt x="170563" y="1864371"/>
                    </a:lnTo>
                    <a:lnTo>
                      <a:pt x="170367" y="1866144"/>
                    </a:lnTo>
                    <a:lnTo>
                      <a:pt x="0" y="1866144"/>
                    </a:lnTo>
                    <a:cubicBezTo>
                      <a:pt x="0" y="1866144"/>
                      <a:pt x="18968" y="378028"/>
                      <a:pt x="25718" y="326987"/>
                    </a:cubicBezTo>
                    <a:lnTo>
                      <a:pt x="34192" y="131248"/>
                    </a:lnTo>
                    <a:lnTo>
                      <a:pt x="34389" y="127947"/>
                    </a:lnTo>
                    <a:lnTo>
                      <a:pt x="42124" y="4188"/>
                    </a:lnTo>
                    <a:lnTo>
                      <a:pt x="425768" y="49"/>
                    </a:lnTo>
                    <a:close/>
                  </a:path>
                </a:pathLst>
              </a:custGeom>
              <a:solidFill>
                <a:schemeClr val="accent5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33" name="Freeform: Shape 2532">
                <a:extLst>
                  <a:ext uri="{FF2B5EF4-FFF2-40B4-BE49-F238E27FC236}">
                    <a16:creationId xmlns:a16="http://schemas.microsoft.com/office/drawing/2014/main" id="{F8B2316C-368F-E462-CFA2-B1643E1F704C}"/>
                  </a:ext>
                </a:extLst>
              </p:cNvPr>
              <p:cNvSpPr/>
              <p:nvPr/>
            </p:nvSpPr>
            <p:spPr>
              <a:xfrm>
                <a:off x="2312572" y="2450523"/>
                <a:ext cx="92617" cy="33516"/>
              </a:xfrm>
              <a:custGeom>
                <a:avLst/>
                <a:gdLst>
                  <a:gd name="connsiteX0" fmla="*/ 509226 w 509226"/>
                  <a:gd name="connsiteY0" fmla="*/ 147063 h 184277"/>
                  <a:gd name="connsiteX1" fmla="*/ 0 w 509226"/>
                  <a:gd name="connsiteY1" fmla="*/ 161055 h 184277"/>
                  <a:gd name="connsiteX2" fmla="*/ 9262 w 509226"/>
                  <a:gd name="connsiteY2" fmla="*/ 4927 h 184277"/>
                  <a:gd name="connsiteX3" fmla="*/ 392906 w 509226"/>
                  <a:gd name="connsiteY3" fmla="*/ 0 h 184277"/>
                  <a:gd name="connsiteX4" fmla="*/ 391477 w 509226"/>
                  <a:gd name="connsiteY4" fmla="*/ 8523 h 184277"/>
                  <a:gd name="connsiteX5" fmla="*/ 492524 w 509226"/>
                  <a:gd name="connsiteY5" fmla="*/ 2168 h 184277"/>
                  <a:gd name="connsiteX6" fmla="*/ 509226 w 509226"/>
                  <a:gd name="connsiteY6" fmla="*/ 147063 h 184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09226" h="184277">
                    <a:moveTo>
                      <a:pt x="509226" y="147063"/>
                    </a:moveTo>
                    <a:cubicBezTo>
                      <a:pt x="297426" y="198054"/>
                      <a:pt x="231507" y="190516"/>
                      <a:pt x="0" y="161055"/>
                    </a:cubicBezTo>
                    <a:lnTo>
                      <a:pt x="9262" y="4927"/>
                    </a:lnTo>
                    <a:lnTo>
                      <a:pt x="392906" y="0"/>
                    </a:lnTo>
                    <a:lnTo>
                      <a:pt x="391477" y="8523"/>
                    </a:lnTo>
                    <a:lnTo>
                      <a:pt x="492524" y="2168"/>
                    </a:lnTo>
                    <a:lnTo>
                      <a:pt x="509226" y="147063"/>
                    </a:lnTo>
                    <a:close/>
                  </a:path>
                </a:pathLst>
              </a:custGeom>
              <a:solidFill>
                <a:srgbClr val="1E4360">
                  <a:alpha val="60000"/>
                </a:srgbClr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34" name="Freeform: Shape 2533">
                <a:extLst>
                  <a:ext uri="{FF2B5EF4-FFF2-40B4-BE49-F238E27FC236}">
                    <a16:creationId xmlns:a16="http://schemas.microsoft.com/office/drawing/2014/main" id="{11B2BCB6-13C9-DAA5-78EA-BFBC2F950F4B}"/>
                  </a:ext>
                </a:extLst>
              </p:cNvPr>
              <p:cNvSpPr/>
              <p:nvPr/>
            </p:nvSpPr>
            <p:spPr>
              <a:xfrm>
                <a:off x="2310492" y="2295737"/>
                <a:ext cx="95154" cy="180875"/>
              </a:xfrm>
              <a:custGeom>
                <a:avLst/>
                <a:gdLst>
                  <a:gd name="connsiteX0" fmla="*/ 523178 w 523178"/>
                  <a:gd name="connsiteY0" fmla="*/ 960219 h 994486"/>
                  <a:gd name="connsiteX1" fmla="*/ 503964 w 523178"/>
                  <a:gd name="connsiteY1" fmla="*/ 981453 h 994486"/>
                  <a:gd name="connsiteX2" fmla="*/ 179884 w 523178"/>
                  <a:gd name="connsiteY2" fmla="*/ 992932 h 994486"/>
                  <a:gd name="connsiteX3" fmla="*/ 20652 w 523178"/>
                  <a:gd name="connsiteY3" fmla="*/ 981699 h 994486"/>
                  <a:gd name="connsiteX4" fmla="*/ 9025 w 523178"/>
                  <a:gd name="connsiteY4" fmla="*/ 977019 h 994486"/>
                  <a:gd name="connsiteX5" fmla="*/ 2177 w 523178"/>
                  <a:gd name="connsiteY5" fmla="*/ 947261 h 994486"/>
                  <a:gd name="connsiteX6" fmla="*/ 24249 w 523178"/>
                  <a:gd name="connsiteY6" fmla="*/ 88878 h 994486"/>
                  <a:gd name="connsiteX7" fmla="*/ 146678 w 523178"/>
                  <a:gd name="connsiteY7" fmla="*/ 2020 h 994486"/>
                  <a:gd name="connsiteX8" fmla="*/ 394147 w 523178"/>
                  <a:gd name="connsiteY8" fmla="*/ 0 h 994486"/>
                  <a:gd name="connsiteX9" fmla="*/ 394147 w 523178"/>
                  <a:gd name="connsiteY9" fmla="*/ 0 h 994486"/>
                  <a:gd name="connsiteX10" fmla="*/ 506870 w 523178"/>
                  <a:gd name="connsiteY10" fmla="*/ 297771 h 994486"/>
                  <a:gd name="connsiteX11" fmla="*/ 523178 w 523178"/>
                  <a:gd name="connsiteY11" fmla="*/ 960219 h 994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23178" h="994486">
                    <a:moveTo>
                      <a:pt x="523178" y="960219"/>
                    </a:moveTo>
                    <a:cubicBezTo>
                      <a:pt x="523079" y="972683"/>
                      <a:pt x="514803" y="980221"/>
                      <a:pt x="503964" y="981453"/>
                    </a:cubicBezTo>
                    <a:cubicBezTo>
                      <a:pt x="403015" y="993277"/>
                      <a:pt x="290292" y="996923"/>
                      <a:pt x="179884" y="992932"/>
                    </a:cubicBezTo>
                    <a:cubicBezTo>
                      <a:pt x="125690" y="991011"/>
                      <a:pt x="72087" y="987217"/>
                      <a:pt x="20652" y="981699"/>
                    </a:cubicBezTo>
                    <a:cubicBezTo>
                      <a:pt x="16366" y="981256"/>
                      <a:pt x="12424" y="979581"/>
                      <a:pt x="9025" y="977019"/>
                    </a:cubicBezTo>
                    <a:cubicBezTo>
                      <a:pt x="10" y="970121"/>
                      <a:pt x="-2208" y="957706"/>
                      <a:pt x="2177" y="947261"/>
                    </a:cubicBezTo>
                    <a:cubicBezTo>
                      <a:pt x="34644" y="869813"/>
                      <a:pt x="31048" y="85823"/>
                      <a:pt x="24249" y="88878"/>
                    </a:cubicBezTo>
                    <a:lnTo>
                      <a:pt x="146678" y="2020"/>
                    </a:lnTo>
                    <a:lnTo>
                      <a:pt x="394147" y="0"/>
                    </a:lnTo>
                    <a:lnTo>
                      <a:pt x="394147" y="0"/>
                    </a:lnTo>
                    <a:cubicBezTo>
                      <a:pt x="487213" y="58431"/>
                      <a:pt x="511551" y="175884"/>
                      <a:pt x="506870" y="297771"/>
                    </a:cubicBezTo>
                    <a:lnTo>
                      <a:pt x="523178" y="960219"/>
                    </a:lnTo>
                    <a:close/>
                  </a:path>
                </a:pathLst>
              </a:custGeom>
              <a:solidFill>
                <a:srgbClr val="061F79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35" name="Freeform: Shape 2534">
                <a:extLst>
                  <a:ext uri="{FF2B5EF4-FFF2-40B4-BE49-F238E27FC236}">
                    <a16:creationId xmlns:a16="http://schemas.microsoft.com/office/drawing/2014/main" id="{C5D0528C-7427-5CC0-7F79-5C5208736675}"/>
                  </a:ext>
                </a:extLst>
              </p:cNvPr>
              <p:cNvSpPr/>
              <p:nvPr/>
            </p:nvSpPr>
            <p:spPr>
              <a:xfrm>
                <a:off x="2337178" y="2289805"/>
                <a:ext cx="45009" cy="6254"/>
              </a:xfrm>
              <a:custGeom>
                <a:avLst/>
                <a:gdLst>
                  <a:gd name="connsiteX0" fmla="*/ 247469 w 247469"/>
                  <a:gd name="connsiteY0" fmla="*/ 32615 h 34388"/>
                  <a:gd name="connsiteX1" fmla="*/ 0 w 247469"/>
                  <a:gd name="connsiteY1" fmla="*/ 34388 h 34388"/>
                  <a:gd name="connsiteX2" fmla="*/ 0 w 247469"/>
                  <a:gd name="connsiteY2" fmla="*/ 0 h 34388"/>
                  <a:gd name="connsiteX3" fmla="*/ 247469 w 247469"/>
                  <a:gd name="connsiteY3" fmla="*/ 345 h 34388"/>
                  <a:gd name="connsiteX4" fmla="*/ 247469 w 247469"/>
                  <a:gd name="connsiteY4" fmla="*/ 32615 h 34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7469" h="34388">
                    <a:moveTo>
                      <a:pt x="247469" y="32615"/>
                    </a:moveTo>
                    <a:lnTo>
                      <a:pt x="0" y="34388"/>
                    </a:lnTo>
                    <a:lnTo>
                      <a:pt x="0" y="0"/>
                    </a:lnTo>
                    <a:lnTo>
                      <a:pt x="247469" y="345"/>
                    </a:lnTo>
                    <a:lnTo>
                      <a:pt x="247469" y="32615"/>
                    </a:lnTo>
                    <a:close/>
                  </a:path>
                </a:pathLst>
              </a:custGeom>
              <a:solidFill>
                <a:srgbClr val="0054B9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36" name="Freeform: Shape 2535">
                <a:extLst>
                  <a:ext uri="{FF2B5EF4-FFF2-40B4-BE49-F238E27FC236}">
                    <a16:creationId xmlns:a16="http://schemas.microsoft.com/office/drawing/2014/main" id="{A1106860-DB83-1675-EC86-BC30D36DF656}"/>
                  </a:ext>
                </a:extLst>
              </p:cNvPr>
              <p:cNvSpPr/>
              <p:nvPr/>
            </p:nvSpPr>
            <p:spPr>
              <a:xfrm>
                <a:off x="2315449" y="2352350"/>
                <a:ext cx="32832" cy="42169"/>
              </a:xfrm>
              <a:custGeom>
                <a:avLst/>
                <a:gdLst>
                  <a:gd name="connsiteX0" fmla="*/ 0 w 180515"/>
                  <a:gd name="connsiteY0" fmla="*/ 115236 h 231851"/>
                  <a:gd name="connsiteX1" fmla="*/ 180515 w 180515"/>
                  <a:gd name="connsiteY1" fmla="*/ 0 h 231851"/>
                  <a:gd name="connsiteX2" fmla="*/ 0 w 180515"/>
                  <a:gd name="connsiteY2" fmla="*/ 231852 h 231851"/>
                  <a:gd name="connsiteX3" fmla="*/ 0 w 180515"/>
                  <a:gd name="connsiteY3" fmla="*/ 115236 h 23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515" h="231851">
                    <a:moveTo>
                      <a:pt x="0" y="115236"/>
                    </a:moveTo>
                    <a:lnTo>
                      <a:pt x="180515" y="0"/>
                    </a:lnTo>
                    <a:lnTo>
                      <a:pt x="0" y="231852"/>
                    </a:lnTo>
                    <a:lnTo>
                      <a:pt x="0" y="115236"/>
                    </a:lnTo>
                    <a:close/>
                  </a:path>
                </a:pathLst>
              </a:custGeom>
              <a:solidFill>
                <a:srgbClr val="0054B9">
                  <a:alpha val="50000"/>
                </a:srgbClr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537" name="Graphic 2463">
                <a:extLst>
                  <a:ext uri="{FF2B5EF4-FFF2-40B4-BE49-F238E27FC236}">
                    <a16:creationId xmlns:a16="http://schemas.microsoft.com/office/drawing/2014/main" id="{F07F6777-B7E9-D517-DA0B-0C1CD42ACF79}"/>
                  </a:ext>
                </a:extLst>
              </p:cNvPr>
              <p:cNvGrpSpPr/>
              <p:nvPr/>
            </p:nvGrpSpPr>
            <p:grpSpPr>
              <a:xfrm>
                <a:off x="1772718" y="1938930"/>
                <a:ext cx="591927" cy="592376"/>
                <a:chOff x="-6284984" y="1032993"/>
                <a:chExt cx="3254533" cy="3257004"/>
              </a:xfrm>
            </p:grpSpPr>
            <p:grpSp>
              <p:nvGrpSpPr>
                <p:cNvPr id="2538" name="Graphic 2463">
                  <a:extLst>
                    <a:ext uri="{FF2B5EF4-FFF2-40B4-BE49-F238E27FC236}">
                      <a16:creationId xmlns:a16="http://schemas.microsoft.com/office/drawing/2014/main" id="{D59F22A8-FA05-259B-7D46-35FB9E7DBCC6}"/>
                    </a:ext>
                  </a:extLst>
                </p:cNvPr>
                <p:cNvGrpSpPr/>
                <p:nvPr/>
              </p:nvGrpSpPr>
              <p:grpSpPr>
                <a:xfrm>
                  <a:off x="-4658354" y="2660413"/>
                  <a:ext cx="1627904" cy="1629584"/>
                  <a:chOff x="-4658354" y="2660413"/>
                  <a:chExt cx="1627904" cy="1629584"/>
                </a:xfrm>
              </p:grpSpPr>
              <p:sp>
                <p:nvSpPr>
                  <p:cNvPr id="2539" name="Freeform: Shape 2538">
                    <a:extLst>
                      <a:ext uri="{FF2B5EF4-FFF2-40B4-BE49-F238E27FC236}">
                        <a16:creationId xmlns:a16="http://schemas.microsoft.com/office/drawing/2014/main" id="{8448D3C3-167D-103F-B2AA-1F56EC2EC40C}"/>
                      </a:ext>
                    </a:extLst>
                  </p:cNvPr>
                  <p:cNvSpPr/>
                  <p:nvPr/>
                </p:nvSpPr>
                <p:spPr>
                  <a:xfrm>
                    <a:off x="-4658354" y="2660413"/>
                    <a:ext cx="455130" cy="455327"/>
                  </a:xfrm>
                  <a:custGeom>
                    <a:avLst/>
                    <a:gdLst>
                      <a:gd name="connsiteX0" fmla="*/ 0 w 455130"/>
                      <a:gd name="connsiteY0" fmla="*/ 186279 h 455327"/>
                      <a:gd name="connsiteX1" fmla="*/ 45868 w 455130"/>
                      <a:gd name="connsiteY1" fmla="*/ 232197 h 455327"/>
                      <a:gd name="connsiteX2" fmla="*/ 268704 w 455130"/>
                      <a:gd name="connsiteY2" fmla="*/ 455328 h 455327"/>
                      <a:gd name="connsiteX3" fmla="*/ 455131 w 455130"/>
                      <a:gd name="connsiteY3" fmla="*/ 268999 h 455327"/>
                      <a:gd name="connsiteX4" fmla="*/ 232295 w 455130"/>
                      <a:gd name="connsiteY4" fmla="*/ 45917 h 455327"/>
                      <a:gd name="connsiteX5" fmla="*/ 186477 w 455130"/>
                      <a:gd name="connsiteY5" fmla="*/ 0 h 455327"/>
                      <a:gd name="connsiteX6" fmla="*/ 124302 w 455130"/>
                      <a:gd name="connsiteY6" fmla="*/ 62077 h 455327"/>
                      <a:gd name="connsiteX7" fmla="*/ 62175 w 455130"/>
                      <a:gd name="connsiteY7" fmla="*/ 124154 h 455327"/>
                      <a:gd name="connsiteX8" fmla="*/ 53899 w 455130"/>
                      <a:gd name="connsiteY8" fmla="*/ 132480 h 455327"/>
                      <a:gd name="connsiteX9" fmla="*/ 49 w 455130"/>
                      <a:gd name="connsiteY9" fmla="*/ 186230 h 455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455130" h="455327">
                        <a:moveTo>
                          <a:pt x="0" y="186279"/>
                        </a:moveTo>
                        <a:lnTo>
                          <a:pt x="45868" y="232197"/>
                        </a:lnTo>
                        <a:lnTo>
                          <a:pt x="268704" y="455328"/>
                        </a:lnTo>
                        <a:lnTo>
                          <a:pt x="455131" y="268999"/>
                        </a:lnTo>
                        <a:lnTo>
                          <a:pt x="232295" y="45917"/>
                        </a:lnTo>
                        <a:lnTo>
                          <a:pt x="186477" y="0"/>
                        </a:lnTo>
                        <a:lnTo>
                          <a:pt x="124302" y="62077"/>
                        </a:lnTo>
                        <a:lnTo>
                          <a:pt x="62175" y="124154"/>
                        </a:lnTo>
                        <a:lnTo>
                          <a:pt x="53899" y="132480"/>
                        </a:lnTo>
                        <a:lnTo>
                          <a:pt x="49" y="186230"/>
                        </a:lnTo>
                        <a:close/>
                      </a:path>
                    </a:pathLst>
                  </a:custGeom>
                  <a:solidFill>
                    <a:srgbClr val="2B2E3F"/>
                  </a:solidFill>
                  <a:ln w="492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40" name="Freeform: Shape 2539">
                    <a:extLst>
                      <a:ext uri="{FF2B5EF4-FFF2-40B4-BE49-F238E27FC236}">
                        <a16:creationId xmlns:a16="http://schemas.microsoft.com/office/drawing/2014/main" id="{1A642415-547C-7A35-799B-1B380877ED4D}"/>
                      </a:ext>
                    </a:extLst>
                  </p:cNvPr>
                  <p:cNvSpPr/>
                  <p:nvPr/>
                </p:nvSpPr>
                <p:spPr>
                  <a:xfrm>
                    <a:off x="-4408668" y="2910493"/>
                    <a:ext cx="1378217" cy="1379504"/>
                  </a:xfrm>
                  <a:custGeom>
                    <a:avLst/>
                    <a:gdLst>
                      <a:gd name="connsiteX0" fmla="*/ 0 w 1378217"/>
                      <a:gd name="connsiteY0" fmla="*/ 312650 h 1379504"/>
                      <a:gd name="connsiteX1" fmla="*/ 1018896 w 1378217"/>
                      <a:gd name="connsiteY1" fmla="*/ 1333024 h 1379504"/>
                      <a:gd name="connsiteX2" fmla="*/ 1181823 w 1378217"/>
                      <a:gd name="connsiteY2" fmla="*/ 1370467 h 1379504"/>
                      <a:gd name="connsiteX3" fmla="*/ 1182808 w 1378217"/>
                      <a:gd name="connsiteY3" fmla="*/ 1370073 h 1379504"/>
                      <a:gd name="connsiteX4" fmla="*/ 1296221 w 1378217"/>
                      <a:gd name="connsiteY4" fmla="*/ 1297650 h 1379504"/>
                      <a:gd name="connsiteX5" fmla="*/ 1305878 w 1378217"/>
                      <a:gd name="connsiteY5" fmla="*/ 1287501 h 1379504"/>
                      <a:gd name="connsiteX6" fmla="*/ 1338443 w 1378217"/>
                      <a:gd name="connsiteY6" fmla="*/ 1245279 h 1379504"/>
                      <a:gd name="connsiteX7" fmla="*/ 1368694 w 1378217"/>
                      <a:gd name="connsiteY7" fmla="*/ 1184384 h 1379504"/>
                      <a:gd name="connsiteX8" fmla="*/ 1369137 w 1378217"/>
                      <a:gd name="connsiteY8" fmla="*/ 1183350 h 1379504"/>
                      <a:gd name="connsiteX9" fmla="*/ 1331841 w 1378217"/>
                      <a:gd name="connsiteY9" fmla="*/ 1020423 h 1379504"/>
                      <a:gd name="connsiteX10" fmla="*/ 312946 w 1378217"/>
                      <a:gd name="connsiteY10" fmla="*/ 0 h 1379504"/>
                      <a:gd name="connsiteX11" fmla="*/ 205543 w 1378217"/>
                      <a:gd name="connsiteY11" fmla="*/ 18869 h 1379504"/>
                      <a:gd name="connsiteX12" fmla="*/ 19116 w 1378217"/>
                      <a:gd name="connsiteY12" fmla="*/ 205198 h 1379504"/>
                      <a:gd name="connsiteX13" fmla="*/ 49 w 1378217"/>
                      <a:gd name="connsiteY13" fmla="*/ 312551 h 13795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378217" h="1379504">
                        <a:moveTo>
                          <a:pt x="0" y="312650"/>
                        </a:moveTo>
                        <a:lnTo>
                          <a:pt x="1018896" y="1333024"/>
                        </a:lnTo>
                        <a:cubicBezTo>
                          <a:pt x="1061512" y="1375689"/>
                          <a:pt x="1125067" y="1391011"/>
                          <a:pt x="1181823" y="1370467"/>
                        </a:cubicBezTo>
                        <a:cubicBezTo>
                          <a:pt x="1182167" y="1370319"/>
                          <a:pt x="1182463" y="1370172"/>
                          <a:pt x="1182808" y="1370073"/>
                        </a:cubicBezTo>
                        <a:cubicBezTo>
                          <a:pt x="1225867" y="1354258"/>
                          <a:pt x="1264444" y="1329378"/>
                          <a:pt x="1296221" y="1297650"/>
                        </a:cubicBezTo>
                        <a:cubicBezTo>
                          <a:pt x="1299522" y="1294300"/>
                          <a:pt x="1302774" y="1290949"/>
                          <a:pt x="1305878" y="1287501"/>
                        </a:cubicBezTo>
                        <a:cubicBezTo>
                          <a:pt x="1317899" y="1274396"/>
                          <a:pt x="1328787" y="1260305"/>
                          <a:pt x="1338443" y="1245279"/>
                        </a:cubicBezTo>
                        <a:cubicBezTo>
                          <a:pt x="1350612" y="1226262"/>
                          <a:pt x="1360810" y="1205963"/>
                          <a:pt x="1368694" y="1184384"/>
                        </a:cubicBezTo>
                        <a:cubicBezTo>
                          <a:pt x="1368841" y="1184040"/>
                          <a:pt x="1368989" y="1183695"/>
                          <a:pt x="1369137" y="1183350"/>
                        </a:cubicBezTo>
                        <a:cubicBezTo>
                          <a:pt x="1389730" y="1126643"/>
                          <a:pt x="1374457" y="1063088"/>
                          <a:pt x="1331841" y="1020423"/>
                        </a:cubicBezTo>
                        <a:lnTo>
                          <a:pt x="312946" y="0"/>
                        </a:lnTo>
                        <a:cubicBezTo>
                          <a:pt x="275207" y="0"/>
                          <a:pt x="239045" y="6602"/>
                          <a:pt x="205543" y="18869"/>
                        </a:cubicBezTo>
                        <a:lnTo>
                          <a:pt x="19116" y="205198"/>
                        </a:lnTo>
                        <a:cubicBezTo>
                          <a:pt x="6799" y="238700"/>
                          <a:pt x="99" y="274862"/>
                          <a:pt x="49" y="312551"/>
                        </a:cubicBezTo>
                        <a:close/>
                      </a:path>
                    </a:pathLst>
                  </a:custGeom>
                  <a:solidFill>
                    <a:schemeClr val="accent3"/>
                  </a:solidFill>
                  <a:ln w="492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2541" name="Freeform: Shape 2540">
                  <a:extLst>
                    <a:ext uri="{FF2B5EF4-FFF2-40B4-BE49-F238E27FC236}">
                      <a16:creationId xmlns:a16="http://schemas.microsoft.com/office/drawing/2014/main" id="{3CAA99AE-7BFD-90EE-F5F7-83E90878CB33}"/>
                    </a:ext>
                  </a:extLst>
                </p:cNvPr>
                <p:cNvSpPr/>
                <p:nvPr/>
              </p:nvSpPr>
              <p:spPr>
                <a:xfrm>
                  <a:off x="-4658354" y="2784172"/>
                  <a:ext cx="1575172" cy="1505780"/>
                </a:xfrm>
                <a:custGeom>
                  <a:avLst/>
                  <a:gdLst>
                    <a:gd name="connsiteX0" fmla="*/ 45868 w 1575172"/>
                    <a:gd name="connsiteY0" fmla="*/ 108437 h 1505780"/>
                    <a:gd name="connsiteX1" fmla="*/ 268753 w 1575172"/>
                    <a:gd name="connsiteY1" fmla="*/ 331568 h 1505780"/>
                    <a:gd name="connsiteX2" fmla="*/ 249736 w 1575172"/>
                    <a:gd name="connsiteY2" fmla="*/ 438922 h 1505780"/>
                    <a:gd name="connsiteX3" fmla="*/ 1268583 w 1575172"/>
                    <a:gd name="connsiteY3" fmla="*/ 1459296 h 1505780"/>
                    <a:gd name="connsiteX4" fmla="*/ 1431509 w 1575172"/>
                    <a:gd name="connsiteY4" fmla="*/ 1496689 h 1505780"/>
                    <a:gd name="connsiteX5" fmla="*/ 1432494 w 1575172"/>
                    <a:gd name="connsiteY5" fmla="*/ 1496345 h 1505780"/>
                    <a:gd name="connsiteX6" fmla="*/ 1545858 w 1575172"/>
                    <a:gd name="connsiteY6" fmla="*/ 1423872 h 1505780"/>
                    <a:gd name="connsiteX7" fmla="*/ 1555564 w 1575172"/>
                    <a:gd name="connsiteY7" fmla="*/ 1413773 h 1505780"/>
                    <a:gd name="connsiteX8" fmla="*/ 1575173 w 1575172"/>
                    <a:gd name="connsiteY8" fmla="*/ 1390174 h 1505780"/>
                    <a:gd name="connsiteX9" fmla="*/ 1495015 w 1575172"/>
                    <a:gd name="connsiteY9" fmla="*/ 1433775 h 1505780"/>
                    <a:gd name="connsiteX10" fmla="*/ 1493980 w 1575172"/>
                    <a:gd name="connsiteY10" fmla="*/ 1434170 h 1505780"/>
                    <a:gd name="connsiteX11" fmla="*/ 1331053 w 1575172"/>
                    <a:gd name="connsiteY11" fmla="*/ 1396775 h 1505780"/>
                    <a:gd name="connsiteX12" fmla="*/ 312206 w 1575172"/>
                    <a:gd name="connsiteY12" fmla="*/ 376402 h 1505780"/>
                    <a:gd name="connsiteX13" fmla="*/ 331273 w 1575172"/>
                    <a:gd name="connsiteY13" fmla="*/ 268999 h 1505780"/>
                    <a:gd name="connsiteX14" fmla="*/ 108388 w 1575172"/>
                    <a:gd name="connsiteY14" fmla="*/ 45917 h 1505780"/>
                    <a:gd name="connsiteX15" fmla="*/ 62520 w 1575172"/>
                    <a:gd name="connsiteY15" fmla="*/ 0 h 1505780"/>
                    <a:gd name="connsiteX16" fmla="*/ 53800 w 1575172"/>
                    <a:gd name="connsiteY16" fmla="*/ 8720 h 1505780"/>
                    <a:gd name="connsiteX17" fmla="*/ 0 w 1575172"/>
                    <a:gd name="connsiteY17" fmla="*/ 62471 h 1505780"/>
                    <a:gd name="connsiteX18" fmla="*/ 45868 w 1575172"/>
                    <a:gd name="connsiteY18" fmla="*/ 108388 h 15057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575172" h="1505780">
                      <a:moveTo>
                        <a:pt x="45868" y="108437"/>
                      </a:moveTo>
                      <a:lnTo>
                        <a:pt x="268753" y="331568"/>
                      </a:lnTo>
                      <a:cubicBezTo>
                        <a:pt x="256486" y="365021"/>
                        <a:pt x="249785" y="401232"/>
                        <a:pt x="249736" y="438922"/>
                      </a:cubicBezTo>
                      <a:lnTo>
                        <a:pt x="1268583" y="1459296"/>
                      </a:lnTo>
                      <a:cubicBezTo>
                        <a:pt x="1311198" y="1501961"/>
                        <a:pt x="1374803" y="1517333"/>
                        <a:pt x="1431509" y="1496689"/>
                      </a:cubicBezTo>
                      <a:cubicBezTo>
                        <a:pt x="1431854" y="1496591"/>
                        <a:pt x="1432150" y="1496493"/>
                        <a:pt x="1432494" y="1496345"/>
                      </a:cubicBezTo>
                      <a:cubicBezTo>
                        <a:pt x="1475505" y="1480530"/>
                        <a:pt x="1514131" y="1455650"/>
                        <a:pt x="1545858" y="1423872"/>
                      </a:cubicBezTo>
                      <a:cubicBezTo>
                        <a:pt x="1549209" y="1420572"/>
                        <a:pt x="1552411" y="1417221"/>
                        <a:pt x="1555564" y="1413773"/>
                      </a:cubicBezTo>
                      <a:cubicBezTo>
                        <a:pt x="1562461" y="1406235"/>
                        <a:pt x="1569014" y="1398352"/>
                        <a:pt x="1575173" y="1390174"/>
                      </a:cubicBezTo>
                      <a:cubicBezTo>
                        <a:pt x="1550982" y="1408403"/>
                        <a:pt x="1523984" y="1423134"/>
                        <a:pt x="1495015" y="1433775"/>
                      </a:cubicBezTo>
                      <a:cubicBezTo>
                        <a:pt x="1494670" y="1433874"/>
                        <a:pt x="1494374" y="1434071"/>
                        <a:pt x="1493980" y="1434170"/>
                      </a:cubicBezTo>
                      <a:cubicBezTo>
                        <a:pt x="1437323" y="1454763"/>
                        <a:pt x="1373719" y="1439441"/>
                        <a:pt x="1331053" y="1396775"/>
                      </a:cubicBezTo>
                      <a:lnTo>
                        <a:pt x="312206" y="376402"/>
                      </a:lnTo>
                      <a:cubicBezTo>
                        <a:pt x="312256" y="338663"/>
                        <a:pt x="318957" y="302452"/>
                        <a:pt x="331273" y="268999"/>
                      </a:cubicBezTo>
                      <a:lnTo>
                        <a:pt x="108388" y="45917"/>
                      </a:lnTo>
                      <a:lnTo>
                        <a:pt x="62520" y="0"/>
                      </a:lnTo>
                      <a:lnTo>
                        <a:pt x="53800" y="8720"/>
                      </a:lnTo>
                      <a:lnTo>
                        <a:pt x="0" y="62471"/>
                      </a:lnTo>
                      <a:lnTo>
                        <a:pt x="45868" y="108388"/>
                      </a:lnTo>
                      <a:close/>
                    </a:path>
                  </a:pathLst>
                </a:custGeom>
                <a:solidFill>
                  <a:srgbClr val="999999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42" name="Freeform: Shape 2541">
                  <a:extLst>
                    <a:ext uri="{FF2B5EF4-FFF2-40B4-BE49-F238E27FC236}">
                      <a16:creationId xmlns:a16="http://schemas.microsoft.com/office/drawing/2014/main" id="{72941D4D-9B06-F83B-21FC-33BBA6F88F4B}"/>
                    </a:ext>
                  </a:extLst>
                </p:cNvPr>
                <p:cNvSpPr/>
                <p:nvPr/>
              </p:nvSpPr>
              <p:spPr>
                <a:xfrm>
                  <a:off x="-6284984" y="1032993"/>
                  <a:ext cx="2075954" cy="2076002"/>
                </a:xfrm>
                <a:custGeom>
                  <a:avLst/>
                  <a:gdLst>
                    <a:gd name="connsiteX0" fmla="*/ 380415 w 2075954"/>
                    <a:gd name="connsiteY0" fmla="*/ 234734 h 2076002"/>
                    <a:gd name="connsiteX1" fmla="*/ 304395 w 2075954"/>
                    <a:gd name="connsiteY1" fmla="*/ 303609 h 2076002"/>
                    <a:gd name="connsiteX2" fmla="*/ 234682 w 2075954"/>
                    <a:gd name="connsiteY2" fmla="*/ 380515 h 2076002"/>
                    <a:gd name="connsiteX3" fmla="*/ 234534 w 2075954"/>
                    <a:gd name="connsiteY3" fmla="*/ 380713 h 2076002"/>
                    <a:gd name="connsiteX4" fmla="*/ 303656 w 2075954"/>
                    <a:gd name="connsiteY4" fmla="*/ 1771576 h 2076002"/>
                    <a:gd name="connsiteX5" fmla="*/ 1672547 w 2075954"/>
                    <a:gd name="connsiteY5" fmla="*/ 1859666 h 2076002"/>
                    <a:gd name="connsiteX6" fmla="*/ 1732505 w 2075954"/>
                    <a:gd name="connsiteY6" fmla="*/ 1809561 h 2076002"/>
                    <a:gd name="connsiteX7" fmla="*/ 1771623 w 2075954"/>
                    <a:gd name="connsiteY7" fmla="*/ 1772413 h 2076002"/>
                    <a:gd name="connsiteX8" fmla="*/ 1858974 w 2075954"/>
                    <a:gd name="connsiteY8" fmla="*/ 1673386 h 2076002"/>
                    <a:gd name="connsiteX9" fmla="*/ 2029537 w 2075954"/>
                    <a:gd name="connsiteY9" fmla="*/ 1345858 h 2076002"/>
                    <a:gd name="connsiteX10" fmla="*/ 2043529 w 2075954"/>
                    <a:gd name="connsiteY10" fmla="*/ 1296393 h 2076002"/>
                    <a:gd name="connsiteX11" fmla="*/ 2065945 w 2075954"/>
                    <a:gd name="connsiteY11" fmla="*/ 1182882 h 2076002"/>
                    <a:gd name="connsiteX12" fmla="*/ 2066635 w 2075954"/>
                    <a:gd name="connsiteY12" fmla="*/ 1177807 h 2076002"/>
                    <a:gd name="connsiteX13" fmla="*/ 2069394 w 2075954"/>
                    <a:gd name="connsiteY13" fmla="*/ 1155243 h 2076002"/>
                    <a:gd name="connsiteX14" fmla="*/ 2069936 w 2075954"/>
                    <a:gd name="connsiteY14" fmla="*/ 1150168 h 2076002"/>
                    <a:gd name="connsiteX15" fmla="*/ 2075947 w 2075954"/>
                    <a:gd name="connsiteY15" fmla="*/ 1034981 h 2076002"/>
                    <a:gd name="connsiteX16" fmla="*/ 2074518 w 2075954"/>
                    <a:gd name="connsiteY16" fmla="*/ 983990 h 2076002"/>
                    <a:gd name="connsiteX17" fmla="*/ 1772313 w 2075954"/>
                    <a:gd name="connsiteY17" fmla="*/ 304447 h 2076002"/>
                    <a:gd name="connsiteX18" fmla="*/ 380365 w 2075954"/>
                    <a:gd name="connsiteY18" fmla="*/ 234783 h 2076002"/>
                    <a:gd name="connsiteX19" fmla="*/ 1656190 w 2075954"/>
                    <a:gd name="connsiteY19" fmla="*/ 420471 h 2076002"/>
                    <a:gd name="connsiteX20" fmla="*/ 1908881 w 2075954"/>
                    <a:gd name="connsiteY20" fmla="*/ 966993 h 2076002"/>
                    <a:gd name="connsiteX21" fmla="*/ 1911542 w 2075954"/>
                    <a:gd name="connsiteY21" fmla="*/ 1018083 h 2076002"/>
                    <a:gd name="connsiteX22" fmla="*/ 1906467 w 2075954"/>
                    <a:gd name="connsiteY22" fmla="*/ 1134255 h 2076002"/>
                    <a:gd name="connsiteX23" fmla="*/ 1906024 w 2075954"/>
                    <a:gd name="connsiteY23" fmla="*/ 1138541 h 2076002"/>
                    <a:gd name="connsiteX24" fmla="*/ 1903166 w 2075954"/>
                    <a:gd name="connsiteY24" fmla="*/ 1160909 h 2076002"/>
                    <a:gd name="connsiteX25" fmla="*/ 1902575 w 2075954"/>
                    <a:gd name="connsiteY25" fmla="*/ 1165293 h 2076002"/>
                    <a:gd name="connsiteX26" fmla="*/ 1877991 w 2075954"/>
                    <a:gd name="connsiteY26" fmla="*/ 1279347 h 2076002"/>
                    <a:gd name="connsiteX27" fmla="*/ 1862275 w 2075954"/>
                    <a:gd name="connsiteY27" fmla="*/ 1328663 h 2076002"/>
                    <a:gd name="connsiteX28" fmla="*/ 1655598 w 2075954"/>
                    <a:gd name="connsiteY28" fmla="*/ 1656192 h 2076002"/>
                    <a:gd name="connsiteX29" fmla="*/ 1613278 w 2075954"/>
                    <a:gd name="connsiteY29" fmla="*/ 1695803 h 2076002"/>
                    <a:gd name="connsiteX30" fmla="*/ 1283828 w 2075954"/>
                    <a:gd name="connsiteY30" fmla="*/ 1876663 h 2076002"/>
                    <a:gd name="connsiteX31" fmla="*/ 419927 w 2075954"/>
                    <a:gd name="connsiteY31" fmla="*/ 1655552 h 2076002"/>
                    <a:gd name="connsiteX32" fmla="*/ 353810 w 2075954"/>
                    <a:gd name="connsiteY32" fmla="*/ 494520 h 2076002"/>
                    <a:gd name="connsiteX33" fmla="*/ 420568 w 2075954"/>
                    <a:gd name="connsiteY33" fmla="*/ 419831 h 2076002"/>
                    <a:gd name="connsiteX34" fmla="*/ 1277078 w 2075954"/>
                    <a:gd name="connsiteY34" fmla="*/ 197438 h 2076002"/>
                    <a:gd name="connsiteX35" fmla="*/ 1656239 w 2075954"/>
                    <a:gd name="connsiteY35" fmla="*/ 420471 h 20760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2075954" h="2076002">
                      <a:moveTo>
                        <a:pt x="380415" y="234734"/>
                      </a:moveTo>
                      <a:cubicBezTo>
                        <a:pt x="354205" y="256214"/>
                        <a:pt x="328881" y="279173"/>
                        <a:pt x="304395" y="303609"/>
                      </a:cubicBezTo>
                      <a:cubicBezTo>
                        <a:pt x="279663" y="328341"/>
                        <a:pt x="256409" y="354010"/>
                        <a:pt x="234682" y="380515"/>
                      </a:cubicBezTo>
                      <a:cubicBezTo>
                        <a:pt x="234633" y="380565"/>
                        <a:pt x="234584" y="380614"/>
                        <a:pt x="234534" y="380713"/>
                      </a:cubicBezTo>
                      <a:cubicBezTo>
                        <a:pt x="-99694" y="788251"/>
                        <a:pt x="-76736" y="1390789"/>
                        <a:pt x="303656" y="1771576"/>
                      </a:cubicBezTo>
                      <a:cubicBezTo>
                        <a:pt x="677250" y="2145613"/>
                        <a:pt x="1265205" y="2174976"/>
                        <a:pt x="1672547" y="1859666"/>
                      </a:cubicBezTo>
                      <a:cubicBezTo>
                        <a:pt x="1692993" y="1843851"/>
                        <a:pt x="1712995" y="1827100"/>
                        <a:pt x="1732505" y="1809561"/>
                      </a:cubicBezTo>
                      <a:cubicBezTo>
                        <a:pt x="1745807" y="1797589"/>
                        <a:pt x="1758863" y="1785174"/>
                        <a:pt x="1771623" y="1772413"/>
                      </a:cubicBezTo>
                      <a:cubicBezTo>
                        <a:pt x="1803204" y="1740833"/>
                        <a:pt x="1832320" y="1707775"/>
                        <a:pt x="1858974" y="1673386"/>
                      </a:cubicBezTo>
                      <a:cubicBezTo>
                        <a:pt x="1936718" y="1573226"/>
                        <a:pt x="1993572" y="1462079"/>
                        <a:pt x="2029537" y="1345858"/>
                      </a:cubicBezTo>
                      <a:cubicBezTo>
                        <a:pt x="2034612" y="1329452"/>
                        <a:pt x="2039292" y="1312996"/>
                        <a:pt x="2043529" y="1296393"/>
                      </a:cubicBezTo>
                      <a:cubicBezTo>
                        <a:pt x="2053136" y="1258901"/>
                        <a:pt x="2060576" y="1221064"/>
                        <a:pt x="2065945" y="1182882"/>
                      </a:cubicBezTo>
                      <a:cubicBezTo>
                        <a:pt x="2066143" y="1181207"/>
                        <a:pt x="2066389" y="1179482"/>
                        <a:pt x="2066635" y="1177807"/>
                      </a:cubicBezTo>
                      <a:cubicBezTo>
                        <a:pt x="2067670" y="1170269"/>
                        <a:pt x="2068557" y="1162781"/>
                        <a:pt x="2069394" y="1155243"/>
                      </a:cubicBezTo>
                      <a:cubicBezTo>
                        <a:pt x="2069591" y="1153568"/>
                        <a:pt x="2069739" y="1151843"/>
                        <a:pt x="2069936" y="1150168"/>
                      </a:cubicBezTo>
                      <a:cubicBezTo>
                        <a:pt x="2074075" y="1111888"/>
                        <a:pt x="2076095" y="1073410"/>
                        <a:pt x="2075947" y="1034981"/>
                      </a:cubicBezTo>
                      <a:cubicBezTo>
                        <a:pt x="2075947" y="1017984"/>
                        <a:pt x="2075504" y="1001036"/>
                        <a:pt x="2074518" y="983990"/>
                      </a:cubicBezTo>
                      <a:cubicBezTo>
                        <a:pt x="2061758" y="736816"/>
                        <a:pt x="1961006" y="493337"/>
                        <a:pt x="1772313" y="304447"/>
                      </a:cubicBezTo>
                      <a:cubicBezTo>
                        <a:pt x="1391575" y="-76685"/>
                        <a:pt x="788298" y="-100037"/>
                        <a:pt x="380365" y="234783"/>
                      </a:cubicBezTo>
                      <a:close/>
                      <a:moveTo>
                        <a:pt x="1656190" y="420471"/>
                      </a:moveTo>
                      <a:cubicBezTo>
                        <a:pt x="1808524" y="572953"/>
                        <a:pt x="1892722" y="767756"/>
                        <a:pt x="1908881" y="966993"/>
                      </a:cubicBezTo>
                      <a:cubicBezTo>
                        <a:pt x="1910310" y="983990"/>
                        <a:pt x="1911197" y="1000987"/>
                        <a:pt x="1911542" y="1018083"/>
                      </a:cubicBezTo>
                      <a:cubicBezTo>
                        <a:pt x="1912429" y="1056807"/>
                        <a:pt x="1910704" y="1095629"/>
                        <a:pt x="1906467" y="1134255"/>
                      </a:cubicBezTo>
                      <a:cubicBezTo>
                        <a:pt x="1906369" y="1135684"/>
                        <a:pt x="1906172" y="1137112"/>
                        <a:pt x="1906024" y="1138541"/>
                      </a:cubicBezTo>
                      <a:cubicBezTo>
                        <a:pt x="1905186" y="1146030"/>
                        <a:pt x="1904201" y="1153469"/>
                        <a:pt x="1903166" y="1160909"/>
                      </a:cubicBezTo>
                      <a:cubicBezTo>
                        <a:pt x="1902970" y="1162337"/>
                        <a:pt x="1902772" y="1163815"/>
                        <a:pt x="1902575" y="1165293"/>
                      </a:cubicBezTo>
                      <a:cubicBezTo>
                        <a:pt x="1896910" y="1203722"/>
                        <a:pt x="1888731" y="1241855"/>
                        <a:pt x="1877991" y="1279347"/>
                      </a:cubicBezTo>
                      <a:cubicBezTo>
                        <a:pt x="1873261" y="1295901"/>
                        <a:pt x="1868039" y="1312356"/>
                        <a:pt x="1862275" y="1328663"/>
                      </a:cubicBezTo>
                      <a:cubicBezTo>
                        <a:pt x="1820200" y="1448284"/>
                        <a:pt x="1751325" y="1560564"/>
                        <a:pt x="1655598" y="1656192"/>
                      </a:cubicBezTo>
                      <a:cubicBezTo>
                        <a:pt x="1641804" y="1669987"/>
                        <a:pt x="1627714" y="1683141"/>
                        <a:pt x="1613278" y="1695803"/>
                      </a:cubicBezTo>
                      <a:cubicBezTo>
                        <a:pt x="1515137" y="1781774"/>
                        <a:pt x="1402415" y="1842077"/>
                        <a:pt x="1283828" y="1876663"/>
                      </a:cubicBezTo>
                      <a:cubicBezTo>
                        <a:pt x="987239" y="1963275"/>
                        <a:pt x="653749" y="1889620"/>
                        <a:pt x="419927" y="1655552"/>
                      </a:cubicBezTo>
                      <a:cubicBezTo>
                        <a:pt x="102745" y="1338024"/>
                        <a:pt x="80821" y="837371"/>
                        <a:pt x="353810" y="494520"/>
                      </a:cubicBezTo>
                      <a:cubicBezTo>
                        <a:pt x="374355" y="468654"/>
                        <a:pt x="396624" y="443725"/>
                        <a:pt x="420568" y="419831"/>
                      </a:cubicBezTo>
                      <a:cubicBezTo>
                        <a:pt x="652665" y="188028"/>
                        <a:pt x="982509" y="113930"/>
                        <a:pt x="1277078" y="197438"/>
                      </a:cubicBezTo>
                      <a:cubicBezTo>
                        <a:pt x="1416012" y="236803"/>
                        <a:pt x="1546965" y="311098"/>
                        <a:pt x="1656239" y="420471"/>
                      </a:cubicBezTo>
                      <a:close/>
                    </a:path>
                  </a:pathLst>
                </a:custGeom>
                <a:solidFill>
                  <a:srgbClr val="2B2E3F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43" name="Freeform: Shape 2542">
                  <a:extLst>
                    <a:ext uri="{FF2B5EF4-FFF2-40B4-BE49-F238E27FC236}">
                      <a16:creationId xmlns:a16="http://schemas.microsoft.com/office/drawing/2014/main" id="{65D64076-CEFA-8A90-3FD9-588D1D5787E9}"/>
                    </a:ext>
                  </a:extLst>
                </p:cNvPr>
                <p:cNvSpPr/>
                <p:nvPr/>
              </p:nvSpPr>
              <p:spPr>
                <a:xfrm>
                  <a:off x="-6130657" y="1187372"/>
                  <a:ext cx="1767265" cy="1767265"/>
                </a:xfrm>
                <a:custGeom>
                  <a:avLst/>
                  <a:gdLst>
                    <a:gd name="connsiteX0" fmla="*/ 259146 w 1767265"/>
                    <a:gd name="connsiteY0" fmla="*/ 258456 h 1767265"/>
                    <a:gd name="connsiteX1" fmla="*/ 258456 w 1767265"/>
                    <a:gd name="connsiteY1" fmla="*/ 1508120 h 1767265"/>
                    <a:gd name="connsiteX2" fmla="*/ 1508120 w 1767265"/>
                    <a:gd name="connsiteY2" fmla="*/ 1508810 h 1767265"/>
                    <a:gd name="connsiteX3" fmla="*/ 1508810 w 1767265"/>
                    <a:gd name="connsiteY3" fmla="*/ 259146 h 1767265"/>
                    <a:gd name="connsiteX4" fmla="*/ 259146 w 1767265"/>
                    <a:gd name="connsiteY4" fmla="*/ 258456 h 1767265"/>
                    <a:gd name="connsiteX5" fmla="*/ 1501863 w 1767265"/>
                    <a:gd name="connsiteY5" fmla="*/ 266092 h 1767265"/>
                    <a:gd name="connsiteX6" fmla="*/ 1501173 w 1767265"/>
                    <a:gd name="connsiteY6" fmla="*/ 1501764 h 1767265"/>
                    <a:gd name="connsiteX7" fmla="*/ 1129402 w 1767265"/>
                    <a:gd name="connsiteY7" fmla="*/ 1722235 h 1767265"/>
                    <a:gd name="connsiteX8" fmla="*/ 265501 w 1767265"/>
                    <a:gd name="connsiteY8" fmla="*/ 1501124 h 1767265"/>
                    <a:gd name="connsiteX9" fmla="*/ 266142 w 1767265"/>
                    <a:gd name="connsiteY9" fmla="*/ 265452 h 1767265"/>
                    <a:gd name="connsiteX10" fmla="*/ 1122702 w 1767265"/>
                    <a:gd name="connsiteY10" fmla="*/ 43060 h 1767265"/>
                    <a:gd name="connsiteX11" fmla="*/ 1501863 w 1767265"/>
                    <a:gd name="connsiteY11" fmla="*/ 266142 h 1767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767265" h="1767265">
                      <a:moveTo>
                        <a:pt x="259146" y="258456"/>
                      </a:moveTo>
                      <a:cubicBezTo>
                        <a:pt x="-86119" y="603327"/>
                        <a:pt x="-86415" y="1162805"/>
                        <a:pt x="258456" y="1508120"/>
                      </a:cubicBezTo>
                      <a:cubicBezTo>
                        <a:pt x="603376" y="1853385"/>
                        <a:pt x="1162855" y="1853680"/>
                        <a:pt x="1508120" y="1508810"/>
                      </a:cubicBezTo>
                      <a:cubicBezTo>
                        <a:pt x="1853385" y="1163890"/>
                        <a:pt x="1853680" y="604411"/>
                        <a:pt x="1508810" y="259146"/>
                      </a:cubicBezTo>
                      <a:cubicBezTo>
                        <a:pt x="1163939" y="-86119"/>
                        <a:pt x="604460" y="-86415"/>
                        <a:pt x="259146" y="258456"/>
                      </a:cubicBezTo>
                      <a:close/>
                      <a:moveTo>
                        <a:pt x="1501863" y="266092"/>
                      </a:moveTo>
                      <a:cubicBezTo>
                        <a:pt x="1842891" y="607515"/>
                        <a:pt x="1842595" y="1160687"/>
                        <a:pt x="1501173" y="1501764"/>
                      </a:cubicBezTo>
                      <a:cubicBezTo>
                        <a:pt x="1393771" y="1609019"/>
                        <a:pt x="1265479" y="1682526"/>
                        <a:pt x="1129402" y="1722235"/>
                      </a:cubicBezTo>
                      <a:cubicBezTo>
                        <a:pt x="832814" y="1808896"/>
                        <a:pt x="499324" y="1735193"/>
                        <a:pt x="265501" y="1501124"/>
                      </a:cubicBezTo>
                      <a:cubicBezTo>
                        <a:pt x="-75576" y="1159702"/>
                        <a:pt x="-75280" y="606480"/>
                        <a:pt x="266142" y="265452"/>
                      </a:cubicBezTo>
                      <a:cubicBezTo>
                        <a:pt x="498240" y="33650"/>
                        <a:pt x="828084" y="-40497"/>
                        <a:pt x="1122702" y="43060"/>
                      </a:cubicBezTo>
                      <a:cubicBezTo>
                        <a:pt x="1261587" y="82424"/>
                        <a:pt x="1392588" y="156768"/>
                        <a:pt x="1501863" y="266142"/>
                      </a:cubicBezTo>
                      <a:close/>
                    </a:path>
                  </a:pathLst>
                </a:custGeom>
                <a:solidFill>
                  <a:srgbClr val="999999">
                    <a:alpha val="5000"/>
                  </a:srgbClr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44" name="Freeform: Shape 2543">
                  <a:extLst>
                    <a:ext uri="{FF2B5EF4-FFF2-40B4-BE49-F238E27FC236}">
                      <a16:creationId xmlns:a16="http://schemas.microsoft.com/office/drawing/2014/main" id="{2DD1E5B8-9442-EB93-AB6C-440576184618}"/>
                    </a:ext>
                  </a:extLst>
                </p:cNvPr>
                <p:cNvSpPr/>
                <p:nvPr/>
              </p:nvSpPr>
              <p:spPr>
                <a:xfrm>
                  <a:off x="-6120772" y="1197227"/>
                  <a:ext cx="1747552" cy="1747503"/>
                </a:xfrm>
                <a:custGeom>
                  <a:avLst/>
                  <a:gdLst>
                    <a:gd name="connsiteX0" fmla="*/ 1112818 w 1747552"/>
                    <a:gd name="connsiteY0" fmla="*/ 33155 h 1747503"/>
                    <a:gd name="connsiteX1" fmla="*/ 1491978 w 1747552"/>
                    <a:gd name="connsiteY1" fmla="*/ 256237 h 1747503"/>
                    <a:gd name="connsiteX2" fmla="*/ 1491289 w 1747552"/>
                    <a:gd name="connsiteY2" fmla="*/ 1491909 h 1747503"/>
                    <a:gd name="connsiteX3" fmla="*/ 1119518 w 1747552"/>
                    <a:gd name="connsiteY3" fmla="*/ 1712380 h 1747503"/>
                    <a:gd name="connsiteX4" fmla="*/ 255617 w 1747552"/>
                    <a:gd name="connsiteY4" fmla="*/ 1491269 h 1747503"/>
                    <a:gd name="connsiteX5" fmla="*/ 256258 w 1747552"/>
                    <a:gd name="connsiteY5" fmla="*/ 255597 h 1747503"/>
                    <a:gd name="connsiteX6" fmla="*/ 1112818 w 1747552"/>
                    <a:gd name="connsiteY6" fmla="*/ 33205 h 1747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47552" h="1747503">
                      <a:moveTo>
                        <a:pt x="1112818" y="33155"/>
                      </a:moveTo>
                      <a:cubicBezTo>
                        <a:pt x="1251702" y="72520"/>
                        <a:pt x="1382704" y="146864"/>
                        <a:pt x="1491978" y="256237"/>
                      </a:cubicBezTo>
                      <a:cubicBezTo>
                        <a:pt x="1833007" y="597659"/>
                        <a:pt x="1832711" y="1150832"/>
                        <a:pt x="1491289" y="1491909"/>
                      </a:cubicBezTo>
                      <a:cubicBezTo>
                        <a:pt x="1383886" y="1599164"/>
                        <a:pt x="1255594" y="1672671"/>
                        <a:pt x="1119518" y="1712380"/>
                      </a:cubicBezTo>
                      <a:cubicBezTo>
                        <a:pt x="822930" y="1799041"/>
                        <a:pt x="489439" y="1725337"/>
                        <a:pt x="255617" y="1491269"/>
                      </a:cubicBezTo>
                      <a:cubicBezTo>
                        <a:pt x="-85460" y="1149847"/>
                        <a:pt x="-85165" y="596625"/>
                        <a:pt x="256258" y="255597"/>
                      </a:cubicBezTo>
                      <a:cubicBezTo>
                        <a:pt x="488355" y="23794"/>
                        <a:pt x="818200" y="-50353"/>
                        <a:pt x="1112818" y="3320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45" name="Freeform: Shape 2544">
                  <a:extLst>
                    <a:ext uri="{FF2B5EF4-FFF2-40B4-BE49-F238E27FC236}">
                      <a16:creationId xmlns:a16="http://schemas.microsoft.com/office/drawing/2014/main" id="{431B5C21-4287-82D7-49FE-DAC7C9EC7C29}"/>
                    </a:ext>
                  </a:extLst>
                </p:cNvPr>
                <p:cNvSpPr/>
                <p:nvPr/>
              </p:nvSpPr>
              <p:spPr>
                <a:xfrm rot="-1206600">
                  <a:off x="-5973198" y="2204778"/>
                  <a:ext cx="249095" cy="413056"/>
                </a:xfrm>
                <a:custGeom>
                  <a:avLst/>
                  <a:gdLst>
                    <a:gd name="connsiteX0" fmla="*/ 249095 w 249095"/>
                    <a:gd name="connsiteY0" fmla="*/ 206528 h 413056"/>
                    <a:gd name="connsiteX1" fmla="*/ 124547 w 249095"/>
                    <a:gd name="connsiteY1" fmla="*/ 413057 h 413056"/>
                    <a:gd name="connsiteX2" fmla="*/ 0 w 249095"/>
                    <a:gd name="connsiteY2" fmla="*/ 206528 h 413056"/>
                    <a:gd name="connsiteX3" fmla="*/ 124547 w 249095"/>
                    <a:gd name="connsiteY3" fmla="*/ 0 h 413056"/>
                    <a:gd name="connsiteX4" fmla="*/ 249095 w 249095"/>
                    <a:gd name="connsiteY4" fmla="*/ 206528 h 413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9095" h="413056">
                      <a:moveTo>
                        <a:pt x="249095" y="206528"/>
                      </a:moveTo>
                      <a:cubicBezTo>
                        <a:pt x="249095" y="320591"/>
                        <a:pt x="193333" y="413057"/>
                        <a:pt x="124547" y="413057"/>
                      </a:cubicBezTo>
                      <a:cubicBezTo>
                        <a:pt x="55762" y="413057"/>
                        <a:pt x="0" y="320591"/>
                        <a:pt x="0" y="206528"/>
                      </a:cubicBezTo>
                      <a:cubicBezTo>
                        <a:pt x="0" y="92466"/>
                        <a:pt x="55762" y="0"/>
                        <a:pt x="124547" y="0"/>
                      </a:cubicBezTo>
                      <a:cubicBezTo>
                        <a:pt x="193333" y="0"/>
                        <a:pt x="249095" y="92466"/>
                        <a:pt x="249095" y="206528"/>
                      </a:cubicBezTo>
                      <a:close/>
                    </a:path>
                  </a:pathLst>
                </a:custGeom>
                <a:solidFill>
                  <a:srgbClr val="FFFFFF">
                    <a:alpha val="20000"/>
                  </a:srgbClr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46" name="Freeform: Shape 2545">
                  <a:extLst>
                    <a:ext uri="{FF2B5EF4-FFF2-40B4-BE49-F238E27FC236}">
                      <a16:creationId xmlns:a16="http://schemas.microsoft.com/office/drawing/2014/main" id="{11D94DD5-DCA1-F1DC-5593-E78F7595CFAD}"/>
                    </a:ext>
                  </a:extLst>
                </p:cNvPr>
                <p:cNvSpPr/>
                <p:nvPr/>
              </p:nvSpPr>
              <p:spPr>
                <a:xfrm>
                  <a:off x="-5338666" y="1230382"/>
                  <a:ext cx="965489" cy="1679224"/>
                </a:xfrm>
                <a:custGeom>
                  <a:avLst/>
                  <a:gdLst>
                    <a:gd name="connsiteX0" fmla="*/ 709872 w 965489"/>
                    <a:gd name="connsiteY0" fmla="*/ 223082 h 1679224"/>
                    <a:gd name="connsiteX1" fmla="*/ 709231 w 965489"/>
                    <a:gd name="connsiteY1" fmla="*/ 1458754 h 1679224"/>
                    <a:gd name="connsiteX2" fmla="*/ 337461 w 965489"/>
                    <a:gd name="connsiteY2" fmla="*/ 1679225 h 1679224"/>
                    <a:gd name="connsiteX3" fmla="*/ 12987 w 965489"/>
                    <a:gd name="connsiteY3" fmla="*/ 961992 h 1679224"/>
                    <a:gd name="connsiteX4" fmla="*/ 330761 w 965489"/>
                    <a:gd name="connsiteY4" fmla="*/ 0 h 1679224"/>
                    <a:gd name="connsiteX5" fmla="*/ 709921 w 965489"/>
                    <a:gd name="connsiteY5" fmla="*/ 223082 h 16792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65489" h="1679224">
                      <a:moveTo>
                        <a:pt x="709872" y="223082"/>
                      </a:moveTo>
                      <a:cubicBezTo>
                        <a:pt x="1050949" y="564504"/>
                        <a:pt x="1050654" y="1117726"/>
                        <a:pt x="709231" y="1458754"/>
                      </a:cubicBezTo>
                      <a:cubicBezTo>
                        <a:pt x="601829" y="1566009"/>
                        <a:pt x="473537" y="1639515"/>
                        <a:pt x="337461" y="1679225"/>
                      </a:cubicBezTo>
                      <a:cubicBezTo>
                        <a:pt x="177589" y="1528122"/>
                        <a:pt x="52844" y="1268139"/>
                        <a:pt x="12987" y="961992"/>
                      </a:cubicBezTo>
                      <a:cubicBezTo>
                        <a:pt x="-44459" y="520213"/>
                        <a:pt x="93539" y="126223"/>
                        <a:pt x="330761" y="0"/>
                      </a:cubicBezTo>
                      <a:cubicBezTo>
                        <a:pt x="469645" y="39365"/>
                        <a:pt x="600647" y="113709"/>
                        <a:pt x="709921" y="223082"/>
                      </a:cubicBezTo>
                      <a:close/>
                    </a:path>
                  </a:pathLst>
                </a:custGeom>
                <a:solidFill>
                  <a:srgbClr val="FFFFFF">
                    <a:alpha val="10000"/>
                  </a:srgbClr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547" name="Freeform: Shape 2546">
                <a:extLst>
                  <a:ext uri="{FF2B5EF4-FFF2-40B4-BE49-F238E27FC236}">
                    <a16:creationId xmlns:a16="http://schemas.microsoft.com/office/drawing/2014/main" id="{958B073C-D66F-F887-DB91-6357722AF3D5}"/>
                  </a:ext>
                </a:extLst>
              </p:cNvPr>
              <p:cNvSpPr/>
              <p:nvPr/>
            </p:nvSpPr>
            <p:spPr>
              <a:xfrm>
                <a:off x="2159207" y="2371082"/>
                <a:ext cx="33795" cy="33678"/>
              </a:xfrm>
              <a:custGeom>
                <a:avLst/>
                <a:gdLst>
                  <a:gd name="connsiteX0" fmla="*/ 152949 w 185809"/>
                  <a:gd name="connsiteY0" fmla="*/ 39439 h 185171"/>
                  <a:gd name="connsiteX1" fmla="*/ 96488 w 185809"/>
                  <a:gd name="connsiteY1" fmla="*/ 11258 h 185171"/>
                  <a:gd name="connsiteX2" fmla="*/ 68258 w 185809"/>
                  <a:gd name="connsiteY2" fmla="*/ 3326 h 185171"/>
                  <a:gd name="connsiteX3" fmla="*/ 10074 w 185809"/>
                  <a:gd name="connsiteY3" fmla="*/ 25 h 185171"/>
                  <a:gd name="connsiteX4" fmla="*/ 614 w 185809"/>
                  <a:gd name="connsiteY4" fmla="*/ 12687 h 185171"/>
                  <a:gd name="connsiteX5" fmla="*/ 614 w 185809"/>
                  <a:gd name="connsiteY5" fmla="*/ 12687 h 185171"/>
                  <a:gd name="connsiteX6" fmla="*/ 37171 w 185809"/>
                  <a:gd name="connsiteY6" fmla="*/ 41705 h 185171"/>
                  <a:gd name="connsiteX7" fmla="*/ 54857 w 185809"/>
                  <a:gd name="connsiteY7" fmla="*/ 44021 h 185171"/>
                  <a:gd name="connsiteX8" fmla="*/ 23721 w 185809"/>
                  <a:gd name="connsiteY8" fmla="*/ 61905 h 185171"/>
                  <a:gd name="connsiteX9" fmla="*/ 6920 w 185809"/>
                  <a:gd name="connsiteY9" fmla="*/ 93682 h 185171"/>
                  <a:gd name="connsiteX10" fmla="*/ 8891 w 185809"/>
                  <a:gd name="connsiteY10" fmla="*/ 119449 h 185171"/>
                  <a:gd name="connsiteX11" fmla="*/ 20666 w 185809"/>
                  <a:gd name="connsiteY11" fmla="*/ 149305 h 185171"/>
                  <a:gd name="connsiteX12" fmla="*/ 31111 w 185809"/>
                  <a:gd name="connsiteY12" fmla="*/ 162312 h 185171"/>
                  <a:gd name="connsiteX13" fmla="*/ 78702 w 185809"/>
                  <a:gd name="connsiteY13" fmla="*/ 185172 h 185171"/>
                  <a:gd name="connsiteX14" fmla="*/ 78702 w 185809"/>
                  <a:gd name="connsiteY14" fmla="*/ 185172 h 185171"/>
                  <a:gd name="connsiteX15" fmla="*/ 129695 w 185809"/>
                  <a:gd name="connsiteY15" fmla="*/ 175170 h 185171"/>
                  <a:gd name="connsiteX16" fmla="*/ 185809 w 185809"/>
                  <a:gd name="connsiteY16" fmla="*/ 153690 h 185171"/>
                  <a:gd name="connsiteX17" fmla="*/ 152949 w 185809"/>
                  <a:gd name="connsiteY17" fmla="*/ 39439 h 185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85809" h="185171">
                    <a:moveTo>
                      <a:pt x="152949" y="39439"/>
                    </a:moveTo>
                    <a:lnTo>
                      <a:pt x="96488" y="11258"/>
                    </a:lnTo>
                    <a:cubicBezTo>
                      <a:pt x="87768" y="6578"/>
                      <a:pt x="78161" y="3868"/>
                      <a:pt x="68258" y="3326"/>
                    </a:cubicBezTo>
                    <a:lnTo>
                      <a:pt x="10074" y="25"/>
                    </a:lnTo>
                    <a:cubicBezTo>
                      <a:pt x="3225" y="-467"/>
                      <a:pt x="-1800" y="6282"/>
                      <a:pt x="614" y="12687"/>
                    </a:cubicBezTo>
                    <a:lnTo>
                      <a:pt x="614" y="12687"/>
                    </a:lnTo>
                    <a:cubicBezTo>
                      <a:pt x="6477" y="28354"/>
                      <a:pt x="20567" y="39538"/>
                      <a:pt x="37171" y="41705"/>
                    </a:cubicBezTo>
                    <a:lnTo>
                      <a:pt x="54857" y="44021"/>
                    </a:lnTo>
                    <a:lnTo>
                      <a:pt x="23721" y="61905"/>
                    </a:lnTo>
                    <a:cubicBezTo>
                      <a:pt x="12488" y="68359"/>
                      <a:pt x="5935" y="80725"/>
                      <a:pt x="6920" y="93682"/>
                    </a:cubicBezTo>
                    <a:lnTo>
                      <a:pt x="8891" y="119449"/>
                    </a:lnTo>
                    <a:cubicBezTo>
                      <a:pt x="9728" y="130337"/>
                      <a:pt x="13818" y="140782"/>
                      <a:pt x="20666" y="149305"/>
                    </a:cubicBezTo>
                    <a:lnTo>
                      <a:pt x="31111" y="162312"/>
                    </a:lnTo>
                    <a:cubicBezTo>
                      <a:pt x="42688" y="176747"/>
                      <a:pt x="60178" y="185172"/>
                      <a:pt x="78702" y="185172"/>
                    </a:cubicBezTo>
                    <a:lnTo>
                      <a:pt x="78702" y="185172"/>
                    </a:lnTo>
                    <a:cubicBezTo>
                      <a:pt x="96193" y="185172"/>
                      <a:pt x="113535" y="181772"/>
                      <a:pt x="129695" y="175170"/>
                    </a:cubicBezTo>
                    <a:lnTo>
                      <a:pt x="185809" y="153690"/>
                    </a:lnTo>
                    <a:lnTo>
                      <a:pt x="152949" y="39439"/>
                    </a:lnTo>
                    <a:close/>
                  </a:path>
                </a:pathLst>
              </a:custGeom>
              <a:solidFill>
                <a:srgbClr val="FCC3DC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48" name="Freeform: Shape 2547">
                <a:extLst>
                  <a:ext uri="{FF2B5EF4-FFF2-40B4-BE49-F238E27FC236}">
                    <a16:creationId xmlns:a16="http://schemas.microsoft.com/office/drawing/2014/main" id="{7D3EE294-A859-6D5F-2E46-04FC18D69CBD}"/>
                  </a:ext>
                </a:extLst>
              </p:cNvPr>
              <p:cNvSpPr/>
              <p:nvPr/>
            </p:nvSpPr>
            <p:spPr>
              <a:xfrm>
                <a:off x="2186344" y="2311409"/>
                <a:ext cx="130686" cy="88414"/>
              </a:xfrm>
              <a:custGeom>
                <a:avLst/>
                <a:gdLst>
                  <a:gd name="connsiteX0" fmla="*/ 710729 w 718537"/>
                  <a:gd name="connsiteY0" fmla="*/ 0 h 486119"/>
                  <a:gd name="connsiteX1" fmla="*/ 378175 w 718537"/>
                  <a:gd name="connsiteY1" fmla="*/ 256732 h 486119"/>
                  <a:gd name="connsiteX2" fmla="*/ 0 w 718537"/>
                  <a:gd name="connsiteY2" fmla="*/ 362952 h 486119"/>
                  <a:gd name="connsiteX3" fmla="*/ 37936 w 718537"/>
                  <a:gd name="connsiteY3" fmla="*/ 486120 h 486119"/>
                  <a:gd name="connsiteX4" fmla="*/ 423156 w 718537"/>
                  <a:gd name="connsiteY4" fmla="*/ 420742 h 486119"/>
                  <a:gd name="connsiteX5" fmla="*/ 709892 w 718537"/>
                  <a:gd name="connsiteY5" fmla="*/ 340388 h 486119"/>
                  <a:gd name="connsiteX6" fmla="*/ 710729 w 718537"/>
                  <a:gd name="connsiteY6" fmla="*/ 49 h 486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18537" h="486119">
                    <a:moveTo>
                      <a:pt x="710729" y="0"/>
                    </a:moveTo>
                    <a:lnTo>
                      <a:pt x="378175" y="256732"/>
                    </a:lnTo>
                    <a:lnTo>
                      <a:pt x="0" y="362952"/>
                    </a:lnTo>
                    <a:lnTo>
                      <a:pt x="37936" y="486120"/>
                    </a:lnTo>
                    <a:lnTo>
                      <a:pt x="423156" y="420742"/>
                    </a:lnTo>
                    <a:lnTo>
                      <a:pt x="709892" y="340388"/>
                    </a:lnTo>
                    <a:cubicBezTo>
                      <a:pt x="722258" y="260033"/>
                      <a:pt x="720287" y="132135"/>
                      <a:pt x="710729" y="49"/>
                    </a:cubicBezTo>
                    <a:close/>
                  </a:path>
                </a:pathLst>
              </a:custGeom>
              <a:solidFill>
                <a:srgbClr val="061F79"/>
              </a:solidFill>
              <a:ln w="4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549" name="Graphic 2463">
                <a:extLst>
                  <a:ext uri="{FF2B5EF4-FFF2-40B4-BE49-F238E27FC236}">
                    <a16:creationId xmlns:a16="http://schemas.microsoft.com/office/drawing/2014/main" id="{E4D39324-0294-F2D4-4E99-9FDB046C956C}"/>
                  </a:ext>
                </a:extLst>
              </p:cNvPr>
              <p:cNvGrpSpPr/>
              <p:nvPr/>
            </p:nvGrpSpPr>
            <p:grpSpPr>
              <a:xfrm>
                <a:off x="2187726" y="2408769"/>
                <a:ext cx="27048" cy="27972"/>
                <a:chOff x="-4003189" y="3616259"/>
                <a:chExt cx="148716" cy="153795"/>
              </a:xfrm>
              <a:solidFill>
                <a:srgbClr val="FCC3DC"/>
              </a:solidFill>
            </p:grpSpPr>
            <p:sp>
              <p:nvSpPr>
                <p:cNvPr id="2550" name="Freeform: Shape 2549">
                  <a:extLst>
                    <a:ext uri="{FF2B5EF4-FFF2-40B4-BE49-F238E27FC236}">
                      <a16:creationId xmlns:a16="http://schemas.microsoft.com/office/drawing/2014/main" id="{8629306E-2323-D9F0-665C-CF031FBFBF7E}"/>
                    </a:ext>
                  </a:extLst>
                </p:cNvPr>
                <p:cNvSpPr/>
                <p:nvPr/>
              </p:nvSpPr>
              <p:spPr>
                <a:xfrm rot="8100000">
                  <a:off x="-3926195" y="3716413"/>
                  <a:ext cx="70008" cy="33846"/>
                </a:xfrm>
                <a:custGeom>
                  <a:avLst/>
                  <a:gdLst>
                    <a:gd name="connsiteX0" fmla="*/ 16504 w 70008"/>
                    <a:gd name="connsiteY0" fmla="*/ 0 h 33846"/>
                    <a:gd name="connsiteX1" fmla="*/ 53504 w 70008"/>
                    <a:gd name="connsiteY1" fmla="*/ 0 h 33846"/>
                    <a:gd name="connsiteX2" fmla="*/ 70009 w 70008"/>
                    <a:gd name="connsiteY2" fmla="*/ 16504 h 33846"/>
                    <a:gd name="connsiteX3" fmla="*/ 70009 w 70008"/>
                    <a:gd name="connsiteY3" fmla="*/ 17342 h 33846"/>
                    <a:gd name="connsiteX4" fmla="*/ 53504 w 70008"/>
                    <a:gd name="connsiteY4" fmla="*/ 33847 h 33846"/>
                    <a:gd name="connsiteX5" fmla="*/ 16504 w 70008"/>
                    <a:gd name="connsiteY5" fmla="*/ 33847 h 33846"/>
                    <a:gd name="connsiteX6" fmla="*/ 0 w 70008"/>
                    <a:gd name="connsiteY6" fmla="*/ 17342 h 33846"/>
                    <a:gd name="connsiteX7" fmla="*/ 0 w 70008"/>
                    <a:gd name="connsiteY7" fmla="*/ 16504 h 33846"/>
                    <a:gd name="connsiteX8" fmla="*/ 16504 w 70008"/>
                    <a:gd name="connsiteY8" fmla="*/ 0 h 338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0008" h="33846">
                      <a:moveTo>
                        <a:pt x="16504" y="0"/>
                      </a:moveTo>
                      <a:lnTo>
                        <a:pt x="53504" y="0"/>
                      </a:lnTo>
                      <a:cubicBezTo>
                        <a:pt x="62618" y="0"/>
                        <a:pt x="70009" y="7390"/>
                        <a:pt x="70009" y="16504"/>
                      </a:cubicBezTo>
                      <a:lnTo>
                        <a:pt x="70009" y="17342"/>
                      </a:lnTo>
                      <a:cubicBezTo>
                        <a:pt x="70009" y="26456"/>
                        <a:pt x="62618" y="33847"/>
                        <a:pt x="53504" y="33847"/>
                      </a:cubicBezTo>
                      <a:lnTo>
                        <a:pt x="16504" y="33847"/>
                      </a:lnTo>
                      <a:cubicBezTo>
                        <a:pt x="7390" y="33847"/>
                        <a:pt x="0" y="26456"/>
                        <a:pt x="0" y="17342"/>
                      </a:cubicBezTo>
                      <a:lnTo>
                        <a:pt x="0" y="16504"/>
                      </a:lnTo>
                      <a:cubicBezTo>
                        <a:pt x="0" y="7390"/>
                        <a:pt x="7390" y="0"/>
                        <a:pt x="16504" y="0"/>
                      </a:cubicBezTo>
                      <a:close/>
                    </a:path>
                  </a:pathLst>
                </a:custGeom>
                <a:solidFill>
                  <a:srgbClr val="FCC3DC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51" name="Freeform: Shape 2550">
                  <a:extLst>
                    <a:ext uri="{FF2B5EF4-FFF2-40B4-BE49-F238E27FC236}">
                      <a16:creationId xmlns:a16="http://schemas.microsoft.com/office/drawing/2014/main" id="{ACC99CD9-4E20-1C7A-A9B7-99F2D0B9810C}"/>
                    </a:ext>
                  </a:extLst>
                </p:cNvPr>
                <p:cNvSpPr/>
                <p:nvPr/>
              </p:nvSpPr>
              <p:spPr>
                <a:xfrm rot="8100000">
                  <a:off x="-3960209" y="3691622"/>
                  <a:ext cx="88188" cy="33846"/>
                </a:xfrm>
                <a:custGeom>
                  <a:avLst/>
                  <a:gdLst>
                    <a:gd name="connsiteX0" fmla="*/ 16504 w 88188"/>
                    <a:gd name="connsiteY0" fmla="*/ 0 h 33846"/>
                    <a:gd name="connsiteX1" fmla="*/ 71683 w 88188"/>
                    <a:gd name="connsiteY1" fmla="*/ 0 h 33846"/>
                    <a:gd name="connsiteX2" fmla="*/ 88188 w 88188"/>
                    <a:gd name="connsiteY2" fmla="*/ 16504 h 33846"/>
                    <a:gd name="connsiteX3" fmla="*/ 88188 w 88188"/>
                    <a:gd name="connsiteY3" fmla="*/ 17342 h 33846"/>
                    <a:gd name="connsiteX4" fmla="*/ 71683 w 88188"/>
                    <a:gd name="connsiteY4" fmla="*/ 33847 h 33846"/>
                    <a:gd name="connsiteX5" fmla="*/ 16504 w 88188"/>
                    <a:gd name="connsiteY5" fmla="*/ 33847 h 33846"/>
                    <a:gd name="connsiteX6" fmla="*/ 0 w 88188"/>
                    <a:gd name="connsiteY6" fmla="*/ 17342 h 33846"/>
                    <a:gd name="connsiteX7" fmla="*/ 0 w 88188"/>
                    <a:gd name="connsiteY7" fmla="*/ 16504 h 33846"/>
                    <a:gd name="connsiteX8" fmla="*/ 16504 w 88188"/>
                    <a:gd name="connsiteY8" fmla="*/ 0 h 338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8188" h="33846">
                      <a:moveTo>
                        <a:pt x="16504" y="0"/>
                      </a:moveTo>
                      <a:lnTo>
                        <a:pt x="71683" y="0"/>
                      </a:lnTo>
                      <a:cubicBezTo>
                        <a:pt x="80798" y="0"/>
                        <a:pt x="88188" y="7390"/>
                        <a:pt x="88188" y="16504"/>
                      </a:cubicBezTo>
                      <a:lnTo>
                        <a:pt x="88188" y="17342"/>
                      </a:lnTo>
                      <a:cubicBezTo>
                        <a:pt x="88188" y="26456"/>
                        <a:pt x="80798" y="33847"/>
                        <a:pt x="71683" y="33847"/>
                      </a:cubicBezTo>
                      <a:lnTo>
                        <a:pt x="16504" y="33847"/>
                      </a:lnTo>
                      <a:cubicBezTo>
                        <a:pt x="7390" y="33847"/>
                        <a:pt x="0" y="26456"/>
                        <a:pt x="0" y="17342"/>
                      </a:cubicBezTo>
                      <a:lnTo>
                        <a:pt x="0" y="16504"/>
                      </a:lnTo>
                      <a:cubicBezTo>
                        <a:pt x="0" y="7390"/>
                        <a:pt x="7390" y="0"/>
                        <a:pt x="16504" y="0"/>
                      </a:cubicBezTo>
                      <a:close/>
                    </a:path>
                  </a:pathLst>
                </a:custGeom>
                <a:solidFill>
                  <a:srgbClr val="FCC3DC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52" name="Freeform: Shape 2551">
                  <a:extLst>
                    <a:ext uri="{FF2B5EF4-FFF2-40B4-BE49-F238E27FC236}">
                      <a16:creationId xmlns:a16="http://schemas.microsoft.com/office/drawing/2014/main" id="{20B5AF08-D44C-C561-C6B0-7B893206A283}"/>
                    </a:ext>
                  </a:extLst>
                </p:cNvPr>
                <p:cNvSpPr/>
                <p:nvPr/>
              </p:nvSpPr>
              <p:spPr>
                <a:xfrm rot="8100000">
                  <a:off x="-3986416" y="3664238"/>
                  <a:ext cx="94149" cy="33846"/>
                </a:xfrm>
                <a:custGeom>
                  <a:avLst/>
                  <a:gdLst>
                    <a:gd name="connsiteX0" fmla="*/ 16505 w 94149"/>
                    <a:gd name="connsiteY0" fmla="*/ 0 h 33846"/>
                    <a:gd name="connsiteX1" fmla="*/ 77645 w 94149"/>
                    <a:gd name="connsiteY1" fmla="*/ 0 h 33846"/>
                    <a:gd name="connsiteX2" fmla="*/ 94150 w 94149"/>
                    <a:gd name="connsiteY2" fmla="*/ 16504 h 33846"/>
                    <a:gd name="connsiteX3" fmla="*/ 94150 w 94149"/>
                    <a:gd name="connsiteY3" fmla="*/ 17342 h 33846"/>
                    <a:gd name="connsiteX4" fmla="*/ 77645 w 94149"/>
                    <a:gd name="connsiteY4" fmla="*/ 33847 h 33846"/>
                    <a:gd name="connsiteX5" fmla="*/ 16505 w 94149"/>
                    <a:gd name="connsiteY5" fmla="*/ 33847 h 33846"/>
                    <a:gd name="connsiteX6" fmla="*/ 0 w 94149"/>
                    <a:gd name="connsiteY6" fmla="*/ 17342 h 33846"/>
                    <a:gd name="connsiteX7" fmla="*/ 0 w 94149"/>
                    <a:gd name="connsiteY7" fmla="*/ 16504 h 33846"/>
                    <a:gd name="connsiteX8" fmla="*/ 16505 w 94149"/>
                    <a:gd name="connsiteY8" fmla="*/ 0 h 338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4149" h="33846">
                      <a:moveTo>
                        <a:pt x="16505" y="0"/>
                      </a:moveTo>
                      <a:lnTo>
                        <a:pt x="77645" y="0"/>
                      </a:lnTo>
                      <a:cubicBezTo>
                        <a:pt x="86760" y="0"/>
                        <a:pt x="94150" y="7390"/>
                        <a:pt x="94150" y="16504"/>
                      </a:cubicBezTo>
                      <a:lnTo>
                        <a:pt x="94150" y="17342"/>
                      </a:lnTo>
                      <a:cubicBezTo>
                        <a:pt x="94150" y="26456"/>
                        <a:pt x="86760" y="33847"/>
                        <a:pt x="77645" y="33847"/>
                      </a:cubicBezTo>
                      <a:lnTo>
                        <a:pt x="16505" y="33847"/>
                      </a:lnTo>
                      <a:cubicBezTo>
                        <a:pt x="7390" y="33847"/>
                        <a:pt x="0" y="26456"/>
                        <a:pt x="0" y="17342"/>
                      </a:cubicBezTo>
                      <a:lnTo>
                        <a:pt x="0" y="16504"/>
                      </a:lnTo>
                      <a:cubicBezTo>
                        <a:pt x="0" y="7390"/>
                        <a:pt x="7390" y="0"/>
                        <a:pt x="16505" y="0"/>
                      </a:cubicBezTo>
                      <a:close/>
                    </a:path>
                  </a:pathLst>
                </a:custGeom>
                <a:solidFill>
                  <a:srgbClr val="FCC3DC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53" name="Freeform: Shape 2552">
                  <a:extLst>
                    <a:ext uri="{FF2B5EF4-FFF2-40B4-BE49-F238E27FC236}">
                      <a16:creationId xmlns:a16="http://schemas.microsoft.com/office/drawing/2014/main" id="{CC6F0E0D-B308-DE19-4B79-05CF86E04240}"/>
                    </a:ext>
                  </a:extLst>
                </p:cNvPr>
                <p:cNvSpPr/>
                <p:nvPr/>
              </p:nvSpPr>
              <p:spPr>
                <a:xfrm rot="8100000">
                  <a:off x="-4002536" y="3638614"/>
                  <a:ext cx="77250" cy="33846"/>
                </a:xfrm>
                <a:custGeom>
                  <a:avLst/>
                  <a:gdLst>
                    <a:gd name="connsiteX0" fmla="*/ 16504 w 77250"/>
                    <a:gd name="connsiteY0" fmla="*/ 0 h 33846"/>
                    <a:gd name="connsiteX1" fmla="*/ 60746 w 77250"/>
                    <a:gd name="connsiteY1" fmla="*/ 0 h 33846"/>
                    <a:gd name="connsiteX2" fmla="*/ 77251 w 77250"/>
                    <a:gd name="connsiteY2" fmla="*/ 16505 h 33846"/>
                    <a:gd name="connsiteX3" fmla="*/ 77251 w 77250"/>
                    <a:gd name="connsiteY3" fmla="*/ 17342 h 33846"/>
                    <a:gd name="connsiteX4" fmla="*/ 60746 w 77250"/>
                    <a:gd name="connsiteY4" fmla="*/ 33847 h 33846"/>
                    <a:gd name="connsiteX5" fmla="*/ 16504 w 77250"/>
                    <a:gd name="connsiteY5" fmla="*/ 33847 h 33846"/>
                    <a:gd name="connsiteX6" fmla="*/ 0 w 77250"/>
                    <a:gd name="connsiteY6" fmla="*/ 17342 h 33846"/>
                    <a:gd name="connsiteX7" fmla="*/ 0 w 77250"/>
                    <a:gd name="connsiteY7" fmla="*/ 16505 h 33846"/>
                    <a:gd name="connsiteX8" fmla="*/ 16504 w 77250"/>
                    <a:gd name="connsiteY8" fmla="*/ 0 h 338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7250" h="33846">
                      <a:moveTo>
                        <a:pt x="16504" y="0"/>
                      </a:moveTo>
                      <a:lnTo>
                        <a:pt x="60746" y="0"/>
                      </a:lnTo>
                      <a:cubicBezTo>
                        <a:pt x="69861" y="0"/>
                        <a:pt x="77251" y="7390"/>
                        <a:pt x="77251" y="16505"/>
                      </a:cubicBezTo>
                      <a:lnTo>
                        <a:pt x="77251" y="17342"/>
                      </a:lnTo>
                      <a:cubicBezTo>
                        <a:pt x="77251" y="26457"/>
                        <a:pt x="69861" y="33847"/>
                        <a:pt x="60746" y="33847"/>
                      </a:cubicBezTo>
                      <a:lnTo>
                        <a:pt x="16504" y="33847"/>
                      </a:lnTo>
                      <a:cubicBezTo>
                        <a:pt x="7390" y="33847"/>
                        <a:pt x="0" y="26457"/>
                        <a:pt x="0" y="17342"/>
                      </a:cubicBezTo>
                      <a:lnTo>
                        <a:pt x="0" y="16505"/>
                      </a:lnTo>
                      <a:cubicBezTo>
                        <a:pt x="0" y="7390"/>
                        <a:pt x="7390" y="0"/>
                        <a:pt x="16504" y="0"/>
                      </a:cubicBezTo>
                      <a:close/>
                    </a:path>
                  </a:pathLst>
                </a:custGeom>
                <a:solidFill>
                  <a:srgbClr val="FCC3DC"/>
                </a:solidFill>
                <a:ln w="492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592" name="Group 2591">
                <a:extLst>
                  <a:ext uri="{FF2B5EF4-FFF2-40B4-BE49-F238E27FC236}">
                    <a16:creationId xmlns:a16="http://schemas.microsoft.com/office/drawing/2014/main" id="{3BF0E2ED-430F-D62C-0378-07F0C96AF3EE}"/>
                  </a:ext>
                </a:extLst>
              </p:cNvPr>
              <p:cNvGrpSpPr/>
              <p:nvPr/>
            </p:nvGrpSpPr>
            <p:grpSpPr>
              <a:xfrm>
                <a:off x="914560" y="1802736"/>
                <a:ext cx="309921" cy="275745"/>
                <a:chOff x="888364" y="1757491"/>
                <a:chExt cx="309921" cy="275745"/>
              </a:xfrm>
            </p:grpSpPr>
            <p:grpSp>
              <p:nvGrpSpPr>
                <p:cNvPr id="2569" name="Graphic 2463">
                  <a:extLst>
                    <a:ext uri="{FF2B5EF4-FFF2-40B4-BE49-F238E27FC236}">
                      <a16:creationId xmlns:a16="http://schemas.microsoft.com/office/drawing/2014/main" id="{9F2A154C-09F7-C4D3-4CE2-B4BA3FE76E62}"/>
                    </a:ext>
                  </a:extLst>
                </p:cNvPr>
                <p:cNvGrpSpPr/>
                <p:nvPr/>
              </p:nvGrpSpPr>
              <p:grpSpPr>
                <a:xfrm>
                  <a:off x="888364" y="1757491"/>
                  <a:ext cx="309921" cy="217295"/>
                  <a:chOff x="-11147342" y="35405"/>
                  <a:chExt cx="1704006" cy="1194730"/>
                </a:xfrm>
              </p:grpSpPr>
              <p:grpSp>
                <p:nvGrpSpPr>
                  <p:cNvPr id="2570" name="Graphic 2463">
                    <a:extLst>
                      <a:ext uri="{FF2B5EF4-FFF2-40B4-BE49-F238E27FC236}">
                        <a16:creationId xmlns:a16="http://schemas.microsoft.com/office/drawing/2014/main" id="{058DD15C-54E9-540A-72DA-A67B99197221}"/>
                      </a:ext>
                    </a:extLst>
                  </p:cNvPr>
                  <p:cNvGrpSpPr/>
                  <p:nvPr/>
                </p:nvGrpSpPr>
                <p:grpSpPr>
                  <a:xfrm>
                    <a:off x="-11147342" y="35405"/>
                    <a:ext cx="1056880" cy="1056733"/>
                    <a:chOff x="-11147342" y="35405"/>
                    <a:chExt cx="1056880" cy="1056733"/>
                  </a:xfrm>
                </p:grpSpPr>
                <p:sp>
                  <p:nvSpPr>
                    <p:cNvPr id="2571" name="Freeform: Shape 2570">
                      <a:extLst>
                        <a:ext uri="{FF2B5EF4-FFF2-40B4-BE49-F238E27FC236}">
                          <a16:creationId xmlns:a16="http://schemas.microsoft.com/office/drawing/2014/main" id="{828DF7DA-C493-9896-227F-4D6293FAA2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0824944" y="357690"/>
                      <a:ext cx="412197" cy="412212"/>
                    </a:xfrm>
                    <a:custGeom>
                      <a:avLst/>
                      <a:gdLst>
                        <a:gd name="connsiteX0" fmla="*/ 407348 w 412197"/>
                        <a:gd name="connsiteY0" fmla="*/ 250348 h 412212"/>
                        <a:gd name="connsiteX1" fmla="*/ 161850 w 412197"/>
                        <a:gd name="connsiteY1" fmla="*/ 407363 h 412212"/>
                        <a:gd name="connsiteX2" fmla="*/ 4835 w 412197"/>
                        <a:gd name="connsiteY2" fmla="*/ 161864 h 412212"/>
                        <a:gd name="connsiteX3" fmla="*/ 250333 w 412197"/>
                        <a:gd name="connsiteY3" fmla="*/ 4850 h 412212"/>
                        <a:gd name="connsiteX4" fmla="*/ 407348 w 412197"/>
                        <a:gd name="connsiteY4" fmla="*/ 250348 h 41221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12197" h="412212">
                          <a:moveTo>
                            <a:pt x="407348" y="250348"/>
                          </a:moveTo>
                          <a:cubicBezTo>
                            <a:pt x="382912" y="361495"/>
                            <a:pt x="272996" y="431800"/>
                            <a:pt x="161850" y="407363"/>
                          </a:cubicBezTo>
                          <a:cubicBezTo>
                            <a:pt x="50703" y="382926"/>
                            <a:pt x="-19552" y="273011"/>
                            <a:pt x="4835" y="161864"/>
                          </a:cubicBezTo>
                          <a:cubicBezTo>
                            <a:pt x="29271" y="50717"/>
                            <a:pt x="139187" y="-19587"/>
                            <a:pt x="250333" y="4850"/>
                          </a:cubicBezTo>
                          <a:cubicBezTo>
                            <a:pt x="361480" y="29286"/>
                            <a:pt x="431785" y="139201"/>
                            <a:pt x="407348" y="250348"/>
                          </a:cubicBezTo>
                          <a:close/>
                        </a:path>
                      </a:pathLst>
                    </a:custGeom>
                    <a:solidFill>
                      <a:srgbClr val="C6DBE5"/>
                    </a:solidFill>
                    <a:ln w="4922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572" name="Freeform: Shape 2571">
                      <a:extLst>
                        <a:ext uri="{FF2B5EF4-FFF2-40B4-BE49-F238E27FC236}">
                          <a16:creationId xmlns:a16="http://schemas.microsoft.com/office/drawing/2014/main" id="{D59A2AEF-3CCA-0EE2-E857-07D773ECF3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1147342" y="35405"/>
                      <a:ext cx="1056880" cy="1056733"/>
                    </a:xfrm>
                    <a:custGeom>
                      <a:avLst/>
                      <a:gdLst>
                        <a:gd name="connsiteX0" fmla="*/ 892131 w 1056880"/>
                        <a:gd name="connsiteY0" fmla="*/ 691170 h 1056733"/>
                        <a:gd name="connsiteX1" fmla="*/ 1031016 w 1056880"/>
                        <a:gd name="connsiteY1" fmla="*/ 700580 h 1056733"/>
                        <a:gd name="connsiteX2" fmla="*/ 1056881 w 1056880"/>
                        <a:gd name="connsiteY2" fmla="*/ 582831 h 1056733"/>
                        <a:gd name="connsiteX3" fmla="*/ 926865 w 1056880"/>
                        <a:gd name="connsiteY3" fmla="*/ 533121 h 1056733"/>
                        <a:gd name="connsiteX4" fmla="*/ 926865 w 1056880"/>
                        <a:gd name="connsiteY4" fmla="*/ 533121 h 1056733"/>
                        <a:gd name="connsiteX5" fmla="*/ 901935 w 1056880"/>
                        <a:gd name="connsiteY5" fmla="*/ 389753 h 1056733"/>
                        <a:gd name="connsiteX6" fmla="*/ 1007614 w 1056880"/>
                        <a:gd name="connsiteY6" fmla="*/ 299101 h 1056733"/>
                        <a:gd name="connsiteX7" fmla="*/ 943566 w 1056880"/>
                        <a:gd name="connsiteY7" fmla="*/ 196970 h 1056733"/>
                        <a:gd name="connsiteX8" fmla="*/ 815915 w 1056880"/>
                        <a:gd name="connsiteY8" fmla="*/ 252593 h 1056733"/>
                        <a:gd name="connsiteX9" fmla="*/ 758371 w 1056880"/>
                        <a:gd name="connsiteY9" fmla="*/ 202981 h 1056733"/>
                        <a:gd name="connsiteX10" fmla="*/ 691219 w 1056880"/>
                        <a:gd name="connsiteY10" fmla="*/ 164750 h 1056733"/>
                        <a:gd name="connsiteX11" fmla="*/ 700629 w 1056880"/>
                        <a:gd name="connsiteY11" fmla="*/ 25865 h 1056733"/>
                        <a:gd name="connsiteX12" fmla="*/ 582881 w 1056880"/>
                        <a:gd name="connsiteY12" fmla="*/ 0 h 1056733"/>
                        <a:gd name="connsiteX13" fmla="*/ 533170 w 1056880"/>
                        <a:gd name="connsiteY13" fmla="*/ 130016 h 1056733"/>
                        <a:gd name="connsiteX14" fmla="*/ 386452 w 1056880"/>
                        <a:gd name="connsiteY14" fmla="*/ 156177 h 1056733"/>
                        <a:gd name="connsiteX15" fmla="*/ 294864 w 1056880"/>
                        <a:gd name="connsiteY15" fmla="*/ 51287 h 1056733"/>
                        <a:gd name="connsiteX16" fmla="*/ 193275 w 1056880"/>
                        <a:gd name="connsiteY16" fmla="*/ 116221 h 1056733"/>
                        <a:gd name="connsiteX17" fmla="*/ 250031 w 1056880"/>
                        <a:gd name="connsiteY17" fmla="*/ 243331 h 1056733"/>
                        <a:gd name="connsiteX18" fmla="*/ 164750 w 1056880"/>
                        <a:gd name="connsiteY18" fmla="*/ 365563 h 1056733"/>
                        <a:gd name="connsiteX19" fmla="*/ 164750 w 1056880"/>
                        <a:gd name="connsiteY19" fmla="*/ 365563 h 1056733"/>
                        <a:gd name="connsiteX20" fmla="*/ 25865 w 1056880"/>
                        <a:gd name="connsiteY20" fmla="*/ 356153 h 1056733"/>
                        <a:gd name="connsiteX21" fmla="*/ 0 w 1056880"/>
                        <a:gd name="connsiteY21" fmla="*/ 473902 h 1056733"/>
                        <a:gd name="connsiteX22" fmla="*/ 130016 w 1056880"/>
                        <a:gd name="connsiteY22" fmla="*/ 523612 h 1056733"/>
                        <a:gd name="connsiteX23" fmla="*/ 130016 w 1056880"/>
                        <a:gd name="connsiteY23" fmla="*/ 523612 h 1056733"/>
                        <a:gd name="connsiteX24" fmla="*/ 156177 w 1056880"/>
                        <a:gd name="connsiteY24" fmla="*/ 670330 h 1056733"/>
                        <a:gd name="connsiteX25" fmla="*/ 51336 w 1056880"/>
                        <a:gd name="connsiteY25" fmla="*/ 761918 h 1056733"/>
                        <a:gd name="connsiteX26" fmla="*/ 116271 w 1056880"/>
                        <a:gd name="connsiteY26" fmla="*/ 863507 h 1056733"/>
                        <a:gd name="connsiteX27" fmla="*/ 243380 w 1056880"/>
                        <a:gd name="connsiteY27" fmla="*/ 806702 h 1056733"/>
                        <a:gd name="connsiteX28" fmla="*/ 365612 w 1056880"/>
                        <a:gd name="connsiteY28" fmla="*/ 891983 h 1056733"/>
                        <a:gd name="connsiteX29" fmla="*/ 356202 w 1056880"/>
                        <a:gd name="connsiteY29" fmla="*/ 1030868 h 1056733"/>
                        <a:gd name="connsiteX30" fmla="*/ 473951 w 1056880"/>
                        <a:gd name="connsiteY30" fmla="*/ 1056733 h 1056733"/>
                        <a:gd name="connsiteX31" fmla="*/ 523661 w 1056880"/>
                        <a:gd name="connsiteY31" fmla="*/ 926717 h 1056733"/>
                        <a:gd name="connsiteX32" fmla="*/ 598843 w 1056880"/>
                        <a:gd name="connsiteY32" fmla="*/ 920509 h 1056733"/>
                        <a:gd name="connsiteX33" fmla="*/ 670379 w 1056880"/>
                        <a:gd name="connsiteY33" fmla="*/ 900556 h 1056733"/>
                        <a:gd name="connsiteX34" fmla="*/ 670379 w 1056880"/>
                        <a:gd name="connsiteY34" fmla="*/ 900556 h 1056733"/>
                        <a:gd name="connsiteX35" fmla="*/ 761967 w 1056880"/>
                        <a:gd name="connsiteY35" fmla="*/ 1005446 h 1056733"/>
                        <a:gd name="connsiteX36" fmla="*/ 863507 w 1056880"/>
                        <a:gd name="connsiteY36" fmla="*/ 940512 h 1056733"/>
                        <a:gd name="connsiteX37" fmla="*/ 806702 w 1056880"/>
                        <a:gd name="connsiteY37" fmla="*/ 813402 h 1056733"/>
                        <a:gd name="connsiteX38" fmla="*/ 891983 w 1056880"/>
                        <a:gd name="connsiteY38" fmla="*/ 691219 h 1056733"/>
                        <a:gd name="connsiteX39" fmla="*/ 891983 w 1056880"/>
                        <a:gd name="connsiteY39" fmla="*/ 691219 h 1056733"/>
                        <a:gd name="connsiteX40" fmla="*/ 472374 w 1056880"/>
                        <a:gd name="connsiteY40" fmla="*/ 783595 h 1056733"/>
                        <a:gd name="connsiteX41" fmla="*/ 273285 w 1056880"/>
                        <a:gd name="connsiteY41" fmla="*/ 472276 h 1056733"/>
                        <a:gd name="connsiteX42" fmla="*/ 584556 w 1056880"/>
                        <a:gd name="connsiteY42" fmla="*/ 273187 h 1056733"/>
                        <a:gd name="connsiteX43" fmla="*/ 783645 w 1056880"/>
                        <a:gd name="connsiteY43" fmla="*/ 584507 h 1056733"/>
                        <a:gd name="connsiteX44" fmla="*/ 472325 w 1056880"/>
                        <a:gd name="connsiteY44" fmla="*/ 783595 h 10567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</a:cxnLst>
                      <a:rect l="l" t="t" r="r" b="b"/>
                      <a:pathLst>
                        <a:path w="1056880" h="1056733">
                          <a:moveTo>
                            <a:pt x="892131" y="691170"/>
                          </a:moveTo>
                          <a:lnTo>
                            <a:pt x="1031016" y="700580"/>
                          </a:lnTo>
                          <a:lnTo>
                            <a:pt x="1056881" y="582831"/>
                          </a:lnTo>
                          <a:lnTo>
                            <a:pt x="926865" y="533121"/>
                          </a:lnTo>
                          <a:lnTo>
                            <a:pt x="926865" y="533121"/>
                          </a:lnTo>
                          <a:cubicBezTo>
                            <a:pt x="927505" y="483361"/>
                            <a:pt x="918736" y="434882"/>
                            <a:pt x="901935" y="389753"/>
                          </a:cubicBezTo>
                          <a:lnTo>
                            <a:pt x="1007614" y="299101"/>
                          </a:lnTo>
                          <a:lnTo>
                            <a:pt x="943566" y="196970"/>
                          </a:lnTo>
                          <a:lnTo>
                            <a:pt x="815915" y="252593"/>
                          </a:lnTo>
                          <a:cubicBezTo>
                            <a:pt x="798474" y="234364"/>
                            <a:pt x="779211" y="217712"/>
                            <a:pt x="758371" y="202981"/>
                          </a:cubicBezTo>
                          <a:cubicBezTo>
                            <a:pt x="737531" y="188250"/>
                            <a:pt x="715065" y="175391"/>
                            <a:pt x="691219" y="164750"/>
                          </a:cubicBezTo>
                          <a:lnTo>
                            <a:pt x="700629" y="25865"/>
                          </a:lnTo>
                          <a:lnTo>
                            <a:pt x="582881" y="0"/>
                          </a:lnTo>
                          <a:lnTo>
                            <a:pt x="533170" y="130016"/>
                          </a:lnTo>
                          <a:cubicBezTo>
                            <a:pt x="482178" y="129376"/>
                            <a:pt x="432517" y="138589"/>
                            <a:pt x="386452" y="156177"/>
                          </a:cubicBezTo>
                          <a:lnTo>
                            <a:pt x="294864" y="51287"/>
                          </a:lnTo>
                          <a:lnTo>
                            <a:pt x="193275" y="116221"/>
                          </a:lnTo>
                          <a:lnTo>
                            <a:pt x="250031" y="243331"/>
                          </a:lnTo>
                          <a:cubicBezTo>
                            <a:pt x="214756" y="277769"/>
                            <a:pt x="185540" y="319005"/>
                            <a:pt x="164750" y="365563"/>
                          </a:cubicBezTo>
                          <a:cubicBezTo>
                            <a:pt x="164750" y="365563"/>
                            <a:pt x="164750" y="365563"/>
                            <a:pt x="164750" y="365563"/>
                          </a:cubicBezTo>
                          <a:lnTo>
                            <a:pt x="25865" y="356153"/>
                          </a:lnTo>
                          <a:lnTo>
                            <a:pt x="0" y="473902"/>
                          </a:lnTo>
                          <a:lnTo>
                            <a:pt x="130016" y="523612"/>
                          </a:lnTo>
                          <a:lnTo>
                            <a:pt x="130016" y="523612"/>
                          </a:lnTo>
                          <a:cubicBezTo>
                            <a:pt x="129376" y="574604"/>
                            <a:pt x="138539" y="624265"/>
                            <a:pt x="156177" y="670330"/>
                          </a:cubicBezTo>
                          <a:lnTo>
                            <a:pt x="51336" y="761918"/>
                          </a:lnTo>
                          <a:lnTo>
                            <a:pt x="116271" y="863507"/>
                          </a:lnTo>
                          <a:lnTo>
                            <a:pt x="243380" y="806702"/>
                          </a:lnTo>
                          <a:cubicBezTo>
                            <a:pt x="277818" y="842026"/>
                            <a:pt x="319005" y="871193"/>
                            <a:pt x="365612" y="891983"/>
                          </a:cubicBezTo>
                          <a:lnTo>
                            <a:pt x="356202" y="1030868"/>
                          </a:lnTo>
                          <a:lnTo>
                            <a:pt x="473951" y="1056733"/>
                          </a:lnTo>
                          <a:lnTo>
                            <a:pt x="523661" y="926717"/>
                          </a:lnTo>
                          <a:cubicBezTo>
                            <a:pt x="549133" y="927062"/>
                            <a:pt x="574308" y="924894"/>
                            <a:pt x="598843" y="920509"/>
                          </a:cubicBezTo>
                          <a:cubicBezTo>
                            <a:pt x="623378" y="916075"/>
                            <a:pt x="647322" y="909375"/>
                            <a:pt x="670379" y="900556"/>
                          </a:cubicBezTo>
                          <a:cubicBezTo>
                            <a:pt x="670379" y="900556"/>
                            <a:pt x="670379" y="900556"/>
                            <a:pt x="670379" y="900556"/>
                          </a:cubicBezTo>
                          <a:lnTo>
                            <a:pt x="761967" y="1005446"/>
                          </a:lnTo>
                          <a:lnTo>
                            <a:pt x="863507" y="940512"/>
                          </a:lnTo>
                          <a:lnTo>
                            <a:pt x="806702" y="813402"/>
                          </a:lnTo>
                          <a:cubicBezTo>
                            <a:pt x="842026" y="778964"/>
                            <a:pt x="871193" y="737777"/>
                            <a:pt x="891983" y="691219"/>
                          </a:cubicBezTo>
                          <a:lnTo>
                            <a:pt x="891983" y="691219"/>
                          </a:lnTo>
                          <a:close/>
                          <a:moveTo>
                            <a:pt x="472374" y="783595"/>
                          </a:moveTo>
                          <a:cubicBezTo>
                            <a:pt x="331421" y="752606"/>
                            <a:pt x="242296" y="613229"/>
                            <a:pt x="273285" y="472276"/>
                          </a:cubicBezTo>
                          <a:cubicBezTo>
                            <a:pt x="304274" y="331322"/>
                            <a:pt x="443652" y="242198"/>
                            <a:pt x="584556" y="273187"/>
                          </a:cubicBezTo>
                          <a:cubicBezTo>
                            <a:pt x="725509" y="304176"/>
                            <a:pt x="814634" y="443553"/>
                            <a:pt x="783645" y="584507"/>
                          </a:cubicBezTo>
                          <a:cubicBezTo>
                            <a:pt x="752656" y="725460"/>
                            <a:pt x="613279" y="814585"/>
                            <a:pt x="472325" y="783595"/>
                          </a:cubicBezTo>
                          <a:close/>
                        </a:path>
                      </a:pathLst>
                    </a:custGeom>
                    <a:solidFill>
                      <a:schemeClr val="accent1"/>
                    </a:solidFill>
                    <a:ln w="4922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573" name="Freeform: Shape 2572">
                      <a:extLst>
                        <a:ext uri="{FF2B5EF4-FFF2-40B4-BE49-F238E27FC236}">
                          <a16:creationId xmlns:a16="http://schemas.microsoft.com/office/drawing/2014/main" id="{2CAF819F-9D6A-E929-A668-5EAC4B22E79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0824944" y="357690"/>
                      <a:ext cx="412197" cy="412212"/>
                    </a:xfrm>
                    <a:custGeom>
                      <a:avLst/>
                      <a:gdLst>
                        <a:gd name="connsiteX0" fmla="*/ 407348 w 412197"/>
                        <a:gd name="connsiteY0" fmla="*/ 250348 h 412212"/>
                        <a:gd name="connsiteX1" fmla="*/ 161850 w 412197"/>
                        <a:gd name="connsiteY1" fmla="*/ 407363 h 412212"/>
                        <a:gd name="connsiteX2" fmla="*/ 4835 w 412197"/>
                        <a:gd name="connsiteY2" fmla="*/ 161864 h 412212"/>
                        <a:gd name="connsiteX3" fmla="*/ 250333 w 412197"/>
                        <a:gd name="connsiteY3" fmla="*/ 4850 h 412212"/>
                        <a:gd name="connsiteX4" fmla="*/ 407348 w 412197"/>
                        <a:gd name="connsiteY4" fmla="*/ 250348 h 41221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12197" h="412212">
                          <a:moveTo>
                            <a:pt x="407348" y="250348"/>
                          </a:moveTo>
                          <a:cubicBezTo>
                            <a:pt x="382912" y="361495"/>
                            <a:pt x="272996" y="431800"/>
                            <a:pt x="161850" y="407363"/>
                          </a:cubicBezTo>
                          <a:cubicBezTo>
                            <a:pt x="50703" y="382926"/>
                            <a:pt x="-19552" y="273011"/>
                            <a:pt x="4835" y="161864"/>
                          </a:cubicBezTo>
                          <a:cubicBezTo>
                            <a:pt x="29271" y="50717"/>
                            <a:pt x="139187" y="-19587"/>
                            <a:pt x="250333" y="4850"/>
                          </a:cubicBezTo>
                          <a:cubicBezTo>
                            <a:pt x="361480" y="29286"/>
                            <a:pt x="431785" y="139201"/>
                            <a:pt x="407348" y="250348"/>
                          </a:cubicBezTo>
                          <a:close/>
                        </a:path>
                      </a:pathLst>
                    </a:custGeom>
                    <a:solidFill>
                      <a:srgbClr val="C6DBE5"/>
                    </a:solidFill>
                    <a:ln w="4922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574" name="Freeform: Shape 2573">
                      <a:extLst>
                        <a:ext uri="{FF2B5EF4-FFF2-40B4-BE49-F238E27FC236}">
                          <a16:creationId xmlns:a16="http://schemas.microsoft.com/office/drawing/2014/main" id="{9D68D348-8019-B5BE-0D01-3D9C4D88DF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0934405" y="248168"/>
                      <a:ext cx="631203" cy="631158"/>
                    </a:xfrm>
                    <a:custGeom>
                      <a:avLst/>
                      <a:gdLst>
                        <a:gd name="connsiteX0" fmla="*/ 247810 w 631203"/>
                        <a:gd name="connsiteY0" fmla="*/ 623746 h 631158"/>
                        <a:gd name="connsiteX1" fmla="*/ 49805 w 631203"/>
                        <a:gd name="connsiteY1" fmla="*/ 485601 h 631158"/>
                        <a:gd name="connsiteX2" fmla="*/ 7485 w 631203"/>
                        <a:gd name="connsiteY2" fmla="*/ 247886 h 631158"/>
                        <a:gd name="connsiteX3" fmla="*/ 145630 w 631203"/>
                        <a:gd name="connsiteY3" fmla="*/ 49832 h 631158"/>
                        <a:gd name="connsiteX4" fmla="*/ 383344 w 631203"/>
                        <a:gd name="connsiteY4" fmla="*/ 7462 h 631158"/>
                        <a:gd name="connsiteX5" fmla="*/ 581399 w 631203"/>
                        <a:gd name="connsiteY5" fmla="*/ 145607 h 631158"/>
                        <a:gd name="connsiteX6" fmla="*/ 623719 w 631203"/>
                        <a:gd name="connsiteY6" fmla="*/ 383322 h 631158"/>
                        <a:gd name="connsiteX7" fmla="*/ 485574 w 631203"/>
                        <a:gd name="connsiteY7" fmla="*/ 581327 h 631158"/>
                        <a:gd name="connsiteX8" fmla="*/ 247859 w 631203"/>
                        <a:gd name="connsiteY8" fmla="*/ 623697 h 631158"/>
                        <a:gd name="connsiteX9" fmla="*/ 379354 w 631203"/>
                        <a:gd name="connsiteY9" fmla="*/ 25445 h 631158"/>
                        <a:gd name="connsiteX10" fmla="*/ 25369 w 631203"/>
                        <a:gd name="connsiteY10" fmla="*/ 251828 h 631158"/>
                        <a:gd name="connsiteX11" fmla="*/ 251751 w 631203"/>
                        <a:gd name="connsiteY11" fmla="*/ 605813 h 631158"/>
                        <a:gd name="connsiteX12" fmla="*/ 605737 w 631203"/>
                        <a:gd name="connsiteY12" fmla="*/ 379430 h 631158"/>
                        <a:gd name="connsiteX13" fmla="*/ 379354 w 631203"/>
                        <a:gd name="connsiteY13" fmla="*/ 25445 h 6311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</a:cxnLst>
                      <a:rect l="l" t="t" r="r" b="b"/>
                      <a:pathLst>
                        <a:path w="631203" h="631158">
                          <a:moveTo>
                            <a:pt x="247810" y="623746"/>
                          </a:moveTo>
                          <a:cubicBezTo>
                            <a:pt x="165534" y="605665"/>
                            <a:pt x="95180" y="556595"/>
                            <a:pt x="49805" y="485601"/>
                          </a:cubicBezTo>
                          <a:cubicBezTo>
                            <a:pt x="4430" y="414607"/>
                            <a:pt x="-10646" y="330212"/>
                            <a:pt x="7485" y="247886"/>
                          </a:cubicBezTo>
                          <a:cubicBezTo>
                            <a:pt x="25566" y="165610"/>
                            <a:pt x="74636" y="95256"/>
                            <a:pt x="145630" y="49832"/>
                          </a:cubicBezTo>
                          <a:cubicBezTo>
                            <a:pt x="216624" y="4408"/>
                            <a:pt x="301019" y="-10619"/>
                            <a:pt x="383344" y="7462"/>
                          </a:cubicBezTo>
                          <a:cubicBezTo>
                            <a:pt x="465670" y="25543"/>
                            <a:pt x="535974" y="74613"/>
                            <a:pt x="581399" y="145607"/>
                          </a:cubicBezTo>
                          <a:cubicBezTo>
                            <a:pt x="626774" y="216602"/>
                            <a:pt x="641850" y="300996"/>
                            <a:pt x="623719" y="383322"/>
                          </a:cubicBezTo>
                          <a:cubicBezTo>
                            <a:pt x="605638" y="465598"/>
                            <a:pt x="556568" y="535952"/>
                            <a:pt x="485574" y="581327"/>
                          </a:cubicBezTo>
                          <a:cubicBezTo>
                            <a:pt x="414580" y="626751"/>
                            <a:pt x="330185" y="641778"/>
                            <a:pt x="247859" y="623697"/>
                          </a:cubicBezTo>
                          <a:close/>
                          <a:moveTo>
                            <a:pt x="379354" y="25445"/>
                          </a:moveTo>
                          <a:cubicBezTo>
                            <a:pt x="219334" y="-9732"/>
                            <a:pt x="60545" y="91808"/>
                            <a:pt x="25369" y="251828"/>
                          </a:cubicBezTo>
                          <a:cubicBezTo>
                            <a:pt x="-9808" y="411848"/>
                            <a:pt x="91732" y="570636"/>
                            <a:pt x="251751" y="605813"/>
                          </a:cubicBezTo>
                          <a:cubicBezTo>
                            <a:pt x="411772" y="640990"/>
                            <a:pt x="570560" y="539450"/>
                            <a:pt x="605737" y="379430"/>
                          </a:cubicBezTo>
                          <a:cubicBezTo>
                            <a:pt x="640913" y="219410"/>
                            <a:pt x="539374" y="60621"/>
                            <a:pt x="379354" y="25445"/>
                          </a:cubicBezTo>
                          <a:close/>
                        </a:path>
                      </a:pathLst>
                    </a:custGeom>
                    <a:solidFill>
                      <a:srgbClr val="7F97A0"/>
                    </a:solidFill>
                    <a:ln w="4922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575" name="Freeform: Shape 2574">
                      <a:extLst>
                        <a:ext uri="{FF2B5EF4-FFF2-40B4-BE49-F238E27FC236}">
                          <a16:creationId xmlns:a16="http://schemas.microsoft.com/office/drawing/2014/main" id="{650822D9-52ED-E3F9-4F5A-77E08C75A22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0824944" y="357690"/>
                      <a:ext cx="412197" cy="412212"/>
                    </a:xfrm>
                    <a:custGeom>
                      <a:avLst/>
                      <a:gdLst>
                        <a:gd name="connsiteX0" fmla="*/ 407348 w 412197"/>
                        <a:gd name="connsiteY0" fmla="*/ 250348 h 412212"/>
                        <a:gd name="connsiteX1" fmla="*/ 161850 w 412197"/>
                        <a:gd name="connsiteY1" fmla="*/ 407363 h 412212"/>
                        <a:gd name="connsiteX2" fmla="*/ 4835 w 412197"/>
                        <a:gd name="connsiteY2" fmla="*/ 161864 h 412212"/>
                        <a:gd name="connsiteX3" fmla="*/ 250333 w 412197"/>
                        <a:gd name="connsiteY3" fmla="*/ 4850 h 412212"/>
                        <a:gd name="connsiteX4" fmla="*/ 407348 w 412197"/>
                        <a:gd name="connsiteY4" fmla="*/ 250348 h 41221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12197" h="412212">
                          <a:moveTo>
                            <a:pt x="407348" y="250348"/>
                          </a:moveTo>
                          <a:cubicBezTo>
                            <a:pt x="382912" y="361495"/>
                            <a:pt x="272996" y="431800"/>
                            <a:pt x="161850" y="407363"/>
                          </a:cubicBezTo>
                          <a:cubicBezTo>
                            <a:pt x="50703" y="382926"/>
                            <a:pt x="-19552" y="273011"/>
                            <a:pt x="4835" y="161864"/>
                          </a:cubicBezTo>
                          <a:cubicBezTo>
                            <a:pt x="29271" y="50717"/>
                            <a:pt x="139187" y="-19587"/>
                            <a:pt x="250333" y="4850"/>
                          </a:cubicBezTo>
                          <a:cubicBezTo>
                            <a:pt x="361480" y="29286"/>
                            <a:pt x="431785" y="139201"/>
                            <a:pt x="407348" y="250348"/>
                          </a:cubicBezTo>
                          <a:close/>
                        </a:path>
                      </a:pathLst>
                    </a:custGeom>
                    <a:solidFill>
                      <a:srgbClr val="C6DBE5"/>
                    </a:solidFill>
                    <a:ln w="4922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76" name="Graphic 2463">
                    <a:extLst>
                      <a:ext uri="{FF2B5EF4-FFF2-40B4-BE49-F238E27FC236}">
                        <a16:creationId xmlns:a16="http://schemas.microsoft.com/office/drawing/2014/main" id="{FA96383C-EF2A-C7C8-65D4-D5DC88F48CE5}"/>
                      </a:ext>
                    </a:extLst>
                  </p:cNvPr>
                  <p:cNvGrpSpPr/>
                  <p:nvPr/>
                </p:nvGrpSpPr>
                <p:grpSpPr>
                  <a:xfrm>
                    <a:off x="-10126722" y="546700"/>
                    <a:ext cx="683385" cy="683435"/>
                    <a:chOff x="-10126722" y="546700"/>
                    <a:chExt cx="683385" cy="683435"/>
                  </a:xfrm>
                </p:grpSpPr>
                <p:sp>
                  <p:nvSpPr>
                    <p:cNvPr id="2577" name="Freeform: Shape 2576">
                      <a:extLst>
                        <a:ext uri="{FF2B5EF4-FFF2-40B4-BE49-F238E27FC236}">
                          <a16:creationId xmlns:a16="http://schemas.microsoft.com/office/drawing/2014/main" id="{3111B4A1-A6F8-4B5F-0794-63682F8DFF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0126722" y="546700"/>
                      <a:ext cx="683385" cy="683435"/>
                    </a:xfrm>
                    <a:custGeom>
                      <a:avLst/>
                      <a:gdLst>
                        <a:gd name="connsiteX0" fmla="*/ 576821 w 683385"/>
                        <a:gd name="connsiteY0" fmla="*/ 447051 h 683435"/>
                        <a:gd name="connsiteX1" fmla="*/ 666635 w 683385"/>
                        <a:gd name="connsiteY1" fmla="*/ 453111 h 683435"/>
                        <a:gd name="connsiteX2" fmla="*/ 683386 w 683385"/>
                        <a:gd name="connsiteY2" fmla="*/ 376993 h 683435"/>
                        <a:gd name="connsiteX3" fmla="*/ 599336 w 683385"/>
                        <a:gd name="connsiteY3" fmla="*/ 344821 h 683435"/>
                        <a:gd name="connsiteX4" fmla="*/ 599336 w 683385"/>
                        <a:gd name="connsiteY4" fmla="*/ 344821 h 683435"/>
                        <a:gd name="connsiteX5" fmla="*/ 583226 w 683385"/>
                        <a:gd name="connsiteY5" fmla="*/ 252100 h 683435"/>
                        <a:gd name="connsiteX6" fmla="*/ 651559 w 683385"/>
                        <a:gd name="connsiteY6" fmla="*/ 193472 h 683435"/>
                        <a:gd name="connsiteX7" fmla="*/ 610175 w 683385"/>
                        <a:gd name="connsiteY7" fmla="*/ 127405 h 683435"/>
                        <a:gd name="connsiteX8" fmla="*/ 527603 w 683385"/>
                        <a:gd name="connsiteY8" fmla="*/ 163370 h 683435"/>
                        <a:gd name="connsiteX9" fmla="*/ 490406 w 683385"/>
                        <a:gd name="connsiteY9" fmla="*/ 131297 h 683435"/>
                        <a:gd name="connsiteX10" fmla="*/ 447002 w 683385"/>
                        <a:gd name="connsiteY10" fmla="*/ 106565 h 683435"/>
                        <a:gd name="connsiteX11" fmla="*/ 453062 w 683385"/>
                        <a:gd name="connsiteY11" fmla="*/ 16751 h 683435"/>
                        <a:gd name="connsiteX12" fmla="*/ 376944 w 683385"/>
                        <a:gd name="connsiteY12" fmla="*/ 0 h 683435"/>
                        <a:gd name="connsiteX13" fmla="*/ 344772 w 683385"/>
                        <a:gd name="connsiteY13" fmla="*/ 84050 h 683435"/>
                        <a:gd name="connsiteX14" fmla="*/ 249883 w 683385"/>
                        <a:gd name="connsiteY14" fmla="*/ 100949 h 683435"/>
                        <a:gd name="connsiteX15" fmla="*/ 190664 w 683385"/>
                        <a:gd name="connsiteY15" fmla="*/ 33157 h 683435"/>
                        <a:gd name="connsiteX16" fmla="*/ 124991 w 683385"/>
                        <a:gd name="connsiteY16" fmla="*/ 75182 h 683435"/>
                        <a:gd name="connsiteX17" fmla="*/ 161695 w 683385"/>
                        <a:gd name="connsiteY17" fmla="*/ 157360 h 683435"/>
                        <a:gd name="connsiteX18" fmla="*/ 106565 w 683385"/>
                        <a:gd name="connsiteY18" fmla="*/ 236384 h 683435"/>
                        <a:gd name="connsiteX19" fmla="*/ 106565 w 683385"/>
                        <a:gd name="connsiteY19" fmla="*/ 236384 h 683435"/>
                        <a:gd name="connsiteX20" fmla="*/ 16751 w 683385"/>
                        <a:gd name="connsiteY20" fmla="*/ 230324 h 683435"/>
                        <a:gd name="connsiteX21" fmla="*/ 0 w 683385"/>
                        <a:gd name="connsiteY21" fmla="*/ 306442 h 683435"/>
                        <a:gd name="connsiteX22" fmla="*/ 84050 w 683385"/>
                        <a:gd name="connsiteY22" fmla="*/ 338614 h 683435"/>
                        <a:gd name="connsiteX23" fmla="*/ 84050 w 683385"/>
                        <a:gd name="connsiteY23" fmla="*/ 338614 h 683435"/>
                        <a:gd name="connsiteX24" fmla="*/ 100949 w 683385"/>
                        <a:gd name="connsiteY24" fmla="*/ 433502 h 683435"/>
                        <a:gd name="connsiteX25" fmla="*/ 33157 w 683385"/>
                        <a:gd name="connsiteY25" fmla="*/ 492722 h 683435"/>
                        <a:gd name="connsiteX26" fmla="*/ 75182 w 683385"/>
                        <a:gd name="connsiteY26" fmla="*/ 558395 h 683435"/>
                        <a:gd name="connsiteX27" fmla="*/ 157360 w 683385"/>
                        <a:gd name="connsiteY27" fmla="*/ 521691 h 683435"/>
                        <a:gd name="connsiteX28" fmla="*/ 236384 w 683385"/>
                        <a:gd name="connsiteY28" fmla="*/ 576870 h 683435"/>
                        <a:gd name="connsiteX29" fmla="*/ 230324 w 683385"/>
                        <a:gd name="connsiteY29" fmla="*/ 666684 h 683435"/>
                        <a:gd name="connsiteX30" fmla="*/ 306442 w 683385"/>
                        <a:gd name="connsiteY30" fmla="*/ 683435 h 683435"/>
                        <a:gd name="connsiteX31" fmla="*/ 338614 w 683385"/>
                        <a:gd name="connsiteY31" fmla="*/ 599385 h 683435"/>
                        <a:gd name="connsiteX32" fmla="*/ 387241 w 683385"/>
                        <a:gd name="connsiteY32" fmla="*/ 595345 h 683435"/>
                        <a:gd name="connsiteX33" fmla="*/ 433502 w 683385"/>
                        <a:gd name="connsiteY33" fmla="*/ 582437 h 683435"/>
                        <a:gd name="connsiteX34" fmla="*/ 433502 w 683385"/>
                        <a:gd name="connsiteY34" fmla="*/ 582437 h 683435"/>
                        <a:gd name="connsiteX35" fmla="*/ 492722 w 683385"/>
                        <a:gd name="connsiteY35" fmla="*/ 650278 h 683435"/>
                        <a:gd name="connsiteX36" fmla="*/ 558395 w 683385"/>
                        <a:gd name="connsiteY36" fmla="*/ 608253 h 683435"/>
                        <a:gd name="connsiteX37" fmla="*/ 521691 w 683385"/>
                        <a:gd name="connsiteY37" fmla="*/ 526026 h 683435"/>
                        <a:gd name="connsiteX38" fmla="*/ 576870 w 683385"/>
                        <a:gd name="connsiteY38" fmla="*/ 447002 h 683435"/>
                        <a:gd name="connsiteX39" fmla="*/ 576870 w 683385"/>
                        <a:gd name="connsiteY39" fmla="*/ 447002 h 683435"/>
                        <a:gd name="connsiteX40" fmla="*/ 305408 w 683385"/>
                        <a:gd name="connsiteY40" fmla="*/ 506763 h 683435"/>
                        <a:gd name="connsiteX41" fmla="*/ 176672 w 683385"/>
                        <a:gd name="connsiteY41" fmla="*/ 305457 h 683435"/>
                        <a:gd name="connsiteX42" fmla="*/ 377978 w 683385"/>
                        <a:gd name="connsiteY42" fmla="*/ 176722 h 683435"/>
                        <a:gd name="connsiteX43" fmla="*/ 506714 w 683385"/>
                        <a:gd name="connsiteY43" fmla="*/ 378028 h 683435"/>
                        <a:gd name="connsiteX44" fmla="*/ 305408 w 683385"/>
                        <a:gd name="connsiteY44" fmla="*/ 506763 h 6834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</a:cxnLst>
                      <a:rect l="l" t="t" r="r" b="b"/>
                      <a:pathLst>
                        <a:path w="683385" h="683435">
                          <a:moveTo>
                            <a:pt x="576821" y="447051"/>
                          </a:moveTo>
                          <a:lnTo>
                            <a:pt x="666635" y="453111"/>
                          </a:lnTo>
                          <a:lnTo>
                            <a:pt x="683386" y="376993"/>
                          </a:lnTo>
                          <a:lnTo>
                            <a:pt x="599336" y="344821"/>
                          </a:lnTo>
                          <a:lnTo>
                            <a:pt x="599336" y="344821"/>
                          </a:lnTo>
                          <a:cubicBezTo>
                            <a:pt x="599730" y="312650"/>
                            <a:pt x="594064" y="281267"/>
                            <a:pt x="583226" y="252100"/>
                          </a:cubicBezTo>
                          <a:lnTo>
                            <a:pt x="651559" y="193472"/>
                          </a:lnTo>
                          <a:lnTo>
                            <a:pt x="610175" y="127405"/>
                          </a:lnTo>
                          <a:lnTo>
                            <a:pt x="527603" y="163370"/>
                          </a:lnTo>
                          <a:cubicBezTo>
                            <a:pt x="516321" y="151595"/>
                            <a:pt x="503856" y="140806"/>
                            <a:pt x="490406" y="131297"/>
                          </a:cubicBezTo>
                          <a:cubicBezTo>
                            <a:pt x="476907" y="121739"/>
                            <a:pt x="462422" y="113462"/>
                            <a:pt x="447002" y="106565"/>
                          </a:cubicBezTo>
                          <a:lnTo>
                            <a:pt x="453062" y="16751"/>
                          </a:lnTo>
                          <a:lnTo>
                            <a:pt x="376944" y="0"/>
                          </a:lnTo>
                          <a:lnTo>
                            <a:pt x="344772" y="84050"/>
                          </a:lnTo>
                          <a:cubicBezTo>
                            <a:pt x="311812" y="83607"/>
                            <a:pt x="279690" y="89568"/>
                            <a:pt x="249883" y="100949"/>
                          </a:cubicBezTo>
                          <a:lnTo>
                            <a:pt x="190664" y="33157"/>
                          </a:lnTo>
                          <a:lnTo>
                            <a:pt x="124991" y="75182"/>
                          </a:lnTo>
                          <a:lnTo>
                            <a:pt x="161695" y="157360"/>
                          </a:lnTo>
                          <a:cubicBezTo>
                            <a:pt x="138884" y="179628"/>
                            <a:pt x="120015" y="206282"/>
                            <a:pt x="106565" y="236384"/>
                          </a:cubicBezTo>
                          <a:cubicBezTo>
                            <a:pt x="106565" y="236384"/>
                            <a:pt x="106565" y="236384"/>
                            <a:pt x="106565" y="236384"/>
                          </a:cubicBezTo>
                          <a:lnTo>
                            <a:pt x="16751" y="230324"/>
                          </a:lnTo>
                          <a:lnTo>
                            <a:pt x="0" y="306442"/>
                          </a:lnTo>
                          <a:lnTo>
                            <a:pt x="84050" y="338614"/>
                          </a:lnTo>
                          <a:lnTo>
                            <a:pt x="84050" y="338614"/>
                          </a:lnTo>
                          <a:cubicBezTo>
                            <a:pt x="83607" y="371623"/>
                            <a:pt x="89568" y="403696"/>
                            <a:pt x="100949" y="433502"/>
                          </a:cubicBezTo>
                          <a:lnTo>
                            <a:pt x="33157" y="492722"/>
                          </a:lnTo>
                          <a:lnTo>
                            <a:pt x="75182" y="558395"/>
                          </a:lnTo>
                          <a:lnTo>
                            <a:pt x="157360" y="521691"/>
                          </a:lnTo>
                          <a:cubicBezTo>
                            <a:pt x="179628" y="544551"/>
                            <a:pt x="206282" y="563420"/>
                            <a:pt x="236384" y="576870"/>
                          </a:cubicBezTo>
                          <a:lnTo>
                            <a:pt x="230324" y="666684"/>
                          </a:lnTo>
                          <a:lnTo>
                            <a:pt x="306442" y="683435"/>
                          </a:lnTo>
                          <a:lnTo>
                            <a:pt x="338614" y="599385"/>
                          </a:lnTo>
                          <a:cubicBezTo>
                            <a:pt x="355118" y="599582"/>
                            <a:pt x="371377" y="598203"/>
                            <a:pt x="387241" y="595345"/>
                          </a:cubicBezTo>
                          <a:cubicBezTo>
                            <a:pt x="403105" y="592488"/>
                            <a:pt x="418574" y="588152"/>
                            <a:pt x="433502" y="582437"/>
                          </a:cubicBezTo>
                          <a:cubicBezTo>
                            <a:pt x="433502" y="582437"/>
                            <a:pt x="433502" y="582437"/>
                            <a:pt x="433502" y="582437"/>
                          </a:cubicBezTo>
                          <a:lnTo>
                            <a:pt x="492722" y="650278"/>
                          </a:lnTo>
                          <a:lnTo>
                            <a:pt x="558395" y="608253"/>
                          </a:lnTo>
                          <a:lnTo>
                            <a:pt x="521691" y="526026"/>
                          </a:lnTo>
                          <a:cubicBezTo>
                            <a:pt x="544551" y="503758"/>
                            <a:pt x="563420" y="477104"/>
                            <a:pt x="576870" y="447002"/>
                          </a:cubicBezTo>
                          <a:lnTo>
                            <a:pt x="576870" y="447002"/>
                          </a:lnTo>
                          <a:close/>
                          <a:moveTo>
                            <a:pt x="305408" y="506763"/>
                          </a:moveTo>
                          <a:cubicBezTo>
                            <a:pt x="214263" y="486711"/>
                            <a:pt x="156621" y="396601"/>
                            <a:pt x="176672" y="305457"/>
                          </a:cubicBezTo>
                          <a:cubicBezTo>
                            <a:pt x="196724" y="214313"/>
                            <a:pt x="286834" y="156670"/>
                            <a:pt x="377978" y="176722"/>
                          </a:cubicBezTo>
                          <a:cubicBezTo>
                            <a:pt x="469123" y="196773"/>
                            <a:pt x="526765" y="286883"/>
                            <a:pt x="506714" y="378028"/>
                          </a:cubicBezTo>
                          <a:cubicBezTo>
                            <a:pt x="486662" y="469172"/>
                            <a:pt x="396552" y="526815"/>
                            <a:pt x="305408" y="506763"/>
                          </a:cubicBezTo>
                          <a:close/>
                        </a:path>
                      </a:pathLst>
                    </a:custGeom>
                    <a:solidFill>
                      <a:schemeClr val="accent1"/>
                    </a:solidFill>
                    <a:ln w="4922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578" name="Freeform: Shape 2577">
                      <a:extLst>
                        <a:ext uri="{FF2B5EF4-FFF2-40B4-BE49-F238E27FC236}">
                          <a16:creationId xmlns:a16="http://schemas.microsoft.com/office/drawing/2014/main" id="{3985D016-AD10-CCCA-1551-E9714DA0A7E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9989108" y="684413"/>
                      <a:ext cx="408109" cy="408109"/>
                    </a:xfrm>
                    <a:custGeom>
                      <a:avLst/>
                      <a:gdLst>
                        <a:gd name="connsiteX0" fmla="*/ 160256 w 408109"/>
                        <a:gd name="connsiteY0" fmla="*/ 403291 h 408109"/>
                        <a:gd name="connsiteX1" fmla="*/ 32210 w 408109"/>
                        <a:gd name="connsiteY1" fmla="*/ 313970 h 408109"/>
                        <a:gd name="connsiteX2" fmla="*/ 4818 w 408109"/>
                        <a:gd name="connsiteY2" fmla="*/ 160256 h 408109"/>
                        <a:gd name="connsiteX3" fmla="*/ 94139 w 408109"/>
                        <a:gd name="connsiteY3" fmla="*/ 32210 h 408109"/>
                        <a:gd name="connsiteX4" fmla="*/ 247853 w 408109"/>
                        <a:gd name="connsiteY4" fmla="*/ 4818 h 408109"/>
                        <a:gd name="connsiteX5" fmla="*/ 375899 w 408109"/>
                        <a:gd name="connsiteY5" fmla="*/ 94139 h 408109"/>
                        <a:gd name="connsiteX6" fmla="*/ 403291 w 408109"/>
                        <a:gd name="connsiteY6" fmla="*/ 247853 h 408109"/>
                        <a:gd name="connsiteX7" fmla="*/ 313970 w 408109"/>
                        <a:gd name="connsiteY7" fmla="*/ 375899 h 408109"/>
                        <a:gd name="connsiteX8" fmla="*/ 160256 w 408109"/>
                        <a:gd name="connsiteY8" fmla="*/ 403291 h 408109"/>
                        <a:gd name="connsiteX9" fmla="*/ 245291 w 408109"/>
                        <a:gd name="connsiteY9" fmla="*/ 16396 h 408109"/>
                        <a:gd name="connsiteX10" fmla="*/ 16396 w 408109"/>
                        <a:gd name="connsiteY10" fmla="*/ 162818 h 408109"/>
                        <a:gd name="connsiteX11" fmla="*/ 162769 w 408109"/>
                        <a:gd name="connsiteY11" fmla="*/ 391714 h 408109"/>
                        <a:gd name="connsiteX12" fmla="*/ 391664 w 408109"/>
                        <a:gd name="connsiteY12" fmla="*/ 245341 h 408109"/>
                        <a:gd name="connsiteX13" fmla="*/ 245291 w 408109"/>
                        <a:gd name="connsiteY13" fmla="*/ 16445 h 4081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</a:cxnLst>
                      <a:rect l="l" t="t" r="r" b="b"/>
                      <a:pathLst>
                        <a:path w="408109" h="408109">
                          <a:moveTo>
                            <a:pt x="160256" y="403291"/>
                          </a:moveTo>
                          <a:cubicBezTo>
                            <a:pt x="107047" y="391615"/>
                            <a:pt x="61574" y="359887"/>
                            <a:pt x="32210" y="313970"/>
                          </a:cubicBezTo>
                          <a:cubicBezTo>
                            <a:pt x="2847" y="268053"/>
                            <a:pt x="-6858" y="213465"/>
                            <a:pt x="4818" y="160256"/>
                          </a:cubicBezTo>
                          <a:cubicBezTo>
                            <a:pt x="16494" y="107047"/>
                            <a:pt x="48222" y="61574"/>
                            <a:pt x="94139" y="32210"/>
                          </a:cubicBezTo>
                          <a:cubicBezTo>
                            <a:pt x="140056" y="2847"/>
                            <a:pt x="194645" y="-6858"/>
                            <a:pt x="247853" y="4818"/>
                          </a:cubicBezTo>
                          <a:cubicBezTo>
                            <a:pt x="301062" y="16543"/>
                            <a:pt x="346535" y="48222"/>
                            <a:pt x="375899" y="94139"/>
                          </a:cubicBezTo>
                          <a:cubicBezTo>
                            <a:pt x="405262" y="140057"/>
                            <a:pt x="414968" y="194645"/>
                            <a:pt x="403291" y="247853"/>
                          </a:cubicBezTo>
                          <a:cubicBezTo>
                            <a:pt x="391615" y="301062"/>
                            <a:pt x="359887" y="346536"/>
                            <a:pt x="313970" y="375899"/>
                          </a:cubicBezTo>
                          <a:cubicBezTo>
                            <a:pt x="268053" y="405262"/>
                            <a:pt x="213465" y="414968"/>
                            <a:pt x="160256" y="403291"/>
                          </a:cubicBezTo>
                          <a:close/>
                          <a:moveTo>
                            <a:pt x="245291" y="16396"/>
                          </a:moveTo>
                          <a:cubicBezTo>
                            <a:pt x="141830" y="-6366"/>
                            <a:pt x="39157" y="59307"/>
                            <a:pt x="16396" y="162818"/>
                          </a:cubicBezTo>
                          <a:cubicBezTo>
                            <a:pt x="-6366" y="266279"/>
                            <a:pt x="59307" y="368952"/>
                            <a:pt x="162769" y="391714"/>
                          </a:cubicBezTo>
                          <a:cubicBezTo>
                            <a:pt x="266230" y="414475"/>
                            <a:pt x="368952" y="348802"/>
                            <a:pt x="391664" y="245341"/>
                          </a:cubicBezTo>
                          <a:cubicBezTo>
                            <a:pt x="414426" y="141879"/>
                            <a:pt x="348752" y="39157"/>
                            <a:pt x="245291" y="16445"/>
                          </a:cubicBezTo>
                          <a:close/>
                        </a:path>
                      </a:pathLst>
                    </a:custGeom>
                    <a:solidFill>
                      <a:srgbClr val="7F97A0"/>
                    </a:solidFill>
                    <a:ln w="4922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  <p:grpSp>
              <p:nvGrpSpPr>
                <p:cNvPr id="2579" name="Graphic 2463">
                  <a:extLst>
                    <a:ext uri="{FF2B5EF4-FFF2-40B4-BE49-F238E27FC236}">
                      <a16:creationId xmlns:a16="http://schemas.microsoft.com/office/drawing/2014/main" id="{AF35BAF4-5934-3390-62E0-B284A3553E32}"/>
                    </a:ext>
                  </a:extLst>
                </p:cNvPr>
                <p:cNvGrpSpPr/>
                <p:nvPr/>
              </p:nvGrpSpPr>
              <p:grpSpPr>
                <a:xfrm>
                  <a:off x="1005659" y="1943379"/>
                  <a:ext cx="89857" cy="89857"/>
                  <a:chOff x="-10502434" y="1057454"/>
                  <a:chExt cx="494051" cy="494051"/>
                </a:xfrm>
                <a:solidFill>
                  <a:srgbClr val="C6DBE5"/>
                </a:solidFill>
              </p:grpSpPr>
              <p:sp>
                <p:nvSpPr>
                  <p:cNvPr id="2580" name="Freeform: Shape 2579">
                    <a:extLst>
                      <a:ext uri="{FF2B5EF4-FFF2-40B4-BE49-F238E27FC236}">
                        <a16:creationId xmlns:a16="http://schemas.microsoft.com/office/drawing/2014/main" id="{45275A2A-F56B-6D25-DC05-2628C0FA4F9D}"/>
                      </a:ext>
                    </a:extLst>
                  </p:cNvPr>
                  <p:cNvSpPr/>
                  <p:nvPr/>
                </p:nvSpPr>
                <p:spPr>
                  <a:xfrm>
                    <a:off x="-10502434" y="1057454"/>
                    <a:ext cx="494051" cy="494051"/>
                  </a:xfrm>
                  <a:custGeom>
                    <a:avLst/>
                    <a:gdLst>
                      <a:gd name="connsiteX0" fmla="*/ 416998 w 494051"/>
                      <a:gd name="connsiteY0" fmla="*/ 323144 h 494051"/>
                      <a:gd name="connsiteX1" fmla="*/ 481932 w 494051"/>
                      <a:gd name="connsiteY1" fmla="*/ 327529 h 494051"/>
                      <a:gd name="connsiteX2" fmla="*/ 494052 w 494051"/>
                      <a:gd name="connsiteY2" fmla="*/ 272497 h 494051"/>
                      <a:gd name="connsiteX3" fmla="*/ 433256 w 494051"/>
                      <a:gd name="connsiteY3" fmla="*/ 249243 h 494051"/>
                      <a:gd name="connsiteX4" fmla="*/ 433256 w 494051"/>
                      <a:gd name="connsiteY4" fmla="*/ 249243 h 494051"/>
                      <a:gd name="connsiteX5" fmla="*/ 421629 w 494051"/>
                      <a:gd name="connsiteY5" fmla="*/ 182240 h 494051"/>
                      <a:gd name="connsiteX6" fmla="*/ 471044 w 494051"/>
                      <a:gd name="connsiteY6" fmla="*/ 139870 h 494051"/>
                      <a:gd name="connsiteX7" fmla="*/ 441090 w 494051"/>
                      <a:gd name="connsiteY7" fmla="*/ 92130 h 494051"/>
                      <a:gd name="connsiteX8" fmla="*/ 381427 w 494051"/>
                      <a:gd name="connsiteY8" fmla="*/ 118143 h 494051"/>
                      <a:gd name="connsiteX9" fmla="*/ 354527 w 494051"/>
                      <a:gd name="connsiteY9" fmla="*/ 94938 h 494051"/>
                      <a:gd name="connsiteX10" fmla="*/ 323144 w 494051"/>
                      <a:gd name="connsiteY10" fmla="*/ 77054 h 494051"/>
                      <a:gd name="connsiteX11" fmla="*/ 327529 w 494051"/>
                      <a:gd name="connsiteY11" fmla="*/ 12120 h 494051"/>
                      <a:gd name="connsiteX12" fmla="*/ 272497 w 494051"/>
                      <a:gd name="connsiteY12" fmla="*/ 0 h 494051"/>
                      <a:gd name="connsiteX13" fmla="*/ 249243 w 494051"/>
                      <a:gd name="connsiteY13" fmla="*/ 60796 h 494051"/>
                      <a:gd name="connsiteX14" fmla="*/ 180663 w 494051"/>
                      <a:gd name="connsiteY14" fmla="*/ 73014 h 494051"/>
                      <a:gd name="connsiteX15" fmla="*/ 137850 w 494051"/>
                      <a:gd name="connsiteY15" fmla="*/ 23993 h 494051"/>
                      <a:gd name="connsiteX16" fmla="*/ 90356 w 494051"/>
                      <a:gd name="connsiteY16" fmla="*/ 54342 h 494051"/>
                      <a:gd name="connsiteX17" fmla="*/ 116911 w 494051"/>
                      <a:gd name="connsiteY17" fmla="*/ 113758 h 494051"/>
                      <a:gd name="connsiteX18" fmla="*/ 77054 w 494051"/>
                      <a:gd name="connsiteY18" fmla="*/ 170908 h 494051"/>
                      <a:gd name="connsiteX19" fmla="*/ 77054 w 494051"/>
                      <a:gd name="connsiteY19" fmla="*/ 170908 h 494051"/>
                      <a:gd name="connsiteX20" fmla="*/ 12120 w 494051"/>
                      <a:gd name="connsiteY20" fmla="*/ 166523 h 494051"/>
                      <a:gd name="connsiteX21" fmla="*/ 0 w 494051"/>
                      <a:gd name="connsiteY21" fmla="*/ 221555 h 494051"/>
                      <a:gd name="connsiteX22" fmla="*/ 60796 w 494051"/>
                      <a:gd name="connsiteY22" fmla="*/ 244809 h 494051"/>
                      <a:gd name="connsiteX23" fmla="*/ 60796 w 494051"/>
                      <a:gd name="connsiteY23" fmla="*/ 244809 h 494051"/>
                      <a:gd name="connsiteX24" fmla="*/ 73014 w 494051"/>
                      <a:gd name="connsiteY24" fmla="*/ 313389 h 494051"/>
                      <a:gd name="connsiteX25" fmla="*/ 23993 w 494051"/>
                      <a:gd name="connsiteY25" fmla="*/ 356202 h 494051"/>
                      <a:gd name="connsiteX26" fmla="*/ 54342 w 494051"/>
                      <a:gd name="connsiteY26" fmla="*/ 403696 h 494051"/>
                      <a:gd name="connsiteX27" fmla="*/ 113758 w 494051"/>
                      <a:gd name="connsiteY27" fmla="*/ 377141 h 494051"/>
                      <a:gd name="connsiteX28" fmla="*/ 170908 w 494051"/>
                      <a:gd name="connsiteY28" fmla="*/ 416998 h 494051"/>
                      <a:gd name="connsiteX29" fmla="*/ 166523 w 494051"/>
                      <a:gd name="connsiteY29" fmla="*/ 481932 h 494051"/>
                      <a:gd name="connsiteX30" fmla="*/ 221555 w 494051"/>
                      <a:gd name="connsiteY30" fmla="*/ 494052 h 494051"/>
                      <a:gd name="connsiteX31" fmla="*/ 244809 w 494051"/>
                      <a:gd name="connsiteY31" fmla="*/ 433256 h 494051"/>
                      <a:gd name="connsiteX32" fmla="*/ 279986 w 494051"/>
                      <a:gd name="connsiteY32" fmla="*/ 430349 h 494051"/>
                      <a:gd name="connsiteX33" fmla="*/ 313438 w 494051"/>
                      <a:gd name="connsiteY33" fmla="*/ 421038 h 494051"/>
                      <a:gd name="connsiteX34" fmla="*/ 313438 w 494051"/>
                      <a:gd name="connsiteY34" fmla="*/ 421038 h 494051"/>
                      <a:gd name="connsiteX35" fmla="*/ 356251 w 494051"/>
                      <a:gd name="connsiteY35" fmla="*/ 470059 h 494051"/>
                      <a:gd name="connsiteX36" fmla="*/ 403745 w 494051"/>
                      <a:gd name="connsiteY36" fmla="*/ 439710 h 494051"/>
                      <a:gd name="connsiteX37" fmla="*/ 377190 w 494051"/>
                      <a:gd name="connsiteY37" fmla="*/ 380294 h 494051"/>
                      <a:gd name="connsiteX38" fmla="*/ 417047 w 494051"/>
                      <a:gd name="connsiteY38" fmla="*/ 323144 h 494051"/>
                      <a:gd name="connsiteX39" fmla="*/ 417047 w 494051"/>
                      <a:gd name="connsiteY39" fmla="*/ 323144 h 494051"/>
                      <a:gd name="connsiteX40" fmla="*/ 220767 w 494051"/>
                      <a:gd name="connsiteY40" fmla="*/ 366351 h 494051"/>
                      <a:gd name="connsiteX41" fmla="*/ 127701 w 494051"/>
                      <a:gd name="connsiteY41" fmla="*/ 220816 h 494051"/>
                      <a:gd name="connsiteX42" fmla="*/ 273236 w 494051"/>
                      <a:gd name="connsiteY42" fmla="*/ 127750 h 494051"/>
                      <a:gd name="connsiteX43" fmla="*/ 366302 w 494051"/>
                      <a:gd name="connsiteY43" fmla="*/ 273285 h 494051"/>
                      <a:gd name="connsiteX44" fmla="*/ 220767 w 494051"/>
                      <a:gd name="connsiteY44" fmla="*/ 366351 h 4940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</a:cxnLst>
                    <a:rect l="l" t="t" r="r" b="b"/>
                    <a:pathLst>
                      <a:path w="494051" h="494051">
                        <a:moveTo>
                          <a:pt x="416998" y="323144"/>
                        </a:moveTo>
                        <a:lnTo>
                          <a:pt x="481932" y="327529"/>
                        </a:lnTo>
                        <a:lnTo>
                          <a:pt x="494052" y="272497"/>
                        </a:lnTo>
                        <a:lnTo>
                          <a:pt x="433256" y="249243"/>
                        </a:lnTo>
                        <a:lnTo>
                          <a:pt x="433256" y="249243"/>
                        </a:lnTo>
                        <a:cubicBezTo>
                          <a:pt x="433552" y="225989"/>
                          <a:pt x="429463" y="203326"/>
                          <a:pt x="421629" y="182240"/>
                        </a:cubicBezTo>
                        <a:lnTo>
                          <a:pt x="471044" y="139870"/>
                        </a:lnTo>
                        <a:lnTo>
                          <a:pt x="441090" y="92130"/>
                        </a:lnTo>
                        <a:lnTo>
                          <a:pt x="381427" y="118143"/>
                        </a:lnTo>
                        <a:cubicBezTo>
                          <a:pt x="373249" y="109620"/>
                          <a:pt x="364282" y="101835"/>
                          <a:pt x="354527" y="94938"/>
                        </a:cubicBezTo>
                        <a:cubicBezTo>
                          <a:pt x="344772" y="88041"/>
                          <a:pt x="334278" y="82030"/>
                          <a:pt x="323144" y="77054"/>
                        </a:cubicBezTo>
                        <a:lnTo>
                          <a:pt x="327529" y="12120"/>
                        </a:lnTo>
                        <a:lnTo>
                          <a:pt x="272497" y="0"/>
                        </a:lnTo>
                        <a:lnTo>
                          <a:pt x="249243" y="60796"/>
                        </a:lnTo>
                        <a:cubicBezTo>
                          <a:pt x="225398" y="60500"/>
                          <a:pt x="202193" y="64787"/>
                          <a:pt x="180663" y="73014"/>
                        </a:cubicBezTo>
                        <a:lnTo>
                          <a:pt x="137850" y="23993"/>
                        </a:lnTo>
                        <a:lnTo>
                          <a:pt x="90356" y="54342"/>
                        </a:lnTo>
                        <a:lnTo>
                          <a:pt x="116911" y="113758"/>
                        </a:lnTo>
                        <a:cubicBezTo>
                          <a:pt x="100407" y="129869"/>
                          <a:pt x="86760" y="149132"/>
                          <a:pt x="77054" y="170908"/>
                        </a:cubicBezTo>
                        <a:cubicBezTo>
                          <a:pt x="77054" y="170908"/>
                          <a:pt x="77054" y="170908"/>
                          <a:pt x="77054" y="170908"/>
                        </a:cubicBezTo>
                        <a:lnTo>
                          <a:pt x="12120" y="166523"/>
                        </a:lnTo>
                        <a:lnTo>
                          <a:pt x="0" y="221555"/>
                        </a:lnTo>
                        <a:lnTo>
                          <a:pt x="60796" y="244809"/>
                        </a:lnTo>
                        <a:lnTo>
                          <a:pt x="60796" y="244809"/>
                        </a:lnTo>
                        <a:cubicBezTo>
                          <a:pt x="60500" y="268654"/>
                          <a:pt x="64786" y="291859"/>
                          <a:pt x="73014" y="313389"/>
                        </a:cubicBezTo>
                        <a:lnTo>
                          <a:pt x="23993" y="356202"/>
                        </a:lnTo>
                        <a:lnTo>
                          <a:pt x="54342" y="403696"/>
                        </a:lnTo>
                        <a:lnTo>
                          <a:pt x="113758" y="377141"/>
                        </a:lnTo>
                        <a:cubicBezTo>
                          <a:pt x="129868" y="393645"/>
                          <a:pt x="149132" y="407292"/>
                          <a:pt x="170908" y="416998"/>
                        </a:cubicBezTo>
                        <a:lnTo>
                          <a:pt x="166523" y="481932"/>
                        </a:lnTo>
                        <a:lnTo>
                          <a:pt x="221555" y="494052"/>
                        </a:lnTo>
                        <a:lnTo>
                          <a:pt x="244809" y="433256"/>
                        </a:lnTo>
                        <a:cubicBezTo>
                          <a:pt x="256732" y="433404"/>
                          <a:pt x="268506" y="432419"/>
                          <a:pt x="279986" y="430349"/>
                        </a:cubicBezTo>
                        <a:cubicBezTo>
                          <a:pt x="291465" y="428280"/>
                          <a:pt x="302649" y="425127"/>
                          <a:pt x="313438" y="421038"/>
                        </a:cubicBezTo>
                        <a:cubicBezTo>
                          <a:pt x="313438" y="421038"/>
                          <a:pt x="313438" y="421038"/>
                          <a:pt x="313438" y="421038"/>
                        </a:cubicBezTo>
                        <a:lnTo>
                          <a:pt x="356251" y="470059"/>
                        </a:lnTo>
                        <a:lnTo>
                          <a:pt x="403745" y="439710"/>
                        </a:lnTo>
                        <a:lnTo>
                          <a:pt x="377190" y="380294"/>
                        </a:lnTo>
                        <a:cubicBezTo>
                          <a:pt x="393695" y="364184"/>
                          <a:pt x="407342" y="344920"/>
                          <a:pt x="417047" y="323144"/>
                        </a:cubicBezTo>
                        <a:lnTo>
                          <a:pt x="417047" y="323144"/>
                        </a:lnTo>
                        <a:close/>
                        <a:moveTo>
                          <a:pt x="220767" y="366351"/>
                        </a:moveTo>
                        <a:cubicBezTo>
                          <a:pt x="154896" y="351867"/>
                          <a:pt x="113216" y="286686"/>
                          <a:pt x="127701" y="220816"/>
                        </a:cubicBezTo>
                        <a:cubicBezTo>
                          <a:pt x="142185" y="154946"/>
                          <a:pt x="207317" y="113265"/>
                          <a:pt x="273236" y="127750"/>
                        </a:cubicBezTo>
                        <a:cubicBezTo>
                          <a:pt x="339156" y="142235"/>
                          <a:pt x="380787" y="207415"/>
                          <a:pt x="366302" y="273285"/>
                        </a:cubicBezTo>
                        <a:cubicBezTo>
                          <a:pt x="351817" y="339156"/>
                          <a:pt x="286686" y="380836"/>
                          <a:pt x="220767" y="366351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 w="492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81" name="Freeform: Shape 2580">
                    <a:extLst>
                      <a:ext uri="{FF2B5EF4-FFF2-40B4-BE49-F238E27FC236}">
                        <a16:creationId xmlns:a16="http://schemas.microsoft.com/office/drawing/2014/main" id="{E944BA3B-9BB8-28E8-8AC1-8952382BAB34}"/>
                      </a:ext>
                    </a:extLst>
                  </p:cNvPr>
                  <p:cNvSpPr/>
                  <p:nvPr/>
                </p:nvSpPr>
                <p:spPr>
                  <a:xfrm>
                    <a:off x="-10346428" y="1213510"/>
                    <a:ext cx="181989" cy="181989"/>
                  </a:xfrm>
                  <a:custGeom>
                    <a:avLst/>
                    <a:gdLst>
                      <a:gd name="connsiteX0" fmla="*/ 179848 w 181989"/>
                      <a:gd name="connsiteY0" fmla="*/ 110529 h 181989"/>
                      <a:gd name="connsiteX1" fmla="*/ 71460 w 181989"/>
                      <a:gd name="connsiteY1" fmla="*/ 179848 h 181989"/>
                      <a:gd name="connsiteX2" fmla="*/ 2141 w 181989"/>
                      <a:gd name="connsiteY2" fmla="*/ 71461 h 181989"/>
                      <a:gd name="connsiteX3" fmla="*/ 110529 w 181989"/>
                      <a:gd name="connsiteY3" fmla="*/ 2141 h 181989"/>
                      <a:gd name="connsiteX4" fmla="*/ 179848 w 181989"/>
                      <a:gd name="connsiteY4" fmla="*/ 110529 h 1819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989" h="181989">
                        <a:moveTo>
                          <a:pt x="179848" y="110529"/>
                        </a:moveTo>
                        <a:cubicBezTo>
                          <a:pt x="169059" y="159600"/>
                          <a:pt x="120531" y="190638"/>
                          <a:pt x="71460" y="179848"/>
                        </a:cubicBezTo>
                        <a:cubicBezTo>
                          <a:pt x="22390" y="169059"/>
                          <a:pt x="-8648" y="120531"/>
                          <a:pt x="2141" y="71461"/>
                        </a:cubicBezTo>
                        <a:cubicBezTo>
                          <a:pt x="12931" y="22390"/>
                          <a:pt x="61459" y="-8648"/>
                          <a:pt x="110529" y="2141"/>
                        </a:cubicBezTo>
                        <a:cubicBezTo>
                          <a:pt x="159600" y="12931"/>
                          <a:pt x="190638" y="61459"/>
                          <a:pt x="179848" y="110529"/>
                        </a:cubicBezTo>
                        <a:close/>
                      </a:path>
                    </a:pathLst>
                  </a:custGeom>
                  <a:solidFill>
                    <a:srgbClr val="C6DBE5"/>
                  </a:solidFill>
                  <a:ln w="492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grpSp>
          <p:nvGrpSpPr>
            <p:cNvPr id="2585" name="Group 2584">
              <a:extLst>
                <a:ext uri="{FF2B5EF4-FFF2-40B4-BE49-F238E27FC236}">
                  <a16:creationId xmlns:a16="http://schemas.microsoft.com/office/drawing/2014/main" id="{4A80F458-6922-277D-31D9-756AAD1F33CC}"/>
                </a:ext>
              </a:extLst>
            </p:cNvPr>
            <p:cNvGrpSpPr/>
            <p:nvPr/>
          </p:nvGrpSpPr>
          <p:grpSpPr>
            <a:xfrm>
              <a:off x="1844339" y="2380632"/>
              <a:ext cx="462398" cy="230710"/>
              <a:chOff x="9720624" y="2041792"/>
              <a:chExt cx="419880" cy="209496"/>
            </a:xfrm>
            <a:solidFill>
              <a:schemeClr val="tx1"/>
            </a:solidFill>
          </p:grpSpPr>
          <p:sp>
            <p:nvSpPr>
              <p:cNvPr id="2586" name="Freeform: Shape 2585">
                <a:extLst>
                  <a:ext uri="{FF2B5EF4-FFF2-40B4-BE49-F238E27FC236}">
                    <a16:creationId xmlns:a16="http://schemas.microsoft.com/office/drawing/2014/main" id="{8D3B0360-DC0E-D25A-ED3D-72399545B889}"/>
                  </a:ext>
                </a:extLst>
              </p:cNvPr>
              <p:cNvSpPr/>
              <p:nvPr/>
            </p:nvSpPr>
            <p:spPr>
              <a:xfrm>
                <a:off x="9807881" y="2068032"/>
                <a:ext cx="332623" cy="151416"/>
              </a:xfrm>
              <a:custGeom>
                <a:avLst/>
                <a:gdLst>
                  <a:gd name="connsiteX0" fmla="*/ 35025 w 332568"/>
                  <a:gd name="connsiteY0" fmla="*/ 109223 h 155580"/>
                  <a:gd name="connsiteX1" fmla="*/ 96809 w 332568"/>
                  <a:gd name="connsiteY1" fmla="*/ 136255 h 155580"/>
                  <a:gd name="connsiteX2" fmla="*/ 297163 w 332568"/>
                  <a:gd name="connsiteY2" fmla="*/ 51533 h 155580"/>
                  <a:gd name="connsiteX3" fmla="*/ 310577 w 332568"/>
                  <a:gd name="connsiteY3" fmla="*/ 39285 h 155580"/>
                  <a:gd name="connsiteX4" fmla="*/ 313485 w 332568"/>
                  <a:gd name="connsiteY4" fmla="*/ 25947 h 155580"/>
                  <a:gd name="connsiteX5" fmla="*/ 302445 w 332568"/>
                  <a:gd name="connsiteY5" fmla="*/ 19183 h 155580"/>
                  <a:gd name="connsiteX6" fmla="*/ 284306 w 332568"/>
                  <a:gd name="connsiteY6" fmla="*/ 20499 h 155580"/>
                  <a:gd name="connsiteX7" fmla="*/ 78613 w 332568"/>
                  <a:gd name="connsiteY7" fmla="*/ 111056 h 155580"/>
                  <a:gd name="connsiteX8" fmla="*/ 73351 w 332568"/>
                  <a:gd name="connsiteY8" fmla="*/ 111714 h 155580"/>
                  <a:gd name="connsiteX9" fmla="*/ 42813 w 332568"/>
                  <a:gd name="connsiteY9" fmla="*/ 106622 h 155580"/>
                  <a:gd name="connsiteX10" fmla="*/ 35025 w 332568"/>
                  <a:gd name="connsiteY10" fmla="*/ 109223 h 155580"/>
                  <a:gd name="connsiteX11" fmla="*/ 96752 w 332568"/>
                  <a:gd name="connsiteY11" fmla="*/ 155581 h 155580"/>
                  <a:gd name="connsiteX12" fmla="*/ 93040 w 332568"/>
                  <a:gd name="connsiteY12" fmla="*/ 154804 h 155580"/>
                  <a:gd name="connsiteX13" fmla="*/ 5558 w 332568"/>
                  <a:gd name="connsiteY13" fmla="*/ 116532 h 155580"/>
                  <a:gd name="connsiteX14" fmla="*/ 9 w 332568"/>
                  <a:gd name="connsiteY14" fmla="*/ 107634 h 155580"/>
                  <a:gd name="connsiteX15" fmla="*/ 6343 w 332568"/>
                  <a:gd name="connsiteY15" fmla="*/ 99275 h 155580"/>
                  <a:gd name="connsiteX16" fmla="*/ 39138 w 332568"/>
                  <a:gd name="connsiteY16" fmla="*/ 88339 h 155580"/>
                  <a:gd name="connsiteX17" fmla="*/ 43597 w 332568"/>
                  <a:gd name="connsiteY17" fmla="*/ 87991 h 155580"/>
                  <a:gd name="connsiteX18" fmla="*/ 73676 w 332568"/>
                  <a:gd name="connsiteY18" fmla="*/ 93004 h 155580"/>
                  <a:gd name="connsiteX19" fmla="*/ 277034 w 332568"/>
                  <a:gd name="connsiteY19" fmla="*/ 3485 h 155580"/>
                  <a:gd name="connsiteX20" fmla="*/ 306175 w 332568"/>
                  <a:gd name="connsiteY20" fmla="*/ 1055 h 155580"/>
                  <a:gd name="connsiteX21" fmla="*/ 330571 w 332568"/>
                  <a:gd name="connsiteY21" fmla="*/ 18834 h 155580"/>
                  <a:gd name="connsiteX22" fmla="*/ 326343 w 332568"/>
                  <a:gd name="connsiteY22" fmla="*/ 48977 h 155580"/>
                  <a:gd name="connsiteX23" fmla="*/ 304339 w 332568"/>
                  <a:gd name="connsiteY23" fmla="*/ 68599 h 155580"/>
                  <a:gd name="connsiteX24" fmla="*/ 100349 w 332568"/>
                  <a:gd name="connsiteY24" fmla="*/ 154850 h 155580"/>
                  <a:gd name="connsiteX25" fmla="*/ 96752 w 332568"/>
                  <a:gd name="connsiteY25" fmla="*/ 155581 h 15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32568" h="155580">
                    <a:moveTo>
                      <a:pt x="35025" y="109223"/>
                    </a:moveTo>
                    <a:lnTo>
                      <a:pt x="96809" y="136255"/>
                    </a:lnTo>
                    <a:lnTo>
                      <a:pt x="297163" y="51533"/>
                    </a:lnTo>
                    <a:cubicBezTo>
                      <a:pt x="301985" y="49530"/>
                      <a:pt x="307228" y="44731"/>
                      <a:pt x="310577" y="39285"/>
                    </a:cubicBezTo>
                    <a:cubicBezTo>
                      <a:pt x="313734" y="34144"/>
                      <a:pt x="314824" y="29159"/>
                      <a:pt x="313485" y="25947"/>
                    </a:cubicBezTo>
                    <a:cubicBezTo>
                      <a:pt x="312202" y="22872"/>
                      <a:pt x="308070" y="20344"/>
                      <a:pt x="302445" y="19183"/>
                    </a:cubicBezTo>
                    <a:cubicBezTo>
                      <a:pt x="296360" y="17931"/>
                      <a:pt x="289241" y="18448"/>
                      <a:pt x="284306" y="20499"/>
                    </a:cubicBezTo>
                    <a:lnTo>
                      <a:pt x="78613" y="111056"/>
                    </a:lnTo>
                    <a:cubicBezTo>
                      <a:pt x="76948" y="111781"/>
                      <a:pt x="75130" y="112008"/>
                      <a:pt x="73351" y="111714"/>
                    </a:cubicBezTo>
                    <a:lnTo>
                      <a:pt x="42813" y="106622"/>
                    </a:lnTo>
                    <a:lnTo>
                      <a:pt x="35025" y="109223"/>
                    </a:lnTo>
                    <a:close/>
                    <a:moveTo>
                      <a:pt x="96752" y="155581"/>
                    </a:moveTo>
                    <a:cubicBezTo>
                      <a:pt x="95489" y="155581"/>
                      <a:pt x="94226" y="155323"/>
                      <a:pt x="93040" y="154804"/>
                    </a:cubicBezTo>
                    <a:lnTo>
                      <a:pt x="5558" y="116532"/>
                    </a:lnTo>
                    <a:cubicBezTo>
                      <a:pt x="2038" y="114995"/>
                      <a:pt x="-163" y="111459"/>
                      <a:pt x="9" y="107634"/>
                    </a:cubicBezTo>
                    <a:cubicBezTo>
                      <a:pt x="201" y="103809"/>
                      <a:pt x="2707" y="100486"/>
                      <a:pt x="6343" y="99275"/>
                    </a:cubicBezTo>
                    <a:lnTo>
                      <a:pt x="39138" y="88339"/>
                    </a:lnTo>
                    <a:cubicBezTo>
                      <a:pt x="40573" y="87859"/>
                      <a:pt x="42105" y="87740"/>
                      <a:pt x="43597" y="87991"/>
                    </a:cubicBezTo>
                    <a:lnTo>
                      <a:pt x="73676" y="93004"/>
                    </a:lnTo>
                    <a:lnTo>
                      <a:pt x="277034" y="3485"/>
                    </a:lnTo>
                    <a:cubicBezTo>
                      <a:pt x="285568" y="-70"/>
                      <a:pt x="296398" y="-952"/>
                      <a:pt x="306175" y="1055"/>
                    </a:cubicBezTo>
                    <a:cubicBezTo>
                      <a:pt x="318154" y="3525"/>
                      <a:pt x="326821" y="9837"/>
                      <a:pt x="330571" y="18834"/>
                    </a:cubicBezTo>
                    <a:cubicBezTo>
                      <a:pt x="334283" y="27778"/>
                      <a:pt x="332791" y="38483"/>
                      <a:pt x="326343" y="48977"/>
                    </a:cubicBezTo>
                    <a:cubicBezTo>
                      <a:pt x="320928" y="57780"/>
                      <a:pt x="312700" y="65116"/>
                      <a:pt x="304339" y="68599"/>
                    </a:cubicBezTo>
                    <a:lnTo>
                      <a:pt x="100349" y="154850"/>
                    </a:lnTo>
                    <a:cubicBezTo>
                      <a:pt x="99201" y="155338"/>
                      <a:pt x="97976" y="155581"/>
                      <a:pt x="96752" y="155581"/>
                    </a:cubicBezTo>
                    <a:close/>
                  </a:path>
                </a:pathLst>
              </a:custGeom>
              <a:grpFill/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87" name="Freeform: Shape 2586">
                <a:extLst>
                  <a:ext uri="{FF2B5EF4-FFF2-40B4-BE49-F238E27FC236}">
                    <a16:creationId xmlns:a16="http://schemas.microsoft.com/office/drawing/2014/main" id="{B30CC31C-7A0F-7F3C-E464-5ACF6CC9D598}"/>
                  </a:ext>
                </a:extLst>
              </p:cNvPr>
              <p:cNvSpPr/>
              <p:nvPr/>
            </p:nvSpPr>
            <p:spPr>
              <a:xfrm>
                <a:off x="9851639" y="2041792"/>
                <a:ext cx="178031" cy="96579"/>
              </a:xfrm>
              <a:custGeom>
                <a:avLst/>
                <a:gdLst>
                  <a:gd name="connsiteX0" fmla="*/ 104124 w 178001"/>
                  <a:gd name="connsiteY0" fmla="*/ 99236 h 99235"/>
                  <a:gd name="connsiteX1" fmla="*/ 4168 w 178001"/>
                  <a:gd name="connsiteY1" fmla="*/ 33385 h 99235"/>
                  <a:gd name="connsiteX2" fmla="*/ 16 w 178001"/>
                  <a:gd name="connsiteY2" fmla="*/ 25108 h 99235"/>
                  <a:gd name="connsiteX3" fmla="*/ 5105 w 178001"/>
                  <a:gd name="connsiteY3" fmla="*/ 17379 h 99235"/>
                  <a:gd name="connsiteX4" fmla="*/ 37920 w 178001"/>
                  <a:gd name="connsiteY4" fmla="*/ 978 h 99235"/>
                  <a:gd name="connsiteX5" fmla="*/ 45573 w 178001"/>
                  <a:gd name="connsiteY5" fmla="*/ 696 h 99235"/>
                  <a:gd name="connsiteX6" fmla="*/ 178001 w 178001"/>
                  <a:gd name="connsiteY6" fmla="*/ 55135 h 99235"/>
                  <a:gd name="connsiteX7" fmla="*/ 170960 w 178001"/>
                  <a:gd name="connsiteY7" fmla="*/ 72253 h 99235"/>
                  <a:gd name="connsiteX8" fmla="*/ 42436 w 178001"/>
                  <a:gd name="connsiteY8" fmla="*/ 19412 h 99235"/>
                  <a:gd name="connsiteX9" fmla="*/ 27741 w 178001"/>
                  <a:gd name="connsiteY9" fmla="*/ 26757 h 99235"/>
                  <a:gd name="connsiteX10" fmla="*/ 114304 w 178001"/>
                  <a:gd name="connsiteY10" fmla="*/ 83781 h 99235"/>
                  <a:gd name="connsiteX11" fmla="*/ 104124 w 178001"/>
                  <a:gd name="connsiteY11" fmla="*/ 99236 h 99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8001" h="99235">
                    <a:moveTo>
                      <a:pt x="104124" y="99236"/>
                    </a:moveTo>
                    <a:lnTo>
                      <a:pt x="4168" y="33385"/>
                    </a:lnTo>
                    <a:cubicBezTo>
                      <a:pt x="1393" y="31564"/>
                      <a:pt x="-176" y="28410"/>
                      <a:pt x="16" y="25108"/>
                    </a:cubicBezTo>
                    <a:cubicBezTo>
                      <a:pt x="206" y="21805"/>
                      <a:pt x="2158" y="18861"/>
                      <a:pt x="5105" y="17379"/>
                    </a:cubicBezTo>
                    <a:lnTo>
                      <a:pt x="37920" y="978"/>
                    </a:lnTo>
                    <a:cubicBezTo>
                      <a:pt x="40312" y="-220"/>
                      <a:pt x="43105" y="-322"/>
                      <a:pt x="45573" y="696"/>
                    </a:cubicBezTo>
                    <a:lnTo>
                      <a:pt x="178001" y="55135"/>
                    </a:lnTo>
                    <a:lnTo>
                      <a:pt x="170960" y="72253"/>
                    </a:lnTo>
                    <a:lnTo>
                      <a:pt x="42436" y="19412"/>
                    </a:lnTo>
                    <a:lnTo>
                      <a:pt x="27741" y="26757"/>
                    </a:lnTo>
                    <a:lnTo>
                      <a:pt x="114304" y="83781"/>
                    </a:lnTo>
                    <a:lnTo>
                      <a:pt x="104124" y="99236"/>
                    </a:lnTo>
                    <a:close/>
                  </a:path>
                </a:pathLst>
              </a:custGeom>
              <a:grpFill/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88" name="Freeform: Shape 2587">
                <a:extLst>
                  <a:ext uri="{FF2B5EF4-FFF2-40B4-BE49-F238E27FC236}">
                    <a16:creationId xmlns:a16="http://schemas.microsoft.com/office/drawing/2014/main" id="{8F2331CE-34A6-2EB4-8927-DBB916850EAF}"/>
                  </a:ext>
                </a:extLst>
              </p:cNvPr>
              <p:cNvSpPr/>
              <p:nvPr/>
            </p:nvSpPr>
            <p:spPr>
              <a:xfrm>
                <a:off x="9720624" y="2194447"/>
                <a:ext cx="82309" cy="45401"/>
              </a:xfrm>
              <a:custGeom>
                <a:avLst/>
                <a:gdLst>
                  <a:gd name="connsiteX0" fmla="*/ 9313 w 82296"/>
                  <a:gd name="connsiteY0" fmla="*/ 46650 h 46649"/>
                  <a:gd name="connsiteX1" fmla="*/ 798 w 82296"/>
                  <a:gd name="connsiteY1" fmla="*/ 41091 h 46649"/>
                  <a:gd name="connsiteX2" fmla="*/ 5563 w 82296"/>
                  <a:gd name="connsiteY2" fmla="*/ 28824 h 46649"/>
                  <a:gd name="connsiteX3" fmla="*/ 69241 w 82296"/>
                  <a:gd name="connsiteY3" fmla="*/ 791 h 46649"/>
                  <a:gd name="connsiteX4" fmla="*/ 81507 w 82296"/>
                  <a:gd name="connsiteY4" fmla="*/ 5559 h 46649"/>
                  <a:gd name="connsiteX5" fmla="*/ 76742 w 82296"/>
                  <a:gd name="connsiteY5" fmla="*/ 17824 h 46649"/>
                  <a:gd name="connsiteX6" fmla="*/ 13064 w 82296"/>
                  <a:gd name="connsiteY6" fmla="*/ 45857 h 46649"/>
                  <a:gd name="connsiteX7" fmla="*/ 9313 w 82296"/>
                  <a:gd name="connsiteY7" fmla="*/ 46650 h 46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2296" h="46649">
                    <a:moveTo>
                      <a:pt x="9313" y="46650"/>
                    </a:moveTo>
                    <a:cubicBezTo>
                      <a:pt x="5735" y="46650"/>
                      <a:pt x="2330" y="44575"/>
                      <a:pt x="798" y="41091"/>
                    </a:cubicBezTo>
                    <a:cubicBezTo>
                      <a:pt x="-1287" y="36388"/>
                      <a:pt x="856" y="30894"/>
                      <a:pt x="5563" y="28824"/>
                    </a:cubicBezTo>
                    <a:lnTo>
                      <a:pt x="69241" y="791"/>
                    </a:lnTo>
                    <a:cubicBezTo>
                      <a:pt x="73948" y="-1280"/>
                      <a:pt x="79440" y="856"/>
                      <a:pt x="81507" y="5559"/>
                    </a:cubicBezTo>
                    <a:cubicBezTo>
                      <a:pt x="83573" y="10262"/>
                      <a:pt x="81449" y="15754"/>
                      <a:pt x="76742" y="17824"/>
                    </a:cubicBezTo>
                    <a:lnTo>
                      <a:pt x="13064" y="45857"/>
                    </a:lnTo>
                    <a:cubicBezTo>
                      <a:pt x="11839" y="46395"/>
                      <a:pt x="10576" y="46650"/>
                      <a:pt x="9313" y="46650"/>
                    </a:cubicBezTo>
                    <a:close/>
                  </a:path>
                </a:pathLst>
              </a:custGeom>
              <a:grpFill/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89" name="Freeform: Shape 2588">
                <a:extLst>
                  <a:ext uri="{FF2B5EF4-FFF2-40B4-BE49-F238E27FC236}">
                    <a16:creationId xmlns:a16="http://schemas.microsoft.com/office/drawing/2014/main" id="{0A6A53C0-AC0D-0E69-89BA-0F7204D13B54}"/>
                  </a:ext>
                </a:extLst>
              </p:cNvPr>
              <p:cNvSpPr/>
              <p:nvPr/>
            </p:nvSpPr>
            <p:spPr>
              <a:xfrm>
                <a:off x="9720624" y="2160127"/>
                <a:ext cx="82309" cy="45402"/>
              </a:xfrm>
              <a:custGeom>
                <a:avLst/>
                <a:gdLst>
                  <a:gd name="connsiteX0" fmla="*/ 9313 w 82296"/>
                  <a:gd name="connsiteY0" fmla="*/ 46650 h 46650"/>
                  <a:gd name="connsiteX1" fmla="*/ 798 w 82296"/>
                  <a:gd name="connsiteY1" fmla="*/ 41090 h 46650"/>
                  <a:gd name="connsiteX2" fmla="*/ 5563 w 82296"/>
                  <a:gd name="connsiteY2" fmla="*/ 28825 h 46650"/>
                  <a:gd name="connsiteX3" fmla="*/ 69241 w 82296"/>
                  <a:gd name="connsiteY3" fmla="*/ 791 h 46650"/>
                  <a:gd name="connsiteX4" fmla="*/ 81507 w 82296"/>
                  <a:gd name="connsiteY4" fmla="*/ 5560 h 46650"/>
                  <a:gd name="connsiteX5" fmla="*/ 76742 w 82296"/>
                  <a:gd name="connsiteY5" fmla="*/ 17825 h 46650"/>
                  <a:gd name="connsiteX6" fmla="*/ 13064 w 82296"/>
                  <a:gd name="connsiteY6" fmla="*/ 45858 h 46650"/>
                  <a:gd name="connsiteX7" fmla="*/ 9313 w 82296"/>
                  <a:gd name="connsiteY7" fmla="*/ 46650 h 46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2296" h="46650">
                    <a:moveTo>
                      <a:pt x="9313" y="46650"/>
                    </a:moveTo>
                    <a:cubicBezTo>
                      <a:pt x="5735" y="46650"/>
                      <a:pt x="2330" y="44576"/>
                      <a:pt x="798" y="41090"/>
                    </a:cubicBezTo>
                    <a:cubicBezTo>
                      <a:pt x="-1287" y="36387"/>
                      <a:pt x="856" y="30895"/>
                      <a:pt x="5563" y="28825"/>
                    </a:cubicBezTo>
                    <a:lnTo>
                      <a:pt x="69241" y="791"/>
                    </a:lnTo>
                    <a:cubicBezTo>
                      <a:pt x="73948" y="-1281"/>
                      <a:pt x="79440" y="857"/>
                      <a:pt x="81507" y="5560"/>
                    </a:cubicBezTo>
                    <a:cubicBezTo>
                      <a:pt x="83573" y="10263"/>
                      <a:pt x="81449" y="15754"/>
                      <a:pt x="76742" y="17825"/>
                    </a:cubicBezTo>
                    <a:lnTo>
                      <a:pt x="13064" y="45858"/>
                    </a:lnTo>
                    <a:cubicBezTo>
                      <a:pt x="11839" y="46396"/>
                      <a:pt x="10576" y="46650"/>
                      <a:pt x="9313" y="46650"/>
                    </a:cubicBezTo>
                    <a:close/>
                  </a:path>
                </a:pathLst>
              </a:custGeom>
              <a:grpFill/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90" name="Freeform: Shape 2589">
                <a:extLst>
                  <a:ext uri="{FF2B5EF4-FFF2-40B4-BE49-F238E27FC236}">
                    <a16:creationId xmlns:a16="http://schemas.microsoft.com/office/drawing/2014/main" id="{F5A2D732-F885-0C6D-2799-8C91740CFA36}"/>
                  </a:ext>
                </a:extLst>
              </p:cNvPr>
              <p:cNvSpPr/>
              <p:nvPr/>
            </p:nvSpPr>
            <p:spPr>
              <a:xfrm>
                <a:off x="9779407" y="2205886"/>
                <a:ext cx="82315" cy="45402"/>
              </a:xfrm>
              <a:custGeom>
                <a:avLst/>
                <a:gdLst>
                  <a:gd name="connsiteX0" fmla="*/ 9321 w 82302"/>
                  <a:gd name="connsiteY0" fmla="*/ 46651 h 46650"/>
                  <a:gd name="connsiteX1" fmla="*/ 787 w 82302"/>
                  <a:gd name="connsiteY1" fmla="*/ 41092 h 46650"/>
                  <a:gd name="connsiteX2" fmla="*/ 5552 w 82302"/>
                  <a:gd name="connsiteY2" fmla="*/ 28825 h 46650"/>
                  <a:gd name="connsiteX3" fmla="*/ 69250 w 82302"/>
                  <a:gd name="connsiteY3" fmla="*/ 792 h 46650"/>
                  <a:gd name="connsiteX4" fmla="*/ 81515 w 82302"/>
                  <a:gd name="connsiteY4" fmla="*/ 5558 h 46650"/>
                  <a:gd name="connsiteX5" fmla="*/ 76751 w 82302"/>
                  <a:gd name="connsiteY5" fmla="*/ 17825 h 46650"/>
                  <a:gd name="connsiteX6" fmla="*/ 13053 w 82302"/>
                  <a:gd name="connsiteY6" fmla="*/ 45859 h 46650"/>
                  <a:gd name="connsiteX7" fmla="*/ 9321 w 82302"/>
                  <a:gd name="connsiteY7" fmla="*/ 46651 h 46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2302" h="46650">
                    <a:moveTo>
                      <a:pt x="9321" y="46651"/>
                    </a:moveTo>
                    <a:cubicBezTo>
                      <a:pt x="5744" y="46651"/>
                      <a:pt x="2319" y="44577"/>
                      <a:pt x="787" y="41092"/>
                    </a:cubicBezTo>
                    <a:cubicBezTo>
                      <a:pt x="-1279" y="36389"/>
                      <a:pt x="864" y="30896"/>
                      <a:pt x="5552" y="28825"/>
                    </a:cubicBezTo>
                    <a:lnTo>
                      <a:pt x="69250" y="792"/>
                    </a:lnTo>
                    <a:cubicBezTo>
                      <a:pt x="73957" y="-1280"/>
                      <a:pt x="79429" y="855"/>
                      <a:pt x="81515" y="5558"/>
                    </a:cubicBezTo>
                    <a:cubicBezTo>
                      <a:pt x="83581" y="10263"/>
                      <a:pt x="81438" y="15755"/>
                      <a:pt x="76751" y="17825"/>
                    </a:cubicBezTo>
                    <a:lnTo>
                      <a:pt x="13053" y="45859"/>
                    </a:lnTo>
                    <a:cubicBezTo>
                      <a:pt x="11848" y="46396"/>
                      <a:pt x="10565" y="46651"/>
                      <a:pt x="9321" y="46651"/>
                    </a:cubicBezTo>
                    <a:close/>
                  </a:path>
                </a:pathLst>
              </a:custGeom>
              <a:grpFill/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83" name="TextBox 282">
            <a:extLst>
              <a:ext uri="{FF2B5EF4-FFF2-40B4-BE49-F238E27FC236}">
                <a16:creationId xmlns:a16="http://schemas.microsoft.com/office/drawing/2014/main" id="{358C628A-3A21-8EFE-0264-01164BC24BE4}"/>
              </a:ext>
            </a:extLst>
          </p:cNvPr>
          <p:cNvSpPr txBox="1">
            <a:spLocks/>
          </p:cNvSpPr>
          <p:nvPr/>
        </p:nvSpPr>
        <p:spPr>
          <a:xfrm>
            <a:off x="8768515" y="5387197"/>
            <a:ext cx="181660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1400" noProof="0" dirty="0"/>
              <a:t>Operational disruptions intensifying</a:t>
            </a:r>
          </a:p>
        </p:txBody>
      </p:sp>
      <p:sp>
        <p:nvSpPr>
          <p:cNvPr id="293" name="IconEnclosure">
            <a:extLst>
              <a:ext uri="{FF2B5EF4-FFF2-40B4-BE49-F238E27FC236}">
                <a16:creationId xmlns:a16="http://schemas.microsoft.com/office/drawing/2014/main" id="{AD56D51E-91CC-A9BD-512E-39D86FD16C26}"/>
              </a:ext>
            </a:extLst>
          </p:cNvPr>
          <p:cNvSpPr/>
          <p:nvPr/>
        </p:nvSpPr>
        <p:spPr>
          <a:xfrm>
            <a:off x="8390072" y="5387197"/>
            <a:ext cx="322073" cy="322073"/>
          </a:xfrm>
          <a:prstGeom prst="ellipse">
            <a:avLst/>
          </a:prstGeom>
          <a:solidFill>
            <a:schemeClr val="tx1"/>
          </a:solidFill>
          <a:ln w="12700" cap="sq" cmpd="sng" algn="ctr">
            <a:solidFill>
              <a:srgbClr val="061F79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clip" horzOverflow="clip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400" noProof="0" dirty="0">
                <a:solidFill>
                  <a:schemeClr val="bg1"/>
                </a:solidFill>
              </a:rPr>
              <a:t>C3</a:t>
            </a:r>
          </a:p>
        </p:txBody>
      </p:sp>
      <p:sp>
        <p:nvSpPr>
          <p:cNvPr id="296" name="TextBox 295">
            <a:extLst>
              <a:ext uri="{FF2B5EF4-FFF2-40B4-BE49-F238E27FC236}">
                <a16:creationId xmlns:a16="http://schemas.microsoft.com/office/drawing/2014/main" id="{AB54556F-EBFB-1F06-46C8-53C3DC31B058}"/>
              </a:ext>
            </a:extLst>
          </p:cNvPr>
          <p:cNvSpPr txBox="1">
            <a:spLocks/>
          </p:cNvSpPr>
          <p:nvPr/>
        </p:nvSpPr>
        <p:spPr>
          <a:xfrm>
            <a:off x="8768515" y="3857661"/>
            <a:ext cx="181660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GB" sz="1400" noProof="0" dirty="0"/>
              <a:t>Increasing need for expansion</a:t>
            </a:r>
          </a:p>
        </p:txBody>
      </p:sp>
      <p:sp>
        <p:nvSpPr>
          <p:cNvPr id="301" name="TextBox 300">
            <a:extLst>
              <a:ext uri="{FF2B5EF4-FFF2-40B4-BE49-F238E27FC236}">
                <a16:creationId xmlns:a16="http://schemas.microsoft.com/office/drawing/2014/main" id="{1DCE1C9B-EB3E-6EA1-6468-FD92B1B0D434}"/>
              </a:ext>
            </a:extLst>
          </p:cNvPr>
          <p:cNvSpPr txBox="1">
            <a:spLocks/>
          </p:cNvSpPr>
          <p:nvPr/>
        </p:nvSpPr>
        <p:spPr>
          <a:xfrm>
            <a:off x="8768515" y="4622430"/>
            <a:ext cx="181660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GB" sz="1400" noProof="0" dirty="0"/>
              <a:t>Decarbonization paths diverging</a:t>
            </a:r>
          </a:p>
        </p:txBody>
      </p:sp>
      <p:sp>
        <p:nvSpPr>
          <p:cNvPr id="303" name="IconEnclosure">
            <a:extLst>
              <a:ext uri="{FF2B5EF4-FFF2-40B4-BE49-F238E27FC236}">
                <a16:creationId xmlns:a16="http://schemas.microsoft.com/office/drawing/2014/main" id="{53C8D086-5284-C610-6008-13F39790F605}"/>
              </a:ext>
            </a:extLst>
          </p:cNvPr>
          <p:cNvSpPr/>
          <p:nvPr/>
        </p:nvSpPr>
        <p:spPr>
          <a:xfrm>
            <a:off x="8390072" y="4622430"/>
            <a:ext cx="322073" cy="322073"/>
          </a:xfrm>
          <a:prstGeom prst="ellipse">
            <a:avLst/>
          </a:prstGeom>
          <a:solidFill>
            <a:schemeClr val="tx1"/>
          </a:solidFill>
          <a:ln w="12700" cap="sq" cmpd="sng" algn="ctr">
            <a:solidFill>
              <a:srgbClr val="061F79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clip" horzOverflow="clip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400" noProof="0" dirty="0">
                <a:solidFill>
                  <a:schemeClr val="bg1"/>
                </a:solidFill>
              </a:rPr>
              <a:t>C2</a:t>
            </a:r>
          </a:p>
        </p:txBody>
      </p:sp>
      <p:sp>
        <p:nvSpPr>
          <p:cNvPr id="298" name="IconEnclosure">
            <a:extLst>
              <a:ext uri="{FF2B5EF4-FFF2-40B4-BE49-F238E27FC236}">
                <a16:creationId xmlns:a16="http://schemas.microsoft.com/office/drawing/2014/main" id="{510E9C00-CBEF-D791-4F5C-CC6E920E69DB}"/>
              </a:ext>
            </a:extLst>
          </p:cNvPr>
          <p:cNvSpPr/>
          <p:nvPr/>
        </p:nvSpPr>
        <p:spPr>
          <a:xfrm>
            <a:off x="8390072" y="3857660"/>
            <a:ext cx="322073" cy="322073"/>
          </a:xfrm>
          <a:prstGeom prst="ellipse">
            <a:avLst/>
          </a:prstGeom>
          <a:solidFill>
            <a:schemeClr val="accent2"/>
          </a:solidFill>
          <a:ln w="12700" cap="sq" cmpd="sng" algn="ctr">
            <a:solidFill>
              <a:srgbClr val="061F79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clip" horzOverflow="clip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400" noProof="0" dirty="0">
                <a:solidFill>
                  <a:schemeClr val="tx1"/>
                </a:solidFill>
              </a:rPr>
              <a:t>C1</a:t>
            </a:r>
          </a:p>
        </p:txBody>
      </p: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F8192F19-AC06-D598-5459-82A3C54B5E17}"/>
              </a:ext>
            </a:extLst>
          </p:cNvPr>
          <p:cNvGrpSpPr/>
          <p:nvPr/>
        </p:nvGrpSpPr>
        <p:grpSpPr>
          <a:xfrm>
            <a:off x="8390071" y="4455489"/>
            <a:ext cx="2195045" cy="764769"/>
            <a:chOff x="9699543" y="4379288"/>
            <a:chExt cx="1884279" cy="764769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0350136-6CAC-F087-F1C6-081D77C9C912}"/>
                </a:ext>
              </a:extLst>
            </p:cNvPr>
            <p:cNvCxnSpPr>
              <a:cxnSpLocks/>
            </p:cNvCxnSpPr>
            <p:nvPr/>
          </p:nvCxnSpPr>
          <p:spPr>
            <a:xfrm>
              <a:off x="9699543" y="4379288"/>
              <a:ext cx="1884279" cy="0"/>
            </a:xfrm>
            <a:prstGeom prst="line">
              <a:avLst/>
            </a:prstGeom>
            <a:ln w="6350" cap="flat">
              <a:solidFill>
                <a:schemeClr val="accent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982049C-82D5-FB39-61ED-24B7D64B9A42}"/>
                </a:ext>
              </a:extLst>
            </p:cNvPr>
            <p:cNvCxnSpPr>
              <a:cxnSpLocks/>
            </p:cNvCxnSpPr>
            <p:nvPr/>
          </p:nvCxnSpPr>
          <p:spPr>
            <a:xfrm>
              <a:off x="9699543" y="5144057"/>
              <a:ext cx="1884279" cy="0"/>
            </a:xfrm>
            <a:prstGeom prst="line">
              <a:avLst/>
            </a:prstGeom>
            <a:ln w="6350" cap="flat">
              <a:solidFill>
                <a:schemeClr val="accent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Rectangle: Top Corners Rounded 6">
            <a:extLst>
              <a:ext uri="{FF2B5EF4-FFF2-40B4-BE49-F238E27FC236}">
                <a16:creationId xmlns:a16="http://schemas.microsoft.com/office/drawing/2014/main" id="{9ED23CB9-D5F6-FAF2-1875-D2C295339471}"/>
              </a:ext>
            </a:extLst>
          </p:cNvPr>
          <p:cNvSpPr/>
          <p:nvPr/>
        </p:nvSpPr>
        <p:spPr>
          <a:xfrm rot="16200000">
            <a:off x="-86469" y="2692467"/>
            <a:ext cx="5517641" cy="2752466"/>
          </a:xfrm>
          <a:prstGeom prst="roundRect">
            <a:avLst>
              <a:gd name="adj" fmla="val 50000"/>
            </a:avLst>
          </a:prstGeom>
          <a:solidFill>
            <a:schemeClr val="bg1">
              <a:lumMod val="90000"/>
              <a:lumOff val="10000"/>
              <a:alpha val="72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776EF48E-688A-F500-8920-B74AB2E64714}"/>
              </a:ext>
            </a:extLst>
          </p:cNvPr>
          <p:cNvSpPr/>
          <p:nvPr/>
        </p:nvSpPr>
        <p:spPr>
          <a:xfrm>
            <a:off x="2551018" y="1196787"/>
            <a:ext cx="242667" cy="236133"/>
          </a:xfrm>
          <a:custGeom>
            <a:avLst/>
            <a:gdLst>
              <a:gd name="connsiteX0" fmla="*/ 202361 w 242627"/>
              <a:gd name="connsiteY0" fmla="*/ 211580 h 242626"/>
              <a:gd name="connsiteX1" fmla="*/ 31047 w 242627"/>
              <a:gd name="connsiteY1" fmla="*/ 202359 h 242626"/>
              <a:gd name="connsiteX2" fmla="*/ 40267 w 242627"/>
              <a:gd name="connsiteY2" fmla="*/ 31046 h 242626"/>
              <a:gd name="connsiteX3" fmla="*/ 211582 w 242627"/>
              <a:gd name="connsiteY3" fmla="*/ 40267 h 242626"/>
              <a:gd name="connsiteX4" fmla="*/ 202361 w 242627"/>
              <a:gd name="connsiteY4" fmla="*/ 211580 h 242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627" h="242626">
                <a:moveTo>
                  <a:pt x="202361" y="211580"/>
                </a:moveTo>
                <a:cubicBezTo>
                  <a:pt x="152507" y="256340"/>
                  <a:pt x="75807" y="252213"/>
                  <a:pt x="31047" y="202359"/>
                </a:cubicBezTo>
                <a:cubicBezTo>
                  <a:pt x="-13714" y="152507"/>
                  <a:pt x="-9587" y="75807"/>
                  <a:pt x="40267" y="31046"/>
                </a:cubicBezTo>
                <a:cubicBezTo>
                  <a:pt x="90121" y="-13714"/>
                  <a:pt x="166821" y="-9587"/>
                  <a:pt x="211582" y="40267"/>
                </a:cubicBezTo>
                <a:cubicBezTo>
                  <a:pt x="256342" y="90120"/>
                  <a:pt x="252213" y="166821"/>
                  <a:pt x="202361" y="211580"/>
                </a:cubicBezTo>
                <a:close/>
              </a:path>
            </a:pathLst>
          </a:custGeom>
          <a:solidFill>
            <a:schemeClr val="accent2"/>
          </a:solidFill>
          <a:ln w="1913" cap="flat">
            <a:solidFill>
              <a:schemeClr val="accent2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2" name="Freeform: Shape 261">
            <a:extLst>
              <a:ext uri="{FF2B5EF4-FFF2-40B4-BE49-F238E27FC236}">
                <a16:creationId xmlns:a16="http://schemas.microsoft.com/office/drawing/2014/main" id="{FAFB62C0-13D6-1EBC-1D5E-C075250BF3C1}"/>
              </a:ext>
            </a:extLst>
          </p:cNvPr>
          <p:cNvSpPr/>
          <p:nvPr/>
        </p:nvSpPr>
        <p:spPr>
          <a:xfrm>
            <a:off x="1795279" y="1555824"/>
            <a:ext cx="1752134" cy="1704958"/>
          </a:xfrm>
          <a:custGeom>
            <a:avLst/>
            <a:gdLst>
              <a:gd name="connsiteX0" fmla="*/ 0 w 1205085"/>
              <a:gd name="connsiteY0" fmla="*/ 602544 h 1205087"/>
              <a:gd name="connsiteX1" fmla="*/ 602542 w 1205085"/>
              <a:gd name="connsiteY1" fmla="*/ 0 h 1205087"/>
              <a:gd name="connsiteX2" fmla="*/ 1205085 w 1205085"/>
              <a:gd name="connsiteY2" fmla="*/ 602544 h 1205087"/>
              <a:gd name="connsiteX3" fmla="*/ 602542 w 1205085"/>
              <a:gd name="connsiteY3" fmla="*/ 1205087 h 1205087"/>
              <a:gd name="connsiteX4" fmla="*/ 0 w 1205085"/>
              <a:gd name="connsiteY4" fmla="*/ 602544 h 1205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5085" h="1205087">
                <a:moveTo>
                  <a:pt x="0" y="602544"/>
                </a:moveTo>
                <a:cubicBezTo>
                  <a:pt x="0" y="269767"/>
                  <a:pt x="269767" y="0"/>
                  <a:pt x="602542" y="0"/>
                </a:cubicBezTo>
                <a:cubicBezTo>
                  <a:pt x="935318" y="0"/>
                  <a:pt x="1205085" y="269767"/>
                  <a:pt x="1205085" y="602544"/>
                </a:cubicBezTo>
                <a:cubicBezTo>
                  <a:pt x="1205085" y="935320"/>
                  <a:pt x="935318" y="1205087"/>
                  <a:pt x="602542" y="1205087"/>
                </a:cubicBezTo>
                <a:cubicBezTo>
                  <a:pt x="269767" y="1205087"/>
                  <a:pt x="0" y="935320"/>
                  <a:pt x="0" y="602544"/>
                </a:cubicBezTo>
                <a:close/>
              </a:path>
            </a:pathLst>
          </a:custGeom>
          <a:solidFill>
            <a:schemeClr val="accent5">
              <a:lumMod val="50000"/>
            </a:schemeClr>
          </a:solidFill>
          <a:ln w="1913" cap="flat">
            <a:noFill/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8" name="TextBox 497">
            <a:extLst>
              <a:ext uri="{FF2B5EF4-FFF2-40B4-BE49-F238E27FC236}">
                <a16:creationId xmlns:a16="http://schemas.microsoft.com/office/drawing/2014/main" id="{7F8FEAFD-0D52-DEBD-DD34-7B238F1F7476}"/>
              </a:ext>
            </a:extLst>
          </p:cNvPr>
          <p:cNvSpPr txBox="1"/>
          <p:nvPr/>
        </p:nvSpPr>
        <p:spPr>
          <a:xfrm>
            <a:off x="1762872" y="3409678"/>
            <a:ext cx="1946856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raffic profi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FFD770D-3010-ACB9-40F3-61CEA7E3A916}"/>
              </a:ext>
            </a:extLst>
          </p:cNvPr>
          <p:cNvGrpSpPr/>
          <p:nvPr/>
        </p:nvGrpSpPr>
        <p:grpSpPr>
          <a:xfrm>
            <a:off x="1912999" y="1682199"/>
            <a:ext cx="1574755" cy="1426772"/>
            <a:chOff x="3159322" y="2562628"/>
            <a:chExt cx="1574755" cy="1426772"/>
          </a:xfrm>
        </p:grpSpPr>
        <p:grpSp>
          <p:nvGrpSpPr>
            <p:cNvPr id="513" name="Group 512">
              <a:extLst>
                <a:ext uri="{FF2B5EF4-FFF2-40B4-BE49-F238E27FC236}">
                  <a16:creationId xmlns:a16="http://schemas.microsoft.com/office/drawing/2014/main" id="{64B66B28-B1D5-EFD9-7239-13A1F2669DCF}"/>
                </a:ext>
              </a:extLst>
            </p:cNvPr>
            <p:cNvGrpSpPr/>
            <p:nvPr/>
          </p:nvGrpSpPr>
          <p:grpSpPr>
            <a:xfrm>
              <a:off x="4271682" y="2718849"/>
              <a:ext cx="462395" cy="230710"/>
              <a:chOff x="9720624" y="2041792"/>
              <a:chExt cx="419877" cy="209496"/>
            </a:xfrm>
            <a:solidFill>
              <a:schemeClr val="tx1"/>
            </a:solidFill>
          </p:grpSpPr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B4C2B756-6681-26BC-649B-BEB26D97D2FE}"/>
                  </a:ext>
                </a:extLst>
              </p:cNvPr>
              <p:cNvSpPr/>
              <p:nvPr/>
            </p:nvSpPr>
            <p:spPr>
              <a:xfrm>
                <a:off x="9807878" y="2068031"/>
                <a:ext cx="332623" cy="151416"/>
              </a:xfrm>
              <a:custGeom>
                <a:avLst/>
                <a:gdLst>
                  <a:gd name="connsiteX0" fmla="*/ 35025 w 332568"/>
                  <a:gd name="connsiteY0" fmla="*/ 109223 h 155580"/>
                  <a:gd name="connsiteX1" fmla="*/ 96809 w 332568"/>
                  <a:gd name="connsiteY1" fmla="*/ 136255 h 155580"/>
                  <a:gd name="connsiteX2" fmla="*/ 297163 w 332568"/>
                  <a:gd name="connsiteY2" fmla="*/ 51533 h 155580"/>
                  <a:gd name="connsiteX3" fmla="*/ 310577 w 332568"/>
                  <a:gd name="connsiteY3" fmla="*/ 39285 h 155580"/>
                  <a:gd name="connsiteX4" fmla="*/ 313485 w 332568"/>
                  <a:gd name="connsiteY4" fmla="*/ 25947 h 155580"/>
                  <a:gd name="connsiteX5" fmla="*/ 302445 w 332568"/>
                  <a:gd name="connsiteY5" fmla="*/ 19183 h 155580"/>
                  <a:gd name="connsiteX6" fmla="*/ 284306 w 332568"/>
                  <a:gd name="connsiteY6" fmla="*/ 20499 h 155580"/>
                  <a:gd name="connsiteX7" fmla="*/ 78613 w 332568"/>
                  <a:gd name="connsiteY7" fmla="*/ 111056 h 155580"/>
                  <a:gd name="connsiteX8" fmla="*/ 73351 w 332568"/>
                  <a:gd name="connsiteY8" fmla="*/ 111714 h 155580"/>
                  <a:gd name="connsiteX9" fmla="*/ 42813 w 332568"/>
                  <a:gd name="connsiteY9" fmla="*/ 106622 h 155580"/>
                  <a:gd name="connsiteX10" fmla="*/ 35025 w 332568"/>
                  <a:gd name="connsiteY10" fmla="*/ 109223 h 155580"/>
                  <a:gd name="connsiteX11" fmla="*/ 96752 w 332568"/>
                  <a:gd name="connsiteY11" fmla="*/ 155581 h 155580"/>
                  <a:gd name="connsiteX12" fmla="*/ 93040 w 332568"/>
                  <a:gd name="connsiteY12" fmla="*/ 154804 h 155580"/>
                  <a:gd name="connsiteX13" fmla="*/ 5558 w 332568"/>
                  <a:gd name="connsiteY13" fmla="*/ 116532 h 155580"/>
                  <a:gd name="connsiteX14" fmla="*/ 9 w 332568"/>
                  <a:gd name="connsiteY14" fmla="*/ 107634 h 155580"/>
                  <a:gd name="connsiteX15" fmla="*/ 6343 w 332568"/>
                  <a:gd name="connsiteY15" fmla="*/ 99275 h 155580"/>
                  <a:gd name="connsiteX16" fmla="*/ 39138 w 332568"/>
                  <a:gd name="connsiteY16" fmla="*/ 88339 h 155580"/>
                  <a:gd name="connsiteX17" fmla="*/ 43597 w 332568"/>
                  <a:gd name="connsiteY17" fmla="*/ 87991 h 155580"/>
                  <a:gd name="connsiteX18" fmla="*/ 73676 w 332568"/>
                  <a:gd name="connsiteY18" fmla="*/ 93004 h 155580"/>
                  <a:gd name="connsiteX19" fmla="*/ 277034 w 332568"/>
                  <a:gd name="connsiteY19" fmla="*/ 3485 h 155580"/>
                  <a:gd name="connsiteX20" fmla="*/ 306175 w 332568"/>
                  <a:gd name="connsiteY20" fmla="*/ 1055 h 155580"/>
                  <a:gd name="connsiteX21" fmla="*/ 330571 w 332568"/>
                  <a:gd name="connsiteY21" fmla="*/ 18834 h 155580"/>
                  <a:gd name="connsiteX22" fmla="*/ 326343 w 332568"/>
                  <a:gd name="connsiteY22" fmla="*/ 48977 h 155580"/>
                  <a:gd name="connsiteX23" fmla="*/ 304339 w 332568"/>
                  <a:gd name="connsiteY23" fmla="*/ 68599 h 155580"/>
                  <a:gd name="connsiteX24" fmla="*/ 100349 w 332568"/>
                  <a:gd name="connsiteY24" fmla="*/ 154850 h 155580"/>
                  <a:gd name="connsiteX25" fmla="*/ 96752 w 332568"/>
                  <a:gd name="connsiteY25" fmla="*/ 155581 h 15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32568" h="155580">
                    <a:moveTo>
                      <a:pt x="35025" y="109223"/>
                    </a:moveTo>
                    <a:lnTo>
                      <a:pt x="96809" y="136255"/>
                    </a:lnTo>
                    <a:lnTo>
                      <a:pt x="297163" y="51533"/>
                    </a:lnTo>
                    <a:cubicBezTo>
                      <a:pt x="301985" y="49530"/>
                      <a:pt x="307228" y="44731"/>
                      <a:pt x="310577" y="39285"/>
                    </a:cubicBezTo>
                    <a:cubicBezTo>
                      <a:pt x="313734" y="34144"/>
                      <a:pt x="314824" y="29159"/>
                      <a:pt x="313485" y="25947"/>
                    </a:cubicBezTo>
                    <a:cubicBezTo>
                      <a:pt x="312202" y="22872"/>
                      <a:pt x="308070" y="20344"/>
                      <a:pt x="302445" y="19183"/>
                    </a:cubicBezTo>
                    <a:cubicBezTo>
                      <a:pt x="296360" y="17931"/>
                      <a:pt x="289241" y="18448"/>
                      <a:pt x="284306" y="20499"/>
                    </a:cubicBezTo>
                    <a:lnTo>
                      <a:pt x="78613" y="111056"/>
                    </a:lnTo>
                    <a:cubicBezTo>
                      <a:pt x="76948" y="111781"/>
                      <a:pt x="75130" y="112008"/>
                      <a:pt x="73351" y="111714"/>
                    </a:cubicBezTo>
                    <a:lnTo>
                      <a:pt x="42813" y="106622"/>
                    </a:lnTo>
                    <a:lnTo>
                      <a:pt x="35025" y="109223"/>
                    </a:lnTo>
                    <a:close/>
                    <a:moveTo>
                      <a:pt x="96752" y="155581"/>
                    </a:moveTo>
                    <a:cubicBezTo>
                      <a:pt x="95489" y="155581"/>
                      <a:pt x="94226" y="155323"/>
                      <a:pt x="93040" y="154804"/>
                    </a:cubicBezTo>
                    <a:lnTo>
                      <a:pt x="5558" y="116532"/>
                    </a:lnTo>
                    <a:cubicBezTo>
                      <a:pt x="2038" y="114995"/>
                      <a:pt x="-163" y="111459"/>
                      <a:pt x="9" y="107634"/>
                    </a:cubicBezTo>
                    <a:cubicBezTo>
                      <a:pt x="201" y="103809"/>
                      <a:pt x="2707" y="100486"/>
                      <a:pt x="6343" y="99275"/>
                    </a:cubicBezTo>
                    <a:lnTo>
                      <a:pt x="39138" y="88339"/>
                    </a:lnTo>
                    <a:cubicBezTo>
                      <a:pt x="40573" y="87859"/>
                      <a:pt x="42105" y="87740"/>
                      <a:pt x="43597" y="87991"/>
                    </a:cubicBezTo>
                    <a:lnTo>
                      <a:pt x="73676" y="93004"/>
                    </a:lnTo>
                    <a:lnTo>
                      <a:pt x="277034" y="3485"/>
                    </a:lnTo>
                    <a:cubicBezTo>
                      <a:pt x="285568" y="-70"/>
                      <a:pt x="296398" y="-952"/>
                      <a:pt x="306175" y="1055"/>
                    </a:cubicBezTo>
                    <a:cubicBezTo>
                      <a:pt x="318154" y="3525"/>
                      <a:pt x="326821" y="9837"/>
                      <a:pt x="330571" y="18834"/>
                    </a:cubicBezTo>
                    <a:cubicBezTo>
                      <a:pt x="334283" y="27778"/>
                      <a:pt x="332791" y="38483"/>
                      <a:pt x="326343" y="48977"/>
                    </a:cubicBezTo>
                    <a:cubicBezTo>
                      <a:pt x="320928" y="57780"/>
                      <a:pt x="312700" y="65116"/>
                      <a:pt x="304339" y="68599"/>
                    </a:cubicBezTo>
                    <a:lnTo>
                      <a:pt x="100349" y="154850"/>
                    </a:lnTo>
                    <a:cubicBezTo>
                      <a:pt x="99201" y="155338"/>
                      <a:pt x="97976" y="155581"/>
                      <a:pt x="96752" y="155581"/>
                    </a:cubicBezTo>
                    <a:close/>
                  </a:path>
                </a:pathLst>
              </a:custGeom>
              <a:grpFill/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0" name="Freeform: Shape 149">
                <a:extLst>
                  <a:ext uri="{FF2B5EF4-FFF2-40B4-BE49-F238E27FC236}">
                    <a16:creationId xmlns:a16="http://schemas.microsoft.com/office/drawing/2014/main" id="{421EBC83-4B5F-C95C-2771-0116A9DDB2C6}"/>
                  </a:ext>
                </a:extLst>
              </p:cNvPr>
              <p:cNvSpPr/>
              <p:nvPr/>
            </p:nvSpPr>
            <p:spPr>
              <a:xfrm>
                <a:off x="9851639" y="2041792"/>
                <a:ext cx="178031" cy="96579"/>
              </a:xfrm>
              <a:custGeom>
                <a:avLst/>
                <a:gdLst>
                  <a:gd name="connsiteX0" fmla="*/ 104124 w 178001"/>
                  <a:gd name="connsiteY0" fmla="*/ 99236 h 99235"/>
                  <a:gd name="connsiteX1" fmla="*/ 4168 w 178001"/>
                  <a:gd name="connsiteY1" fmla="*/ 33385 h 99235"/>
                  <a:gd name="connsiteX2" fmla="*/ 16 w 178001"/>
                  <a:gd name="connsiteY2" fmla="*/ 25108 h 99235"/>
                  <a:gd name="connsiteX3" fmla="*/ 5105 w 178001"/>
                  <a:gd name="connsiteY3" fmla="*/ 17379 h 99235"/>
                  <a:gd name="connsiteX4" fmla="*/ 37920 w 178001"/>
                  <a:gd name="connsiteY4" fmla="*/ 978 h 99235"/>
                  <a:gd name="connsiteX5" fmla="*/ 45573 w 178001"/>
                  <a:gd name="connsiteY5" fmla="*/ 696 h 99235"/>
                  <a:gd name="connsiteX6" fmla="*/ 178001 w 178001"/>
                  <a:gd name="connsiteY6" fmla="*/ 55135 h 99235"/>
                  <a:gd name="connsiteX7" fmla="*/ 170960 w 178001"/>
                  <a:gd name="connsiteY7" fmla="*/ 72253 h 99235"/>
                  <a:gd name="connsiteX8" fmla="*/ 42436 w 178001"/>
                  <a:gd name="connsiteY8" fmla="*/ 19412 h 99235"/>
                  <a:gd name="connsiteX9" fmla="*/ 27741 w 178001"/>
                  <a:gd name="connsiteY9" fmla="*/ 26757 h 99235"/>
                  <a:gd name="connsiteX10" fmla="*/ 114304 w 178001"/>
                  <a:gd name="connsiteY10" fmla="*/ 83781 h 99235"/>
                  <a:gd name="connsiteX11" fmla="*/ 104124 w 178001"/>
                  <a:gd name="connsiteY11" fmla="*/ 99236 h 99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8001" h="99235">
                    <a:moveTo>
                      <a:pt x="104124" y="99236"/>
                    </a:moveTo>
                    <a:lnTo>
                      <a:pt x="4168" y="33385"/>
                    </a:lnTo>
                    <a:cubicBezTo>
                      <a:pt x="1393" y="31564"/>
                      <a:pt x="-176" y="28410"/>
                      <a:pt x="16" y="25108"/>
                    </a:cubicBezTo>
                    <a:cubicBezTo>
                      <a:pt x="206" y="21805"/>
                      <a:pt x="2158" y="18861"/>
                      <a:pt x="5105" y="17379"/>
                    </a:cubicBezTo>
                    <a:lnTo>
                      <a:pt x="37920" y="978"/>
                    </a:lnTo>
                    <a:cubicBezTo>
                      <a:pt x="40312" y="-220"/>
                      <a:pt x="43105" y="-322"/>
                      <a:pt x="45573" y="696"/>
                    </a:cubicBezTo>
                    <a:lnTo>
                      <a:pt x="178001" y="55135"/>
                    </a:lnTo>
                    <a:lnTo>
                      <a:pt x="170960" y="72253"/>
                    </a:lnTo>
                    <a:lnTo>
                      <a:pt x="42436" y="19412"/>
                    </a:lnTo>
                    <a:lnTo>
                      <a:pt x="27741" y="26757"/>
                    </a:lnTo>
                    <a:lnTo>
                      <a:pt x="114304" y="83781"/>
                    </a:lnTo>
                    <a:lnTo>
                      <a:pt x="104124" y="99236"/>
                    </a:lnTo>
                    <a:close/>
                  </a:path>
                </a:pathLst>
              </a:custGeom>
              <a:grpFill/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9A30E3A4-6525-33CE-99CD-8CB4BD011D27}"/>
                  </a:ext>
                </a:extLst>
              </p:cNvPr>
              <p:cNvSpPr/>
              <p:nvPr/>
            </p:nvSpPr>
            <p:spPr>
              <a:xfrm>
                <a:off x="9720624" y="2194447"/>
                <a:ext cx="82309" cy="45401"/>
              </a:xfrm>
              <a:custGeom>
                <a:avLst/>
                <a:gdLst>
                  <a:gd name="connsiteX0" fmla="*/ 9313 w 82296"/>
                  <a:gd name="connsiteY0" fmla="*/ 46650 h 46649"/>
                  <a:gd name="connsiteX1" fmla="*/ 798 w 82296"/>
                  <a:gd name="connsiteY1" fmla="*/ 41091 h 46649"/>
                  <a:gd name="connsiteX2" fmla="*/ 5563 w 82296"/>
                  <a:gd name="connsiteY2" fmla="*/ 28824 h 46649"/>
                  <a:gd name="connsiteX3" fmla="*/ 69241 w 82296"/>
                  <a:gd name="connsiteY3" fmla="*/ 791 h 46649"/>
                  <a:gd name="connsiteX4" fmla="*/ 81507 w 82296"/>
                  <a:gd name="connsiteY4" fmla="*/ 5559 h 46649"/>
                  <a:gd name="connsiteX5" fmla="*/ 76742 w 82296"/>
                  <a:gd name="connsiteY5" fmla="*/ 17824 h 46649"/>
                  <a:gd name="connsiteX6" fmla="*/ 13064 w 82296"/>
                  <a:gd name="connsiteY6" fmla="*/ 45857 h 46649"/>
                  <a:gd name="connsiteX7" fmla="*/ 9313 w 82296"/>
                  <a:gd name="connsiteY7" fmla="*/ 46650 h 46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2296" h="46649">
                    <a:moveTo>
                      <a:pt x="9313" y="46650"/>
                    </a:moveTo>
                    <a:cubicBezTo>
                      <a:pt x="5735" y="46650"/>
                      <a:pt x="2330" y="44575"/>
                      <a:pt x="798" y="41091"/>
                    </a:cubicBezTo>
                    <a:cubicBezTo>
                      <a:pt x="-1287" y="36388"/>
                      <a:pt x="856" y="30894"/>
                      <a:pt x="5563" y="28824"/>
                    </a:cubicBezTo>
                    <a:lnTo>
                      <a:pt x="69241" y="791"/>
                    </a:lnTo>
                    <a:cubicBezTo>
                      <a:pt x="73948" y="-1280"/>
                      <a:pt x="79440" y="856"/>
                      <a:pt x="81507" y="5559"/>
                    </a:cubicBezTo>
                    <a:cubicBezTo>
                      <a:pt x="83573" y="10262"/>
                      <a:pt x="81449" y="15754"/>
                      <a:pt x="76742" y="17824"/>
                    </a:cubicBezTo>
                    <a:lnTo>
                      <a:pt x="13064" y="45857"/>
                    </a:lnTo>
                    <a:cubicBezTo>
                      <a:pt x="11839" y="46395"/>
                      <a:pt x="10576" y="46650"/>
                      <a:pt x="9313" y="46650"/>
                    </a:cubicBezTo>
                    <a:close/>
                  </a:path>
                </a:pathLst>
              </a:custGeom>
              <a:grpFill/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BCC15BB0-4745-463A-7E4D-DD4250029EBD}"/>
                  </a:ext>
                </a:extLst>
              </p:cNvPr>
              <p:cNvSpPr/>
              <p:nvPr/>
            </p:nvSpPr>
            <p:spPr>
              <a:xfrm>
                <a:off x="9720624" y="2160127"/>
                <a:ext cx="82309" cy="45402"/>
              </a:xfrm>
              <a:custGeom>
                <a:avLst/>
                <a:gdLst>
                  <a:gd name="connsiteX0" fmla="*/ 9313 w 82296"/>
                  <a:gd name="connsiteY0" fmla="*/ 46650 h 46650"/>
                  <a:gd name="connsiteX1" fmla="*/ 798 w 82296"/>
                  <a:gd name="connsiteY1" fmla="*/ 41090 h 46650"/>
                  <a:gd name="connsiteX2" fmla="*/ 5563 w 82296"/>
                  <a:gd name="connsiteY2" fmla="*/ 28825 h 46650"/>
                  <a:gd name="connsiteX3" fmla="*/ 69241 w 82296"/>
                  <a:gd name="connsiteY3" fmla="*/ 791 h 46650"/>
                  <a:gd name="connsiteX4" fmla="*/ 81507 w 82296"/>
                  <a:gd name="connsiteY4" fmla="*/ 5560 h 46650"/>
                  <a:gd name="connsiteX5" fmla="*/ 76742 w 82296"/>
                  <a:gd name="connsiteY5" fmla="*/ 17825 h 46650"/>
                  <a:gd name="connsiteX6" fmla="*/ 13064 w 82296"/>
                  <a:gd name="connsiteY6" fmla="*/ 45858 h 46650"/>
                  <a:gd name="connsiteX7" fmla="*/ 9313 w 82296"/>
                  <a:gd name="connsiteY7" fmla="*/ 46650 h 46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2296" h="46650">
                    <a:moveTo>
                      <a:pt x="9313" y="46650"/>
                    </a:moveTo>
                    <a:cubicBezTo>
                      <a:pt x="5735" y="46650"/>
                      <a:pt x="2330" y="44576"/>
                      <a:pt x="798" y="41090"/>
                    </a:cubicBezTo>
                    <a:cubicBezTo>
                      <a:pt x="-1287" y="36387"/>
                      <a:pt x="856" y="30895"/>
                      <a:pt x="5563" y="28825"/>
                    </a:cubicBezTo>
                    <a:lnTo>
                      <a:pt x="69241" y="791"/>
                    </a:lnTo>
                    <a:cubicBezTo>
                      <a:pt x="73948" y="-1281"/>
                      <a:pt x="79440" y="857"/>
                      <a:pt x="81507" y="5560"/>
                    </a:cubicBezTo>
                    <a:cubicBezTo>
                      <a:pt x="83573" y="10263"/>
                      <a:pt x="81449" y="15754"/>
                      <a:pt x="76742" y="17825"/>
                    </a:cubicBezTo>
                    <a:lnTo>
                      <a:pt x="13064" y="45858"/>
                    </a:lnTo>
                    <a:cubicBezTo>
                      <a:pt x="11839" y="46396"/>
                      <a:pt x="10576" y="46650"/>
                      <a:pt x="9313" y="46650"/>
                    </a:cubicBezTo>
                    <a:close/>
                  </a:path>
                </a:pathLst>
              </a:custGeom>
              <a:grpFill/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97ADF626-D11C-6C69-E418-34FB31A54808}"/>
                  </a:ext>
                </a:extLst>
              </p:cNvPr>
              <p:cNvSpPr/>
              <p:nvPr/>
            </p:nvSpPr>
            <p:spPr>
              <a:xfrm>
                <a:off x="9779407" y="2205886"/>
                <a:ext cx="82315" cy="45402"/>
              </a:xfrm>
              <a:custGeom>
                <a:avLst/>
                <a:gdLst>
                  <a:gd name="connsiteX0" fmla="*/ 9321 w 82302"/>
                  <a:gd name="connsiteY0" fmla="*/ 46651 h 46650"/>
                  <a:gd name="connsiteX1" fmla="*/ 787 w 82302"/>
                  <a:gd name="connsiteY1" fmla="*/ 41092 h 46650"/>
                  <a:gd name="connsiteX2" fmla="*/ 5552 w 82302"/>
                  <a:gd name="connsiteY2" fmla="*/ 28825 h 46650"/>
                  <a:gd name="connsiteX3" fmla="*/ 69250 w 82302"/>
                  <a:gd name="connsiteY3" fmla="*/ 792 h 46650"/>
                  <a:gd name="connsiteX4" fmla="*/ 81515 w 82302"/>
                  <a:gd name="connsiteY4" fmla="*/ 5558 h 46650"/>
                  <a:gd name="connsiteX5" fmla="*/ 76751 w 82302"/>
                  <a:gd name="connsiteY5" fmla="*/ 17825 h 46650"/>
                  <a:gd name="connsiteX6" fmla="*/ 13053 w 82302"/>
                  <a:gd name="connsiteY6" fmla="*/ 45859 h 46650"/>
                  <a:gd name="connsiteX7" fmla="*/ 9321 w 82302"/>
                  <a:gd name="connsiteY7" fmla="*/ 46651 h 46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2302" h="46650">
                    <a:moveTo>
                      <a:pt x="9321" y="46651"/>
                    </a:moveTo>
                    <a:cubicBezTo>
                      <a:pt x="5744" y="46651"/>
                      <a:pt x="2319" y="44577"/>
                      <a:pt x="787" y="41092"/>
                    </a:cubicBezTo>
                    <a:cubicBezTo>
                      <a:pt x="-1279" y="36389"/>
                      <a:pt x="864" y="30896"/>
                      <a:pt x="5552" y="28825"/>
                    </a:cubicBezTo>
                    <a:lnTo>
                      <a:pt x="69250" y="792"/>
                    </a:lnTo>
                    <a:cubicBezTo>
                      <a:pt x="73957" y="-1280"/>
                      <a:pt x="79429" y="855"/>
                      <a:pt x="81515" y="5558"/>
                    </a:cubicBezTo>
                    <a:cubicBezTo>
                      <a:pt x="83581" y="10263"/>
                      <a:pt x="81438" y="15755"/>
                      <a:pt x="76751" y="17825"/>
                    </a:cubicBezTo>
                    <a:lnTo>
                      <a:pt x="13053" y="45859"/>
                    </a:lnTo>
                    <a:cubicBezTo>
                      <a:pt x="11848" y="46396"/>
                      <a:pt x="10565" y="46651"/>
                      <a:pt x="9321" y="46651"/>
                    </a:cubicBezTo>
                    <a:close/>
                  </a:path>
                </a:pathLst>
              </a:custGeom>
              <a:grpFill/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609" name="Group 2608">
              <a:extLst>
                <a:ext uri="{FF2B5EF4-FFF2-40B4-BE49-F238E27FC236}">
                  <a16:creationId xmlns:a16="http://schemas.microsoft.com/office/drawing/2014/main" id="{175DFD1D-FE50-4EDD-3312-6BB94FB19823}"/>
                </a:ext>
              </a:extLst>
            </p:cNvPr>
            <p:cNvGrpSpPr/>
            <p:nvPr/>
          </p:nvGrpSpPr>
          <p:grpSpPr>
            <a:xfrm>
              <a:off x="3159322" y="2562628"/>
              <a:ext cx="1403230" cy="1426772"/>
              <a:chOff x="3159322" y="1550653"/>
              <a:chExt cx="1403230" cy="1426772"/>
            </a:xfrm>
          </p:grpSpPr>
          <p:sp>
            <p:nvSpPr>
              <p:cNvPr id="2329" name="Freeform: Shape 2328">
                <a:extLst>
                  <a:ext uri="{FF2B5EF4-FFF2-40B4-BE49-F238E27FC236}">
                    <a16:creationId xmlns:a16="http://schemas.microsoft.com/office/drawing/2014/main" id="{6B439C0D-FC42-FA23-1D11-2077424AAFAB}"/>
                  </a:ext>
                </a:extLst>
              </p:cNvPr>
              <p:cNvSpPr/>
              <p:nvPr/>
            </p:nvSpPr>
            <p:spPr>
              <a:xfrm>
                <a:off x="4002669" y="2232358"/>
                <a:ext cx="550620" cy="333340"/>
              </a:xfrm>
              <a:custGeom>
                <a:avLst/>
                <a:gdLst>
                  <a:gd name="connsiteX0" fmla="*/ 197522 w 550529"/>
                  <a:gd name="connsiteY0" fmla="*/ 342506 h 342506"/>
                  <a:gd name="connsiteX1" fmla="*/ 33925 w 550529"/>
                  <a:gd name="connsiteY1" fmla="*/ 342506 h 342506"/>
                  <a:gd name="connsiteX2" fmla="*/ 0 w 550529"/>
                  <a:gd name="connsiteY2" fmla="*/ 308589 h 342506"/>
                  <a:gd name="connsiteX3" fmla="*/ 0 w 550529"/>
                  <a:gd name="connsiteY3" fmla="*/ 33919 h 342506"/>
                  <a:gd name="connsiteX4" fmla="*/ 33925 w 550529"/>
                  <a:gd name="connsiteY4" fmla="*/ 0 h 342506"/>
                  <a:gd name="connsiteX5" fmla="*/ 516623 w 550529"/>
                  <a:gd name="connsiteY5" fmla="*/ 0 h 342506"/>
                  <a:gd name="connsiteX6" fmla="*/ 550530 w 550529"/>
                  <a:gd name="connsiteY6" fmla="*/ 33919 h 342506"/>
                  <a:gd name="connsiteX7" fmla="*/ 550530 w 550529"/>
                  <a:gd name="connsiteY7" fmla="*/ 308589 h 342506"/>
                  <a:gd name="connsiteX8" fmla="*/ 516623 w 550529"/>
                  <a:gd name="connsiteY8" fmla="*/ 342506 h 342506"/>
                  <a:gd name="connsiteX9" fmla="*/ 330582 w 550529"/>
                  <a:gd name="connsiteY9" fmla="*/ 342506 h 34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50529" h="342506">
                    <a:moveTo>
                      <a:pt x="197522" y="342506"/>
                    </a:moveTo>
                    <a:lnTo>
                      <a:pt x="33925" y="342506"/>
                    </a:lnTo>
                    <a:cubicBezTo>
                      <a:pt x="15192" y="342506"/>
                      <a:pt x="0" y="327321"/>
                      <a:pt x="0" y="308589"/>
                    </a:cubicBezTo>
                    <a:lnTo>
                      <a:pt x="0" y="33919"/>
                    </a:lnTo>
                    <a:cubicBezTo>
                      <a:pt x="0" y="15187"/>
                      <a:pt x="15192" y="0"/>
                      <a:pt x="33925" y="0"/>
                    </a:cubicBezTo>
                    <a:lnTo>
                      <a:pt x="516623" y="0"/>
                    </a:lnTo>
                    <a:cubicBezTo>
                      <a:pt x="535356" y="0"/>
                      <a:pt x="550530" y="15187"/>
                      <a:pt x="550530" y="33919"/>
                    </a:cubicBezTo>
                    <a:lnTo>
                      <a:pt x="550530" y="308589"/>
                    </a:lnTo>
                    <a:cubicBezTo>
                      <a:pt x="550530" y="327321"/>
                      <a:pt x="535356" y="342506"/>
                      <a:pt x="516623" y="342506"/>
                    </a:cubicBezTo>
                    <a:lnTo>
                      <a:pt x="330582" y="342506"/>
                    </a:ln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30" name="Freeform: Shape 2329">
                <a:extLst>
                  <a:ext uri="{FF2B5EF4-FFF2-40B4-BE49-F238E27FC236}">
                    <a16:creationId xmlns:a16="http://schemas.microsoft.com/office/drawing/2014/main" id="{2E331702-89A4-7901-17B2-8AC33F95E7B9}"/>
                  </a:ext>
                </a:extLst>
              </p:cNvPr>
              <p:cNvSpPr/>
              <p:nvPr/>
            </p:nvSpPr>
            <p:spPr>
              <a:xfrm>
                <a:off x="3993426" y="2223353"/>
                <a:ext cx="569126" cy="351350"/>
              </a:xfrm>
              <a:custGeom>
                <a:avLst/>
                <a:gdLst>
                  <a:gd name="connsiteX0" fmla="*/ 525865 w 569032"/>
                  <a:gd name="connsiteY0" fmla="*/ 361013 h 361012"/>
                  <a:gd name="connsiteX1" fmla="*/ 339824 w 569032"/>
                  <a:gd name="connsiteY1" fmla="*/ 361013 h 361012"/>
                  <a:gd name="connsiteX2" fmla="*/ 330563 w 569032"/>
                  <a:gd name="connsiteY2" fmla="*/ 351759 h 361012"/>
                  <a:gd name="connsiteX3" fmla="*/ 339824 w 569032"/>
                  <a:gd name="connsiteY3" fmla="*/ 342506 h 361012"/>
                  <a:gd name="connsiteX4" fmla="*/ 525865 w 569032"/>
                  <a:gd name="connsiteY4" fmla="*/ 342506 h 361012"/>
                  <a:gd name="connsiteX5" fmla="*/ 550530 w 569032"/>
                  <a:gd name="connsiteY5" fmla="*/ 317842 h 361012"/>
                  <a:gd name="connsiteX6" fmla="*/ 550530 w 569032"/>
                  <a:gd name="connsiteY6" fmla="*/ 43172 h 361012"/>
                  <a:gd name="connsiteX7" fmla="*/ 525865 w 569032"/>
                  <a:gd name="connsiteY7" fmla="*/ 18506 h 361012"/>
                  <a:gd name="connsiteX8" fmla="*/ 43167 w 569032"/>
                  <a:gd name="connsiteY8" fmla="*/ 18506 h 361012"/>
                  <a:gd name="connsiteX9" fmla="*/ 18503 w 569032"/>
                  <a:gd name="connsiteY9" fmla="*/ 43172 h 361012"/>
                  <a:gd name="connsiteX10" fmla="*/ 18503 w 569032"/>
                  <a:gd name="connsiteY10" fmla="*/ 317842 h 361012"/>
                  <a:gd name="connsiteX11" fmla="*/ 43167 w 569032"/>
                  <a:gd name="connsiteY11" fmla="*/ 342506 h 361012"/>
                  <a:gd name="connsiteX12" fmla="*/ 206764 w 569032"/>
                  <a:gd name="connsiteY12" fmla="*/ 342506 h 361012"/>
                  <a:gd name="connsiteX13" fmla="*/ 216006 w 569032"/>
                  <a:gd name="connsiteY13" fmla="*/ 351759 h 361012"/>
                  <a:gd name="connsiteX14" fmla="*/ 206764 w 569032"/>
                  <a:gd name="connsiteY14" fmla="*/ 361013 h 361012"/>
                  <a:gd name="connsiteX15" fmla="*/ 43167 w 569032"/>
                  <a:gd name="connsiteY15" fmla="*/ 361013 h 361012"/>
                  <a:gd name="connsiteX16" fmla="*/ 0 w 569032"/>
                  <a:gd name="connsiteY16" fmla="*/ 317842 h 361012"/>
                  <a:gd name="connsiteX17" fmla="*/ 0 w 569032"/>
                  <a:gd name="connsiteY17" fmla="*/ 43172 h 361012"/>
                  <a:gd name="connsiteX18" fmla="*/ 43167 w 569032"/>
                  <a:gd name="connsiteY18" fmla="*/ 0 h 361012"/>
                  <a:gd name="connsiteX19" fmla="*/ 525865 w 569032"/>
                  <a:gd name="connsiteY19" fmla="*/ 0 h 361012"/>
                  <a:gd name="connsiteX20" fmla="*/ 569032 w 569032"/>
                  <a:gd name="connsiteY20" fmla="*/ 43172 h 361012"/>
                  <a:gd name="connsiteX21" fmla="*/ 569032 w 569032"/>
                  <a:gd name="connsiteY21" fmla="*/ 317842 h 361012"/>
                  <a:gd name="connsiteX22" fmla="*/ 525865 w 569032"/>
                  <a:gd name="connsiteY22" fmla="*/ 361013 h 361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69032" h="361012">
                    <a:moveTo>
                      <a:pt x="525865" y="361013"/>
                    </a:moveTo>
                    <a:lnTo>
                      <a:pt x="339824" y="361013"/>
                    </a:lnTo>
                    <a:cubicBezTo>
                      <a:pt x="334715" y="361013"/>
                      <a:pt x="330563" y="356870"/>
                      <a:pt x="330563" y="351759"/>
                    </a:cubicBezTo>
                    <a:cubicBezTo>
                      <a:pt x="330563" y="346649"/>
                      <a:pt x="334715" y="342506"/>
                      <a:pt x="339824" y="342506"/>
                    </a:cubicBezTo>
                    <a:lnTo>
                      <a:pt x="525865" y="342506"/>
                    </a:lnTo>
                    <a:cubicBezTo>
                      <a:pt x="539451" y="342506"/>
                      <a:pt x="550530" y="331441"/>
                      <a:pt x="550530" y="317842"/>
                    </a:cubicBezTo>
                    <a:lnTo>
                      <a:pt x="550530" y="43172"/>
                    </a:lnTo>
                    <a:cubicBezTo>
                      <a:pt x="550530" y="29572"/>
                      <a:pt x="539451" y="18506"/>
                      <a:pt x="525865" y="18506"/>
                    </a:cubicBezTo>
                    <a:lnTo>
                      <a:pt x="43167" y="18506"/>
                    </a:lnTo>
                    <a:cubicBezTo>
                      <a:pt x="29563" y="18506"/>
                      <a:pt x="18503" y="29572"/>
                      <a:pt x="18503" y="43172"/>
                    </a:cubicBezTo>
                    <a:lnTo>
                      <a:pt x="18503" y="317842"/>
                    </a:lnTo>
                    <a:cubicBezTo>
                      <a:pt x="18503" y="331441"/>
                      <a:pt x="29563" y="342506"/>
                      <a:pt x="43167" y="342506"/>
                    </a:cubicBezTo>
                    <a:lnTo>
                      <a:pt x="206764" y="342506"/>
                    </a:lnTo>
                    <a:cubicBezTo>
                      <a:pt x="211873" y="342506"/>
                      <a:pt x="216006" y="346649"/>
                      <a:pt x="216006" y="351759"/>
                    </a:cubicBezTo>
                    <a:cubicBezTo>
                      <a:pt x="216006" y="356870"/>
                      <a:pt x="211873" y="361013"/>
                      <a:pt x="206764" y="361013"/>
                    </a:cubicBezTo>
                    <a:lnTo>
                      <a:pt x="43167" y="361013"/>
                    </a:lnTo>
                    <a:cubicBezTo>
                      <a:pt x="19364" y="361013"/>
                      <a:pt x="0" y="341645"/>
                      <a:pt x="0" y="317842"/>
                    </a:cubicBezTo>
                    <a:lnTo>
                      <a:pt x="0" y="43172"/>
                    </a:lnTo>
                    <a:cubicBezTo>
                      <a:pt x="0" y="19367"/>
                      <a:pt x="19364" y="0"/>
                      <a:pt x="43167" y="0"/>
                    </a:cubicBezTo>
                    <a:lnTo>
                      <a:pt x="525865" y="0"/>
                    </a:lnTo>
                    <a:cubicBezTo>
                      <a:pt x="549668" y="0"/>
                      <a:pt x="569032" y="19367"/>
                      <a:pt x="569032" y="43172"/>
                    </a:cubicBezTo>
                    <a:lnTo>
                      <a:pt x="569032" y="317842"/>
                    </a:lnTo>
                    <a:cubicBezTo>
                      <a:pt x="569032" y="341645"/>
                      <a:pt x="549668" y="361013"/>
                      <a:pt x="525865" y="361013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596" name="Group 2595">
                <a:extLst>
                  <a:ext uri="{FF2B5EF4-FFF2-40B4-BE49-F238E27FC236}">
                    <a16:creationId xmlns:a16="http://schemas.microsoft.com/office/drawing/2014/main" id="{9E3359F8-E7AB-BB5F-F45D-D50F61BF2795}"/>
                  </a:ext>
                </a:extLst>
              </p:cNvPr>
              <p:cNvGrpSpPr/>
              <p:nvPr/>
            </p:nvGrpSpPr>
            <p:grpSpPr>
              <a:xfrm>
                <a:off x="4044477" y="2338445"/>
                <a:ext cx="387146" cy="160291"/>
                <a:chOff x="4039871" y="2440650"/>
                <a:chExt cx="209114" cy="86580"/>
              </a:xfrm>
            </p:grpSpPr>
            <p:sp>
              <p:nvSpPr>
                <p:cNvPr id="2331" name="Freeform: Shape 2330">
                  <a:extLst>
                    <a:ext uri="{FF2B5EF4-FFF2-40B4-BE49-F238E27FC236}">
                      <a16:creationId xmlns:a16="http://schemas.microsoft.com/office/drawing/2014/main" id="{80BDF3E9-7489-F192-6C34-3167A782D9C5}"/>
                    </a:ext>
                  </a:extLst>
                </p:cNvPr>
                <p:cNvSpPr/>
                <p:nvPr/>
              </p:nvSpPr>
              <p:spPr>
                <a:xfrm>
                  <a:off x="4049057" y="2443455"/>
                  <a:ext cx="191163" cy="72589"/>
                </a:xfrm>
                <a:custGeom>
                  <a:avLst/>
                  <a:gdLst>
                    <a:gd name="connsiteX0" fmla="*/ 0 w 191131"/>
                    <a:gd name="connsiteY0" fmla="*/ 0 h 74585"/>
                    <a:gd name="connsiteX1" fmla="*/ 191131 w 191131"/>
                    <a:gd name="connsiteY1" fmla="*/ 0 h 74585"/>
                    <a:gd name="connsiteX2" fmla="*/ 191131 w 191131"/>
                    <a:gd name="connsiteY2" fmla="*/ 74585 h 74585"/>
                    <a:gd name="connsiteX3" fmla="*/ 0 w 191131"/>
                    <a:gd name="connsiteY3" fmla="*/ 74585 h 745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1131" h="74585">
                      <a:moveTo>
                        <a:pt x="0" y="0"/>
                      </a:moveTo>
                      <a:lnTo>
                        <a:pt x="191131" y="0"/>
                      </a:lnTo>
                      <a:lnTo>
                        <a:pt x="191131" y="74585"/>
                      </a:lnTo>
                      <a:lnTo>
                        <a:pt x="0" y="74585"/>
                      </a:lnTo>
                      <a:close/>
                    </a:path>
                  </a:pathLst>
                </a:custGeom>
                <a:solidFill>
                  <a:srgbClr val="2251FF"/>
                </a:solidFill>
                <a:ln w="1913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32" name="Freeform: Shape 2331">
                  <a:extLst>
                    <a:ext uri="{FF2B5EF4-FFF2-40B4-BE49-F238E27FC236}">
                      <a16:creationId xmlns:a16="http://schemas.microsoft.com/office/drawing/2014/main" id="{D078D15D-5EBC-8896-9B07-FF4F9B8D4C3B}"/>
                    </a:ext>
                  </a:extLst>
                </p:cNvPr>
                <p:cNvSpPr/>
                <p:nvPr/>
              </p:nvSpPr>
              <p:spPr>
                <a:xfrm>
                  <a:off x="4042359" y="2440650"/>
                  <a:ext cx="18506" cy="48522"/>
                </a:xfrm>
                <a:custGeom>
                  <a:avLst/>
                  <a:gdLst>
                    <a:gd name="connsiteX0" fmla="*/ 9242 w 18503"/>
                    <a:gd name="connsiteY0" fmla="*/ 49856 h 49856"/>
                    <a:gd name="connsiteX1" fmla="*/ 0 w 18503"/>
                    <a:gd name="connsiteY1" fmla="*/ 40603 h 49856"/>
                    <a:gd name="connsiteX2" fmla="*/ 0 w 18503"/>
                    <a:gd name="connsiteY2" fmla="*/ 9253 h 49856"/>
                    <a:gd name="connsiteX3" fmla="*/ 9242 w 18503"/>
                    <a:gd name="connsiteY3" fmla="*/ 0 h 49856"/>
                    <a:gd name="connsiteX4" fmla="*/ 18504 w 18503"/>
                    <a:gd name="connsiteY4" fmla="*/ 9253 h 49856"/>
                    <a:gd name="connsiteX5" fmla="*/ 18504 w 18503"/>
                    <a:gd name="connsiteY5" fmla="*/ 40603 h 49856"/>
                    <a:gd name="connsiteX6" fmla="*/ 9242 w 18503"/>
                    <a:gd name="connsiteY6" fmla="*/ 49856 h 498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503" h="49856">
                      <a:moveTo>
                        <a:pt x="9242" y="49856"/>
                      </a:moveTo>
                      <a:cubicBezTo>
                        <a:pt x="4133" y="49856"/>
                        <a:pt x="0" y="45713"/>
                        <a:pt x="0" y="40603"/>
                      </a:cubicBezTo>
                      <a:lnTo>
                        <a:pt x="0" y="9253"/>
                      </a:lnTo>
                      <a:cubicBezTo>
                        <a:pt x="0" y="4142"/>
                        <a:pt x="4133" y="0"/>
                        <a:pt x="9242" y="0"/>
                      </a:cubicBezTo>
                      <a:cubicBezTo>
                        <a:pt x="14351" y="0"/>
                        <a:pt x="18504" y="4142"/>
                        <a:pt x="18504" y="9253"/>
                      </a:cubicBezTo>
                      <a:lnTo>
                        <a:pt x="18504" y="40603"/>
                      </a:lnTo>
                      <a:cubicBezTo>
                        <a:pt x="18504" y="45713"/>
                        <a:pt x="14351" y="49856"/>
                        <a:pt x="9242" y="49856"/>
                      </a:cubicBezTo>
                      <a:close/>
                    </a:path>
                  </a:pathLst>
                </a:custGeom>
                <a:solidFill>
                  <a:srgbClr val="3194D2"/>
                </a:solidFill>
                <a:ln w="1913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33" name="Freeform: Shape 2332">
                  <a:extLst>
                    <a:ext uri="{FF2B5EF4-FFF2-40B4-BE49-F238E27FC236}">
                      <a16:creationId xmlns:a16="http://schemas.microsoft.com/office/drawing/2014/main" id="{EE78009F-DAE0-E40C-9F5B-D0CC108B892B}"/>
                    </a:ext>
                  </a:extLst>
                </p:cNvPr>
                <p:cNvSpPr/>
                <p:nvPr/>
              </p:nvSpPr>
              <p:spPr>
                <a:xfrm>
                  <a:off x="4079984" y="2440650"/>
                  <a:ext cx="18505" cy="48522"/>
                </a:xfrm>
                <a:custGeom>
                  <a:avLst/>
                  <a:gdLst>
                    <a:gd name="connsiteX0" fmla="*/ 9242 w 18502"/>
                    <a:gd name="connsiteY0" fmla="*/ 49856 h 49856"/>
                    <a:gd name="connsiteX1" fmla="*/ 0 w 18502"/>
                    <a:gd name="connsiteY1" fmla="*/ 40603 h 49856"/>
                    <a:gd name="connsiteX2" fmla="*/ 0 w 18502"/>
                    <a:gd name="connsiteY2" fmla="*/ 9253 h 49856"/>
                    <a:gd name="connsiteX3" fmla="*/ 9242 w 18502"/>
                    <a:gd name="connsiteY3" fmla="*/ 0 h 49856"/>
                    <a:gd name="connsiteX4" fmla="*/ 18503 w 18502"/>
                    <a:gd name="connsiteY4" fmla="*/ 9253 h 49856"/>
                    <a:gd name="connsiteX5" fmla="*/ 18503 w 18502"/>
                    <a:gd name="connsiteY5" fmla="*/ 40603 h 49856"/>
                    <a:gd name="connsiteX6" fmla="*/ 9242 w 18502"/>
                    <a:gd name="connsiteY6" fmla="*/ 49856 h 498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502" h="49856">
                      <a:moveTo>
                        <a:pt x="9242" y="49856"/>
                      </a:moveTo>
                      <a:cubicBezTo>
                        <a:pt x="4133" y="49856"/>
                        <a:pt x="0" y="45713"/>
                        <a:pt x="0" y="40603"/>
                      </a:cubicBezTo>
                      <a:lnTo>
                        <a:pt x="0" y="9253"/>
                      </a:lnTo>
                      <a:cubicBezTo>
                        <a:pt x="0" y="4142"/>
                        <a:pt x="4133" y="0"/>
                        <a:pt x="9242" y="0"/>
                      </a:cubicBezTo>
                      <a:cubicBezTo>
                        <a:pt x="14351" y="0"/>
                        <a:pt x="18503" y="4142"/>
                        <a:pt x="18503" y="9253"/>
                      </a:cubicBezTo>
                      <a:lnTo>
                        <a:pt x="18503" y="40603"/>
                      </a:lnTo>
                      <a:cubicBezTo>
                        <a:pt x="18503" y="45713"/>
                        <a:pt x="14351" y="49856"/>
                        <a:pt x="9242" y="49856"/>
                      </a:cubicBezTo>
                      <a:close/>
                    </a:path>
                  </a:pathLst>
                </a:custGeom>
                <a:solidFill>
                  <a:srgbClr val="3194D2"/>
                </a:solidFill>
                <a:ln w="1913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34" name="Freeform: Shape 2333">
                  <a:extLst>
                    <a:ext uri="{FF2B5EF4-FFF2-40B4-BE49-F238E27FC236}">
                      <a16:creationId xmlns:a16="http://schemas.microsoft.com/office/drawing/2014/main" id="{F1D0E648-DC6B-BEC1-B252-0445F77374D2}"/>
                    </a:ext>
                  </a:extLst>
                </p:cNvPr>
                <p:cNvSpPr/>
                <p:nvPr/>
              </p:nvSpPr>
              <p:spPr>
                <a:xfrm>
                  <a:off x="4117608" y="2440650"/>
                  <a:ext cx="18505" cy="48522"/>
                </a:xfrm>
                <a:custGeom>
                  <a:avLst/>
                  <a:gdLst>
                    <a:gd name="connsiteX0" fmla="*/ 9242 w 18502"/>
                    <a:gd name="connsiteY0" fmla="*/ 49856 h 49856"/>
                    <a:gd name="connsiteX1" fmla="*/ 0 w 18502"/>
                    <a:gd name="connsiteY1" fmla="*/ 40603 h 49856"/>
                    <a:gd name="connsiteX2" fmla="*/ 0 w 18502"/>
                    <a:gd name="connsiteY2" fmla="*/ 9253 h 49856"/>
                    <a:gd name="connsiteX3" fmla="*/ 9242 w 18502"/>
                    <a:gd name="connsiteY3" fmla="*/ 0 h 49856"/>
                    <a:gd name="connsiteX4" fmla="*/ 18503 w 18502"/>
                    <a:gd name="connsiteY4" fmla="*/ 9253 h 49856"/>
                    <a:gd name="connsiteX5" fmla="*/ 18503 w 18502"/>
                    <a:gd name="connsiteY5" fmla="*/ 40603 h 49856"/>
                    <a:gd name="connsiteX6" fmla="*/ 9242 w 18502"/>
                    <a:gd name="connsiteY6" fmla="*/ 49856 h 498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502" h="49856">
                      <a:moveTo>
                        <a:pt x="9242" y="49856"/>
                      </a:moveTo>
                      <a:cubicBezTo>
                        <a:pt x="4133" y="49856"/>
                        <a:pt x="0" y="45713"/>
                        <a:pt x="0" y="40603"/>
                      </a:cubicBezTo>
                      <a:lnTo>
                        <a:pt x="0" y="9253"/>
                      </a:lnTo>
                      <a:cubicBezTo>
                        <a:pt x="0" y="4142"/>
                        <a:pt x="4133" y="0"/>
                        <a:pt x="9242" y="0"/>
                      </a:cubicBezTo>
                      <a:cubicBezTo>
                        <a:pt x="14369" y="0"/>
                        <a:pt x="18503" y="4142"/>
                        <a:pt x="18503" y="9253"/>
                      </a:cubicBezTo>
                      <a:lnTo>
                        <a:pt x="18503" y="40603"/>
                      </a:lnTo>
                      <a:cubicBezTo>
                        <a:pt x="18503" y="45713"/>
                        <a:pt x="14369" y="49856"/>
                        <a:pt x="9242" y="49856"/>
                      </a:cubicBezTo>
                      <a:close/>
                    </a:path>
                  </a:pathLst>
                </a:custGeom>
                <a:solidFill>
                  <a:srgbClr val="3194D2"/>
                </a:solidFill>
                <a:ln w="1913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35" name="Freeform: Shape 2334">
                  <a:extLst>
                    <a:ext uri="{FF2B5EF4-FFF2-40B4-BE49-F238E27FC236}">
                      <a16:creationId xmlns:a16="http://schemas.microsoft.com/office/drawing/2014/main" id="{ABCE1925-42C9-E376-D6E3-D36EB24B6A09}"/>
                    </a:ext>
                  </a:extLst>
                </p:cNvPr>
                <p:cNvSpPr/>
                <p:nvPr/>
              </p:nvSpPr>
              <p:spPr>
                <a:xfrm>
                  <a:off x="4155233" y="2440650"/>
                  <a:ext cx="18505" cy="48522"/>
                </a:xfrm>
                <a:custGeom>
                  <a:avLst/>
                  <a:gdLst>
                    <a:gd name="connsiteX0" fmla="*/ 9261 w 18502"/>
                    <a:gd name="connsiteY0" fmla="*/ 49856 h 49856"/>
                    <a:gd name="connsiteX1" fmla="*/ 0 w 18502"/>
                    <a:gd name="connsiteY1" fmla="*/ 40603 h 49856"/>
                    <a:gd name="connsiteX2" fmla="*/ 0 w 18502"/>
                    <a:gd name="connsiteY2" fmla="*/ 9253 h 49856"/>
                    <a:gd name="connsiteX3" fmla="*/ 9261 w 18502"/>
                    <a:gd name="connsiteY3" fmla="*/ 0 h 49856"/>
                    <a:gd name="connsiteX4" fmla="*/ 18503 w 18502"/>
                    <a:gd name="connsiteY4" fmla="*/ 9253 h 49856"/>
                    <a:gd name="connsiteX5" fmla="*/ 18503 w 18502"/>
                    <a:gd name="connsiteY5" fmla="*/ 40603 h 49856"/>
                    <a:gd name="connsiteX6" fmla="*/ 9261 w 18502"/>
                    <a:gd name="connsiteY6" fmla="*/ 49856 h 498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502" h="49856">
                      <a:moveTo>
                        <a:pt x="9261" y="49856"/>
                      </a:moveTo>
                      <a:cubicBezTo>
                        <a:pt x="4152" y="49856"/>
                        <a:pt x="0" y="45713"/>
                        <a:pt x="0" y="40603"/>
                      </a:cubicBezTo>
                      <a:lnTo>
                        <a:pt x="0" y="9253"/>
                      </a:lnTo>
                      <a:cubicBezTo>
                        <a:pt x="0" y="4142"/>
                        <a:pt x="4152" y="0"/>
                        <a:pt x="9261" y="0"/>
                      </a:cubicBezTo>
                      <a:cubicBezTo>
                        <a:pt x="14369" y="0"/>
                        <a:pt x="18503" y="4142"/>
                        <a:pt x="18503" y="9253"/>
                      </a:cubicBezTo>
                      <a:lnTo>
                        <a:pt x="18503" y="40603"/>
                      </a:lnTo>
                      <a:cubicBezTo>
                        <a:pt x="18503" y="45713"/>
                        <a:pt x="14369" y="49856"/>
                        <a:pt x="9261" y="49856"/>
                      </a:cubicBezTo>
                      <a:close/>
                    </a:path>
                  </a:pathLst>
                </a:custGeom>
                <a:solidFill>
                  <a:srgbClr val="3194D2"/>
                </a:solidFill>
                <a:ln w="1913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36" name="Freeform: Shape 2335">
                  <a:extLst>
                    <a:ext uri="{FF2B5EF4-FFF2-40B4-BE49-F238E27FC236}">
                      <a16:creationId xmlns:a16="http://schemas.microsoft.com/office/drawing/2014/main" id="{6F9B4CE8-B1CD-25A1-EF2C-C6008A9AA73F}"/>
                    </a:ext>
                  </a:extLst>
                </p:cNvPr>
                <p:cNvSpPr/>
                <p:nvPr/>
              </p:nvSpPr>
              <p:spPr>
                <a:xfrm>
                  <a:off x="4192856" y="2440650"/>
                  <a:ext cx="18505" cy="48522"/>
                </a:xfrm>
                <a:custGeom>
                  <a:avLst/>
                  <a:gdLst>
                    <a:gd name="connsiteX0" fmla="*/ 9262 w 18502"/>
                    <a:gd name="connsiteY0" fmla="*/ 49856 h 49856"/>
                    <a:gd name="connsiteX1" fmla="*/ 0 w 18502"/>
                    <a:gd name="connsiteY1" fmla="*/ 40603 h 49856"/>
                    <a:gd name="connsiteX2" fmla="*/ 0 w 18502"/>
                    <a:gd name="connsiteY2" fmla="*/ 9253 h 49856"/>
                    <a:gd name="connsiteX3" fmla="*/ 9262 w 18502"/>
                    <a:gd name="connsiteY3" fmla="*/ 0 h 49856"/>
                    <a:gd name="connsiteX4" fmla="*/ 18503 w 18502"/>
                    <a:gd name="connsiteY4" fmla="*/ 9253 h 49856"/>
                    <a:gd name="connsiteX5" fmla="*/ 18503 w 18502"/>
                    <a:gd name="connsiteY5" fmla="*/ 40603 h 49856"/>
                    <a:gd name="connsiteX6" fmla="*/ 9262 w 18502"/>
                    <a:gd name="connsiteY6" fmla="*/ 49856 h 498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502" h="49856">
                      <a:moveTo>
                        <a:pt x="9262" y="49856"/>
                      </a:moveTo>
                      <a:cubicBezTo>
                        <a:pt x="4152" y="49856"/>
                        <a:pt x="0" y="45713"/>
                        <a:pt x="0" y="40603"/>
                      </a:cubicBezTo>
                      <a:lnTo>
                        <a:pt x="0" y="9253"/>
                      </a:lnTo>
                      <a:cubicBezTo>
                        <a:pt x="0" y="4142"/>
                        <a:pt x="4152" y="0"/>
                        <a:pt x="9262" y="0"/>
                      </a:cubicBezTo>
                      <a:cubicBezTo>
                        <a:pt x="14370" y="0"/>
                        <a:pt x="18503" y="4142"/>
                        <a:pt x="18503" y="9253"/>
                      </a:cubicBezTo>
                      <a:lnTo>
                        <a:pt x="18503" y="40603"/>
                      </a:lnTo>
                      <a:cubicBezTo>
                        <a:pt x="18503" y="45713"/>
                        <a:pt x="14370" y="49856"/>
                        <a:pt x="9262" y="49856"/>
                      </a:cubicBezTo>
                      <a:close/>
                    </a:path>
                  </a:pathLst>
                </a:custGeom>
                <a:solidFill>
                  <a:srgbClr val="3194D2"/>
                </a:solidFill>
                <a:ln w="1913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37" name="Freeform: Shape 2336">
                  <a:extLst>
                    <a:ext uri="{FF2B5EF4-FFF2-40B4-BE49-F238E27FC236}">
                      <a16:creationId xmlns:a16="http://schemas.microsoft.com/office/drawing/2014/main" id="{A93093F4-FA00-25FB-9CAD-D4F1B127B47E}"/>
                    </a:ext>
                  </a:extLst>
                </p:cNvPr>
                <p:cNvSpPr/>
                <p:nvPr/>
              </p:nvSpPr>
              <p:spPr>
                <a:xfrm>
                  <a:off x="4230480" y="2440650"/>
                  <a:ext cx="18505" cy="48522"/>
                </a:xfrm>
                <a:custGeom>
                  <a:avLst/>
                  <a:gdLst>
                    <a:gd name="connsiteX0" fmla="*/ 9261 w 18502"/>
                    <a:gd name="connsiteY0" fmla="*/ 49856 h 49856"/>
                    <a:gd name="connsiteX1" fmla="*/ 0 w 18502"/>
                    <a:gd name="connsiteY1" fmla="*/ 40603 h 49856"/>
                    <a:gd name="connsiteX2" fmla="*/ 0 w 18502"/>
                    <a:gd name="connsiteY2" fmla="*/ 9253 h 49856"/>
                    <a:gd name="connsiteX3" fmla="*/ 9261 w 18502"/>
                    <a:gd name="connsiteY3" fmla="*/ 0 h 49856"/>
                    <a:gd name="connsiteX4" fmla="*/ 18503 w 18502"/>
                    <a:gd name="connsiteY4" fmla="*/ 9253 h 49856"/>
                    <a:gd name="connsiteX5" fmla="*/ 18503 w 18502"/>
                    <a:gd name="connsiteY5" fmla="*/ 40603 h 49856"/>
                    <a:gd name="connsiteX6" fmla="*/ 9261 w 18502"/>
                    <a:gd name="connsiteY6" fmla="*/ 49856 h 498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502" h="49856">
                      <a:moveTo>
                        <a:pt x="9261" y="49856"/>
                      </a:moveTo>
                      <a:cubicBezTo>
                        <a:pt x="4152" y="49856"/>
                        <a:pt x="0" y="45713"/>
                        <a:pt x="0" y="40603"/>
                      </a:cubicBezTo>
                      <a:lnTo>
                        <a:pt x="0" y="9253"/>
                      </a:lnTo>
                      <a:cubicBezTo>
                        <a:pt x="0" y="4142"/>
                        <a:pt x="4152" y="0"/>
                        <a:pt x="9261" y="0"/>
                      </a:cubicBezTo>
                      <a:cubicBezTo>
                        <a:pt x="14369" y="0"/>
                        <a:pt x="18503" y="4142"/>
                        <a:pt x="18503" y="9253"/>
                      </a:cubicBezTo>
                      <a:lnTo>
                        <a:pt x="18503" y="40603"/>
                      </a:lnTo>
                      <a:cubicBezTo>
                        <a:pt x="18503" y="45713"/>
                        <a:pt x="14369" y="49856"/>
                        <a:pt x="9261" y="49856"/>
                      </a:cubicBezTo>
                      <a:close/>
                    </a:path>
                  </a:pathLst>
                </a:custGeom>
                <a:solidFill>
                  <a:srgbClr val="3194D2"/>
                </a:solidFill>
                <a:ln w="1913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38" name="Freeform: Shape 2337">
                  <a:extLst>
                    <a:ext uri="{FF2B5EF4-FFF2-40B4-BE49-F238E27FC236}">
                      <a16:creationId xmlns:a16="http://schemas.microsoft.com/office/drawing/2014/main" id="{AACA1B76-52CD-B782-EA24-46D0F86A3AF7}"/>
                    </a:ext>
                  </a:extLst>
                </p:cNvPr>
                <p:cNvSpPr/>
                <p:nvPr/>
              </p:nvSpPr>
              <p:spPr>
                <a:xfrm>
                  <a:off x="4039871" y="2509219"/>
                  <a:ext cx="154343" cy="18011"/>
                </a:xfrm>
                <a:custGeom>
                  <a:avLst/>
                  <a:gdLst>
                    <a:gd name="connsiteX0" fmla="*/ 145056 w 154317"/>
                    <a:gd name="connsiteY0" fmla="*/ 18506 h 18506"/>
                    <a:gd name="connsiteX1" fmla="*/ 9261 w 154317"/>
                    <a:gd name="connsiteY1" fmla="*/ 18506 h 18506"/>
                    <a:gd name="connsiteX2" fmla="*/ 0 w 154317"/>
                    <a:gd name="connsiteY2" fmla="*/ 9253 h 18506"/>
                    <a:gd name="connsiteX3" fmla="*/ 9261 w 154317"/>
                    <a:gd name="connsiteY3" fmla="*/ 0 h 18506"/>
                    <a:gd name="connsiteX4" fmla="*/ 145056 w 154317"/>
                    <a:gd name="connsiteY4" fmla="*/ 0 h 18506"/>
                    <a:gd name="connsiteX5" fmla="*/ 154317 w 154317"/>
                    <a:gd name="connsiteY5" fmla="*/ 9253 h 18506"/>
                    <a:gd name="connsiteX6" fmla="*/ 145056 w 154317"/>
                    <a:gd name="connsiteY6" fmla="*/ 18506 h 18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54317" h="18506">
                      <a:moveTo>
                        <a:pt x="145056" y="18506"/>
                      </a:moveTo>
                      <a:lnTo>
                        <a:pt x="9261" y="18506"/>
                      </a:lnTo>
                      <a:cubicBezTo>
                        <a:pt x="4152" y="18506"/>
                        <a:pt x="0" y="14364"/>
                        <a:pt x="0" y="9253"/>
                      </a:cubicBezTo>
                      <a:cubicBezTo>
                        <a:pt x="0" y="4142"/>
                        <a:pt x="4152" y="0"/>
                        <a:pt x="9261" y="0"/>
                      </a:cubicBezTo>
                      <a:lnTo>
                        <a:pt x="145056" y="0"/>
                      </a:lnTo>
                      <a:cubicBezTo>
                        <a:pt x="150165" y="0"/>
                        <a:pt x="154317" y="4142"/>
                        <a:pt x="154317" y="9253"/>
                      </a:cubicBezTo>
                      <a:cubicBezTo>
                        <a:pt x="154317" y="14364"/>
                        <a:pt x="150165" y="18506"/>
                        <a:pt x="145056" y="18506"/>
                      </a:cubicBezTo>
                      <a:close/>
                    </a:path>
                  </a:pathLst>
                </a:custGeom>
                <a:solidFill>
                  <a:srgbClr val="3194D2"/>
                </a:solidFill>
                <a:ln w="1913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366" name="Freeform: Shape 2365">
                <a:extLst>
                  <a:ext uri="{FF2B5EF4-FFF2-40B4-BE49-F238E27FC236}">
                    <a16:creationId xmlns:a16="http://schemas.microsoft.com/office/drawing/2014/main" id="{380D59F4-DFAC-92BC-D3A5-5F9CE4FA788A}"/>
                  </a:ext>
                </a:extLst>
              </p:cNvPr>
              <p:cNvSpPr/>
              <p:nvPr/>
            </p:nvSpPr>
            <p:spPr>
              <a:xfrm>
                <a:off x="3493890" y="1696192"/>
                <a:ext cx="210454" cy="131282"/>
              </a:xfrm>
              <a:custGeom>
                <a:avLst/>
                <a:gdLst>
                  <a:gd name="connsiteX0" fmla="*/ 0 w 210419"/>
                  <a:gd name="connsiteY0" fmla="*/ 134892 h 134892"/>
                  <a:gd name="connsiteX1" fmla="*/ 0 w 210419"/>
                  <a:gd name="connsiteY1" fmla="*/ 55950 h 134892"/>
                  <a:gd name="connsiteX2" fmla="*/ 55949 w 210419"/>
                  <a:gd name="connsiteY2" fmla="*/ 0 h 134892"/>
                  <a:gd name="connsiteX3" fmla="*/ 154471 w 210419"/>
                  <a:gd name="connsiteY3" fmla="*/ 0 h 134892"/>
                  <a:gd name="connsiteX4" fmla="*/ 210419 w 210419"/>
                  <a:gd name="connsiteY4" fmla="*/ 55950 h 134892"/>
                  <a:gd name="connsiteX5" fmla="*/ 210419 w 210419"/>
                  <a:gd name="connsiteY5" fmla="*/ 134892 h 134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10419" h="134892">
                    <a:moveTo>
                      <a:pt x="0" y="134892"/>
                    </a:moveTo>
                    <a:lnTo>
                      <a:pt x="0" y="55950"/>
                    </a:lnTo>
                    <a:cubicBezTo>
                      <a:pt x="0" y="25050"/>
                      <a:pt x="25047" y="0"/>
                      <a:pt x="55949" y="0"/>
                    </a:cubicBezTo>
                    <a:lnTo>
                      <a:pt x="154471" y="0"/>
                    </a:lnTo>
                    <a:cubicBezTo>
                      <a:pt x="185373" y="0"/>
                      <a:pt x="210419" y="25050"/>
                      <a:pt x="210419" y="55950"/>
                    </a:cubicBezTo>
                    <a:lnTo>
                      <a:pt x="210419" y="134892"/>
                    </a:lnTo>
                  </a:path>
                </a:pathLst>
              </a:custGeom>
              <a:solidFill>
                <a:schemeClr val="accent3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67" name="Freeform: Shape 2366">
                <a:extLst>
                  <a:ext uri="{FF2B5EF4-FFF2-40B4-BE49-F238E27FC236}">
                    <a16:creationId xmlns:a16="http://schemas.microsoft.com/office/drawing/2014/main" id="{87162126-F11C-D9DC-61C8-B10C2BAEC89D}"/>
                  </a:ext>
                </a:extLst>
              </p:cNvPr>
              <p:cNvSpPr/>
              <p:nvPr/>
            </p:nvSpPr>
            <p:spPr>
              <a:xfrm>
                <a:off x="3484628" y="1687187"/>
                <a:ext cx="228978" cy="149293"/>
              </a:xfrm>
              <a:custGeom>
                <a:avLst/>
                <a:gdLst>
                  <a:gd name="connsiteX0" fmla="*/ 219680 w 228940"/>
                  <a:gd name="connsiteY0" fmla="*/ 153399 h 153398"/>
                  <a:gd name="connsiteX1" fmla="*/ 210438 w 228940"/>
                  <a:gd name="connsiteY1" fmla="*/ 144146 h 153398"/>
                  <a:gd name="connsiteX2" fmla="*/ 210438 w 228940"/>
                  <a:gd name="connsiteY2" fmla="*/ 65204 h 153398"/>
                  <a:gd name="connsiteX3" fmla="*/ 163732 w 228940"/>
                  <a:gd name="connsiteY3" fmla="*/ 18506 h 153398"/>
                  <a:gd name="connsiteX4" fmla="*/ 65210 w 228940"/>
                  <a:gd name="connsiteY4" fmla="*/ 18506 h 153398"/>
                  <a:gd name="connsiteX5" fmla="*/ 18503 w 228940"/>
                  <a:gd name="connsiteY5" fmla="*/ 65204 h 153398"/>
                  <a:gd name="connsiteX6" fmla="*/ 18503 w 228940"/>
                  <a:gd name="connsiteY6" fmla="*/ 144146 h 153398"/>
                  <a:gd name="connsiteX7" fmla="*/ 9261 w 228940"/>
                  <a:gd name="connsiteY7" fmla="*/ 153399 h 153398"/>
                  <a:gd name="connsiteX8" fmla="*/ 0 w 228940"/>
                  <a:gd name="connsiteY8" fmla="*/ 144146 h 153398"/>
                  <a:gd name="connsiteX9" fmla="*/ 0 w 228940"/>
                  <a:gd name="connsiteY9" fmla="*/ 65204 h 153398"/>
                  <a:gd name="connsiteX10" fmla="*/ 65210 w 228940"/>
                  <a:gd name="connsiteY10" fmla="*/ 0 h 153398"/>
                  <a:gd name="connsiteX11" fmla="*/ 163732 w 228940"/>
                  <a:gd name="connsiteY11" fmla="*/ 0 h 153398"/>
                  <a:gd name="connsiteX12" fmla="*/ 228941 w 228940"/>
                  <a:gd name="connsiteY12" fmla="*/ 65204 h 153398"/>
                  <a:gd name="connsiteX13" fmla="*/ 228941 w 228940"/>
                  <a:gd name="connsiteY13" fmla="*/ 144146 h 153398"/>
                  <a:gd name="connsiteX14" fmla="*/ 219680 w 228940"/>
                  <a:gd name="connsiteY14" fmla="*/ 153399 h 15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28940" h="153398">
                    <a:moveTo>
                      <a:pt x="219680" y="153399"/>
                    </a:moveTo>
                    <a:cubicBezTo>
                      <a:pt x="214571" y="153399"/>
                      <a:pt x="210438" y="149256"/>
                      <a:pt x="210438" y="144146"/>
                    </a:cubicBezTo>
                    <a:lnTo>
                      <a:pt x="210438" y="65204"/>
                    </a:lnTo>
                    <a:cubicBezTo>
                      <a:pt x="210438" y="39455"/>
                      <a:pt x="189487" y="18506"/>
                      <a:pt x="163732" y="18506"/>
                    </a:cubicBezTo>
                    <a:lnTo>
                      <a:pt x="65210" y="18506"/>
                    </a:lnTo>
                    <a:cubicBezTo>
                      <a:pt x="39455" y="18506"/>
                      <a:pt x="18503" y="39455"/>
                      <a:pt x="18503" y="65204"/>
                    </a:cubicBezTo>
                    <a:lnTo>
                      <a:pt x="18503" y="144146"/>
                    </a:lnTo>
                    <a:cubicBezTo>
                      <a:pt x="18503" y="149256"/>
                      <a:pt x="14370" y="153399"/>
                      <a:pt x="9261" y="153399"/>
                    </a:cubicBezTo>
                    <a:cubicBezTo>
                      <a:pt x="4152" y="153399"/>
                      <a:pt x="0" y="149256"/>
                      <a:pt x="0" y="144146"/>
                    </a:cubicBezTo>
                    <a:lnTo>
                      <a:pt x="0" y="65204"/>
                    </a:lnTo>
                    <a:cubicBezTo>
                      <a:pt x="0" y="29250"/>
                      <a:pt x="29256" y="0"/>
                      <a:pt x="65210" y="0"/>
                    </a:cubicBezTo>
                    <a:lnTo>
                      <a:pt x="163732" y="0"/>
                    </a:lnTo>
                    <a:cubicBezTo>
                      <a:pt x="199684" y="0"/>
                      <a:pt x="228941" y="29250"/>
                      <a:pt x="228941" y="65204"/>
                    </a:cubicBezTo>
                    <a:lnTo>
                      <a:pt x="228941" y="144146"/>
                    </a:lnTo>
                    <a:cubicBezTo>
                      <a:pt x="228941" y="149256"/>
                      <a:pt x="224789" y="153399"/>
                      <a:pt x="219680" y="153399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68" name="Freeform: Shape 2367">
                <a:extLst>
                  <a:ext uri="{FF2B5EF4-FFF2-40B4-BE49-F238E27FC236}">
                    <a16:creationId xmlns:a16="http://schemas.microsoft.com/office/drawing/2014/main" id="{5559E200-58DC-533F-8073-6C129D03F903}"/>
                  </a:ext>
                </a:extLst>
              </p:cNvPr>
              <p:cNvSpPr/>
              <p:nvPr/>
            </p:nvSpPr>
            <p:spPr>
              <a:xfrm>
                <a:off x="3763709" y="1759207"/>
                <a:ext cx="70157" cy="68267"/>
              </a:xfrm>
              <a:custGeom>
                <a:avLst/>
                <a:gdLst>
                  <a:gd name="connsiteX0" fmla="*/ 16187 w 70146"/>
                  <a:gd name="connsiteY0" fmla="*/ 70144 h 70144"/>
                  <a:gd name="connsiteX1" fmla="*/ 0 w 70146"/>
                  <a:gd name="connsiteY1" fmla="*/ 0 h 70144"/>
                  <a:gd name="connsiteX2" fmla="*/ 70146 w 70146"/>
                  <a:gd name="connsiteY2" fmla="*/ 0 h 70144"/>
                  <a:gd name="connsiteX3" fmla="*/ 53959 w 70146"/>
                  <a:gd name="connsiteY3" fmla="*/ 70144 h 70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146" h="70144">
                    <a:moveTo>
                      <a:pt x="16187" y="70144"/>
                    </a:moveTo>
                    <a:cubicBezTo>
                      <a:pt x="0" y="53956"/>
                      <a:pt x="0" y="0"/>
                      <a:pt x="0" y="0"/>
                    </a:cubicBezTo>
                    <a:lnTo>
                      <a:pt x="70146" y="0"/>
                    </a:lnTo>
                    <a:cubicBezTo>
                      <a:pt x="70146" y="0"/>
                      <a:pt x="70146" y="53956"/>
                      <a:pt x="53959" y="70144"/>
                    </a:cubicBezTo>
                  </a:path>
                </a:pathLst>
              </a:custGeom>
              <a:solidFill>
                <a:srgbClr val="2251FF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69" name="Freeform: Shape 2368">
                <a:extLst>
                  <a:ext uri="{FF2B5EF4-FFF2-40B4-BE49-F238E27FC236}">
                    <a16:creationId xmlns:a16="http://schemas.microsoft.com/office/drawing/2014/main" id="{F63AF82E-CB9B-E87E-5FA7-FD99F504DAB8}"/>
                  </a:ext>
                </a:extLst>
              </p:cNvPr>
              <p:cNvSpPr/>
              <p:nvPr/>
            </p:nvSpPr>
            <p:spPr>
              <a:xfrm>
                <a:off x="3754466" y="1750202"/>
                <a:ext cx="88662" cy="83639"/>
              </a:xfrm>
              <a:custGeom>
                <a:avLst/>
                <a:gdLst>
                  <a:gd name="connsiteX0" fmla="*/ 69745 w 88648"/>
                  <a:gd name="connsiteY0" fmla="*/ 85939 h 85939"/>
                  <a:gd name="connsiteX1" fmla="*/ 56656 w 88648"/>
                  <a:gd name="connsiteY1" fmla="*/ 72853 h 85939"/>
                  <a:gd name="connsiteX2" fmla="*/ 69898 w 88648"/>
                  <a:gd name="connsiteY2" fmla="*/ 18506 h 85939"/>
                  <a:gd name="connsiteX3" fmla="*/ 18752 w 88648"/>
                  <a:gd name="connsiteY3" fmla="*/ 18506 h 85939"/>
                  <a:gd name="connsiteX4" fmla="*/ 31973 w 88648"/>
                  <a:gd name="connsiteY4" fmla="*/ 72853 h 85939"/>
                  <a:gd name="connsiteX5" fmla="*/ 18886 w 88648"/>
                  <a:gd name="connsiteY5" fmla="*/ 85939 h 85939"/>
                  <a:gd name="connsiteX6" fmla="*/ 0 w 88648"/>
                  <a:gd name="connsiteY6" fmla="*/ 9253 h 85939"/>
                  <a:gd name="connsiteX7" fmla="*/ 9242 w 88648"/>
                  <a:gd name="connsiteY7" fmla="*/ 0 h 85939"/>
                  <a:gd name="connsiteX8" fmla="*/ 79388 w 88648"/>
                  <a:gd name="connsiteY8" fmla="*/ 0 h 85939"/>
                  <a:gd name="connsiteX9" fmla="*/ 88649 w 88648"/>
                  <a:gd name="connsiteY9" fmla="*/ 9253 h 85939"/>
                  <a:gd name="connsiteX10" fmla="*/ 69745 w 88648"/>
                  <a:gd name="connsiteY10" fmla="*/ 85939 h 85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8648" h="85939">
                    <a:moveTo>
                      <a:pt x="69745" y="85939"/>
                    </a:moveTo>
                    <a:lnTo>
                      <a:pt x="56656" y="72853"/>
                    </a:lnTo>
                    <a:cubicBezTo>
                      <a:pt x="65038" y="64478"/>
                      <a:pt x="68941" y="38100"/>
                      <a:pt x="69898" y="18506"/>
                    </a:cubicBezTo>
                    <a:lnTo>
                      <a:pt x="18752" y="18506"/>
                    </a:lnTo>
                    <a:cubicBezTo>
                      <a:pt x="19709" y="38100"/>
                      <a:pt x="23593" y="64478"/>
                      <a:pt x="31973" y="72853"/>
                    </a:cubicBezTo>
                    <a:lnTo>
                      <a:pt x="18886" y="85939"/>
                    </a:lnTo>
                    <a:cubicBezTo>
                      <a:pt x="517" y="67574"/>
                      <a:pt x="0" y="15168"/>
                      <a:pt x="0" y="9253"/>
                    </a:cubicBezTo>
                    <a:cubicBezTo>
                      <a:pt x="0" y="4142"/>
                      <a:pt x="4133" y="0"/>
                      <a:pt x="9242" y="0"/>
                    </a:cubicBezTo>
                    <a:lnTo>
                      <a:pt x="79388" y="0"/>
                    </a:lnTo>
                    <a:cubicBezTo>
                      <a:pt x="84497" y="0"/>
                      <a:pt x="88649" y="4142"/>
                      <a:pt x="88649" y="9253"/>
                    </a:cubicBezTo>
                    <a:cubicBezTo>
                      <a:pt x="88649" y="15168"/>
                      <a:pt x="88114" y="67574"/>
                      <a:pt x="69745" y="85939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70" name="Freeform: Shape 2369">
                <a:extLst>
                  <a:ext uri="{FF2B5EF4-FFF2-40B4-BE49-F238E27FC236}">
                    <a16:creationId xmlns:a16="http://schemas.microsoft.com/office/drawing/2014/main" id="{8084D9DF-82D2-9EFC-A42F-F4CF1A461A40}"/>
                  </a:ext>
                </a:extLst>
              </p:cNvPr>
              <p:cNvSpPr/>
              <p:nvPr/>
            </p:nvSpPr>
            <p:spPr>
              <a:xfrm>
                <a:off x="3461510" y="1827474"/>
                <a:ext cx="420927" cy="47260"/>
              </a:xfrm>
              <a:custGeom>
                <a:avLst/>
                <a:gdLst>
                  <a:gd name="connsiteX0" fmla="*/ 420857 w 420857"/>
                  <a:gd name="connsiteY0" fmla="*/ 0 h 48560"/>
                  <a:gd name="connsiteX1" fmla="*/ 0 w 420857"/>
                  <a:gd name="connsiteY1" fmla="*/ 0 h 48560"/>
                  <a:gd name="connsiteX2" fmla="*/ 0 w 420857"/>
                  <a:gd name="connsiteY2" fmla="*/ 48561 h 48560"/>
                  <a:gd name="connsiteX3" fmla="*/ 420857 w 420857"/>
                  <a:gd name="connsiteY3" fmla="*/ 48561 h 48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0857" h="48560">
                    <a:moveTo>
                      <a:pt x="420857" y="0"/>
                    </a:moveTo>
                    <a:lnTo>
                      <a:pt x="0" y="0"/>
                    </a:lnTo>
                    <a:lnTo>
                      <a:pt x="0" y="48561"/>
                    </a:lnTo>
                    <a:lnTo>
                      <a:pt x="420857" y="48561"/>
                    </a:lnTo>
                  </a:path>
                </a:pathLst>
              </a:custGeom>
              <a:solidFill>
                <a:srgbClr val="FFFFFF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71" name="Freeform: Shape 2370">
                <a:extLst>
                  <a:ext uri="{FF2B5EF4-FFF2-40B4-BE49-F238E27FC236}">
                    <a16:creationId xmlns:a16="http://schemas.microsoft.com/office/drawing/2014/main" id="{F1680FEF-C594-859A-E422-AA540370BE81}"/>
                  </a:ext>
                </a:extLst>
              </p:cNvPr>
              <p:cNvSpPr/>
              <p:nvPr/>
            </p:nvSpPr>
            <p:spPr>
              <a:xfrm>
                <a:off x="3452249" y="1818469"/>
                <a:ext cx="439451" cy="65272"/>
              </a:xfrm>
              <a:custGeom>
                <a:avLst/>
                <a:gdLst>
                  <a:gd name="connsiteX0" fmla="*/ 430118 w 439378"/>
                  <a:gd name="connsiteY0" fmla="*/ 67067 h 67067"/>
                  <a:gd name="connsiteX1" fmla="*/ 9261 w 439378"/>
                  <a:gd name="connsiteY1" fmla="*/ 67067 h 67067"/>
                  <a:gd name="connsiteX2" fmla="*/ 0 w 439378"/>
                  <a:gd name="connsiteY2" fmla="*/ 57814 h 67067"/>
                  <a:gd name="connsiteX3" fmla="*/ 0 w 439378"/>
                  <a:gd name="connsiteY3" fmla="*/ 9253 h 67067"/>
                  <a:gd name="connsiteX4" fmla="*/ 9261 w 439378"/>
                  <a:gd name="connsiteY4" fmla="*/ 0 h 67067"/>
                  <a:gd name="connsiteX5" fmla="*/ 430118 w 439378"/>
                  <a:gd name="connsiteY5" fmla="*/ 0 h 67067"/>
                  <a:gd name="connsiteX6" fmla="*/ 439378 w 439378"/>
                  <a:gd name="connsiteY6" fmla="*/ 9253 h 67067"/>
                  <a:gd name="connsiteX7" fmla="*/ 430118 w 439378"/>
                  <a:gd name="connsiteY7" fmla="*/ 18506 h 67067"/>
                  <a:gd name="connsiteX8" fmla="*/ 18503 w 439378"/>
                  <a:gd name="connsiteY8" fmla="*/ 18506 h 67067"/>
                  <a:gd name="connsiteX9" fmla="*/ 18503 w 439378"/>
                  <a:gd name="connsiteY9" fmla="*/ 48561 h 67067"/>
                  <a:gd name="connsiteX10" fmla="*/ 430118 w 439378"/>
                  <a:gd name="connsiteY10" fmla="*/ 48561 h 67067"/>
                  <a:gd name="connsiteX11" fmla="*/ 439378 w 439378"/>
                  <a:gd name="connsiteY11" fmla="*/ 57814 h 67067"/>
                  <a:gd name="connsiteX12" fmla="*/ 430118 w 439378"/>
                  <a:gd name="connsiteY12" fmla="*/ 67067 h 67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39378" h="67067">
                    <a:moveTo>
                      <a:pt x="430118" y="67067"/>
                    </a:moveTo>
                    <a:lnTo>
                      <a:pt x="9261" y="67067"/>
                    </a:lnTo>
                    <a:cubicBezTo>
                      <a:pt x="4152" y="67067"/>
                      <a:pt x="0" y="62925"/>
                      <a:pt x="0" y="57814"/>
                    </a:cubicBezTo>
                    <a:lnTo>
                      <a:pt x="0" y="9253"/>
                    </a:lnTo>
                    <a:cubicBezTo>
                      <a:pt x="0" y="4142"/>
                      <a:pt x="4152" y="0"/>
                      <a:pt x="9261" y="0"/>
                    </a:cubicBezTo>
                    <a:lnTo>
                      <a:pt x="430118" y="0"/>
                    </a:lnTo>
                    <a:cubicBezTo>
                      <a:pt x="435226" y="0"/>
                      <a:pt x="439378" y="4142"/>
                      <a:pt x="439378" y="9253"/>
                    </a:cubicBezTo>
                    <a:cubicBezTo>
                      <a:pt x="439378" y="14364"/>
                      <a:pt x="435226" y="18506"/>
                      <a:pt x="430118" y="18506"/>
                    </a:cubicBezTo>
                    <a:lnTo>
                      <a:pt x="18503" y="18506"/>
                    </a:lnTo>
                    <a:lnTo>
                      <a:pt x="18503" y="48561"/>
                    </a:lnTo>
                    <a:lnTo>
                      <a:pt x="430118" y="48561"/>
                    </a:lnTo>
                    <a:cubicBezTo>
                      <a:pt x="435226" y="48561"/>
                      <a:pt x="439378" y="52703"/>
                      <a:pt x="439378" y="57814"/>
                    </a:cubicBezTo>
                    <a:cubicBezTo>
                      <a:pt x="439378" y="62925"/>
                      <a:pt x="435226" y="67067"/>
                      <a:pt x="430118" y="67067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72" name="Freeform: Shape 2371">
                <a:extLst>
                  <a:ext uri="{FF2B5EF4-FFF2-40B4-BE49-F238E27FC236}">
                    <a16:creationId xmlns:a16="http://schemas.microsoft.com/office/drawing/2014/main" id="{344B15CA-8B75-D93F-8370-C341859012F6}"/>
                  </a:ext>
                </a:extLst>
              </p:cNvPr>
              <p:cNvSpPr/>
              <p:nvPr/>
            </p:nvSpPr>
            <p:spPr>
              <a:xfrm>
                <a:off x="3500818" y="1865730"/>
                <a:ext cx="18505" cy="264821"/>
              </a:xfrm>
              <a:custGeom>
                <a:avLst/>
                <a:gdLst>
                  <a:gd name="connsiteX0" fmla="*/ 9262 w 18502"/>
                  <a:gd name="connsiteY0" fmla="*/ 272104 h 272103"/>
                  <a:gd name="connsiteX1" fmla="*/ 0 w 18502"/>
                  <a:gd name="connsiteY1" fmla="*/ 262850 h 272103"/>
                  <a:gd name="connsiteX2" fmla="*/ 0 w 18502"/>
                  <a:gd name="connsiteY2" fmla="*/ 9253 h 272103"/>
                  <a:gd name="connsiteX3" fmla="*/ 9262 w 18502"/>
                  <a:gd name="connsiteY3" fmla="*/ 0 h 272103"/>
                  <a:gd name="connsiteX4" fmla="*/ 18503 w 18502"/>
                  <a:gd name="connsiteY4" fmla="*/ 9253 h 272103"/>
                  <a:gd name="connsiteX5" fmla="*/ 18503 w 18502"/>
                  <a:gd name="connsiteY5" fmla="*/ 262850 h 272103"/>
                  <a:gd name="connsiteX6" fmla="*/ 9262 w 18502"/>
                  <a:gd name="connsiteY6" fmla="*/ 272104 h 272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502" h="272103">
                    <a:moveTo>
                      <a:pt x="9262" y="272104"/>
                    </a:moveTo>
                    <a:cubicBezTo>
                      <a:pt x="4152" y="272104"/>
                      <a:pt x="0" y="267961"/>
                      <a:pt x="0" y="262850"/>
                    </a:cubicBezTo>
                    <a:lnTo>
                      <a:pt x="0" y="9253"/>
                    </a:lnTo>
                    <a:cubicBezTo>
                      <a:pt x="0" y="4142"/>
                      <a:pt x="4152" y="0"/>
                      <a:pt x="9262" y="0"/>
                    </a:cubicBezTo>
                    <a:cubicBezTo>
                      <a:pt x="14370" y="0"/>
                      <a:pt x="18503" y="4142"/>
                      <a:pt x="18503" y="9253"/>
                    </a:cubicBezTo>
                    <a:lnTo>
                      <a:pt x="18503" y="262850"/>
                    </a:lnTo>
                    <a:cubicBezTo>
                      <a:pt x="18503" y="267961"/>
                      <a:pt x="14370" y="272104"/>
                      <a:pt x="9262" y="272104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75" name="Freeform: Shape 2374">
                <a:extLst>
                  <a:ext uri="{FF2B5EF4-FFF2-40B4-BE49-F238E27FC236}">
                    <a16:creationId xmlns:a16="http://schemas.microsoft.com/office/drawing/2014/main" id="{8B6AE0F8-2585-66A4-B8E3-FD6D96CAE903}"/>
                  </a:ext>
                </a:extLst>
              </p:cNvPr>
              <p:cNvSpPr/>
              <p:nvPr/>
            </p:nvSpPr>
            <p:spPr>
              <a:xfrm>
                <a:off x="3571015" y="1701157"/>
                <a:ext cx="62654" cy="47490"/>
              </a:xfrm>
              <a:custGeom>
                <a:avLst/>
                <a:gdLst>
                  <a:gd name="connsiteX0" fmla="*/ 0 w 62644"/>
                  <a:gd name="connsiteY0" fmla="*/ 235 h 48796"/>
                  <a:gd name="connsiteX1" fmla="*/ 32375 w 62644"/>
                  <a:gd name="connsiteY1" fmla="*/ 48796 h 48796"/>
                  <a:gd name="connsiteX2" fmla="*/ 62645 w 62644"/>
                  <a:gd name="connsiteY2" fmla="*/ 0 h 48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2644" h="48796">
                    <a:moveTo>
                      <a:pt x="0" y="235"/>
                    </a:moveTo>
                    <a:lnTo>
                      <a:pt x="32375" y="48796"/>
                    </a:lnTo>
                    <a:lnTo>
                      <a:pt x="62645" y="0"/>
                    </a:lnTo>
                  </a:path>
                </a:pathLst>
              </a:custGeom>
              <a:solidFill>
                <a:srgbClr val="FFFFFF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76" name="Freeform: Shape 2375">
                <a:extLst>
                  <a:ext uri="{FF2B5EF4-FFF2-40B4-BE49-F238E27FC236}">
                    <a16:creationId xmlns:a16="http://schemas.microsoft.com/office/drawing/2014/main" id="{EFC11D2A-10A3-95CE-C34D-1CB9870A9C0A}"/>
                  </a:ext>
                </a:extLst>
              </p:cNvPr>
              <p:cNvSpPr/>
              <p:nvPr/>
            </p:nvSpPr>
            <p:spPr>
              <a:xfrm>
                <a:off x="3561768" y="1692151"/>
                <a:ext cx="81152" cy="65501"/>
              </a:xfrm>
              <a:custGeom>
                <a:avLst/>
                <a:gdLst>
                  <a:gd name="connsiteX0" fmla="*/ 41620 w 81139"/>
                  <a:gd name="connsiteY0" fmla="*/ 67302 h 67302"/>
                  <a:gd name="connsiteX1" fmla="*/ 33928 w 81139"/>
                  <a:gd name="connsiteY1" fmla="*/ 63183 h 67302"/>
                  <a:gd name="connsiteX2" fmla="*/ 1553 w 81139"/>
                  <a:gd name="connsiteY2" fmla="*/ 14622 h 67302"/>
                  <a:gd name="connsiteX3" fmla="*/ 4117 w 81139"/>
                  <a:gd name="connsiteY3" fmla="*/ 1789 h 67302"/>
                  <a:gd name="connsiteX4" fmla="*/ 16956 w 81139"/>
                  <a:gd name="connsiteY4" fmla="*/ 4357 h 67302"/>
                  <a:gd name="connsiteX5" fmla="*/ 41333 w 81139"/>
                  <a:gd name="connsiteY5" fmla="*/ 40947 h 67302"/>
                  <a:gd name="connsiteX6" fmla="*/ 64026 w 81139"/>
                  <a:gd name="connsiteY6" fmla="*/ 4376 h 67302"/>
                  <a:gd name="connsiteX7" fmla="*/ 76770 w 81139"/>
                  <a:gd name="connsiteY7" fmla="*/ 1389 h 67302"/>
                  <a:gd name="connsiteX8" fmla="*/ 79755 w 81139"/>
                  <a:gd name="connsiteY8" fmla="*/ 14130 h 67302"/>
                  <a:gd name="connsiteX9" fmla="*/ 49484 w 81139"/>
                  <a:gd name="connsiteY9" fmla="*/ 62926 h 67302"/>
                  <a:gd name="connsiteX10" fmla="*/ 41773 w 81139"/>
                  <a:gd name="connsiteY10" fmla="*/ 67302 h 67302"/>
                  <a:gd name="connsiteX11" fmla="*/ 41620 w 81139"/>
                  <a:gd name="connsiteY11" fmla="*/ 67302 h 67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1139" h="67302">
                    <a:moveTo>
                      <a:pt x="41620" y="67302"/>
                    </a:moveTo>
                    <a:cubicBezTo>
                      <a:pt x="38540" y="67302"/>
                      <a:pt x="35631" y="65758"/>
                      <a:pt x="33928" y="63183"/>
                    </a:cubicBezTo>
                    <a:lnTo>
                      <a:pt x="1553" y="14622"/>
                    </a:lnTo>
                    <a:cubicBezTo>
                      <a:pt x="-1278" y="10369"/>
                      <a:pt x="-130" y="4624"/>
                      <a:pt x="4117" y="1789"/>
                    </a:cubicBezTo>
                    <a:cubicBezTo>
                      <a:pt x="8365" y="-1047"/>
                      <a:pt x="14105" y="107"/>
                      <a:pt x="16956" y="4357"/>
                    </a:cubicBezTo>
                    <a:lnTo>
                      <a:pt x="41333" y="40947"/>
                    </a:lnTo>
                    <a:lnTo>
                      <a:pt x="64026" y="4376"/>
                    </a:lnTo>
                    <a:cubicBezTo>
                      <a:pt x="66725" y="34"/>
                      <a:pt x="72427" y="-1301"/>
                      <a:pt x="76770" y="1389"/>
                    </a:cubicBezTo>
                    <a:cubicBezTo>
                      <a:pt x="81114" y="4083"/>
                      <a:pt x="82434" y="9787"/>
                      <a:pt x="79755" y="14130"/>
                    </a:cubicBezTo>
                    <a:lnTo>
                      <a:pt x="49484" y="62926"/>
                    </a:lnTo>
                    <a:cubicBezTo>
                      <a:pt x="47820" y="65601"/>
                      <a:pt x="44930" y="67249"/>
                      <a:pt x="41773" y="67302"/>
                    </a:cubicBezTo>
                    <a:lnTo>
                      <a:pt x="41620" y="67302"/>
                    </a:lnTo>
                    <a:close/>
                  </a:path>
                </a:pathLst>
              </a:custGeom>
              <a:solidFill>
                <a:schemeClr val="accent3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94" name="Freeform: Shape 2393">
                <a:extLst>
                  <a:ext uri="{FF2B5EF4-FFF2-40B4-BE49-F238E27FC236}">
                    <a16:creationId xmlns:a16="http://schemas.microsoft.com/office/drawing/2014/main" id="{22911847-E2F0-F44A-3C3A-9AAE9D18F6D8}"/>
                  </a:ext>
                </a:extLst>
              </p:cNvPr>
              <p:cNvSpPr/>
              <p:nvPr/>
            </p:nvSpPr>
            <p:spPr>
              <a:xfrm>
                <a:off x="3828258" y="1773858"/>
                <a:ext cx="26917" cy="32553"/>
              </a:xfrm>
              <a:custGeom>
                <a:avLst/>
                <a:gdLst>
                  <a:gd name="connsiteX0" fmla="*/ 5817 w 26912"/>
                  <a:gd name="connsiteY0" fmla="*/ 6498 h 33448"/>
                  <a:gd name="connsiteX1" fmla="*/ 21794 w 26912"/>
                  <a:gd name="connsiteY1" fmla="*/ 1075 h 33448"/>
                  <a:gd name="connsiteX2" fmla="*/ 0 w 26912"/>
                  <a:gd name="connsiteY2" fmla="*/ 33448 h 33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912" h="33448">
                    <a:moveTo>
                      <a:pt x="5817" y="6498"/>
                    </a:moveTo>
                    <a:cubicBezTo>
                      <a:pt x="5817" y="6498"/>
                      <a:pt x="11002" y="-3163"/>
                      <a:pt x="21794" y="1075"/>
                    </a:cubicBezTo>
                    <a:cubicBezTo>
                      <a:pt x="32585" y="5313"/>
                      <a:pt x="26769" y="31246"/>
                      <a:pt x="0" y="33448"/>
                    </a:cubicBezTo>
                  </a:path>
                </a:pathLst>
              </a:custGeom>
              <a:solidFill>
                <a:srgbClr val="FFFFFF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95" name="Freeform: Shape 2394">
                <a:extLst>
                  <a:ext uri="{FF2B5EF4-FFF2-40B4-BE49-F238E27FC236}">
                    <a16:creationId xmlns:a16="http://schemas.microsoft.com/office/drawing/2014/main" id="{28CFAAD6-EE92-9ED6-4C48-6E6F62C30437}"/>
                  </a:ext>
                </a:extLst>
              </p:cNvPr>
              <p:cNvSpPr/>
              <p:nvPr/>
            </p:nvSpPr>
            <p:spPr>
              <a:xfrm>
                <a:off x="3819003" y="1764858"/>
                <a:ext cx="45435" cy="50560"/>
              </a:xfrm>
              <a:custGeom>
                <a:avLst/>
                <a:gdLst>
                  <a:gd name="connsiteX0" fmla="*/ 9236 w 45428"/>
                  <a:gd name="connsiteY0" fmla="*/ 51951 h 51950"/>
                  <a:gd name="connsiteX1" fmla="*/ 32 w 45428"/>
                  <a:gd name="connsiteY1" fmla="*/ 43455 h 51950"/>
                  <a:gd name="connsiteX2" fmla="*/ 8489 w 45428"/>
                  <a:gd name="connsiteY2" fmla="*/ 33473 h 51950"/>
                  <a:gd name="connsiteX3" fmla="*/ 25308 w 45428"/>
                  <a:gd name="connsiteY3" fmla="*/ 24361 h 51950"/>
                  <a:gd name="connsiteX4" fmla="*/ 26877 w 45428"/>
                  <a:gd name="connsiteY4" fmla="*/ 18659 h 51950"/>
                  <a:gd name="connsiteX5" fmla="*/ 23127 w 45428"/>
                  <a:gd name="connsiteY5" fmla="*/ 20316 h 51950"/>
                  <a:gd name="connsiteX6" fmla="*/ 23242 w 45428"/>
                  <a:gd name="connsiteY6" fmla="*/ 20117 h 51950"/>
                  <a:gd name="connsiteX7" fmla="*/ 6920 w 45428"/>
                  <a:gd name="connsiteY7" fmla="*/ 11373 h 51950"/>
                  <a:gd name="connsiteX8" fmla="*/ 34435 w 45428"/>
                  <a:gd name="connsiteY8" fmla="*/ 1708 h 51950"/>
                  <a:gd name="connsiteX9" fmla="*/ 45151 w 45428"/>
                  <a:gd name="connsiteY9" fmla="*/ 22949 h 51950"/>
                  <a:gd name="connsiteX10" fmla="*/ 10020 w 45428"/>
                  <a:gd name="connsiteY10" fmla="*/ 51918 h 51950"/>
                  <a:gd name="connsiteX11" fmla="*/ 9236 w 45428"/>
                  <a:gd name="connsiteY11" fmla="*/ 51951 h 5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5428" h="51950">
                    <a:moveTo>
                      <a:pt x="9236" y="51951"/>
                    </a:moveTo>
                    <a:cubicBezTo>
                      <a:pt x="4471" y="51951"/>
                      <a:pt x="434" y="48290"/>
                      <a:pt x="32" y="43455"/>
                    </a:cubicBezTo>
                    <a:cubicBezTo>
                      <a:pt x="-389" y="38361"/>
                      <a:pt x="3399" y="33894"/>
                      <a:pt x="8489" y="33473"/>
                    </a:cubicBezTo>
                    <a:cubicBezTo>
                      <a:pt x="19395" y="32577"/>
                      <a:pt x="23892" y="26803"/>
                      <a:pt x="25308" y="24361"/>
                    </a:cubicBezTo>
                    <a:cubicBezTo>
                      <a:pt x="26820" y="21782"/>
                      <a:pt x="27010" y="19642"/>
                      <a:pt x="26877" y="18659"/>
                    </a:cubicBezTo>
                    <a:cubicBezTo>
                      <a:pt x="25805" y="18351"/>
                      <a:pt x="24351" y="18313"/>
                      <a:pt x="23127" y="20316"/>
                    </a:cubicBezTo>
                    <a:lnTo>
                      <a:pt x="23242" y="20117"/>
                    </a:lnTo>
                    <a:lnTo>
                      <a:pt x="6920" y="11373"/>
                    </a:lnTo>
                    <a:cubicBezTo>
                      <a:pt x="10556" y="4576"/>
                      <a:pt x="20888" y="-3609"/>
                      <a:pt x="34435" y="1708"/>
                    </a:cubicBezTo>
                    <a:cubicBezTo>
                      <a:pt x="42376" y="4829"/>
                      <a:pt x="46586" y="13166"/>
                      <a:pt x="45151" y="22949"/>
                    </a:cubicBezTo>
                    <a:cubicBezTo>
                      <a:pt x="43275" y="35662"/>
                      <a:pt x="31489" y="50150"/>
                      <a:pt x="10020" y="51918"/>
                    </a:cubicBezTo>
                    <a:cubicBezTo>
                      <a:pt x="9752" y="51939"/>
                      <a:pt x="9503" y="51951"/>
                      <a:pt x="9236" y="51951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96" name="Freeform: Shape 2395">
                <a:extLst>
                  <a:ext uri="{FF2B5EF4-FFF2-40B4-BE49-F238E27FC236}">
                    <a16:creationId xmlns:a16="http://schemas.microsoft.com/office/drawing/2014/main" id="{C07346B9-3CBC-5962-5F88-E6B868738507}"/>
                  </a:ext>
                </a:extLst>
              </p:cNvPr>
              <p:cNvSpPr/>
              <p:nvPr/>
            </p:nvSpPr>
            <p:spPr>
              <a:xfrm>
                <a:off x="3887834" y="1790714"/>
                <a:ext cx="232060" cy="325579"/>
              </a:xfrm>
              <a:custGeom>
                <a:avLst/>
                <a:gdLst>
                  <a:gd name="connsiteX0" fmla="*/ 205272 w 232021"/>
                  <a:gd name="connsiteY0" fmla="*/ 0 h 334532"/>
                  <a:gd name="connsiteX1" fmla="*/ 26750 w 232021"/>
                  <a:gd name="connsiteY1" fmla="*/ 0 h 334532"/>
                  <a:gd name="connsiteX2" fmla="*/ 0 w 232021"/>
                  <a:gd name="connsiteY2" fmla="*/ 26746 h 334532"/>
                  <a:gd name="connsiteX3" fmla="*/ 0 w 232021"/>
                  <a:gd name="connsiteY3" fmla="*/ 307789 h 334532"/>
                  <a:gd name="connsiteX4" fmla="*/ 26750 w 232021"/>
                  <a:gd name="connsiteY4" fmla="*/ 334533 h 334532"/>
                  <a:gd name="connsiteX5" fmla="*/ 205272 w 232021"/>
                  <a:gd name="connsiteY5" fmla="*/ 334533 h 334532"/>
                  <a:gd name="connsiteX6" fmla="*/ 232022 w 232021"/>
                  <a:gd name="connsiteY6" fmla="*/ 307789 h 334532"/>
                  <a:gd name="connsiteX7" fmla="*/ 232022 w 232021"/>
                  <a:gd name="connsiteY7" fmla="*/ 26746 h 334532"/>
                  <a:gd name="connsiteX8" fmla="*/ 205272 w 232021"/>
                  <a:gd name="connsiteY8" fmla="*/ 0 h 334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2021" h="334532">
                    <a:moveTo>
                      <a:pt x="205272" y="0"/>
                    </a:moveTo>
                    <a:lnTo>
                      <a:pt x="26750" y="0"/>
                    </a:lnTo>
                    <a:cubicBezTo>
                      <a:pt x="11978" y="0"/>
                      <a:pt x="0" y="11974"/>
                      <a:pt x="0" y="26746"/>
                    </a:cubicBezTo>
                    <a:lnTo>
                      <a:pt x="0" y="307789"/>
                    </a:lnTo>
                    <a:cubicBezTo>
                      <a:pt x="0" y="322561"/>
                      <a:pt x="11978" y="334533"/>
                      <a:pt x="26750" y="334533"/>
                    </a:cubicBezTo>
                    <a:lnTo>
                      <a:pt x="205272" y="334533"/>
                    </a:lnTo>
                    <a:cubicBezTo>
                      <a:pt x="220043" y="334533"/>
                      <a:pt x="232022" y="322561"/>
                      <a:pt x="232022" y="307789"/>
                    </a:cubicBezTo>
                    <a:lnTo>
                      <a:pt x="232022" y="26746"/>
                    </a:lnTo>
                    <a:cubicBezTo>
                      <a:pt x="232022" y="11974"/>
                      <a:pt x="220043" y="0"/>
                      <a:pt x="20527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97" name="Freeform: Shape 2396">
                <a:extLst>
                  <a:ext uri="{FF2B5EF4-FFF2-40B4-BE49-F238E27FC236}">
                    <a16:creationId xmlns:a16="http://schemas.microsoft.com/office/drawing/2014/main" id="{9C114214-4A41-9FE0-35FC-133D0398465F}"/>
                  </a:ext>
                </a:extLst>
              </p:cNvPr>
              <p:cNvSpPr/>
              <p:nvPr/>
            </p:nvSpPr>
            <p:spPr>
              <a:xfrm>
                <a:off x="3878571" y="1781711"/>
                <a:ext cx="250566" cy="343589"/>
              </a:xfrm>
              <a:custGeom>
                <a:avLst/>
                <a:gdLst>
                  <a:gd name="connsiteX0" fmla="*/ 36010 w 250524"/>
                  <a:gd name="connsiteY0" fmla="*/ 18505 h 353037"/>
                  <a:gd name="connsiteX1" fmla="*/ 18522 w 250524"/>
                  <a:gd name="connsiteY1" fmla="*/ 35997 h 353037"/>
                  <a:gd name="connsiteX2" fmla="*/ 18522 w 250524"/>
                  <a:gd name="connsiteY2" fmla="*/ 317040 h 353037"/>
                  <a:gd name="connsiteX3" fmla="*/ 36010 w 250524"/>
                  <a:gd name="connsiteY3" fmla="*/ 334531 h 353037"/>
                  <a:gd name="connsiteX4" fmla="*/ 214533 w 250524"/>
                  <a:gd name="connsiteY4" fmla="*/ 334531 h 353037"/>
                  <a:gd name="connsiteX5" fmla="*/ 232021 w 250524"/>
                  <a:gd name="connsiteY5" fmla="*/ 317040 h 353037"/>
                  <a:gd name="connsiteX6" fmla="*/ 232021 w 250524"/>
                  <a:gd name="connsiteY6" fmla="*/ 35997 h 353037"/>
                  <a:gd name="connsiteX7" fmla="*/ 214533 w 250524"/>
                  <a:gd name="connsiteY7" fmla="*/ 18505 h 353037"/>
                  <a:gd name="connsiteX8" fmla="*/ 36010 w 250524"/>
                  <a:gd name="connsiteY8" fmla="*/ 18505 h 353037"/>
                  <a:gd name="connsiteX9" fmla="*/ 214533 w 250524"/>
                  <a:gd name="connsiteY9" fmla="*/ 353037 h 353037"/>
                  <a:gd name="connsiteX10" fmla="*/ 36010 w 250524"/>
                  <a:gd name="connsiteY10" fmla="*/ 353037 h 353037"/>
                  <a:gd name="connsiteX11" fmla="*/ 0 w 250524"/>
                  <a:gd name="connsiteY11" fmla="*/ 317040 h 353037"/>
                  <a:gd name="connsiteX12" fmla="*/ 0 w 250524"/>
                  <a:gd name="connsiteY12" fmla="*/ 35997 h 353037"/>
                  <a:gd name="connsiteX13" fmla="*/ 36010 w 250524"/>
                  <a:gd name="connsiteY13" fmla="*/ 0 h 353037"/>
                  <a:gd name="connsiteX14" fmla="*/ 214533 w 250524"/>
                  <a:gd name="connsiteY14" fmla="*/ 0 h 353037"/>
                  <a:gd name="connsiteX15" fmla="*/ 250524 w 250524"/>
                  <a:gd name="connsiteY15" fmla="*/ 35997 h 353037"/>
                  <a:gd name="connsiteX16" fmla="*/ 250524 w 250524"/>
                  <a:gd name="connsiteY16" fmla="*/ 317040 h 353037"/>
                  <a:gd name="connsiteX17" fmla="*/ 214533 w 250524"/>
                  <a:gd name="connsiteY17" fmla="*/ 353037 h 353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50524" h="353037">
                    <a:moveTo>
                      <a:pt x="36010" y="18505"/>
                    </a:moveTo>
                    <a:cubicBezTo>
                      <a:pt x="26367" y="18505"/>
                      <a:pt x="18522" y="26352"/>
                      <a:pt x="18522" y="35997"/>
                    </a:cubicBezTo>
                    <a:lnTo>
                      <a:pt x="18522" y="317040"/>
                    </a:lnTo>
                    <a:cubicBezTo>
                      <a:pt x="18522" y="326684"/>
                      <a:pt x="26367" y="334531"/>
                      <a:pt x="36010" y="334531"/>
                    </a:cubicBezTo>
                    <a:lnTo>
                      <a:pt x="214533" y="334531"/>
                    </a:lnTo>
                    <a:cubicBezTo>
                      <a:pt x="224177" y="334531"/>
                      <a:pt x="232021" y="326684"/>
                      <a:pt x="232021" y="317040"/>
                    </a:cubicBezTo>
                    <a:lnTo>
                      <a:pt x="232021" y="35997"/>
                    </a:lnTo>
                    <a:cubicBezTo>
                      <a:pt x="232021" y="26352"/>
                      <a:pt x="224177" y="18505"/>
                      <a:pt x="214533" y="18505"/>
                    </a:cubicBezTo>
                    <a:lnTo>
                      <a:pt x="36010" y="18505"/>
                    </a:lnTo>
                    <a:close/>
                    <a:moveTo>
                      <a:pt x="214533" y="353037"/>
                    </a:moveTo>
                    <a:lnTo>
                      <a:pt x="36010" y="353037"/>
                    </a:lnTo>
                    <a:cubicBezTo>
                      <a:pt x="16149" y="353037"/>
                      <a:pt x="0" y="336888"/>
                      <a:pt x="0" y="317040"/>
                    </a:cubicBezTo>
                    <a:lnTo>
                      <a:pt x="0" y="35997"/>
                    </a:lnTo>
                    <a:cubicBezTo>
                      <a:pt x="0" y="16147"/>
                      <a:pt x="16149" y="0"/>
                      <a:pt x="36010" y="0"/>
                    </a:cubicBezTo>
                    <a:lnTo>
                      <a:pt x="214533" y="0"/>
                    </a:lnTo>
                    <a:cubicBezTo>
                      <a:pt x="234374" y="0"/>
                      <a:pt x="250524" y="16147"/>
                      <a:pt x="250524" y="35997"/>
                    </a:cubicBezTo>
                    <a:lnTo>
                      <a:pt x="250524" y="317040"/>
                    </a:lnTo>
                    <a:cubicBezTo>
                      <a:pt x="250524" y="336888"/>
                      <a:pt x="234374" y="353037"/>
                      <a:pt x="214533" y="353037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98" name="Freeform: Shape 2397">
                <a:extLst>
                  <a:ext uri="{FF2B5EF4-FFF2-40B4-BE49-F238E27FC236}">
                    <a16:creationId xmlns:a16="http://schemas.microsoft.com/office/drawing/2014/main" id="{0A1A5E4F-6F0E-3F37-5EDB-3BC6BCBF0590}"/>
                  </a:ext>
                </a:extLst>
              </p:cNvPr>
              <p:cNvSpPr/>
              <p:nvPr/>
            </p:nvSpPr>
            <p:spPr>
              <a:xfrm>
                <a:off x="3914817" y="1790714"/>
                <a:ext cx="205076" cy="299322"/>
              </a:xfrm>
              <a:custGeom>
                <a:avLst/>
                <a:gdLst>
                  <a:gd name="connsiteX0" fmla="*/ 205042 w 205042"/>
                  <a:gd name="connsiteY0" fmla="*/ 307554 h 307553"/>
                  <a:gd name="connsiteX1" fmla="*/ 205042 w 205042"/>
                  <a:gd name="connsiteY1" fmla="*/ 26746 h 307553"/>
                  <a:gd name="connsiteX2" fmla="*/ 178293 w 205042"/>
                  <a:gd name="connsiteY2" fmla="*/ 0 h 307553"/>
                  <a:gd name="connsiteX3" fmla="*/ 0 w 205042"/>
                  <a:gd name="connsiteY3" fmla="*/ 0 h 307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5042" h="307553">
                    <a:moveTo>
                      <a:pt x="205042" y="307554"/>
                    </a:moveTo>
                    <a:lnTo>
                      <a:pt x="205042" y="26746"/>
                    </a:lnTo>
                    <a:cubicBezTo>
                      <a:pt x="205042" y="11974"/>
                      <a:pt x="193064" y="0"/>
                      <a:pt x="178293" y="0"/>
                    </a:cubicBezTo>
                    <a:lnTo>
                      <a:pt x="0" y="0"/>
                    </a:lnTo>
                  </a:path>
                </a:pathLst>
              </a:custGeom>
              <a:solidFill>
                <a:srgbClr val="FFFFFF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99" name="Freeform: Shape 2398">
                <a:extLst>
                  <a:ext uri="{FF2B5EF4-FFF2-40B4-BE49-F238E27FC236}">
                    <a16:creationId xmlns:a16="http://schemas.microsoft.com/office/drawing/2014/main" id="{F567B787-5D92-43DF-DCAC-64DE6665E572}"/>
                  </a:ext>
                </a:extLst>
              </p:cNvPr>
              <p:cNvSpPr/>
              <p:nvPr/>
            </p:nvSpPr>
            <p:spPr>
              <a:xfrm>
                <a:off x="3905555" y="1781711"/>
                <a:ext cx="223581" cy="317332"/>
              </a:xfrm>
              <a:custGeom>
                <a:avLst/>
                <a:gdLst>
                  <a:gd name="connsiteX0" fmla="*/ 214303 w 223544"/>
                  <a:gd name="connsiteY0" fmla="*/ 326058 h 326058"/>
                  <a:gd name="connsiteX1" fmla="*/ 205041 w 223544"/>
                  <a:gd name="connsiteY1" fmla="*/ 316805 h 326058"/>
                  <a:gd name="connsiteX2" fmla="*/ 205041 w 223544"/>
                  <a:gd name="connsiteY2" fmla="*/ 35997 h 326058"/>
                  <a:gd name="connsiteX3" fmla="*/ 187553 w 223544"/>
                  <a:gd name="connsiteY3" fmla="*/ 18505 h 326058"/>
                  <a:gd name="connsiteX4" fmla="*/ 9261 w 223544"/>
                  <a:gd name="connsiteY4" fmla="*/ 18505 h 326058"/>
                  <a:gd name="connsiteX5" fmla="*/ 0 w 223544"/>
                  <a:gd name="connsiteY5" fmla="*/ 9251 h 326058"/>
                  <a:gd name="connsiteX6" fmla="*/ 9261 w 223544"/>
                  <a:gd name="connsiteY6" fmla="*/ 0 h 326058"/>
                  <a:gd name="connsiteX7" fmla="*/ 187553 w 223544"/>
                  <a:gd name="connsiteY7" fmla="*/ 0 h 326058"/>
                  <a:gd name="connsiteX8" fmla="*/ 223545 w 223544"/>
                  <a:gd name="connsiteY8" fmla="*/ 35997 h 326058"/>
                  <a:gd name="connsiteX9" fmla="*/ 223545 w 223544"/>
                  <a:gd name="connsiteY9" fmla="*/ 316805 h 326058"/>
                  <a:gd name="connsiteX10" fmla="*/ 214303 w 223544"/>
                  <a:gd name="connsiteY10" fmla="*/ 326058 h 326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23544" h="326058">
                    <a:moveTo>
                      <a:pt x="214303" y="326058"/>
                    </a:moveTo>
                    <a:cubicBezTo>
                      <a:pt x="209194" y="326058"/>
                      <a:pt x="205041" y="321916"/>
                      <a:pt x="205041" y="316805"/>
                    </a:cubicBezTo>
                    <a:lnTo>
                      <a:pt x="205041" y="35997"/>
                    </a:lnTo>
                    <a:cubicBezTo>
                      <a:pt x="205041" y="26352"/>
                      <a:pt x="197197" y="18505"/>
                      <a:pt x="187553" y="18505"/>
                    </a:cubicBezTo>
                    <a:lnTo>
                      <a:pt x="9261" y="18505"/>
                    </a:lnTo>
                    <a:cubicBezTo>
                      <a:pt x="4152" y="18505"/>
                      <a:pt x="0" y="14362"/>
                      <a:pt x="0" y="9251"/>
                    </a:cubicBezTo>
                    <a:cubicBezTo>
                      <a:pt x="0" y="4142"/>
                      <a:pt x="4152" y="0"/>
                      <a:pt x="9261" y="0"/>
                    </a:cubicBezTo>
                    <a:lnTo>
                      <a:pt x="187553" y="0"/>
                    </a:lnTo>
                    <a:cubicBezTo>
                      <a:pt x="207395" y="0"/>
                      <a:pt x="223545" y="16147"/>
                      <a:pt x="223545" y="35997"/>
                    </a:cubicBezTo>
                    <a:lnTo>
                      <a:pt x="223545" y="316805"/>
                    </a:lnTo>
                    <a:cubicBezTo>
                      <a:pt x="223545" y="321916"/>
                      <a:pt x="219412" y="326058"/>
                      <a:pt x="214303" y="326058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00" name="Freeform: Shape 2399">
                <a:extLst>
                  <a:ext uri="{FF2B5EF4-FFF2-40B4-BE49-F238E27FC236}">
                    <a16:creationId xmlns:a16="http://schemas.microsoft.com/office/drawing/2014/main" id="{28206E8B-B1C2-9027-9849-9DE6BF556D41}"/>
                  </a:ext>
                </a:extLst>
              </p:cNvPr>
              <p:cNvSpPr/>
              <p:nvPr/>
            </p:nvSpPr>
            <p:spPr>
              <a:xfrm>
                <a:off x="3941802" y="1848480"/>
                <a:ext cx="32380" cy="210050"/>
              </a:xfrm>
              <a:custGeom>
                <a:avLst/>
                <a:gdLst>
                  <a:gd name="connsiteX0" fmla="*/ 16187 w 32374"/>
                  <a:gd name="connsiteY0" fmla="*/ 215826 h 215826"/>
                  <a:gd name="connsiteX1" fmla="*/ 0 w 32374"/>
                  <a:gd name="connsiteY1" fmla="*/ 199638 h 215826"/>
                  <a:gd name="connsiteX2" fmla="*/ 0 w 32374"/>
                  <a:gd name="connsiteY2" fmla="*/ 16185 h 215826"/>
                  <a:gd name="connsiteX3" fmla="*/ 16187 w 32374"/>
                  <a:gd name="connsiteY3" fmla="*/ 0 h 215826"/>
                  <a:gd name="connsiteX4" fmla="*/ 32375 w 32374"/>
                  <a:gd name="connsiteY4" fmla="*/ 16185 h 215826"/>
                  <a:gd name="connsiteX5" fmla="*/ 32375 w 32374"/>
                  <a:gd name="connsiteY5" fmla="*/ 199638 h 215826"/>
                  <a:gd name="connsiteX6" fmla="*/ 16187 w 32374"/>
                  <a:gd name="connsiteY6" fmla="*/ 215826 h 215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374" h="215826">
                    <a:moveTo>
                      <a:pt x="16187" y="215826"/>
                    </a:moveTo>
                    <a:cubicBezTo>
                      <a:pt x="7252" y="215826"/>
                      <a:pt x="0" y="208578"/>
                      <a:pt x="0" y="199638"/>
                    </a:cubicBezTo>
                    <a:lnTo>
                      <a:pt x="0" y="16185"/>
                    </a:lnTo>
                    <a:cubicBezTo>
                      <a:pt x="0" y="7248"/>
                      <a:pt x="7252" y="0"/>
                      <a:pt x="16187" y="0"/>
                    </a:cubicBezTo>
                    <a:cubicBezTo>
                      <a:pt x="25123" y="0"/>
                      <a:pt x="32375" y="7248"/>
                      <a:pt x="32375" y="16185"/>
                    </a:cubicBezTo>
                    <a:lnTo>
                      <a:pt x="32375" y="199638"/>
                    </a:lnTo>
                    <a:cubicBezTo>
                      <a:pt x="32375" y="208578"/>
                      <a:pt x="25123" y="215826"/>
                      <a:pt x="16187" y="215826"/>
                    </a:cubicBezTo>
                    <a:close/>
                  </a:path>
                </a:pathLst>
              </a:custGeom>
              <a:solidFill>
                <a:srgbClr val="2251FF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01" name="Freeform: Shape 2400">
                <a:extLst>
                  <a:ext uri="{FF2B5EF4-FFF2-40B4-BE49-F238E27FC236}">
                    <a16:creationId xmlns:a16="http://schemas.microsoft.com/office/drawing/2014/main" id="{3D2B2AFC-09D4-874D-4BEE-6D8D39F673C0}"/>
                  </a:ext>
                </a:extLst>
              </p:cNvPr>
              <p:cNvSpPr/>
              <p:nvPr/>
            </p:nvSpPr>
            <p:spPr>
              <a:xfrm>
                <a:off x="3932538" y="1839474"/>
                <a:ext cx="50886" cy="228061"/>
              </a:xfrm>
              <a:custGeom>
                <a:avLst/>
                <a:gdLst>
                  <a:gd name="connsiteX0" fmla="*/ 25448 w 50877"/>
                  <a:gd name="connsiteY0" fmla="*/ 18505 h 234332"/>
                  <a:gd name="connsiteX1" fmla="*/ 18521 w 50877"/>
                  <a:gd name="connsiteY1" fmla="*/ 25439 h 234332"/>
                  <a:gd name="connsiteX2" fmla="*/ 18521 w 50877"/>
                  <a:gd name="connsiteY2" fmla="*/ 208892 h 234332"/>
                  <a:gd name="connsiteX3" fmla="*/ 25448 w 50877"/>
                  <a:gd name="connsiteY3" fmla="*/ 215826 h 234332"/>
                  <a:gd name="connsiteX4" fmla="*/ 32375 w 50877"/>
                  <a:gd name="connsiteY4" fmla="*/ 208892 h 234332"/>
                  <a:gd name="connsiteX5" fmla="*/ 32375 w 50877"/>
                  <a:gd name="connsiteY5" fmla="*/ 25439 h 234332"/>
                  <a:gd name="connsiteX6" fmla="*/ 25448 w 50877"/>
                  <a:gd name="connsiteY6" fmla="*/ 18505 h 234332"/>
                  <a:gd name="connsiteX7" fmla="*/ 25448 w 50877"/>
                  <a:gd name="connsiteY7" fmla="*/ 234333 h 234332"/>
                  <a:gd name="connsiteX8" fmla="*/ 0 w 50877"/>
                  <a:gd name="connsiteY8" fmla="*/ 208892 h 234332"/>
                  <a:gd name="connsiteX9" fmla="*/ 0 w 50877"/>
                  <a:gd name="connsiteY9" fmla="*/ 25439 h 234332"/>
                  <a:gd name="connsiteX10" fmla="*/ 25448 w 50877"/>
                  <a:gd name="connsiteY10" fmla="*/ 0 h 234332"/>
                  <a:gd name="connsiteX11" fmla="*/ 50878 w 50877"/>
                  <a:gd name="connsiteY11" fmla="*/ 25439 h 234332"/>
                  <a:gd name="connsiteX12" fmla="*/ 50878 w 50877"/>
                  <a:gd name="connsiteY12" fmla="*/ 208892 h 234332"/>
                  <a:gd name="connsiteX13" fmla="*/ 25448 w 50877"/>
                  <a:gd name="connsiteY13" fmla="*/ 234333 h 234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0877" h="234332">
                    <a:moveTo>
                      <a:pt x="25448" y="18505"/>
                    </a:moveTo>
                    <a:cubicBezTo>
                      <a:pt x="21621" y="18505"/>
                      <a:pt x="18521" y="21616"/>
                      <a:pt x="18521" y="25439"/>
                    </a:cubicBezTo>
                    <a:lnTo>
                      <a:pt x="18521" y="208892"/>
                    </a:lnTo>
                    <a:cubicBezTo>
                      <a:pt x="18521" y="212715"/>
                      <a:pt x="21621" y="215826"/>
                      <a:pt x="25448" y="215826"/>
                    </a:cubicBezTo>
                    <a:cubicBezTo>
                      <a:pt x="29275" y="215826"/>
                      <a:pt x="32375" y="212715"/>
                      <a:pt x="32375" y="208892"/>
                    </a:cubicBezTo>
                    <a:lnTo>
                      <a:pt x="32375" y="25439"/>
                    </a:lnTo>
                    <a:cubicBezTo>
                      <a:pt x="32375" y="21616"/>
                      <a:pt x="29275" y="18505"/>
                      <a:pt x="25448" y="18505"/>
                    </a:cubicBezTo>
                    <a:close/>
                    <a:moveTo>
                      <a:pt x="25448" y="234333"/>
                    </a:moveTo>
                    <a:cubicBezTo>
                      <a:pt x="11423" y="234333"/>
                      <a:pt x="0" y="222919"/>
                      <a:pt x="0" y="208892"/>
                    </a:cubicBezTo>
                    <a:lnTo>
                      <a:pt x="0" y="25439"/>
                    </a:lnTo>
                    <a:cubicBezTo>
                      <a:pt x="0" y="11412"/>
                      <a:pt x="11423" y="0"/>
                      <a:pt x="25448" y="0"/>
                    </a:cubicBezTo>
                    <a:cubicBezTo>
                      <a:pt x="39474" y="0"/>
                      <a:pt x="50878" y="11412"/>
                      <a:pt x="50878" y="25439"/>
                    </a:cubicBezTo>
                    <a:lnTo>
                      <a:pt x="50878" y="208892"/>
                    </a:lnTo>
                    <a:cubicBezTo>
                      <a:pt x="50878" y="222919"/>
                      <a:pt x="39474" y="234333"/>
                      <a:pt x="25448" y="234333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02" name="Freeform: Shape 2401">
                <a:extLst>
                  <a:ext uri="{FF2B5EF4-FFF2-40B4-BE49-F238E27FC236}">
                    <a16:creationId xmlns:a16="http://schemas.microsoft.com/office/drawing/2014/main" id="{A4BC38EA-19CB-38C2-5C92-9D16C87EB86D}"/>
                  </a:ext>
                </a:extLst>
              </p:cNvPr>
              <p:cNvSpPr/>
              <p:nvPr/>
            </p:nvSpPr>
            <p:spPr>
              <a:xfrm>
                <a:off x="4033545" y="1848480"/>
                <a:ext cx="32380" cy="210050"/>
              </a:xfrm>
              <a:custGeom>
                <a:avLst/>
                <a:gdLst>
                  <a:gd name="connsiteX0" fmla="*/ 16187 w 32374"/>
                  <a:gd name="connsiteY0" fmla="*/ 215826 h 215826"/>
                  <a:gd name="connsiteX1" fmla="*/ 0 w 32374"/>
                  <a:gd name="connsiteY1" fmla="*/ 199638 h 215826"/>
                  <a:gd name="connsiteX2" fmla="*/ 0 w 32374"/>
                  <a:gd name="connsiteY2" fmla="*/ 16185 h 215826"/>
                  <a:gd name="connsiteX3" fmla="*/ 16187 w 32374"/>
                  <a:gd name="connsiteY3" fmla="*/ 0 h 215826"/>
                  <a:gd name="connsiteX4" fmla="*/ 32375 w 32374"/>
                  <a:gd name="connsiteY4" fmla="*/ 16185 h 215826"/>
                  <a:gd name="connsiteX5" fmla="*/ 32375 w 32374"/>
                  <a:gd name="connsiteY5" fmla="*/ 199638 h 215826"/>
                  <a:gd name="connsiteX6" fmla="*/ 16187 w 32374"/>
                  <a:gd name="connsiteY6" fmla="*/ 215826 h 215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374" h="215826">
                    <a:moveTo>
                      <a:pt x="16187" y="215826"/>
                    </a:moveTo>
                    <a:cubicBezTo>
                      <a:pt x="7232" y="215826"/>
                      <a:pt x="0" y="208578"/>
                      <a:pt x="0" y="199638"/>
                    </a:cubicBezTo>
                    <a:lnTo>
                      <a:pt x="0" y="16185"/>
                    </a:lnTo>
                    <a:cubicBezTo>
                      <a:pt x="0" y="7248"/>
                      <a:pt x="7232" y="0"/>
                      <a:pt x="16187" y="0"/>
                    </a:cubicBezTo>
                    <a:cubicBezTo>
                      <a:pt x="25123" y="0"/>
                      <a:pt x="32375" y="7248"/>
                      <a:pt x="32375" y="16185"/>
                    </a:cubicBezTo>
                    <a:lnTo>
                      <a:pt x="32375" y="199638"/>
                    </a:lnTo>
                    <a:cubicBezTo>
                      <a:pt x="32375" y="208578"/>
                      <a:pt x="25123" y="215826"/>
                      <a:pt x="16187" y="215826"/>
                    </a:cubicBezTo>
                    <a:close/>
                  </a:path>
                </a:pathLst>
              </a:custGeom>
              <a:solidFill>
                <a:srgbClr val="2251FF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03" name="Freeform: Shape 2402">
                <a:extLst>
                  <a:ext uri="{FF2B5EF4-FFF2-40B4-BE49-F238E27FC236}">
                    <a16:creationId xmlns:a16="http://schemas.microsoft.com/office/drawing/2014/main" id="{E806AA28-53F2-CC06-C9EC-A51740CA9D23}"/>
                  </a:ext>
                </a:extLst>
              </p:cNvPr>
              <p:cNvSpPr/>
              <p:nvPr/>
            </p:nvSpPr>
            <p:spPr>
              <a:xfrm>
                <a:off x="4024283" y="1839474"/>
                <a:ext cx="50886" cy="228061"/>
              </a:xfrm>
              <a:custGeom>
                <a:avLst/>
                <a:gdLst>
                  <a:gd name="connsiteX0" fmla="*/ 25448 w 50877"/>
                  <a:gd name="connsiteY0" fmla="*/ 18505 h 234332"/>
                  <a:gd name="connsiteX1" fmla="*/ 18503 w 50877"/>
                  <a:gd name="connsiteY1" fmla="*/ 25439 h 234332"/>
                  <a:gd name="connsiteX2" fmla="*/ 18503 w 50877"/>
                  <a:gd name="connsiteY2" fmla="*/ 208892 h 234332"/>
                  <a:gd name="connsiteX3" fmla="*/ 25448 w 50877"/>
                  <a:gd name="connsiteY3" fmla="*/ 215826 h 234332"/>
                  <a:gd name="connsiteX4" fmla="*/ 32375 w 50877"/>
                  <a:gd name="connsiteY4" fmla="*/ 208892 h 234332"/>
                  <a:gd name="connsiteX5" fmla="*/ 32375 w 50877"/>
                  <a:gd name="connsiteY5" fmla="*/ 25439 h 234332"/>
                  <a:gd name="connsiteX6" fmla="*/ 25448 w 50877"/>
                  <a:gd name="connsiteY6" fmla="*/ 18505 h 234332"/>
                  <a:gd name="connsiteX7" fmla="*/ 25448 w 50877"/>
                  <a:gd name="connsiteY7" fmla="*/ 234333 h 234332"/>
                  <a:gd name="connsiteX8" fmla="*/ 0 w 50877"/>
                  <a:gd name="connsiteY8" fmla="*/ 208892 h 234332"/>
                  <a:gd name="connsiteX9" fmla="*/ 0 w 50877"/>
                  <a:gd name="connsiteY9" fmla="*/ 25439 h 234332"/>
                  <a:gd name="connsiteX10" fmla="*/ 25448 w 50877"/>
                  <a:gd name="connsiteY10" fmla="*/ 0 h 234332"/>
                  <a:gd name="connsiteX11" fmla="*/ 50878 w 50877"/>
                  <a:gd name="connsiteY11" fmla="*/ 25439 h 234332"/>
                  <a:gd name="connsiteX12" fmla="*/ 50878 w 50877"/>
                  <a:gd name="connsiteY12" fmla="*/ 208892 h 234332"/>
                  <a:gd name="connsiteX13" fmla="*/ 25448 w 50877"/>
                  <a:gd name="connsiteY13" fmla="*/ 234333 h 234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0877" h="234332">
                    <a:moveTo>
                      <a:pt x="25448" y="18505"/>
                    </a:moveTo>
                    <a:cubicBezTo>
                      <a:pt x="21621" y="18505"/>
                      <a:pt x="18503" y="21616"/>
                      <a:pt x="18503" y="25439"/>
                    </a:cubicBezTo>
                    <a:lnTo>
                      <a:pt x="18503" y="208892"/>
                    </a:lnTo>
                    <a:cubicBezTo>
                      <a:pt x="18503" y="212715"/>
                      <a:pt x="21621" y="215826"/>
                      <a:pt x="25448" y="215826"/>
                    </a:cubicBezTo>
                    <a:cubicBezTo>
                      <a:pt x="29275" y="215826"/>
                      <a:pt x="32375" y="212715"/>
                      <a:pt x="32375" y="208892"/>
                    </a:cubicBezTo>
                    <a:lnTo>
                      <a:pt x="32375" y="25439"/>
                    </a:lnTo>
                    <a:cubicBezTo>
                      <a:pt x="32375" y="21616"/>
                      <a:pt x="29275" y="18505"/>
                      <a:pt x="25448" y="18505"/>
                    </a:cubicBezTo>
                    <a:close/>
                    <a:moveTo>
                      <a:pt x="25448" y="234333"/>
                    </a:moveTo>
                    <a:cubicBezTo>
                      <a:pt x="11423" y="234333"/>
                      <a:pt x="0" y="222919"/>
                      <a:pt x="0" y="208892"/>
                    </a:cubicBezTo>
                    <a:lnTo>
                      <a:pt x="0" y="25439"/>
                    </a:lnTo>
                    <a:cubicBezTo>
                      <a:pt x="0" y="11412"/>
                      <a:pt x="11423" y="0"/>
                      <a:pt x="25448" y="0"/>
                    </a:cubicBezTo>
                    <a:cubicBezTo>
                      <a:pt x="39474" y="0"/>
                      <a:pt x="50878" y="11412"/>
                      <a:pt x="50878" y="25439"/>
                    </a:cubicBezTo>
                    <a:lnTo>
                      <a:pt x="50878" y="208892"/>
                    </a:lnTo>
                    <a:cubicBezTo>
                      <a:pt x="50878" y="222919"/>
                      <a:pt x="39474" y="234333"/>
                      <a:pt x="25448" y="234333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04" name="Freeform: Shape 2403">
                <a:extLst>
                  <a:ext uri="{FF2B5EF4-FFF2-40B4-BE49-F238E27FC236}">
                    <a16:creationId xmlns:a16="http://schemas.microsoft.com/office/drawing/2014/main" id="{27379440-3A28-2904-AFC3-8464C96B00CD}"/>
                  </a:ext>
                </a:extLst>
              </p:cNvPr>
              <p:cNvSpPr/>
              <p:nvPr/>
            </p:nvSpPr>
            <p:spPr>
              <a:xfrm>
                <a:off x="3948729" y="1718695"/>
                <a:ext cx="18505" cy="81024"/>
              </a:xfrm>
              <a:custGeom>
                <a:avLst/>
                <a:gdLst>
                  <a:gd name="connsiteX0" fmla="*/ 9261 w 18502"/>
                  <a:gd name="connsiteY0" fmla="*/ 83253 h 83252"/>
                  <a:gd name="connsiteX1" fmla="*/ 0 w 18502"/>
                  <a:gd name="connsiteY1" fmla="*/ 73999 h 83252"/>
                  <a:gd name="connsiteX2" fmla="*/ 0 w 18502"/>
                  <a:gd name="connsiteY2" fmla="*/ 9253 h 83252"/>
                  <a:gd name="connsiteX3" fmla="*/ 9261 w 18502"/>
                  <a:gd name="connsiteY3" fmla="*/ 0 h 83252"/>
                  <a:gd name="connsiteX4" fmla="*/ 18503 w 18502"/>
                  <a:gd name="connsiteY4" fmla="*/ 9253 h 83252"/>
                  <a:gd name="connsiteX5" fmla="*/ 18503 w 18502"/>
                  <a:gd name="connsiteY5" fmla="*/ 73999 h 83252"/>
                  <a:gd name="connsiteX6" fmla="*/ 9261 w 18502"/>
                  <a:gd name="connsiteY6" fmla="*/ 83253 h 83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502" h="83252">
                    <a:moveTo>
                      <a:pt x="9261" y="83253"/>
                    </a:moveTo>
                    <a:cubicBezTo>
                      <a:pt x="4152" y="83253"/>
                      <a:pt x="0" y="79110"/>
                      <a:pt x="0" y="73999"/>
                    </a:cubicBezTo>
                    <a:lnTo>
                      <a:pt x="0" y="9253"/>
                    </a:lnTo>
                    <a:cubicBezTo>
                      <a:pt x="0" y="4142"/>
                      <a:pt x="4152" y="0"/>
                      <a:pt x="9261" y="0"/>
                    </a:cubicBezTo>
                    <a:cubicBezTo>
                      <a:pt x="14369" y="0"/>
                      <a:pt x="18503" y="4142"/>
                      <a:pt x="18503" y="9253"/>
                    </a:cubicBezTo>
                    <a:lnTo>
                      <a:pt x="18503" y="73999"/>
                    </a:lnTo>
                    <a:cubicBezTo>
                      <a:pt x="18503" y="79110"/>
                      <a:pt x="14369" y="83253"/>
                      <a:pt x="9261" y="83253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05" name="Freeform: Shape 2404">
                <a:extLst>
                  <a:ext uri="{FF2B5EF4-FFF2-40B4-BE49-F238E27FC236}">
                    <a16:creationId xmlns:a16="http://schemas.microsoft.com/office/drawing/2014/main" id="{8A26A4BC-D843-407D-905F-01403C0BE29C}"/>
                  </a:ext>
                </a:extLst>
              </p:cNvPr>
              <p:cNvSpPr/>
              <p:nvPr/>
            </p:nvSpPr>
            <p:spPr>
              <a:xfrm>
                <a:off x="4040474" y="1718695"/>
                <a:ext cx="18505" cy="81024"/>
              </a:xfrm>
              <a:custGeom>
                <a:avLst/>
                <a:gdLst>
                  <a:gd name="connsiteX0" fmla="*/ 9261 w 18502"/>
                  <a:gd name="connsiteY0" fmla="*/ 83253 h 83252"/>
                  <a:gd name="connsiteX1" fmla="*/ 0 w 18502"/>
                  <a:gd name="connsiteY1" fmla="*/ 73999 h 83252"/>
                  <a:gd name="connsiteX2" fmla="*/ 0 w 18502"/>
                  <a:gd name="connsiteY2" fmla="*/ 9253 h 83252"/>
                  <a:gd name="connsiteX3" fmla="*/ 9261 w 18502"/>
                  <a:gd name="connsiteY3" fmla="*/ 0 h 83252"/>
                  <a:gd name="connsiteX4" fmla="*/ 18503 w 18502"/>
                  <a:gd name="connsiteY4" fmla="*/ 9253 h 83252"/>
                  <a:gd name="connsiteX5" fmla="*/ 18503 w 18502"/>
                  <a:gd name="connsiteY5" fmla="*/ 73999 h 83252"/>
                  <a:gd name="connsiteX6" fmla="*/ 9261 w 18502"/>
                  <a:gd name="connsiteY6" fmla="*/ 83253 h 83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502" h="83252">
                    <a:moveTo>
                      <a:pt x="9261" y="83253"/>
                    </a:moveTo>
                    <a:cubicBezTo>
                      <a:pt x="4152" y="83253"/>
                      <a:pt x="0" y="79110"/>
                      <a:pt x="0" y="73999"/>
                    </a:cubicBezTo>
                    <a:lnTo>
                      <a:pt x="0" y="9253"/>
                    </a:lnTo>
                    <a:cubicBezTo>
                      <a:pt x="0" y="4142"/>
                      <a:pt x="4152" y="0"/>
                      <a:pt x="9261" y="0"/>
                    </a:cubicBezTo>
                    <a:cubicBezTo>
                      <a:pt x="14369" y="0"/>
                      <a:pt x="18503" y="4142"/>
                      <a:pt x="18503" y="9253"/>
                    </a:cubicBezTo>
                    <a:lnTo>
                      <a:pt x="18503" y="73999"/>
                    </a:lnTo>
                    <a:cubicBezTo>
                      <a:pt x="18503" y="79110"/>
                      <a:pt x="14369" y="83253"/>
                      <a:pt x="9261" y="83253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06" name="Freeform: Shape 2405">
                <a:extLst>
                  <a:ext uri="{FF2B5EF4-FFF2-40B4-BE49-F238E27FC236}">
                    <a16:creationId xmlns:a16="http://schemas.microsoft.com/office/drawing/2014/main" id="{2C6B9405-7019-932C-E68C-62AFD3AB520D}"/>
                  </a:ext>
                </a:extLst>
              </p:cNvPr>
              <p:cNvSpPr/>
              <p:nvPr/>
            </p:nvSpPr>
            <p:spPr>
              <a:xfrm>
                <a:off x="3936405" y="1696192"/>
                <a:ext cx="134919" cy="26257"/>
              </a:xfrm>
              <a:custGeom>
                <a:avLst/>
                <a:gdLst>
                  <a:gd name="connsiteX0" fmla="*/ 121406 w 134896"/>
                  <a:gd name="connsiteY0" fmla="*/ 26979 h 26979"/>
                  <a:gd name="connsiteX1" fmla="*/ 13489 w 134896"/>
                  <a:gd name="connsiteY1" fmla="*/ 26979 h 26979"/>
                  <a:gd name="connsiteX2" fmla="*/ 0 w 134896"/>
                  <a:gd name="connsiteY2" fmla="*/ 13490 h 26979"/>
                  <a:gd name="connsiteX3" fmla="*/ 13489 w 134896"/>
                  <a:gd name="connsiteY3" fmla="*/ 0 h 26979"/>
                  <a:gd name="connsiteX4" fmla="*/ 121406 w 134896"/>
                  <a:gd name="connsiteY4" fmla="*/ 0 h 26979"/>
                  <a:gd name="connsiteX5" fmla="*/ 134896 w 134896"/>
                  <a:gd name="connsiteY5" fmla="*/ 13490 h 26979"/>
                  <a:gd name="connsiteX6" fmla="*/ 121406 w 134896"/>
                  <a:gd name="connsiteY6" fmla="*/ 26979 h 26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4896" h="26979">
                    <a:moveTo>
                      <a:pt x="121406" y="26979"/>
                    </a:moveTo>
                    <a:lnTo>
                      <a:pt x="13489" y="26979"/>
                    </a:lnTo>
                    <a:cubicBezTo>
                      <a:pt x="6046" y="26979"/>
                      <a:pt x="0" y="20940"/>
                      <a:pt x="0" y="13490"/>
                    </a:cubicBezTo>
                    <a:cubicBezTo>
                      <a:pt x="0" y="6039"/>
                      <a:pt x="6046" y="0"/>
                      <a:pt x="13489" y="0"/>
                    </a:cubicBezTo>
                    <a:lnTo>
                      <a:pt x="121406" y="0"/>
                    </a:lnTo>
                    <a:cubicBezTo>
                      <a:pt x="128849" y="0"/>
                      <a:pt x="134896" y="6039"/>
                      <a:pt x="134896" y="13490"/>
                    </a:cubicBezTo>
                    <a:cubicBezTo>
                      <a:pt x="134896" y="20940"/>
                      <a:pt x="128849" y="26979"/>
                      <a:pt x="121406" y="26979"/>
                    </a:cubicBezTo>
                    <a:close/>
                  </a:path>
                </a:pathLst>
              </a:custGeom>
              <a:solidFill>
                <a:srgbClr val="2251FF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07" name="Freeform: Shape 2406">
                <a:extLst>
                  <a:ext uri="{FF2B5EF4-FFF2-40B4-BE49-F238E27FC236}">
                    <a16:creationId xmlns:a16="http://schemas.microsoft.com/office/drawing/2014/main" id="{922682C1-0E3C-0F48-3C8F-378665CC15AD}"/>
                  </a:ext>
                </a:extLst>
              </p:cNvPr>
              <p:cNvSpPr/>
              <p:nvPr/>
            </p:nvSpPr>
            <p:spPr>
              <a:xfrm>
                <a:off x="3927142" y="1687187"/>
                <a:ext cx="153424" cy="44268"/>
              </a:xfrm>
              <a:custGeom>
                <a:avLst/>
                <a:gdLst>
                  <a:gd name="connsiteX0" fmla="*/ 22751 w 153398"/>
                  <a:gd name="connsiteY0" fmla="*/ 18506 h 45485"/>
                  <a:gd name="connsiteX1" fmla="*/ 18522 w 153398"/>
                  <a:gd name="connsiteY1" fmla="*/ 22743 h 45485"/>
                  <a:gd name="connsiteX2" fmla="*/ 22751 w 153398"/>
                  <a:gd name="connsiteY2" fmla="*/ 26979 h 45485"/>
                  <a:gd name="connsiteX3" fmla="*/ 130668 w 153398"/>
                  <a:gd name="connsiteY3" fmla="*/ 26979 h 45485"/>
                  <a:gd name="connsiteX4" fmla="*/ 134896 w 153398"/>
                  <a:gd name="connsiteY4" fmla="*/ 22743 h 45485"/>
                  <a:gd name="connsiteX5" fmla="*/ 130668 w 153398"/>
                  <a:gd name="connsiteY5" fmla="*/ 18506 h 45485"/>
                  <a:gd name="connsiteX6" fmla="*/ 22751 w 153398"/>
                  <a:gd name="connsiteY6" fmla="*/ 18506 h 45485"/>
                  <a:gd name="connsiteX7" fmla="*/ 130668 w 153398"/>
                  <a:gd name="connsiteY7" fmla="*/ 45486 h 45485"/>
                  <a:gd name="connsiteX8" fmla="*/ 22751 w 153398"/>
                  <a:gd name="connsiteY8" fmla="*/ 45486 h 45485"/>
                  <a:gd name="connsiteX9" fmla="*/ 0 w 153398"/>
                  <a:gd name="connsiteY9" fmla="*/ 22743 h 45485"/>
                  <a:gd name="connsiteX10" fmla="*/ 22751 w 153398"/>
                  <a:gd name="connsiteY10" fmla="*/ 0 h 45485"/>
                  <a:gd name="connsiteX11" fmla="*/ 130668 w 153398"/>
                  <a:gd name="connsiteY11" fmla="*/ 0 h 45485"/>
                  <a:gd name="connsiteX12" fmla="*/ 153399 w 153398"/>
                  <a:gd name="connsiteY12" fmla="*/ 22743 h 45485"/>
                  <a:gd name="connsiteX13" fmla="*/ 130668 w 153398"/>
                  <a:gd name="connsiteY13" fmla="*/ 45486 h 45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398" h="45485">
                    <a:moveTo>
                      <a:pt x="22751" y="18506"/>
                    </a:moveTo>
                    <a:cubicBezTo>
                      <a:pt x="20416" y="18506"/>
                      <a:pt x="18522" y="20407"/>
                      <a:pt x="18522" y="22743"/>
                    </a:cubicBezTo>
                    <a:cubicBezTo>
                      <a:pt x="18522" y="25079"/>
                      <a:pt x="20416" y="26979"/>
                      <a:pt x="22751" y="26979"/>
                    </a:cubicBezTo>
                    <a:lnTo>
                      <a:pt x="130668" y="26979"/>
                    </a:lnTo>
                    <a:cubicBezTo>
                      <a:pt x="133002" y="26979"/>
                      <a:pt x="134896" y="25079"/>
                      <a:pt x="134896" y="22743"/>
                    </a:cubicBezTo>
                    <a:cubicBezTo>
                      <a:pt x="134896" y="20407"/>
                      <a:pt x="133002" y="18506"/>
                      <a:pt x="130668" y="18506"/>
                    </a:cubicBezTo>
                    <a:lnTo>
                      <a:pt x="22751" y="18506"/>
                    </a:lnTo>
                    <a:close/>
                    <a:moveTo>
                      <a:pt x="130668" y="45486"/>
                    </a:moveTo>
                    <a:lnTo>
                      <a:pt x="22751" y="45486"/>
                    </a:lnTo>
                    <a:cubicBezTo>
                      <a:pt x="10218" y="45486"/>
                      <a:pt x="0" y="35283"/>
                      <a:pt x="0" y="22743"/>
                    </a:cubicBezTo>
                    <a:cubicBezTo>
                      <a:pt x="0" y="10202"/>
                      <a:pt x="10218" y="0"/>
                      <a:pt x="22751" y="0"/>
                    </a:cubicBezTo>
                    <a:lnTo>
                      <a:pt x="130668" y="0"/>
                    </a:lnTo>
                    <a:cubicBezTo>
                      <a:pt x="143201" y="0"/>
                      <a:pt x="153399" y="10202"/>
                      <a:pt x="153399" y="22743"/>
                    </a:cubicBezTo>
                    <a:cubicBezTo>
                      <a:pt x="153399" y="35283"/>
                      <a:pt x="143201" y="45486"/>
                      <a:pt x="130668" y="45486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08" name="Freeform: Shape 2407">
                <a:extLst>
                  <a:ext uri="{FF2B5EF4-FFF2-40B4-BE49-F238E27FC236}">
                    <a16:creationId xmlns:a16="http://schemas.microsoft.com/office/drawing/2014/main" id="{BFBA4F1D-FB8D-45B4-AD81-F36E1281E316}"/>
                  </a:ext>
                </a:extLst>
              </p:cNvPr>
              <p:cNvSpPr/>
              <p:nvPr/>
            </p:nvSpPr>
            <p:spPr>
              <a:xfrm>
                <a:off x="3547858" y="1612324"/>
                <a:ext cx="102518" cy="54985"/>
              </a:xfrm>
              <a:custGeom>
                <a:avLst/>
                <a:gdLst>
                  <a:gd name="connsiteX0" fmla="*/ 102502 w 102501"/>
                  <a:gd name="connsiteY0" fmla="*/ 5239 h 56497"/>
                  <a:gd name="connsiteX1" fmla="*/ 51242 w 102501"/>
                  <a:gd name="connsiteY1" fmla="*/ 56497 h 56497"/>
                  <a:gd name="connsiteX2" fmla="*/ 0 w 102501"/>
                  <a:gd name="connsiteY2" fmla="*/ 5239 h 56497"/>
                  <a:gd name="connsiteX3" fmla="*/ 249 w 102501"/>
                  <a:gd name="connsiteY3" fmla="*/ 0 h 56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501" h="56497">
                    <a:moveTo>
                      <a:pt x="102502" y="5239"/>
                    </a:moveTo>
                    <a:cubicBezTo>
                      <a:pt x="102502" y="33550"/>
                      <a:pt x="79560" y="56497"/>
                      <a:pt x="51242" y="56497"/>
                    </a:cubicBezTo>
                    <a:cubicBezTo>
                      <a:pt x="22942" y="56497"/>
                      <a:pt x="0" y="33550"/>
                      <a:pt x="0" y="5239"/>
                    </a:cubicBezTo>
                    <a:cubicBezTo>
                      <a:pt x="0" y="3471"/>
                      <a:pt x="77" y="1722"/>
                      <a:pt x="249" y="0"/>
                    </a:cubicBezTo>
                  </a:path>
                </a:pathLst>
              </a:custGeom>
              <a:solidFill>
                <a:srgbClr val="FFFFFF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09" name="Freeform: Shape 2408">
                <a:extLst>
                  <a:ext uri="{FF2B5EF4-FFF2-40B4-BE49-F238E27FC236}">
                    <a16:creationId xmlns:a16="http://schemas.microsoft.com/office/drawing/2014/main" id="{7D776B9B-0989-FB1B-F776-9028D38CFD95}"/>
                  </a:ext>
                </a:extLst>
              </p:cNvPr>
              <p:cNvSpPr/>
              <p:nvPr/>
            </p:nvSpPr>
            <p:spPr>
              <a:xfrm>
                <a:off x="3538595" y="1603318"/>
                <a:ext cx="121043" cy="72997"/>
              </a:xfrm>
              <a:custGeom>
                <a:avLst/>
                <a:gdLst>
                  <a:gd name="connsiteX0" fmla="*/ 60503 w 121023"/>
                  <a:gd name="connsiteY0" fmla="*/ 75004 h 75004"/>
                  <a:gd name="connsiteX1" fmla="*/ 0 w 121023"/>
                  <a:gd name="connsiteY1" fmla="*/ 14492 h 75004"/>
                  <a:gd name="connsiteX2" fmla="*/ 306 w 121023"/>
                  <a:gd name="connsiteY2" fmla="*/ 8314 h 75004"/>
                  <a:gd name="connsiteX3" fmla="*/ 10447 w 121023"/>
                  <a:gd name="connsiteY3" fmla="*/ 48 h 75004"/>
                  <a:gd name="connsiteX4" fmla="*/ 18732 w 121023"/>
                  <a:gd name="connsiteY4" fmla="*/ 10191 h 75004"/>
                  <a:gd name="connsiteX5" fmla="*/ 18503 w 121023"/>
                  <a:gd name="connsiteY5" fmla="*/ 14492 h 75004"/>
                  <a:gd name="connsiteX6" fmla="*/ 60503 w 121023"/>
                  <a:gd name="connsiteY6" fmla="*/ 56498 h 75004"/>
                  <a:gd name="connsiteX7" fmla="*/ 102521 w 121023"/>
                  <a:gd name="connsiteY7" fmla="*/ 14492 h 75004"/>
                  <a:gd name="connsiteX8" fmla="*/ 111762 w 121023"/>
                  <a:gd name="connsiteY8" fmla="*/ 5239 h 75004"/>
                  <a:gd name="connsiteX9" fmla="*/ 121024 w 121023"/>
                  <a:gd name="connsiteY9" fmla="*/ 14492 h 75004"/>
                  <a:gd name="connsiteX10" fmla="*/ 60503 w 121023"/>
                  <a:gd name="connsiteY10" fmla="*/ 75004 h 75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1023" h="75004">
                    <a:moveTo>
                      <a:pt x="60503" y="75004"/>
                    </a:moveTo>
                    <a:cubicBezTo>
                      <a:pt x="27151" y="75004"/>
                      <a:pt x="0" y="47859"/>
                      <a:pt x="0" y="14492"/>
                    </a:cubicBezTo>
                    <a:cubicBezTo>
                      <a:pt x="0" y="12430"/>
                      <a:pt x="95" y="10352"/>
                      <a:pt x="306" y="8314"/>
                    </a:cubicBezTo>
                    <a:cubicBezTo>
                      <a:pt x="822" y="3230"/>
                      <a:pt x="5396" y="-469"/>
                      <a:pt x="10447" y="48"/>
                    </a:cubicBezTo>
                    <a:cubicBezTo>
                      <a:pt x="15537" y="567"/>
                      <a:pt x="19249" y="5107"/>
                      <a:pt x="18732" y="10191"/>
                    </a:cubicBezTo>
                    <a:cubicBezTo>
                      <a:pt x="18579" y="11609"/>
                      <a:pt x="18503" y="13055"/>
                      <a:pt x="18503" y="14492"/>
                    </a:cubicBezTo>
                    <a:cubicBezTo>
                      <a:pt x="18503" y="37654"/>
                      <a:pt x="37350" y="56498"/>
                      <a:pt x="60503" y="56498"/>
                    </a:cubicBezTo>
                    <a:cubicBezTo>
                      <a:pt x="83674" y="56498"/>
                      <a:pt x="102521" y="37654"/>
                      <a:pt x="102521" y="14492"/>
                    </a:cubicBezTo>
                    <a:cubicBezTo>
                      <a:pt x="102521" y="9382"/>
                      <a:pt x="106654" y="5239"/>
                      <a:pt x="111762" y="5239"/>
                    </a:cubicBezTo>
                    <a:cubicBezTo>
                      <a:pt x="116891" y="5239"/>
                      <a:pt x="121024" y="9382"/>
                      <a:pt x="121024" y="14492"/>
                    </a:cubicBezTo>
                    <a:cubicBezTo>
                      <a:pt x="121024" y="47859"/>
                      <a:pt x="93872" y="75004"/>
                      <a:pt x="60503" y="75004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10" name="Freeform: Shape 2409">
                <a:extLst>
                  <a:ext uri="{FF2B5EF4-FFF2-40B4-BE49-F238E27FC236}">
                    <a16:creationId xmlns:a16="http://schemas.microsoft.com/office/drawing/2014/main" id="{7ED124F7-68AD-872C-CD98-82EB94DF7B35}"/>
                  </a:ext>
                </a:extLst>
              </p:cNvPr>
              <p:cNvSpPr/>
              <p:nvPr/>
            </p:nvSpPr>
            <p:spPr>
              <a:xfrm>
                <a:off x="3533236" y="1589518"/>
                <a:ext cx="129522" cy="22655"/>
              </a:xfrm>
              <a:custGeom>
                <a:avLst/>
                <a:gdLst>
                  <a:gd name="connsiteX0" fmla="*/ 113313 w 129500"/>
                  <a:gd name="connsiteY0" fmla="*/ 1695 h 23278"/>
                  <a:gd name="connsiteX1" fmla="*/ 129501 w 129500"/>
                  <a:gd name="connsiteY1" fmla="*/ 23279 h 23278"/>
                  <a:gd name="connsiteX2" fmla="*/ 0 w 129500"/>
                  <a:gd name="connsiteY2" fmla="*/ 23217 h 23278"/>
                  <a:gd name="connsiteX3" fmla="*/ 17279 w 129500"/>
                  <a:gd name="connsiteY3" fmla="*/ 0 h 23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500" h="23278">
                    <a:moveTo>
                      <a:pt x="113313" y="1695"/>
                    </a:moveTo>
                    <a:lnTo>
                      <a:pt x="129501" y="23279"/>
                    </a:lnTo>
                    <a:lnTo>
                      <a:pt x="0" y="23217"/>
                    </a:lnTo>
                    <a:lnTo>
                      <a:pt x="17279" y="0"/>
                    </a:lnTo>
                  </a:path>
                </a:pathLst>
              </a:custGeom>
              <a:solidFill>
                <a:srgbClr val="2251FF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11" name="Freeform: Shape 2410">
                <a:extLst>
                  <a:ext uri="{FF2B5EF4-FFF2-40B4-BE49-F238E27FC236}">
                    <a16:creationId xmlns:a16="http://schemas.microsoft.com/office/drawing/2014/main" id="{EBBC5014-F200-CF90-DB4D-2FAF742B9713}"/>
                  </a:ext>
                </a:extLst>
              </p:cNvPr>
              <p:cNvSpPr/>
              <p:nvPr/>
            </p:nvSpPr>
            <p:spPr>
              <a:xfrm>
                <a:off x="3523985" y="1584142"/>
                <a:ext cx="148035" cy="37036"/>
              </a:xfrm>
              <a:custGeom>
                <a:avLst/>
                <a:gdLst>
                  <a:gd name="connsiteX0" fmla="*/ 138750 w 148011"/>
                  <a:gd name="connsiteY0" fmla="*/ 38054 h 38054"/>
                  <a:gd name="connsiteX1" fmla="*/ 9250 w 148011"/>
                  <a:gd name="connsiteY1" fmla="*/ 37995 h 38054"/>
                  <a:gd name="connsiteX2" fmla="*/ 984 w 148011"/>
                  <a:gd name="connsiteY2" fmla="*/ 32894 h 38054"/>
                  <a:gd name="connsiteX3" fmla="*/ 1826 w 148011"/>
                  <a:gd name="connsiteY3" fmla="*/ 23217 h 38054"/>
                  <a:gd name="connsiteX4" fmla="*/ 19105 w 148011"/>
                  <a:gd name="connsiteY4" fmla="*/ 0 h 38054"/>
                  <a:gd name="connsiteX5" fmla="*/ 33952 w 148011"/>
                  <a:gd name="connsiteY5" fmla="*/ 11050 h 38054"/>
                  <a:gd name="connsiteX6" fmla="*/ 27677 w 148011"/>
                  <a:gd name="connsiteY6" fmla="*/ 19498 h 38054"/>
                  <a:gd name="connsiteX7" fmla="*/ 120228 w 148011"/>
                  <a:gd name="connsiteY7" fmla="*/ 19540 h 38054"/>
                  <a:gd name="connsiteX8" fmla="*/ 115158 w 148011"/>
                  <a:gd name="connsiteY8" fmla="*/ 12772 h 38054"/>
                  <a:gd name="connsiteX9" fmla="*/ 129968 w 148011"/>
                  <a:gd name="connsiteY9" fmla="*/ 1666 h 38054"/>
                  <a:gd name="connsiteX10" fmla="*/ 146156 w 148011"/>
                  <a:gd name="connsiteY10" fmla="*/ 23250 h 38054"/>
                  <a:gd name="connsiteX11" fmla="*/ 147036 w 148011"/>
                  <a:gd name="connsiteY11" fmla="*/ 32941 h 38054"/>
                  <a:gd name="connsiteX12" fmla="*/ 138750 w 148011"/>
                  <a:gd name="connsiteY12" fmla="*/ 38054 h 38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8011" h="38054">
                    <a:moveTo>
                      <a:pt x="138750" y="38054"/>
                    </a:moveTo>
                    <a:lnTo>
                      <a:pt x="9250" y="37995"/>
                    </a:lnTo>
                    <a:cubicBezTo>
                      <a:pt x="5749" y="37993"/>
                      <a:pt x="2553" y="36020"/>
                      <a:pt x="984" y="32894"/>
                    </a:cubicBezTo>
                    <a:cubicBezTo>
                      <a:pt x="-584" y="29767"/>
                      <a:pt x="-259" y="26024"/>
                      <a:pt x="1826" y="23217"/>
                    </a:cubicBezTo>
                    <a:lnTo>
                      <a:pt x="19105" y="0"/>
                    </a:lnTo>
                    <a:lnTo>
                      <a:pt x="33952" y="11050"/>
                    </a:lnTo>
                    <a:lnTo>
                      <a:pt x="27677" y="19498"/>
                    </a:lnTo>
                    <a:lnTo>
                      <a:pt x="120228" y="19540"/>
                    </a:lnTo>
                    <a:lnTo>
                      <a:pt x="115158" y="12772"/>
                    </a:lnTo>
                    <a:lnTo>
                      <a:pt x="129968" y="1666"/>
                    </a:lnTo>
                    <a:lnTo>
                      <a:pt x="146156" y="23250"/>
                    </a:lnTo>
                    <a:cubicBezTo>
                      <a:pt x="148261" y="26053"/>
                      <a:pt x="148604" y="29807"/>
                      <a:pt x="147036" y="32941"/>
                    </a:cubicBezTo>
                    <a:cubicBezTo>
                      <a:pt x="145466" y="36076"/>
                      <a:pt x="142252" y="38054"/>
                      <a:pt x="138750" y="38054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12" name="Freeform: Shape 2411">
                <a:extLst>
                  <a:ext uri="{FF2B5EF4-FFF2-40B4-BE49-F238E27FC236}">
                    <a16:creationId xmlns:a16="http://schemas.microsoft.com/office/drawing/2014/main" id="{6D766DCE-E55B-0DF0-BCBD-2515BBE7B251}"/>
                  </a:ext>
                </a:extLst>
              </p:cNvPr>
              <p:cNvSpPr/>
              <p:nvPr/>
            </p:nvSpPr>
            <p:spPr>
              <a:xfrm>
                <a:off x="3535209" y="1559659"/>
                <a:ext cx="132871" cy="31509"/>
              </a:xfrm>
              <a:custGeom>
                <a:avLst/>
                <a:gdLst>
                  <a:gd name="connsiteX0" fmla="*/ 113829 w 132848"/>
                  <a:gd name="connsiteY0" fmla="*/ 32375 h 32375"/>
                  <a:gd name="connsiteX1" fmla="*/ 132848 w 132848"/>
                  <a:gd name="connsiteY1" fmla="*/ 0 h 32375"/>
                  <a:gd name="connsiteX2" fmla="*/ 0 w 132848"/>
                  <a:gd name="connsiteY2" fmla="*/ 0 h 32375"/>
                  <a:gd name="connsiteX3" fmla="*/ 19000 w 132848"/>
                  <a:gd name="connsiteY3" fmla="*/ 32375 h 32375"/>
                  <a:gd name="connsiteX4" fmla="*/ 113829 w 132848"/>
                  <a:gd name="connsiteY4" fmla="*/ 32375 h 32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848" h="32375">
                    <a:moveTo>
                      <a:pt x="113829" y="32375"/>
                    </a:moveTo>
                    <a:lnTo>
                      <a:pt x="132848" y="0"/>
                    </a:lnTo>
                    <a:lnTo>
                      <a:pt x="0" y="0"/>
                    </a:lnTo>
                    <a:lnTo>
                      <a:pt x="19000" y="32375"/>
                    </a:lnTo>
                    <a:lnTo>
                      <a:pt x="113829" y="32375"/>
                    </a:lnTo>
                    <a:close/>
                  </a:path>
                </a:pathLst>
              </a:custGeom>
              <a:solidFill>
                <a:srgbClr val="2251FF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13" name="Freeform: Shape 2412">
                <a:extLst>
                  <a:ext uri="{FF2B5EF4-FFF2-40B4-BE49-F238E27FC236}">
                    <a16:creationId xmlns:a16="http://schemas.microsoft.com/office/drawing/2014/main" id="{2524EEEA-B1E2-C27D-A36E-E7DD447B8DA1}"/>
                  </a:ext>
                </a:extLst>
              </p:cNvPr>
              <p:cNvSpPr/>
              <p:nvPr/>
            </p:nvSpPr>
            <p:spPr>
              <a:xfrm>
                <a:off x="3525951" y="1550653"/>
                <a:ext cx="151370" cy="49519"/>
              </a:xfrm>
              <a:custGeom>
                <a:avLst/>
                <a:gdLst>
                  <a:gd name="connsiteX0" fmla="*/ 33556 w 151344"/>
                  <a:gd name="connsiteY0" fmla="*/ 32375 h 50881"/>
                  <a:gd name="connsiteX1" fmla="*/ 117785 w 151344"/>
                  <a:gd name="connsiteY1" fmla="*/ 32375 h 50881"/>
                  <a:gd name="connsiteX2" fmla="*/ 125937 w 151344"/>
                  <a:gd name="connsiteY2" fmla="*/ 18506 h 50881"/>
                  <a:gd name="connsiteX3" fmla="*/ 25406 w 151344"/>
                  <a:gd name="connsiteY3" fmla="*/ 18506 h 50881"/>
                  <a:gd name="connsiteX4" fmla="*/ 33556 w 151344"/>
                  <a:gd name="connsiteY4" fmla="*/ 32375 h 50881"/>
                  <a:gd name="connsiteX5" fmla="*/ 123085 w 151344"/>
                  <a:gd name="connsiteY5" fmla="*/ 50882 h 50881"/>
                  <a:gd name="connsiteX6" fmla="*/ 28256 w 151344"/>
                  <a:gd name="connsiteY6" fmla="*/ 50882 h 50881"/>
                  <a:gd name="connsiteX7" fmla="*/ 20277 w 151344"/>
                  <a:gd name="connsiteY7" fmla="*/ 46312 h 50881"/>
                  <a:gd name="connsiteX8" fmla="*/ 1278 w 151344"/>
                  <a:gd name="connsiteY8" fmla="*/ 13939 h 50881"/>
                  <a:gd name="connsiteX9" fmla="*/ 1220 w 151344"/>
                  <a:gd name="connsiteY9" fmla="*/ 4655 h 50881"/>
                  <a:gd name="connsiteX10" fmla="*/ 9257 w 151344"/>
                  <a:gd name="connsiteY10" fmla="*/ 0 h 50881"/>
                  <a:gd name="connsiteX11" fmla="*/ 142105 w 151344"/>
                  <a:gd name="connsiteY11" fmla="*/ 0 h 50881"/>
                  <a:gd name="connsiteX12" fmla="*/ 150123 w 151344"/>
                  <a:gd name="connsiteY12" fmla="*/ 4655 h 50881"/>
                  <a:gd name="connsiteX13" fmla="*/ 150085 w 151344"/>
                  <a:gd name="connsiteY13" fmla="*/ 13939 h 50881"/>
                  <a:gd name="connsiteX14" fmla="*/ 131064 w 151344"/>
                  <a:gd name="connsiteY14" fmla="*/ 46312 h 50881"/>
                  <a:gd name="connsiteX15" fmla="*/ 123085 w 151344"/>
                  <a:gd name="connsiteY15" fmla="*/ 50882 h 50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1344" h="50881">
                    <a:moveTo>
                      <a:pt x="33556" y="32375"/>
                    </a:moveTo>
                    <a:lnTo>
                      <a:pt x="117785" y="32375"/>
                    </a:lnTo>
                    <a:lnTo>
                      <a:pt x="125937" y="18506"/>
                    </a:lnTo>
                    <a:lnTo>
                      <a:pt x="25406" y="18506"/>
                    </a:lnTo>
                    <a:lnTo>
                      <a:pt x="33556" y="32375"/>
                    </a:lnTo>
                    <a:close/>
                    <a:moveTo>
                      <a:pt x="123085" y="50882"/>
                    </a:moveTo>
                    <a:lnTo>
                      <a:pt x="28256" y="50882"/>
                    </a:lnTo>
                    <a:cubicBezTo>
                      <a:pt x="24984" y="50882"/>
                      <a:pt x="21942" y="49142"/>
                      <a:pt x="20277" y="46312"/>
                    </a:cubicBezTo>
                    <a:lnTo>
                      <a:pt x="1278" y="13939"/>
                    </a:lnTo>
                    <a:cubicBezTo>
                      <a:pt x="-407" y="11077"/>
                      <a:pt x="-425" y="7535"/>
                      <a:pt x="1220" y="4655"/>
                    </a:cubicBezTo>
                    <a:cubicBezTo>
                      <a:pt x="2865" y="1777"/>
                      <a:pt x="5927" y="0"/>
                      <a:pt x="9257" y="0"/>
                    </a:cubicBezTo>
                    <a:lnTo>
                      <a:pt x="142105" y="0"/>
                    </a:lnTo>
                    <a:cubicBezTo>
                      <a:pt x="145415" y="0"/>
                      <a:pt x="148477" y="1777"/>
                      <a:pt x="150123" y="4655"/>
                    </a:cubicBezTo>
                    <a:cubicBezTo>
                      <a:pt x="151768" y="7535"/>
                      <a:pt x="151748" y="11077"/>
                      <a:pt x="150085" y="13939"/>
                    </a:cubicBezTo>
                    <a:lnTo>
                      <a:pt x="131064" y="46312"/>
                    </a:lnTo>
                    <a:cubicBezTo>
                      <a:pt x="129400" y="49142"/>
                      <a:pt x="126377" y="50882"/>
                      <a:pt x="123085" y="50882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35" name="Freeform: Shape 2434">
                <a:extLst>
                  <a:ext uri="{FF2B5EF4-FFF2-40B4-BE49-F238E27FC236}">
                    <a16:creationId xmlns:a16="http://schemas.microsoft.com/office/drawing/2014/main" id="{3DDF7676-2A40-9854-8DB8-CFAF762DC42D}"/>
                  </a:ext>
                </a:extLst>
              </p:cNvPr>
              <p:cNvSpPr/>
              <p:nvPr/>
            </p:nvSpPr>
            <p:spPr>
              <a:xfrm>
                <a:off x="3444948" y="2423812"/>
                <a:ext cx="347056" cy="199508"/>
              </a:xfrm>
              <a:custGeom>
                <a:avLst/>
                <a:gdLst>
                  <a:gd name="connsiteX0" fmla="*/ 0 w 346998"/>
                  <a:gd name="connsiteY0" fmla="*/ 204994 h 204994"/>
                  <a:gd name="connsiteX1" fmla="*/ 0 w 346998"/>
                  <a:gd name="connsiteY1" fmla="*/ 116983 h 204994"/>
                  <a:gd name="connsiteX2" fmla="*/ 85147 w 346998"/>
                  <a:gd name="connsiteY2" fmla="*/ 0 h 204994"/>
                  <a:gd name="connsiteX3" fmla="*/ 265258 w 346998"/>
                  <a:gd name="connsiteY3" fmla="*/ 1154 h 204994"/>
                  <a:gd name="connsiteX4" fmla="*/ 346999 w 346998"/>
                  <a:gd name="connsiteY4" fmla="*/ 116983 h 204994"/>
                  <a:gd name="connsiteX5" fmla="*/ 346999 w 346998"/>
                  <a:gd name="connsiteY5" fmla="*/ 204994 h 204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6998" h="204994">
                    <a:moveTo>
                      <a:pt x="0" y="204994"/>
                    </a:moveTo>
                    <a:lnTo>
                      <a:pt x="0" y="116983"/>
                    </a:lnTo>
                    <a:cubicBezTo>
                      <a:pt x="0" y="62282"/>
                      <a:pt x="35743" y="15929"/>
                      <a:pt x="85147" y="0"/>
                    </a:cubicBezTo>
                    <a:lnTo>
                      <a:pt x="265258" y="1154"/>
                    </a:lnTo>
                    <a:cubicBezTo>
                      <a:pt x="312882" y="18078"/>
                      <a:pt x="346999" y="63548"/>
                      <a:pt x="346999" y="116983"/>
                    </a:cubicBezTo>
                    <a:lnTo>
                      <a:pt x="346999" y="204994"/>
                    </a:lnTo>
                  </a:path>
                </a:pathLst>
              </a:custGeom>
              <a:solidFill>
                <a:srgbClr val="2251FF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36" name="Freeform: Shape 2435">
                <a:extLst>
                  <a:ext uri="{FF2B5EF4-FFF2-40B4-BE49-F238E27FC236}">
                    <a16:creationId xmlns:a16="http://schemas.microsoft.com/office/drawing/2014/main" id="{9EDBFC71-4320-2A05-9FC3-E9FB4E31EF07}"/>
                  </a:ext>
                </a:extLst>
              </p:cNvPr>
              <p:cNvSpPr/>
              <p:nvPr/>
            </p:nvSpPr>
            <p:spPr>
              <a:xfrm>
                <a:off x="3435704" y="2414807"/>
                <a:ext cx="365543" cy="208513"/>
              </a:xfrm>
              <a:custGeom>
                <a:avLst/>
                <a:gdLst>
                  <a:gd name="connsiteX0" fmla="*/ 365483 w 365482"/>
                  <a:gd name="connsiteY0" fmla="*/ 214247 h 214247"/>
                  <a:gd name="connsiteX1" fmla="*/ 346980 w 365482"/>
                  <a:gd name="connsiteY1" fmla="*/ 214247 h 214247"/>
                  <a:gd name="connsiteX2" fmla="*/ 346980 w 365482"/>
                  <a:gd name="connsiteY2" fmla="*/ 126236 h 214247"/>
                  <a:gd name="connsiteX3" fmla="*/ 272835 w 365482"/>
                  <a:gd name="connsiteY3" fmla="*/ 19649 h 214247"/>
                  <a:gd name="connsiteX4" fmla="*/ 95844 w 365482"/>
                  <a:gd name="connsiteY4" fmla="*/ 18516 h 214247"/>
                  <a:gd name="connsiteX5" fmla="*/ 18504 w 365482"/>
                  <a:gd name="connsiteY5" fmla="*/ 126236 h 214247"/>
                  <a:gd name="connsiteX6" fmla="*/ 18504 w 365482"/>
                  <a:gd name="connsiteY6" fmla="*/ 214247 h 214247"/>
                  <a:gd name="connsiteX7" fmla="*/ 0 w 365482"/>
                  <a:gd name="connsiteY7" fmla="*/ 214247 h 214247"/>
                  <a:gd name="connsiteX8" fmla="*/ 0 w 365482"/>
                  <a:gd name="connsiteY8" fmla="*/ 126236 h 214247"/>
                  <a:gd name="connsiteX9" fmla="*/ 91539 w 365482"/>
                  <a:gd name="connsiteY9" fmla="*/ 446 h 214247"/>
                  <a:gd name="connsiteX10" fmla="*/ 94447 w 365482"/>
                  <a:gd name="connsiteY10" fmla="*/ 0 h 214247"/>
                  <a:gd name="connsiteX11" fmla="*/ 274557 w 365482"/>
                  <a:gd name="connsiteY11" fmla="*/ 1154 h 214247"/>
                  <a:gd name="connsiteX12" fmla="*/ 277599 w 365482"/>
                  <a:gd name="connsiteY12" fmla="*/ 1687 h 214247"/>
                  <a:gd name="connsiteX13" fmla="*/ 365483 w 365482"/>
                  <a:gd name="connsiteY13" fmla="*/ 126236 h 214247"/>
                  <a:gd name="connsiteX14" fmla="*/ 365483 w 365482"/>
                  <a:gd name="connsiteY14" fmla="*/ 214247 h 214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65482" h="214247">
                    <a:moveTo>
                      <a:pt x="365483" y="214247"/>
                    </a:moveTo>
                    <a:lnTo>
                      <a:pt x="346980" y="214247"/>
                    </a:lnTo>
                    <a:lnTo>
                      <a:pt x="346980" y="126236"/>
                    </a:lnTo>
                    <a:cubicBezTo>
                      <a:pt x="346980" y="78747"/>
                      <a:pt x="317246" y="36108"/>
                      <a:pt x="272835" y="19649"/>
                    </a:cubicBezTo>
                    <a:lnTo>
                      <a:pt x="95844" y="18516"/>
                    </a:lnTo>
                    <a:cubicBezTo>
                      <a:pt x="49520" y="34099"/>
                      <a:pt x="18504" y="77203"/>
                      <a:pt x="18504" y="126236"/>
                    </a:cubicBezTo>
                    <a:lnTo>
                      <a:pt x="18504" y="214247"/>
                    </a:lnTo>
                    <a:lnTo>
                      <a:pt x="0" y="214247"/>
                    </a:lnTo>
                    <a:lnTo>
                      <a:pt x="0" y="126236"/>
                    </a:lnTo>
                    <a:cubicBezTo>
                      <a:pt x="0" y="68655"/>
                      <a:pt x="36776" y="18105"/>
                      <a:pt x="91539" y="446"/>
                    </a:cubicBezTo>
                    <a:cubicBezTo>
                      <a:pt x="92476" y="143"/>
                      <a:pt x="93509" y="29"/>
                      <a:pt x="94447" y="0"/>
                    </a:cubicBezTo>
                    <a:lnTo>
                      <a:pt x="274557" y="1154"/>
                    </a:lnTo>
                    <a:cubicBezTo>
                      <a:pt x="275590" y="1159"/>
                      <a:pt x="276624" y="1339"/>
                      <a:pt x="277599" y="1687"/>
                    </a:cubicBezTo>
                    <a:cubicBezTo>
                      <a:pt x="330161" y="20366"/>
                      <a:pt x="365483" y="70419"/>
                      <a:pt x="365483" y="126236"/>
                    </a:cubicBezTo>
                    <a:lnTo>
                      <a:pt x="365483" y="214247"/>
                    </a:lnTo>
                    <a:close/>
                  </a:path>
                </a:pathLst>
              </a:custGeom>
              <a:solidFill>
                <a:srgbClr val="2251FF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37" name="Freeform: Shape 2436">
                <a:extLst>
                  <a:ext uri="{FF2B5EF4-FFF2-40B4-BE49-F238E27FC236}">
                    <a16:creationId xmlns:a16="http://schemas.microsoft.com/office/drawing/2014/main" id="{F20BBCF5-0663-212D-F776-E5841BC0980E}"/>
                  </a:ext>
                </a:extLst>
              </p:cNvPr>
              <p:cNvSpPr/>
              <p:nvPr/>
            </p:nvSpPr>
            <p:spPr>
              <a:xfrm>
                <a:off x="3527736" y="2189339"/>
                <a:ext cx="182513" cy="177600"/>
              </a:xfrm>
              <a:custGeom>
                <a:avLst/>
                <a:gdLst>
                  <a:gd name="connsiteX0" fmla="*/ 182483 w 182483"/>
                  <a:gd name="connsiteY0" fmla="*/ 91241 h 182484"/>
                  <a:gd name="connsiteX1" fmla="*/ 91231 w 182483"/>
                  <a:gd name="connsiteY1" fmla="*/ 182485 h 182484"/>
                  <a:gd name="connsiteX2" fmla="*/ 0 w 182483"/>
                  <a:gd name="connsiteY2" fmla="*/ 91241 h 182484"/>
                  <a:gd name="connsiteX3" fmla="*/ 91231 w 182483"/>
                  <a:gd name="connsiteY3" fmla="*/ 0 h 182484"/>
                  <a:gd name="connsiteX4" fmla="*/ 182483 w 182483"/>
                  <a:gd name="connsiteY4" fmla="*/ 91241 h 182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483" h="182484">
                    <a:moveTo>
                      <a:pt x="182483" y="91241"/>
                    </a:moveTo>
                    <a:cubicBezTo>
                      <a:pt x="182483" y="141633"/>
                      <a:pt x="141631" y="182485"/>
                      <a:pt x="91231" y="182485"/>
                    </a:cubicBezTo>
                    <a:cubicBezTo>
                      <a:pt x="40852" y="182485"/>
                      <a:pt x="0" y="141633"/>
                      <a:pt x="0" y="91241"/>
                    </a:cubicBezTo>
                    <a:cubicBezTo>
                      <a:pt x="0" y="40850"/>
                      <a:pt x="40852" y="0"/>
                      <a:pt x="91231" y="0"/>
                    </a:cubicBezTo>
                    <a:cubicBezTo>
                      <a:pt x="141631" y="0"/>
                      <a:pt x="182483" y="40850"/>
                      <a:pt x="182483" y="912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38" name="Freeform: Shape 2437">
                <a:extLst>
                  <a:ext uri="{FF2B5EF4-FFF2-40B4-BE49-F238E27FC236}">
                    <a16:creationId xmlns:a16="http://schemas.microsoft.com/office/drawing/2014/main" id="{7E3E6101-5754-A8AA-3EC7-4350338BB62D}"/>
                  </a:ext>
                </a:extLst>
              </p:cNvPr>
              <p:cNvSpPr/>
              <p:nvPr/>
            </p:nvSpPr>
            <p:spPr>
              <a:xfrm>
                <a:off x="3518474" y="2180334"/>
                <a:ext cx="201018" cy="195612"/>
              </a:xfrm>
              <a:custGeom>
                <a:avLst/>
                <a:gdLst>
                  <a:gd name="connsiteX0" fmla="*/ 100493 w 200985"/>
                  <a:gd name="connsiteY0" fmla="*/ 18505 h 200991"/>
                  <a:gd name="connsiteX1" fmla="*/ 18504 w 200985"/>
                  <a:gd name="connsiteY1" fmla="*/ 100495 h 200991"/>
                  <a:gd name="connsiteX2" fmla="*/ 100493 w 200985"/>
                  <a:gd name="connsiteY2" fmla="*/ 182485 h 200991"/>
                  <a:gd name="connsiteX3" fmla="*/ 182483 w 200985"/>
                  <a:gd name="connsiteY3" fmla="*/ 100495 h 200991"/>
                  <a:gd name="connsiteX4" fmla="*/ 100493 w 200985"/>
                  <a:gd name="connsiteY4" fmla="*/ 18505 h 200991"/>
                  <a:gd name="connsiteX5" fmla="*/ 100493 w 200985"/>
                  <a:gd name="connsiteY5" fmla="*/ 200991 h 200991"/>
                  <a:gd name="connsiteX6" fmla="*/ 0 w 200985"/>
                  <a:gd name="connsiteY6" fmla="*/ 100495 h 200991"/>
                  <a:gd name="connsiteX7" fmla="*/ 100493 w 200985"/>
                  <a:gd name="connsiteY7" fmla="*/ 0 h 200991"/>
                  <a:gd name="connsiteX8" fmla="*/ 200986 w 200985"/>
                  <a:gd name="connsiteY8" fmla="*/ 100495 h 200991"/>
                  <a:gd name="connsiteX9" fmla="*/ 100493 w 200985"/>
                  <a:gd name="connsiteY9" fmla="*/ 200991 h 200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0985" h="200991">
                    <a:moveTo>
                      <a:pt x="100493" y="18505"/>
                    </a:moveTo>
                    <a:cubicBezTo>
                      <a:pt x="55279" y="18505"/>
                      <a:pt x="18504" y="55286"/>
                      <a:pt x="18504" y="100495"/>
                    </a:cubicBezTo>
                    <a:cubicBezTo>
                      <a:pt x="18504" y="145705"/>
                      <a:pt x="55279" y="182485"/>
                      <a:pt x="100493" y="182485"/>
                    </a:cubicBezTo>
                    <a:cubicBezTo>
                      <a:pt x="145708" y="182485"/>
                      <a:pt x="182483" y="145705"/>
                      <a:pt x="182483" y="100495"/>
                    </a:cubicBezTo>
                    <a:cubicBezTo>
                      <a:pt x="182483" y="55286"/>
                      <a:pt x="145708" y="18505"/>
                      <a:pt x="100493" y="18505"/>
                    </a:cubicBezTo>
                    <a:close/>
                    <a:moveTo>
                      <a:pt x="100493" y="200991"/>
                    </a:moveTo>
                    <a:cubicBezTo>
                      <a:pt x="45080" y="200991"/>
                      <a:pt x="0" y="155909"/>
                      <a:pt x="0" y="100495"/>
                    </a:cubicBezTo>
                    <a:cubicBezTo>
                      <a:pt x="0" y="45082"/>
                      <a:pt x="45080" y="0"/>
                      <a:pt x="100493" y="0"/>
                    </a:cubicBezTo>
                    <a:cubicBezTo>
                      <a:pt x="155906" y="0"/>
                      <a:pt x="200986" y="45082"/>
                      <a:pt x="200986" y="100495"/>
                    </a:cubicBezTo>
                    <a:cubicBezTo>
                      <a:pt x="200986" y="155909"/>
                      <a:pt x="155906" y="200991"/>
                      <a:pt x="100493" y="200991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39" name="Freeform: Shape 2438">
                <a:extLst>
                  <a:ext uri="{FF2B5EF4-FFF2-40B4-BE49-F238E27FC236}">
                    <a16:creationId xmlns:a16="http://schemas.microsoft.com/office/drawing/2014/main" id="{C30FA500-FCFC-B3B2-15E4-5445B6D21549}"/>
                  </a:ext>
                </a:extLst>
              </p:cNvPr>
              <p:cNvSpPr/>
              <p:nvPr/>
            </p:nvSpPr>
            <p:spPr>
              <a:xfrm>
                <a:off x="3264214" y="2533339"/>
                <a:ext cx="112719" cy="54842"/>
              </a:xfrm>
              <a:custGeom>
                <a:avLst/>
                <a:gdLst>
                  <a:gd name="connsiteX0" fmla="*/ 0 w 112700"/>
                  <a:gd name="connsiteY0" fmla="*/ 56350 h 56350"/>
                  <a:gd name="connsiteX1" fmla="*/ 56351 w 112700"/>
                  <a:gd name="connsiteY1" fmla="*/ 0 h 56350"/>
                  <a:gd name="connsiteX2" fmla="*/ 112700 w 112700"/>
                  <a:gd name="connsiteY2" fmla="*/ 56350 h 5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2700" h="56350">
                    <a:moveTo>
                      <a:pt x="0" y="56350"/>
                    </a:moveTo>
                    <a:cubicBezTo>
                      <a:pt x="0" y="25228"/>
                      <a:pt x="25238" y="0"/>
                      <a:pt x="56351" y="0"/>
                    </a:cubicBezTo>
                    <a:cubicBezTo>
                      <a:pt x="87482" y="0"/>
                      <a:pt x="112700" y="25228"/>
                      <a:pt x="112700" y="56350"/>
                    </a:cubicBezTo>
                  </a:path>
                </a:pathLst>
              </a:custGeom>
              <a:solidFill>
                <a:srgbClr val="2251FF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0" name="Freeform: Shape 2439">
                <a:extLst>
                  <a:ext uri="{FF2B5EF4-FFF2-40B4-BE49-F238E27FC236}">
                    <a16:creationId xmlns:a16="http://schemas.microsoft.com/office/drawing/2014/main" id="{C16D80B9-440E-C745-9B5C-7EEC321DD71E}"/>
                  </a:ext>
                </a:extLst>
              </p:cNvPr>
              <p:cNvSpPr/>
              <p:nvPr/>
            </p:nvSpPr>
            <p:spPr>
              <a:xfrm>
                <a:off x="3254952" y="2524332"/>
                <a:ext cx="131244" cy="63847"/>
              </a:xfrm>
              <a:custGeom>
                <a:avLst/>
                <a:gdLst>
                  <a:gd name="connsiteX0" fmla="*/ 131222 w 131222"/>
                  <a:gd name="connsiteY0" fmla="*/ 65603 h 65603"/>
                  <a:gd name="connsiteX1" fmla="*/ 112720 w 131222"/>
                  <a:gd name="connsiteY1" fmla="*/ 65603 h 65603"/>
                  <a:gd name="connsiteX2" fmla="*/ 65611 w 131222"/>
                  <a:gd name="connsiteY2" fmla="*/ 18506 h 65603"/>
                  <a:gd name="connsiteX3" fmla="*/ 18522 w 131222"/>
                  <a:gd name="connsiteY3" fmla="*/ 65603 h 65603"/>
                  <a:gd name="connsiteX4" fmla="*/ 0 w 131222"/>
                  <a:gd name="connsiteY4" fmla="*/ 65603 h 65603"/>
                  <a:gd name="connsiteX5" fmla="*/ 65611 w 131222"/>
                  <a:gd name="connsiteY5" fmla="*/ 0 h 65603"/>
                  <a:gd name="connsiteX6" fmla="*/ 131222 w 131222"/>
                  <a:gd name="connsiteY6" fmla="*/ 65603 h 65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1222" h="65603">
                    <a:moveTo>
                      <a:pt x="131222" y="65603"/>
                    </a:moveTo>
                    <a:lnTo>
                      <a:pt x="112720" y="65603"/>
                    </a:lnTo>
                    <a:cubicBezTo>
                      <a:pt x="112720" y="39634"/>
                      <a:pt x="91576" y="18506"/>
                      <a:pt x="65611" y="18506"/>
                    </a:cubicBezTo>
                    <a:cubicBezTo>
                      <a:pt x="39646" y="18506"/>
                      <a:pt x="18522" y="39634"/>
                      <a:pt x="18522" y="65603"/>
                    </a:cubicBezTo>
                    <a:lnTo>
                      <a:pt x="0" y="65603"/>
                    </a:lnTo>
                    <a:cubicBezTo>
                      <a:pt x="0" y="29430"/>
                      <a:pt x="29428" y="0"/>
                      <a:pt x="65611" y="0"/>
                    </a:cubicBezTo>
                    <a:cubicBezTo>
                      <a:pt x="101793" y="0"/>
                      <a:pt x="131222" y="29430"/>
                      <a:pt x="131222" y="65603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1" name="Freeform: Shape 2440">
                <a:extLst>
                  <a:ext uri="{FF2B5EF4-FFF2-40B4-BE49-F238E27FC236}">
                    <a16:creationId xmlns:a16="http://schemas.microsoft.com/office/drawing/2014/main" id="{9861A252-D9FA-23D8-5AF3-313D6FE7A76D}"/>
                  </a:ext>
                </a:extLst>
              </p:cNvPr>
              <p:cNvSpPr/>
              <p:nvPr/>
            </p:nvSpPr>
            <p:spPr>
              <a:xfrm>
                <a:off x="3264214" y="2588181"/>
                <a:ext cx="112719" cy="35140"/>
              </a:xfrm>
              <a:custGeom>
                <a:avLst/>
                <a:gdLst>
                  <a:gd name="connsiteX0" fmla="*/ 0 w 112700"/>
                  <a:gd name="connsiteY0" fmla="*/ 0 h 36106"/>
                  <a:gd name="connsiteX1" fmla="*/ 112700 w 112700"/>
                  <a:gd name="connsiteY1" fmla="*/ 0 h 36106"/>
                  <a:gd name="connsiteX2" fmla="*/ 112700 w 112700"/>
                  <a:gd name="connsiteY2" fmla="*/ 36106 h 36106"/>
                  <a:gd name="connsiteX3" fmla="*/ 0 w 112700"/>
                  <a:gd name="connsiteY3" fmla="*/ 36106 h 36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2700" h="36106">
                    <a:moveTo>
                      <a:pt x="0" y="0"/>
                    </a:moveTo>
                    <a:lnTo>
                      <a:pt x="112700" y="0"/>
                    </a:lnTo>
                    <a:lnTo>
                      <a:pt x="112700" y="36106"/>
                    </a:lnTo>
                    <a:lnTo>
                      <a:pt x="0" y="36106"/>
                    </a:lnTo>
                    <a:close/>
                  </a:path>
                </a:pathLst>
              </a:custGeom>
              <a:solidFill>
                <a:srgbClr val="FFFFFF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2" name="Freeform: Shape 2441">
                <a:extLst>
                  <a:ext uri="{FF2B5EF4-FFF2-40B4-BE49-F238E27FC236}">
                    <a16:creationId xmlns:a16="http://schemas.microsoft.com/office/drawing/2014/main" id="{932827A0-5E59-9272-F8A2-40D760BDFD64}"/>
                  </a:ext>
                </a:extLst>
              </p:cNvPr>
              <p:cNvSpPr/>
              <p:nvPr/>
            </p:nvSpPr>
            <p:spPr>
              <a:xfrm>
                <a:off x="3254952" y="2579175"/>
                <a:ext cx="131244" cy="53150"/>
              </a:xfrm>
              <a:custGeom>
                <a:avLst/>
                <a:gdLst>
                  <a:gd name="connsiteX0" fmla="*/ 18522 w 131222"/>
                  <a:gd name="connsiteY0" fmla="*/ 36106 h 54612"/>
                  <a:gd name="connsiteX1" fmla="*/ 112720 w 131222"/>
                  <a:gd name="connsiteY1" fmla="*/ 36106 h 54612"/>
                  <a:gd name="connsiteX2" fmla="*/ 112720 w 131222"/>
                  <a:gd name="connsiteY2" fmla="*/ 18506 h 54612"/>
                  <a:gd name="connsiteX3" fmla="*/ 18522 w 131222"/>
                  <a:gd name="connsiteY3" fmla="*/ 18506 h 54612"/>
                  <a:gd name="connsiteX4" fmla="*/ 18522 w 131222"/>
                  <a:gd name="connsiteY4" fmla="*/ 36106 h 54612"/>
                  <a:gd name="connsiteX5" fmla="*/ 121961 w 131222"/>
                  <a:gd name="connsiteY5" fmla="*/ 54613 h 54612"/>
                  <a:gd name="connsiteX6" fmla="*/ 9261 w 131222"/>
                  <a:gd name="connsiteY6" fmla="*/ 54613 h 54612"/>
                  <a:gd name="connsiteX7" fmla="*/ 0 w 131222"/>
                  <a:gd name="connsiteY7" fmla="*/ 45359 h 54612"/>
                  <a:gd name="connsiteX8" fmla="*/ 0 w 131222"/>
                  <a:gd name="connsiteY8" fmla="*/ 9253 h 54612"/>
                  <a:gd name="connsiteX9" fmla="*/ 9261 w 131222"/>
                  <a:gd name="connsiteY9" fmla="*/ 0 h 54612"/>
                  <a:gd name="connsiteX10" fmla="*/ 121961 w 131222"/>
                  <a:gd name="connsiteY10" fmla="*/ 0 h 54612"/>
                  <a:gd name="connsiteX11" fmla="*/ 131222 w 131222"/>
                  <a:gd name="connsiteY11" fmla="*/ 9253 h 54612"/>
                  <a:gd name="connsiteX12" fmla="*/ 131222 w 131222"/>
                  <a:gd name="connsiteY12" fmla="*/ 45359 h 54612"/>
                  <a:gd name="connsiteX13" fmla="*/ 121961 w 131222"/>
                  <a:gd name="connsiteY13" fmla="*/ 54613 h 54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1222" h="54612">
                    <a:moveTo>
                      <a:pt x="18522" y="36106"/>
                    </a:moveTo>
                    <a:lnTo>
                      <a:pt x="112720" y="36106"/>
                    </a:lnTo>
                    <a:lnTo>
                      <a:pt x="112720" y="18506"/>
                    </a:lnTo>
                    <a:lnTo>
                      <a:pt x="18522" y="18506"/>
                    </a:lnTo>
                    <a:lnTo>
                      <a:pt x="18522" y="36106"/>
                    </a:lnTo>
                    <a:close/>
                    <a:moveTo>
                      <a:pt x="121961" y="54613"/>
                    </a:moveTo>
                    <a:lnTo>
                      <a:pt x="9261" y="54613"/>
                    </a:lnTo>
                    <a:cubicBezTo>
                      <a:pt x="4152" y="54613"/>
                      <a:pt x="0" y="50470"/>
                      <a:pt x="0" y="45359"/>
                    </a:cubicBezTo>
                    <a:lnTo>
                      <a:pt x="0" y="9253"/>
                    </a:lnTo>
                    <a:cubicBezTo>
                      <a:pt x="0" y="4143"/>
                      <a:pt x="4152" y="0"/>
                      <a:pt x="9261" y="0"/>
                    </a:cubicBezTo>
                    <a:lnTo>
                      <a:pt x="121961" y="0"/>
                    </a:lnTo>
                    <a:cubicBezTo>
                      <a:pt x="127071" y="0"/>
                      <a:pt x="131222" y="4143"/>
                      <a:pt x="131222" y="9253"/>
                    </a:cubicBezTo>
                    <a:lnTo>
                      <a:pt x="131222" y="45359"/>
                    </a:lnTo>
                    <a:cubicBezTo>
                      <a:pt x="131222" y="50470"/>
                      <a:pt x="127071" y="54613"/>
                      <a:pt x="121961" y="54613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3" name="Freeform: Shape 2442">
                <a:extLst>
                  <a:ext uri="{FF2B5EF4-FFF2-40B4-BE49-F238E27FC236}">
                    <a16:creationId xmlns:a16="http://schemas.microsoft.com/office/drawing/2014/main" id="{24DEA09A-692B-90F5-6903-76C319184A9D}"/>
                  </a:ext>
                </a:extLst>
              </p:cNvPr>
              <p:cNvSpPr/>
              <p:nvPr/>
            </p:nvSpPr>
            <p:spPr>
              <a:xfrm>
                <a:off x="3311121" y="2490403"/>
                <a:ext cx="18525" cy="50451"/>
              </a:xfrm>
              <a:custGeom>
                <a:avLst/>
                <a:gdLst>
                  <a:gd name="connsiteX0" fmla="*/ 9261 w 18521"/>
                  <a:gd name="connsiteY0" fmla="*/ 51838 h 51838"/>
                  <a:gd name="connsiteX1" fmla="*/ 0 w 18521"/>
                  <a:gd name="connsiteY1" fmla="*/ 42585 h 51838"/>
                  <a:gd name="connsiteX2" fmla="*/ 0 w 18521"/>
                  <a:gd name="connsiteY2" fmla="*/ 9253 h 51838"/>
                  <a:gd name="connsiteX3" fmla="*/ 9261 w 18521"/>
                  <a:gd name="connsiteY3" fmla="*/ 0 h 51838"/>
                  <a:gd name="connsiteX4" fmla="*/ 18521 w 18521"/>
                  <a:gd name="connsiteY4" fmla="*/ 9253 h 51838"/>
                  <a:gd name="connsiteX5" fmla="*/ 18521 w 18521"/>
                  <a:gd name="connsiteY5" fmla="*/ 42585 h 51838"/>
                  <a:gd name="connsiteX6" fmla="*/ 9261 w 18521"/>
                  <a:gd name="connsiteY6" fmla="*/ 51838 h 51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521" h="51838">
                    <a:moveTo>
                      <a:pt x="9261" y="51838"/>
                    </a:moveTo>
                    <a:cubicBezTo>
                      <a:pt x="4152" y="51838"/>
                      <a:pt x="0" y="47696"/>
                      <a:pt x="0" y="42585"/>
                    </a:cubicBezTo>
                    <a:lnTo>
                      <a:pt x="0" y="9253"/>
                    </a:lnTo>
                    <a:cubicBezTo>
                      <a:pt x="0" y="4142"/>
                      <a:pt x="4152" y="0"/>
                      <a:pt x="9261" y="0"/>
                    </a:cubicBezTo>
                    <a:cubicBezTo>
                      <a:pt x="14369" y="0"/>
                      <a:pt x="18521" y="4142"/>
                      <a:pt x="18521" y="9253"/>
                    </a:cubicBezTo>
                    <a:lnTo>
                      <a:pt x="18521" y="42585"/>
                    </a:lnTo>
                    <a:cubicBezTo>
                      <a:pt x="18521" y="47696"/>
                      <a:pt x="14369" y="51838"/>
                      <a:pt x="9261" y="51838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4" name="Freeform: Shape 2443">
                <a:extLst>
                  <a:ext uri="{FF2B5EF4-FFF2-40B4-BE49-F238E27FC236}">
                    <a16:creationId xmlns:a16="http://schemas.microsoft.com/office/drawing/2014/main" id="{A45EDCFA-63E5-980B-A100-67E4C9415E27}"/>
                  </a:ext>
                </a:extLst>
              </p:cNvPr>
              <p:cNvSpPr/>
              <p:nvPr/>
            </p:nvSpPr>
            <p:spPr>
              <a:xfrm>
                <a:off x="3294126" y="2490651"/>
                <a:ext cx="52514" cy="18011"/>
              </a:xfrm>
              <a:custGeom>
                <a:avLst/>
                <a:gdLst>
                  <a:gd name="connsiteX0" fmla="*/ 43243 w 52505"/>
                  <a:gd name="connsiteY0" fmla="*/ 18506 h 18506"/>
                  <a:gd name="connsiteX1" fmla="*/ 9262 w 52505"/>
                  <a:gd name="connsiteY1" fmla="*/ 18506 h 18506"/>
                  <a:gd name="connsiteX2" fmla="*/ 0 w 52505"/>
                  <a:gd name="connsiteY2" fmla="*/ 9253 h 18506"/>
                  <a:gd name="connsiteX3" fmla="*/ 9262 w 52505"/>
                  <a:gd name="connsiteY3" fmla="*/ 0 h 18506"/>
                  <a:gd name="connsiteX4" fmla="*/ 43243 w 52505"/>
                  <a:gd name="connsiteY4" fmla="*/ 0 h 18506"/>
                  <a:gd name="connsiteX5" fmla="*/ 52505 w 52505"/>
                  <a:gd name="connsiteY5" fmla="*/ 9253 h 18506"/>
                  <a:gd name="connsiteX6" fmla="*/ 43243 w 52505"/>
                  <a:gd name="connsiteY6" fmla="*/ 18506 h 18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505" h="18506">
                    <a:moveTo>
                      <a:pt x="43243" y="18506"/>
                    </a:moveTo>
                    <a:lnTo>
                      <a:pt x="9262" y="18506"/>
                    </a:lnTo>
                    <a:cubicBezTo>
                      <a:pt x="4153" y="18506"/>
                      <a:pt x="0" y="14364"/>
                      <a:pt x="0" y="9253"/>
                    </a:cubicBezTo>
                    <a:cubicBezTo>
                      <a:pt x="0" y="4142"/>
                      <a:pt x="4153" y="0"/>
                      <a:pt x="9262" y="0"/>
                    </a:cubicBezTo>
                    <a:lnTo>
                      <a:pt x="43243" y="0"/>
                    </a:lnTo>
                    <a:cubicBezTo>
                      <a:pt x="48372" y="0"/>
                      <a:pt x="52505" y="4142"/>
                      <a:pt x="52505" y="9253"/>
                    </a:cubicBezTo>
                    <a:cubicBezTo>
                      <a:pt x="52505" y="14364"/>
                      <a:pt x="48372" y="18506"/>
                      <a:pt x="43243" y="18506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5" name="Freeform: Shape 2444">
                <a:extLst>
                  <a:ext uri="{FF2B5EF4-FFF2-40B4-BE49-F238E27FC236}">
                    <a16:creationId xmlns:a16="http://schemas.microsoft.com/office/drawing/2014/main" id="{FF520FBD-120C-561C-4DB2-22644CE30EDC}"/>
                  </a:ext>
                </a:extLst>
              </p:cNvPr>
              <p:cNvSpPr/>
              <p:nvPr/>
            </p:nvSpPr>
            <p:spPr>
              <a:xfrm>
                <a:off x="3554738" y="2417874"/>
                <a:ext cx="124200" cy="131865"/>
              </a:xfrm>
              <a:custGeom>
                <a:avLst/>
                <a:gdLst>
                  <a:gd name="connsiteX0" fmla="*/ 10199 w 124180"/>
                  <a:gd name="connsiteY0" fmla="*/ 37537 h 135491"/>
                  <a:gd name="connsiteX1" fmla="*/ 64233 w 124180"/>
                  <a:gd name="connsiteY1" fmla="*/ 135491 h 135491"/>
                  <a:gd name="connsiteX2" fmla="*/ 118287 w 124180"/>
                  <a:gd name="connsiteY2" fmla="*/ 37537 h 135491"/>
                  <a:gd name="connsiteX3" fmla="*/ 124181 w 124180"/>
                  <a:gd name="connsiteY3" fmla="*/ 8870 h 135491"/>
                  <a:gd name="connsiteX4" fmla="*/ 62091 w 124180"/>
                  <a:gd name="connsiteY4" fmla="*/ 0 h 135491"/>
                  <a:gd name="connsiteX5" fmla="*/ 0 w 124180"/>
                  <a:gd name="connsiteY5" fmla="*/ 8870 h 135491"/>
                  <a:gd name="connsiteX6" fmla="*/ 10199 w 124180"/>
                  <a:gd name="connsiteY6" fmla="*/ 37537 h 135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4180" h="135491">
                    <a:moveTo>
                      <a:pt x="10199" y="37537"/>
                    </a:moveTo>
                    <a:lnTo>
                      <a:pt x="64233" y="135491"/>
                    </a:lnTo>
                    <a:lnTo>
                      <a:pt x="118287" y="37537"/>
                    </a:lnTo>
                    <a:lnTo>
                      <a:pt x="124181" y="8870"/>
                    </a:lnTo>
                    <a:lnTo>
                      <a:pt x="62091" y="0"/>
                    </a:lnTo>
                    <a:lnTo>
                      <a:pt x="0" y="8870"/>
                    </a:lnTo>
                    <a:lnTo>
                      <a:pt x="10199" y="37537"/>
                    </a:lnTo>
                    <a:close/>
                  </a:path>
                </a:pathLst>
              </a:custGeom>
              <a:solidFill>
                <a:srgbClr val="FFFFFF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6" name="Freeform: Shape 2445">
                <a:extLst>
                  <a:ext uri="{FF2B5EF4-FFF2-40B4-BE49-F238E27FC236}">
                    <a16:creationId xmlns:a16="http://schemas.microsoft.com/office/drawing/2014/main" id="{0D007388-7004-9DA1-D8B0-EF95B7E9B867}"/>
                  </a:ext>
                </a:extLst>
              </p:cNvPr>
              <p:cNvSpPr/>
              <p:nvPr/>
            </p:nvSpPr>
            <p:spPr>
              <a:xfrm>
                <a:off x="3545484" y="2408868"/>
                <a:ext cx="142717" cy="149876"/>
              </a:xfrm>
              <a:custGeom>
                <a:avLst/>
                <a:gdLst>
                  <a:gd name="connsiteX0" fmla="*/ 27909 w 142693"/>
                  <a:gd name="connsiteY0" fmla="*/ 42981 h 153997"/>
                  <a:gd name="connsiteX1" fmla="*/ 73487 w 142693"/>
                  <a:gd name="connsiteY1" fmla="*/ 125589 h 153997"/>
                  <a:gd name="connsiteX2" fmla="*/ 118758 w 142693"/>
                  <a:gd name="connsiteY2" fmla="*/ 43551 h 153997"/>
                  <a:gd name="connsiteX3" fmla="*/ 122394 w 142693"/>
                  <a:gd name="connsiteY3" fmla="*/ 25892 h 153997"/>
                  <a:gd name="connsiteX4" fmla="*/ 71344 w 142693"/>
                  <a:gd name="connsiteY4" fmla="*/ 18600 h 153997"/>
                  <a:gd name="connsiteX5" fmla="*/ 21767 w 142693"/>
                  <a:gd name="connsiteY5" fmla="*/ 25683 h 153997"/>
                  <a:gd name="connsiteX6" fmla="*/ 27909 w 142693"/>
                  <a:gd name="connsiteY6" fmla="*/ 42981 h 153997"/>
                  <a:gd name="connsiteX7" fmla="*/ 73487 w 142693"/>
                  <a:gd name="connsiteY7" fmla="*/ 153997 h 153997"/>
                  <a:gd name="connsiteX8" fmla="*/ 65393 w 142693"/>
                  <a:gd name="connsiteY8" fmla="*/ 149214 h 153997"/>
                  <a:gd name="connsiteX9" fmla="*/ 11339 w 142693"/>
                  <a:gd name="connsiteY9" fmla="*/ 51262 h 153997"/>
                  <a:gd name="connsiteX10" fmla="*/ 10727 w 142693"/>
                  <a:gd name="connsiteY10" fmla="*/ 49890 h 153997"/>
                  <a:gd name="connsiteX11" fmla="*/ 528 w 142693"/>
                  <a:gd name="connsiteY11" fmla="*/ 21223 h 153997"/>
                  <a:gd name="connsiteX12" fmla="*/ 1332 w 142693"/>
                  <a:gd name="connsiteY12" fmla="*/ 13336 h 153997"/>
                  <a:gd name="connsiteX13" fmla="*/ 7952 w 142693"/>
                  <a:gd name="connsiteY13" fmla="*/ 8962 h 153997"/>
                  <a:gd name="connsiteX14" fmla="*/ 70043 w 142693"/>
                  <a:gd name="connsiteY14" fmla="*/ 93 h 153997"/>
                  <a:gd name="connsiteX15" fmla="*/ 72645 w 142693"/>
                  <a:gd name="connsiteY15" fmla="*/ 93 h 153997"/>
                  <a:gd name="connsiteX16" fmla="*/ 134754 w 142693"/>
                  <a:gd name="connsiteY16" fmla="*/ 8962 h 153997"/>
                  <a:gd name="connsiteX17" fmla="*/ 141011 w 142693"/>
                  <a:gd name="connsiteY17" fmla="*/ 12800 h 153997"/>
                  <a:gd name="connsiteX18" fmla="*/ 142504 w 142693"/>
                  <a:gd name="connsiteY18" fmla="*/ 19989 h 153997"/>
                  <a:gd name="connsiteX19" fmla="*/ 136591 w 142693"/>
                  <a:gd name="connsiteY19" fmla="*/ 48656 h 153997"/>
                  <a:gd name="connsiteX20" fmla="*/ 135634 w 142693"/>
                  <a:gd name="connsiteY20" fmla="*/ 51262 h 153997"/>
                  <a:gd name="connsiteX21" fmla="*/ 81600 w 142693"/>
                  <a:gd name="connsiteY21" fmla="*/ 149214 h 153997"/>
                  <a:gd name="connsiteX22" fmla="*/ 73487 w 142693"/>
                  <a:gd name="connsiteY22" fmla="*/ 153997 h 153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42693" h="153997">
                    <a:moveTo>
                      <a:pt x="27909" y="42981"/>
                    </a:moveTo>
                    <a:lnTo>
                      <a:pt x="73487" y="125589"/>
                    </a:lnTo>
                    <a:lnTo>
                      <a:pt x="118758" y="43551"/>
                    </a:lnTo>
                    <a:lnTo>
                      <a:pt x="122394" y="25892"/>
                    </a:lnTo>
                    <a:lnTo>
                      <a:pt x="71344" y="18600"/>
                    </a:lnTo>
                    <a:lnTo>
                      <a:pt x="21767" y="25683"/>
                    </a:lnTo>
                    <a:lnTo>
                      <a:pt x="27909" y="42981"/>
                    </a:lnTo>
                    <a:close/>
                    <a:moveTo>
                      <a:pt x="73487" y="153997"/>
                    </a:moveTo>
                    <a:cubicBezTo>
                      <a:pt x="70119" y="153997"/>
                      <a:pt x="67019" y="152164"/>
                      <a:pt x="65393" y="149214"/>
                    </a:cubicBezTo>
                    <a:lnTo>
                      <a:pt x="11339" y="51262"/>
                    </a:lnTo>
                    <a:cubicBezTo>
                      <a:pt x="11110" y="50822"/>
                      <a:pt x="10899" y="50365"/>
                      <a:pt x="10727" y="49890"/>
                    </a:cubicBezTo>
                    <a:lnTo>
                      <a:pt x="528" y="21223"/>
                    </a:lnTo>
                    <a:cubicBezTo>
                      <a:pt x="-390" y="18607"/>
                      <a:pt x="-104" y="15712"/>
                      <a:pt x="1332" y="13336"/>
                    </a:cubicBezTo>
                    <a:cubicBezTo>
                      <a:pt x="2767" y="10961"/>
                      <a:pt x="5197" y="9356"/>
                      <a:pt x="7952" y="8962"/>
                    </a:cubicBezTo>
                    <a:lnTo>
                      <a:pt x="70043" y="93"/>
                    </a:lnTo>
                    <a:cubicBezTo>
                      <a:pt x="70904" y="-31"/>
                      <a:pt x="71784" y="-31"/>
                      <a:pt x="72645" y="93"/>
                    </a:cubicBezTo>
                    <a:lnTo>
                      <a:pt x="134754" y="8962"/>
                    </a:lnTo>
                    <a:cubicBezTo>
                      <a:pt x="137281" y="9323"/>
                      <a:pt x="139538" y="10713"/>
                      <a:pt x="141011" y="12800"/>
                    </a:cubicBezTo>
                    <a:cubicBezTo>
                      <a:pt x="142466" y="14888"/>
                      <a:pt x="143021" y="17488"/>
                      <a:pt x="142504" y="19989"/>
                    </a:cubicBezTo>
                    <a:lnTo>
                      <a:pt x="136591" y="48656"/>
                    </a:lnTo>
                    <a:cubicBezTo>
                      <a:pt x="136419" y="49568"/>
                      <a:pt x="136094" y="50447"/>
                      <a:pt x="135634" y="51262"/>
                    </a:cubicBezTo>
                    <a:lnTo>
                      <a:pt x="81600" y="149214"/>
                    </a:lnTo>
                    <a:cubicBezTo>
                      <a:pt x="79973" y="152164"/>
                      <a:pt x="76855" y="153997"/>
                      <a:pt x="73487" y="153997"/>
                    </a:cubicBezTo>
                    <a:close/>
                  </a:path>
                </a:pathLst>
              </a:custGeom>
              <a:solidFill>
                <a:srgbClr val="2251FF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7" name="Freeform: Shape 2446">
                <a:extLst>
                  <a:ext uri="{FF2B5EF4-FFF2-40B4-BE49-F238E27FC236}">
                    <a16:creationId xmlns:a16="http://schemas.microsoft.com/office/drawing/2014/main" id="{870FFF5A-B2A4-59C8-45F2-2B6397A7D634}"/>
                  </a:ext>
                </a:extLst>
              </p:cNvPr>
              <p:cNvSpPr/>
              <p:nvPr/>
            </p:nvSpPr>
            <p:spPr>
              <a:xfrm>
                <a:off x="3168586" y="2624853"/>
                <a:ext cx="701556" cy="104526"/>
              </a:xfrm>
              <a:custGeom>
                <a:avLst/>
                <a:gdLst>
                  <a:gd name="connsiteX0" fmla="*/ 0 w 701440"/>
                  <a:gd name="connsiteY0" fmla="*/ 107400 h 107400"/>
                  <a:gd name="connsiteX1" fmla="*/ 0 w 701440"/>
                  <a:gd name="connsiteY1" fmla="*/ 0 h 107400"/>
                  <a:gd name="connsiteX2" fmla="*/ 701440 w 701440"/>
                  <a:gd name="connsiteY2" fmla="*/ 0 h 107400"/>
                  <a:gd name="connsiteX3" fmla="*/ 701440 w 701440"/>
                  <a:gd name="connsiteY3" fmla="*/ 107400 h 10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1440" h="107400">
                    <a:moveTo>
                      <a:pt x="0" y="107400"/>
                    </a:moveTo>
                    <a:lnTo>
                      <a:pt x="0" y="0"/>
                    </a:lnTo>
                    <a:lnTo>
                      <a:pt x="701440" y="0"/>
                    </a:lnTo>
                    <a:lnTo>
                      <a:pt x="701440" y="107400"/>
                    </a:lnTo>
                  </a:path>
                </a:pathLst>
              </a:custGeom>
              <a:solidFill>
                <a:srgbClr val="FFFFFF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8" name="Freeform: Shape 2447">
                <a:extLst>
                  <a:ext uri="{FF2B5EF4-FFF2-40B4-BE49-F238E27FC236}">
                    <a16:creationId xmlns:a16="http://schemas.microsoft.com/office/drawing/2014/main" id="{DDDA9497-2BB9-7C8A-330F-A44D78CC30FF}"/>
                  </a:ext>
                </a:extLst>
              </p:cNvPr>
              <p:cNvSpPr/>
              <p:nvPr/>
            </p:nvSpPr>
            <p:spPr>
              <a:xfrm>
                <a:off x="3159322" y="2615848"/>
                <a:ext cx="720082" cy="122536"/>
              </a:xfrm>
              <a:custGeom>
                <a:avLst/>
                <a:gdLst>
                  <a:gd name="connsiteX0" fmla="*/ 710702 w 719962"/>
                  <a:gd name="connsiteY0" fmla="*/ 125907 h 125906"/>
                  <a:gd name="connsiteX1" fmla="*/ 701460 w 719962"/>
                  <a:gd name="connsiteY1" fmla="*/ 116654 h 125906"/>
                  <a:gd name="connsiteX2" fmla="*/ 701460 w 719962"/>
                  <a:gd name="connsiteY2" fmla="*/ 18506 h 125906"/>
                  <a:gd name="connsiteX3" fmla="*/ 18503 w 719962"/>
                  <a:gd name="connsiteY3" fmla="*/ 18506 h 125906"/>
                  <a:gd name="connsiteX4" fmla="*/ 18503 w 719962"/>
                  <a:gd name="connsiteY4" fmla="*/ 116654 h 125906"/>
                  <a:gd name="connsiteX5" fmla="*/ 9262 w 719962"/>
                  <a:gd name="connsiteY5" fmla="*/ 125907 h 125906"/>
                  <a:gd name="connsiteX6" fmla="*/ 0 w 719962"/>
                  <a:gd name="connsiteY6" fmla="*/ 116654 h 125906"/>
                  <a:gd name="connsiteX7" fmla="*/ 0 w 719962"/>
                  <a:gd name="connsiteY7" fmla="*/ 9253 h 125906"/>
                  <a:gd name="connsiteX8" fmla="*/ 9262 w 719962"/>
                  <a:gd name="connsiteY8" fmla="*/ 0 h 125906"/>
                  <a:gd name="connsiteX9" fmla="*/ 710702 w 719962"/>
                  <a:gd name="connsiteY9" fmla="*/ 0 h 125906"/>
                  <a:gd name="connsiteX10" fmla="*/ 719963 w 719962"/>
                  <a:gd name="connsiteY10" fmla="*/ 9253 h 125906"/>
                  <a:gd name="connsiteX11" fmla="*/ 719963 w 719962"/>
                  <a:gd name="connsiteY11" fmla="*/ 116654 h 125906"/>
                  <a:gd name="connsiteX12" fmla="*/ 710702 w 719962"/>
                  <a:gd name="connsiteY12" fmla="*/ 125907 h 125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19962" h="125906">
                    <a:moveTo>
                      <a:pt x="710702" y="125907"/>
                    </a:moveTo>
                    <a:cubicBezTo>
                      <a:pt x="705593" y="125907"/>
                      <a:pt x="701460" y="121764"/>
                      <a:pt x="701460" y="116654"/>
                    </a:cubicBezTo>
                    <a:lnTo>
                      <a:pt x="701460" y="18506"/>
                    </a:lnTo>
                    <a:lnTo>
                      <a:pt x="18503" y="18506"/>
                    </a:lnTo>
                    <a:lnTo>
                      <a:pt x="18503" y="116654"/>
                    </a:lnTo>
                    <a:cubicBezTo>
                      <a:pt x="18503" y="121764"/>
                      <a:pt x="14370" y="125907"/>
                      <a:pt x="9262" y="125907"/>
                    </a:cubicBezTo>
                    <a:cubicBezTo>
                      <a:pt x="4152" y="125907"/>
                      <a:pt x="0" y="121764"/>
                      <a:pt x="0" y="116654"/>
                    </a:cubicBezTo>
                    <a:lnTo>
                      <a:pt x="0" y="9253"/>
                    </a:lnTo>
                    <a:cubicBezTo>
                      <a:pt x="0" y="4143"/>
                      <a:pt x="4152" y="0"/>
                      <a:pt x="9262" y="0"/>
                    </a:cubicBezTo>
                    <a:lnTo>
                      <a:pt x="710702" y="0"/>
                    </a:lnTo>
                    <a:cubicBezTo>
                      <a:pt x="715811" y="0"/>
                      <a:pt x="719963" y="4143"/>
                      <a:pt x="719963" y="9253"/>
                    </a:cubicBezTo>
                    <a:lnTo>
                      <a:pt x="719963" y="116654"/>
                    </a:lnTo>
                    <a:cubicBezTo>
                      <a:pt x="719963" y="121764"/>
                      <a:pt x="715811" y="125907"/>
                      <a:pt x="710702" y="125907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9" name="Freeform: Shape 2448">
                <a:extLst>
                  <a:ext uri="{FF2B5EF4-FFF2-40B4-BE49-F238E27FC236}">
                    <a16:creationId xmlns:a16="http://schemas.microsoft.com/office/drawing/2014/main" id="{55091A63-76C2-FDB7-A113-732B964381A6}"/>
                  </a:ext>
                </a:extLst>
              </p:cNvPr>
              <p:cNvSpPr/>
              <p:nvPr/>
            </p:nvSpPr>
            <p:spPr>
              <a:xfrm>
                <a:off x="3600515" y="2396518"/>
                <a:ext cx="36954" cy="45370"/>
              </a:xfrm>
              <a:custGeom>
                <a:avLst/>
                <a:gdLst>
                  <a:gd name="connsiteX0" fmla="*/ 21564 w 36948"/>
                  <a:gd name="connsiteY0" fmla="*/ 46619 h 46618"/>
                  <a:gd name="connsiteX1" fmla="*/ 15365 w 36948"/>
                  <a:gd name="connsiteY1" fmla="*/ 46619 h 46618"/>
                  <a:gd name="connsiteX2" fmla="*/ 0 w 36948"/>
                  <a:gd name="connsiteY2" fmla="*/ 31242 h 46618"/>
                  <a:gd name="connsiteX3" fmla="*/ 0 w 36948"/>
                  <a:gd name="connsiteY3" fmla="*/ 15378 h 46618"/>
                  <a:gd name="connsiteX4" fmla="*/ 15365 w 36948"/>
                  <a:gd name="connsiteY4" fmla="*/ 0 h 46618"/>
                  <a:gd name="connsiteX5" fmla="*/ 21564 w 36948"/>
                  <a:gd name="connsiteY5" fmla="*/ 0 h 46618"/>
                  <a:gd name="connsiteX6" fmla="*/ 36948 w 36948"/>
                  <a:gd name="connsiteY6" fmla="*/ 15378 h 46618"/>
                  <a:gd name="connsiteX7" fmla="*/ 36948 w 36948"/>
                  <a:gd name="connsiteY7" fmla="*/ 31242 h 46618"/>
                  <a:gd name="connsiteX8" fmla="*/ 21564 w 36948"/>
                  <a:gd name="connsiteY8" fmla="*/ 46619 h 46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948" h="46618">
                    <a:moveTo>
                      <a:pt x="21564" y="46619"/>
                    </a:moveTo>
                    <a:lnTo>
                      <a:pt x="15365" y="46619"/>
                    </a:lnTo>
                    <a:cubicBezTo>
                      <a:pt x="6888" y="46619"/>
                      <a:pt x="0" y="39734"/>
                      <a:pt x="0" y="31242"/>
                    </a:cubicBezTo>
                    <a:lnTo>
                      <a:pt x="0" y="15378"/>
                    </a:lnTo>
                    <a:cubicBezTo>
                      <a:pt x="0" y="6884"/>
                      <a:pt x="6888" y="0"/>
                      <a:pt x="15365" y="0"/>
                    </a:cubicBezTo>
                    <a:lnTo>
                      <a:pt x="21564" y="0"/>
                    </a:lnTo>
                    <a:cubicBezTo>
                      <a:pt x="30060" y="0"/>
                      <a:pt x="36948" y="6884"/>
                      <a:pt x="36948" y="15378"/>
                    </a:cubicBezTo>
                    <a:lnTo>
                      <a:pt x="36948" y="31242"/>
                    </a:lnTo>
                    <a:cubicBezTo>
                      <a:pt x="36948" y="39734"/>
                      <a:pt x="30060" y="46619"/>
                      <a:pt x="21564" y="46619"/>
                    </a:cubicBezTo>
                    <a:close/>
                  </a:path>
                </a:pathLst>
              </a:custGeom>
              <a:solidFill>
                <a:srgbClr val="2251FF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50" name="Freeform: Shape 2449">
                <a:extLst>
                  <a:ext uri="{FF2B5EF4-FFF2-40B4-BE49-F238E27FC236}">
                    <a16:creationId xmlns:a16="http://schemas.microsoft.com/office/drawing/2014/main" id="{727CF310-E613-20C4-ACA4-8F8BCB444B1F}"/>
                  </a:ext>
                </a:extLst>
              </p:cNvPr>
              <p:cNvSpPr/>
              <p:nvPr/>
            </p:nvSpPr>
            <p:spPr>
              <a:xfrm>
                <a:off x="3591254" y="2387513"/>
                <a:ext cx="55460" cy="63382"/>
              </a:xfrm>
              <a:custGeom>
                <a:avLst/>
                <a:gdLst>
                  <a:gd name="connsiteX0" fmla="*/ 24626 w 55450"/>
                  <a:gd name="connsiteY0" fmla="*/ 18506 h 65125"/>
                  <a:gd name="connsiteX1" fmla="*/ 18503 w 55450"/>
                  <a:gd name="connsiteY1" fmla="*/ 24631 h 65125"/>
                  <a:gd name="connsiteX2" fmla="*/ 18503 w 55450"/>
                  <a:gd name="connsiteY2" fmla="*/ 40496 h 65125"/>
                  <a:gd name="connsiteX3" fmla="*/ 24626 w 55450"/>
                  <a:gd name="connsiteY3" fmla="*/ 46619 h 65125"/>
                  <a:gd name="connsiteX4" fmla="*/ 30825 w 55450"/>
                  <a:gd name="connsiteY4" fmla="*/ 46619 h 65125"/>
                  <a:gd name="connsiteX5" fmla="*/ 36948 w 55450"/>
                  <a:gd name="connsiteY5" fmla="*/ 40496 h 65125"/>
                  <a:gd name="connsiteX6" fmla="*/ 36948 w 55450"/>
                  <a:gd name="connsiteY6" fmla="*/ 24631 h 65125"/>
                  <a:gd name="connsiteX7" fmla="*/ 30825 w 55450"/>
                  <a:gd name="connsiteY7" fmla="*/ 18506 h 65125"/>
                  <a:gd name="connsiteX8" fmla="*/ 24626 w 55450"/>
                  <a:gd name="connsiteY8" fmla="*/ 18506 h 65125"/>
                  <a:gd name="connsiteX9" fmla="*/ 30825 w 55450"/>
                  <a:gd name="connsiteY9" fmla="*/ 65125 h 65125"/>
                  <a:gd name="connsiteX10" fmla="*/ 24626 w 55450"/>
                  <a:gd name="connsiteY10" fmla="*/ 65125 h 65125"/>
                  <a:gd name="connsiteX11" fmla="*/ 0 w 55450"/>
                  <a:gd name="connsiteY11" fmla="*/ 40496 h 65125"/>
                  <a:gd name="connsiteX12" fmla="*/ 0 w 55450"/>
                  <a:gd name="connsiteY12" fmla="*/ 24631 h 65125"/>
                  <a:gd name="connsiteX13" fmla="*/ 24626 w 55450"/>
                  <a:gd name="connsiteY13" fmla="*/ 0 h 65125"/>
                  <a:gd name="connsiteX14" fmla="*/ 30825 w 55450"/>
                  <a:gd name="connsiteY14" fmla="*/ 0 h 65125"/>
                  <a:gd name="connsiteX15" fmla="*/ 55451 w 55450"/>
                  <a:gd name="connsiteY15" fmla="*/ 24631 h 65125"/>
                  <a:gd name="connsiteX16" fmla="*/ 55451 w 55450"/>
                  <a:gd name="connsiteY16" fmla="*/ 40496 h 65125"/>
                  <a:gd name="connsiteX17" fmla="*/ 30825 w 55450"/>
                  <a:gd name="connsiteY17" fmla="*/ 65125 h 65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5450" h="65125">
                    <a:moveTo>
                      <a:pt x="24626" y="18506"/>
                    </a:moveTo>
                    <a:cubicBezTo>
                      <a:pt x="21258" y="18506"/>
                      <a:pt x="18503" y="21254"/>
                      <a:pt x="18503" y="24631"/>
                    </a:cubicBezTo>
                    <a:lnTo>
                      <a:pt x="18503" y="40496"/>
                    </a:lnTo>
                    <a:cubicBezTo>
                      <a:pt x="18503" y="43871"/>
                      <a:pt x="21258" y="46619"/>
                      <a:pt x="24626" y="46619"/>
                    </a:cubicBezTo>
                    <a:lnTo>
                      <a:pt x="30825" y="46619"/>
                    </a:lnTo>
                    <a:cubicBezTo>
                      <a:pt x="34193" y="46619"/>
                      <a:pt x="36948" y="43871"/>
                      <a:pt x="36948" y="40496"/>
                    </a:cubicBezTo>
                    <a:lnTo>
                      <a:pt x="36948" y="24631"/>
                    </a:lnTo>
                    <a:cubicBezTo>
                      <a:pt x="36948" y="21254"/>
                      <a:pt x="34193" y="18506"/>
                      <a:pt x="30825" y="18506"/>
                    </a:cubicBezTo>
                    <a:lnTo>
                      <a:pt x="24626" y="18506"/>
                    </a:lnTo>
                    <a:close/>
                    <a:moveTo>
                      <a:pt x="30825" y="65125"/>
                    </a:moveTo>
                    <a:lnTo>
                      <a:pt x="24626" y="65125"/>
                    </a:lnTo>
                    <a:cubicBezTo>
                      <a:pt x="11059" y="65125"/>
                      <a:pt x="0" y="54077"/>
                      <a:pt x="0" y="40496"/>
                    </a:cubicBezTo>
                    <a:lnTo>
                      <a:pt x="0" y="24631"/>
                    </a:lnTo>
                    <a:cubicBezTo>
                      <a:pt x="0" y="11048"/>
                      <a:pt x="11059" y="0"/>
                      <a:pt x="24626" y="0"/>
                    </a:cubicBezTo>
                    <a:lnTo>
                      <a:pt x="30825" y="0"/>
                    </a:lnTo>
                    <a:cubicBezTo>
                      <a:pt x="44410" y="0"/>
                      <a:pt x="55451" y="11048"/>
                      <a:pt x="55451" y="24631"/>
                    </a:cubicBezTo>
                    <a:lnTo>
                      <a:pt x="55451" y="40496"/>
                    </a:lnTo>
                    <a:cubicBezTo>
                      <a:pt x="55451" y="54077"/>
                      <a:pt x="44410" y="65125"/>
                      <a:pt x="30825" y="65125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51" name="Freeform: Shape 2450">
                <a:extLst>
                  <a:ext uri="{FF2B5EF4-FFF2-40B4-BE49-F238E27FC236}">
                    <a16:creationId xmlns:a16="http://schemas.microsoft.com/office/drawing/2014/main" id="{66F301C0-CA0C-2480-BD93-EFB39AEFCB86}"/>
                  </a:ext>
                </a:extLst>
              </p:cNvPr>
              <p:cNvSpPr/>
              <p:nvPr/>
            </p:nvSpPr>
            <p:spPr>
              <a:xfrm>
                <a:off x="3530035" y="2374261"/>
                <a:ext cx="69792" cy="87602"/>
              </a:xfrm>
              <a:custGeom>
                <a:avLst/>
                <a:gdLst>
                  <a:gd name="connsiteX0" fmla="*/ 69780 w 69780"/>
                  <a:gd name="connsiteY0" fmla="*/ 31078 h 90011"/>
                  <a:gd name="connsiteX1" fmla="*/ 782 w 69780"/>
                  <a:gd name="connsiteY1" fmla="*/ 0 h 90011"/>
                  <a:gd name="connsiteX2" fmla="*/ 782 w 69780"/>
                  <a:gd name="connsiteY2" fmla="*/ 90011 h 90011"/>
                  <a:gd name="connsiteX3" fmla="*/ 69685 w 69780"/>
                  <a:gd name="connsiteY3" fmla="*/ 61572 h 90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9780" h="90011">
                    <a:moveTo>
                      <a:pt x="69780" y="31078"/>
                    </a:moveTo>
                    <a:lnTo>
                      <a:pt x="782" y="0"/>
                    </a:lnTo>
                    <a:cubicBezTo>
                      <a:pt x="782" y="0"/>
                      <a:pt x="-978" y="90011"/>
                      <a:pt x="782" y="90011"/>
                    </a:cubicBezTo>
                    <a:cubicBezTo>
                      <a:pt x="2543" y="90011"/>
                      <a:pt x="69685" y="61572"/>
                      <a:pt x="69685" y="61572"/>
                    </a:cubicBezTo>
                  </a:path>
                </a:pathLst>
              </a:custGeom>
              <a:solidFill>
                <a:srgbClr val="2251FF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52" name="Freeform: Shape 2451">
                <a:extLst>
                  <a:ext uri="{FF2B5EF4-FFF2-40B4-BE49-F238E27FC236}">
                    <a16:creationId xmlns:a16="http://schemas.microsoft.com/office/drawing/2014/main" id="{450E2D7B-BE6B-33DD-5E41-13CD828FC369}"/>
                  </a:ext>
                </a:extLst>
              </p:cNvPr>
              <p:cNvSpPr/>
              <p:nvPr/>
            </p:nvSpPr>
            <p:spPr>
              <a:xfrm>
                <a:off x="3520740" y="2365256"/>
                <a:ext cx="82895" cy="105612"/>
              </a:xfrm>
              <a:custGeom>
                <a:avLst/>
                <a:gdLst>
                  <a:gd name="connsiteX0" fmla="*/ 10076 w 82881"/>
                  <a:gd name="connsiteY0" fmla="*/ 108517 h 108516"/>
                  <a:gd name="connsiteX1" fmla="*/ 3417 w 82881"/>
                  <a:gd name="connsiteY1" fmla="*/ 105717 h 108516"/>
                  <a:gd name="connsiteX2" fmla="*/ 164 w 82881"/>
                  <a:gd name="connsiteY2" fmla="*/ 53513 h 108516"/>
                  <a:gd name="connsiteX3" fmla="*/ 834 w 82881"/>
                  <a:gd name="connsiteY3" fmla="*/ 9072 h 108516"/>
                  <a:gd name="connsiteX4" fmla="*/ 5139 w 82881"/>
                  <a:gd name="connsiteY4" fmla="*/ 1432 h 108516"/>
                  <a:gd name="connsiteX5" fmla="*/ 13884 w 82881"/>
                  <a:gd name="connsiteY5" fmla="*/ 816 h 108516"/>
                  <a:gd name="connsiteX6" fmla="*/ 82881 w 82881"/>
                  <a:gd name="connsiteY6" fmla="*/ 31894 h 108516"/>
                  <a:gd name="connsiteX7" fmla="*/ 75266 w 82881"/>
                  <a:gd name="connsiteY7" fmla="*/ 48768 h 108516"/>
                  <a:gd name="connsiteX8" fmla="*/ 19069 w 82881"/>
                  <a:gd name="connsiteY8" fmla="*/ 23454 h 108516"/>
                  <a:gd name="connsiteX9" fmla="*/ 18591 w 82881"/>
                  <a:gd name="connsiteY9" fmla="*/ 86053 h 108516"/>
                  <a:gd name="connsiteX10" fmla="*/ 75362 w 82881"/>
                  <a:gd name="connsiteY10" fmla="*/ 62304 h 108516"/>
                  <a:gd name="connsiteX11" fmla="*/ 82576 w 82881"/>
                  <a:gd name="connsiteY11" fmla="*/ 79345 h 108516"/>
                  <a:gd name="connsiteX12" fmla="*/ 10076 w 82881"/>
                  <a:gd name="connsiteY12" fmla="*/ 108517 h 10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2881" h="108516">
                    <a:moveTo>
                      <a:pt x="10076" y="108517"/>
                    </a:moveTo>
                    <a:cubicBezTo>
                      <a:pt x="7589" y="108517"/>
                      <a:pt x="5159" y="107493"/>
                      <a:pt x="3417" y="105717"/>
                    </a:cubicBezTo>
                    <a:cubicBezTo>
                      <a:pt x="107" y="102346"/>
                      <a:pt x="-314" y="101911"/>
                      <a:pt x="164" y="53513"/>
                    </a:cubicBezTo>
                    <a:cubicBezTo>
                      <a:pt x="394" y="31440"/>
                      <a:pt x="815" y="9292"/>
                      <a:pt x="834" y="9072"/>
                    </a:cubicBezTo>
                    <a:cubicBezTo>
                      <a:pt x="892" y="5965"/>
                      <a:pt x="2499" y="3095"/>
                      <a:pt x="5139" y="1432"/>
                    </a:cubicBezTo>
                    <a:cubicBezTo>
                      <a:pt x="7761" y="-231"/>
                      <a:pt x="11052" y="-458"/>
                      <a:pt x="13884" y="816"/>
                    </a:cubicBezTo>
                    <a:lnTo>
                      <a:pt x="82881" y="31894"/>
                    </a:lnTo>
                    <a:lnTo>
                      <a:pt x="75266" y="48768"/>
                    </a:lnTo>
                    <a:lnTo>
                      <a:pt x="19069" y="23454"/>
                    </a:lnTo>
                    <a:cubicBezTo>
                      <a:pt x="18668" y="47819"/>
                      <a:pt x="18438" y="72196"/>
                      <a:pt x="18591" y="86053"/>
                    </a:cubicBezTo>
                    <a:cubicBezTo>
                      <a:pt x="32980" y="80169"/>
                      <a:pt x="58179" y="69582"/>
                      <a:pt x="75362" y="62304"/>
                    </a:cubicBezTo>
                    <a:lnTo>
                      <a:pt x="82576" y="79345"/>
                    </a:lnTo>
                    <a:cubicBezTo>
                      <a:pt x="13711" y="108517"/>
                      <a:pt x="12429" y="108517"/>
                      <a:pt x="10076" y="108517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53" name="Freeform: Shape 2452">
                <a:extLst>
                  <a:ext uri="{FF2B5EF4-FFF2-40B4-BE49-F238E27FC236}">
                    <a16:creationId xmlns:a16="http://schemas.microsoft.com/office/drawing/2014/main" id="{F435D27B-429E-6DC2-D168-356B614A7E43}"/>
                  </a:ext>
                </a:extLst>
              </p:cNvPr>
              <p:cNvSpPr/>
              <p:nvPr/>
            </p:nvSpPr>
            <p:spPr>
              <a:xfrm>
                <a:off x="3638139" y="2374261"/>
                <a:ext cx="69792" cy="87602"/>
              </a:xfrm>
              <a:custGeom>
                <a:avLst/>
                <a:gdLst>
                  <a:gd name="connsiteX0" fmla="*/ 0 w 69780"/>
                  <a:gd name="connsiteY0" fmla="*/ 31078 h 90011"/>
                  <a:gd name="connsiteX1" fmla="*/ 68998 w 69780"/>
                  <a:gd name="connsiteY1" fmla="*/ 0 h 90011"/>
                  <a:gd name="connsiteX2" fmla="*/ 68998 w 69780"/>
                  <a:gd name="connsiteY2" fmla="*/ 90011 h 90011"/>
                  <a:gd name="connsiteX3" fmla="*/ 95 w 69780"/>
                  <a:gd name="connsiteY3" fmla="*/ 61572 h 90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9780" h="90011">
                    <a:moveTo>
                      <a:pt x="0" y="31078"/>
                    </a:moveTo>
                    <a:lnTo>
                      <a:pt x="68998" y="0"/>
                    </a:lnTo>
                    <a:cubicBezTo>
                      <a:pt x="68998" y="0"/>
                      <a:pt x="70758" y="90011"/>
                      <a:pt x="68998" y="90011"/>
                    </a:cubicBezTo>
                    <a:cubicBezTo>
                      <a:pt x="67238" y="90011"/>
                      <a:pt x="95" y="61572"/>
                      <a:pt x="95" y="61572"/>
                    </a:cubicBezTo>
                  </a:path>
                </a:pathLst>
              </a:custGeom>
              <a:solidFill>
                <a:srgbClr val="2251FF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54" name="Freeform: Shape 2453">
                <a:extLst>
                  <a:ext uri="{FF2B5EF4-FFF2-40B4-BE49-F238E27FC236}">
                    <a16:creationId xmlns:a16="http://schemas.microsoft.com/office/drawing/2014/main" id="{1DC1251A-A865-5098-E61A-9EF25E4BAA71}"/>
                  </a:ext>
                </a:extLst>
              </p:cNvPr>
              <p:cNvSpPr/>
              <p:nvPr/>
            </p:nvSpPr>
            <p:spPr>
              <a:xfrm>
                <a:off x="3634351" y="2365256"/>
                <a:ext cx="82875" cy="105613"/>
              </a:xfrm>
              <a:custGeom>
                <a:avLst/>
                <a:gdLst>
                  <a:gd name="connsiteX0" fmla="*/ 72787 w 82861"/>
                  <a:gd name="connsiteY0" fmla="*/ 108517 h 108517"/>
                  <a:gd name="connsiteX1" fmla="*/ 287 w 82861"/>
                  <a:gd name="connsiteY1" fmla="*/ 79345 h 108517"/>
                  <a:gd name="connsiteX2" fmla="*/ 7500 w 82861"/>
                  <a:gd name="connsiteY2" fmla="*/ 62305 h 108517"/>
                  <a:gd name="connsiteX3" fmla="*/ 64291 w 82861"/>
                  <a:gd name="connsiteY3" fmla="*/ 86054 h 108517"/>
                  <a:gd name="connsiteX4" fmla="*/ 63793 w 82861"/>
                  <a:gd name="connsiteY4" fmla="*/ 23454 h 108517"/>
                  <a:gd name="connsiteX5" fmla="*/ 7596 w 82861"/>
                  <a:gd name="connsiteY5" fmla="*/ 48769 h 108517"/>
                  <a:gd name="connsiteX6" fmla="*/ 0 w 82861"/>
                  <a:gd name="connsiteY6" fmla="*/ 31895 h 108517"/>
                  <a:gd name="connsiteX7" fmla="*/ 68998 w 82861"/>
                  <a:gd name="connsiteY7" fmla="*/ 817 h 108517"/>
                  <a:gd name="connsiteX8" fmla="*/ 77742 w 82861"/>
                  <a:gd name="connsiteY8" fmla="*/ 1433 h 108517"/>
                  <a:gd name="connsiteX9" fmla="*/ 82047 w 82861"/>
                  <a:gd name="connsiteY9" fmla="*/ 9073 h 108517"/>
                  <a:gd name="connsiteX10" fmla="*/ 82697 w 82861"/>
                  <a:gd name="connsiteY10" fmla="*/ 53514 h 108517"/>
                  <a:gd name="connsiteX11" fmla="*/ 79445 w 82861"/>
                  <a:gd name="connsiteY11" fmla="*/ 105718 h 108517"/>
                  <a:gd name="connsiteX12" fmla="*/ 72787 w 82861"/>
                  <a:gd name="connsiteY12" fmla="*/ 108517 h 108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2861" h="108517">
                    <a:moveTo>
                      <a:pt x="72787" y="108517"/>
                    </a:moveTo>
                    <a:cubicBezTo>
                      <a:pt x="70452" y="108517"/>
                      <a:pt x="69151" y="108517"/>
                      <a:pt x="287" y="79345"/>
                    </a:cubicBezTo>
                    <a:lnTo>
                      <a:pt x="7500" y="62305"/>
                    </a:lnTo>
                    <a:cubicBezTo>
                      <a:pt x="24683" y="69585"/>
                      <a:pt x="49883" y="80170"/>
                      <a:pt x="64291" y="86054"/>
                    </a:cubicBezTo>
                    <a:cubicBezTo>
                      <a:pt x="64425" y="72197"/>
                      <a:pt x="64195" y="47820"/>
                      <a:pt x="63793" y="23454"/>
                    </a:cubicBezTo>
                    <a:lnTo>
                      <a:pt x="7596" y="48769"/>
                    </a:lnTo>
                    <a:lnTo>
                      <a:pt x="0" y="31895"/>
                    </a:lnTo>
                    <a:lnTo>
                      <a:pt x="68998" y="817"/>
                    </a:lnTo>
                    <a:cubicBezTo>
                      <a:pt x="71830" y="-459"/>
                      <a:pt x="75102" y="-230"/>
                      <a:pt x="77742" y="1433"/>
                    </a:cubicBezTo>
                    <a:cubicBezTo>
                      <a:pt x="80364" y="3096"/>
                      <a:pt x="81990" y="5966"/>
                      <a:pt x="82047" y="9073"/>
                    </a:cubicBezTo>
                    <a:cubicBezTo>
                      <a:pt x="82047" y="9293"/>
                      <a:pt x="82487" y="31441"/>
                      <a:pt x="82697" y="53514"/>
                    </a:cubicBezTo>
                    <a:cubicBezTo>
                      <a:pt x="83176" y="101912"/>
                      <a:pt x="82755" y="102347"/>
                      <a:pt x="79445" y="105718"/>
                    </a:cubicBezTo>
                    <a:cubicBezTo>
                      <a:pt x="77704" y="107494"/>
                      <a:pt x="75274" y="108517"/>
                      <a:pt x="72787" y="108517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55" name="Freeform: Shape 2454">
                <a:extLst>
                  <a:ext uri="{FF2B5EF4-FFF2-40B4-BE49-F238E27FC236}">
                    <a16:creationId xmlns:a16="http://schemas.microsoft.com/office/drawing/2014/main" id="{F6F2A68F-7982-C867-8AF1-772AE0D7C022}"/>
                  </a:ext>
                </a:extLst>
              </p:cNvPr>
              <p:cNvSpPr/>
              <p:nvPr/>
            </p:nvSpPr>
            <p:spPr>
              <a:xfrm>
                <a:off x="3565857" y="2409056"/>
                <a:ext cx="33969" cy="18011"/>
              </a:xfrm>
              <a:custGeom>
                <a:avLst/>
                <a:gdLst>
                  <a:gd name="connsiteX0" fmla="*/ 0 w 33963"/>
                  <a:gd name="connsiteY0" fmla="*/ 0 h 18506"/>
                  <a:gd name="connsiteX1" fmla="*/ 33963 w 33963"/>
                  <a:gd name="connsiteY1" fmla="*/ 0 h 18506"/>
                  <a:gd name="connsiteX2" fmla="*/ 33963 w 33963"/>
                  <a:gd name="connsiteY2" fmla="*/ 18507 h 18506"/>
                  <a:gd name="connsiteX3" fmla="*/ 0 w 33963"/>
                  <a:gd name="connsiteY3" fmla="*/ 18507 h 18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963" h="18506">
                    <a:moveTo>
                      <a:pt x="0" y="0"/>
                    </a:moveTo>
                    <a:lnTo>
                      <a:pt x="33963" y="0"/>
                    </a:lnTo>
                    <a:lnTo>
                      <a:pt x="33963" y="18507"/>
                    </a:lnTo>
                    <a:lnTo>
                      <a:pt x="0" y="18507"/>
                    </a:ln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56" name="Freeform: Shape 2455">
                <a:extLst>
                  <a:ext uri="{FF2B5EF4-FFF2-40B4-BE49-F238E27FC236}">
                    <a16:creationId xmlns:a16="http://schemas.microsoft.com/office/drawing/2014/main" id="{9943047D-B2B5-9338-E390-8C014E08BE1E}"/>
                  </a:ext>
                </a:extLst>
              </p:cNvPr>
              <p:cNvSpPr/>
              <p:nvPr/>
            </p:nvSpPr>
            <p:spPr>
              <a:xfrm>
                <a:off x="3637471" y="2409056"/>
                <a:ext cx="33950" cy="18011"/>
              </a:xfrm>
              <a:custGeom>
                <a:avLst/>
                <a:gdLst>
                  <a:gd name="connsiteX0" fmla="*/ 0 w 33944"/>
                  <a:gd name="connsiteY0" fmla="*/ 0 h 18506"/>
                  <a:gd name="connsiteX1" fmla="*/ 33944 w 33944"/>
                  <a:gd name="connsiteY1" fmla="*/ 0 h 18506"/>
                  <a:gd name="connsiteX2" fmla="*/ 33944 w 33944"/>
                  <a:gd name="connsiteY2" fmla="*/ 18507 h 18506"/>
                  <a:gd name="connsiteX3" fmla="*/ 0 w 33944"/>
                  <a:gd name="connsiteY3" fmla="*/ 18507 h 18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944" h="18506">
                    <a:moveTo>
                      <a:pt x="0" y="0"/>
                    </a:moveTo>
                    <a:lnTo>
                      <a:pt x="33944" y="0"/>
                    </a:lnTo>
                    <a:lnTo>
                      <a:pt x="33944" y="18507"/>
                    </a:lnTo>
                    <a:lnTo>
                      <a:pt x="0" y="18507"/>
                    </a:ln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57" name="Freeform: Shape 2456">
                <a:extLst>
                  <a:ext uri="{FF2B5EF4-FFF2-40B4-BE49-F238E27FC236}">
                    <a16:creationId xmlns:a16="http://schemas.microsoft.com/office/drawing/2014/main" id="{177509FF-6822-237D-B66D-7278D83AC332}"/>
                  </a:ext>
                </a:extLst>
              </p:cNvPr>
              <p:cNvSpPr/>
              <p:nvPr/>
            </p:nvSpPr>
            <p:spPr>
              <a:xfrm>
                <a:off x="3205481" y="2668058"/>
                <a:ext cx="406306" cy="18115"/>
              </a:xfrm>
              <a:custGeom>
                <a:avLst/>
                <a:gdLst>
                  <a:gd name="connsiteX0" fmla="*/ 396939 w 406238"/>
                  <a:gd name="connsiteY0" fmla="*/ 18614 h 18613"/>
                  <a:gd name="connsiteX1" fmla="*/ 9319 w 406238"/>
                  <a:gd name="connsiteY1" fmla="*/ 18614 h 18613"/>
                  <a:gd name="connsiteX2" fmla="*/ 0 w 406238"/>
                  <a:gd name="connsiteY2" fmla="*/ 9307 h 18613"/>
                  <a:gd name="connsiteX3" fmla="*/ 9319 w 406238"/>
                  <a:gd name="connsiteY3" fmla="*/ 0 h 18613"/>
                  <a:gd name="connsiteX4" fmla="*/ 396939 w 406238"/>
                  <a:gd name="connsiteY4" fmla="*/ 0 h 18613"/>
                  <a:gd name="connsiteX5" fmla="*/ 406238 w 406238"/>
                  <a:gd name="connsiteY5" fmla="*/ 9307 h 18613"/>
                  <a:gd name="connsiteX6" fmla="*/ 396939 w 406238"/>
                  <a:gd name="connsiteY6" fmla="*/ 18614 h 18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6238" h="18613">
                    <a:moveTo>
                      <a:pt x="396939" y="18614"/>
                    </a:moveTo>
                    <a:lnTo>
                      <a:pt x="9319" y="18614"/>
                    </a:lnTo>
                    <a:cubicBezTo>
                      <a:pt x="4172" y="18614"/>
                      <a:pt x="0" y="14446"/>
                      <a:pt x="0" y="9307"/>
                    </a:cubicBezTo>
                    <a:cubicBezTo>
                      <a:pt x="0" y="4167"/>
                      <a:pt x="4172" y="0"/>
                      <a:pt x="9319" y="0"/>
                    </a:cubicBezTo>
                    <a:lnTo>
                      <a:pt x="396939" y="0"/>
                    </a:lnTo>
                    <a:cubicBezTo>
                      <a:pt x="402067" y="0"/>
                      <a:pt x="406238" y="4167"/>
                      <a:pt x="406238" y="9307"/>
                    </a:cubicBezTo>
                    <a:cubicBezTo>
                      <a:pt x="406238" y="14446"/>
                      <a:pt x="402067" y="18614"/>
                      <a:pt x="396939" y="18614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58" name="Freeform: Shape 2457">
                <a:extLst>
                  <a:ext uri="{FF2B5EF4-FFF2-40B4-BE49-F238E27FC236}">
                    <a16:creationId xmlns:a16="http://schemas.microsoft.com/office/drawing/2014/main" id="{44F80367-1B4C-AE2C-5C91-62C4A727799A}"/>
                  </a:ext>
                </a:extLst>
              </p:cNvPr>
              <p:cNvSpPr/>
              <p:nvPr/>
            </p:nvSpPr>
            <p:spPr>
              <a:xfrm>
                <a:off x="3652398" y="2668060"/>
                <a:ext cx="171871" cy="18111"/>
              </a:xfrm>
              <a:custGeom>
                <a:avLst/>
                <a:gdLst>
                  <a:gd name="connsiteX0" fmla="*/ 162544 w 171843"/>
                  <a:gd name="connsiteY0" fmla="*/ 18610 h 18609"/>
                  <a:gd name="connsiteX1" fmla="*/ 9318 w 171843"/>
                  <a:gd name="connsiteY1" fmla="*/ 18610 h 18609"/>
                  <a:gd name="connsiteX2" fmla="*/ 0 w 171843"/>
                  <a:gd name="connsiteY2" fmla="*/ 9305 h 18609"/>
                  <a:gd name="connsiteX3" fmla="*/ 9318 w 171843"/>
                  <a:gd name="connsiteY3" fmla="*/ 0 h 18609"/>
                  <a:gd name="connsiteX4" fmla="*/ 162544 w 171843"/>
                  <a:gd name="connsiteY4" fmla="*/ 0 h 18609"/>
                  <a:gd name="connsiteX5" fmla="*/ 171843 w 171843"/>
                  <a:gd name="connsiteY5" fmla="*/ 9305 h 18609"/>
                  <a:gd name="connsiteX6" fmla="*/ 162544 w 171843"/>
                  <a:gd name="connsiteY6" fmla="*/ 18610 h 18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1843" h="18609">
                    <a:moveTo>
                      <a:pt x="162544" y="18610"/>
                    </a:moveTo>
                    <a:lnTo>
                      <a:pt x="9318" y="18610"/>
                    </a:lnTo>
                    <a:cubicBezTo>
                      <a:pt x="4171" y="18610"/>
                      <a:pt x="0" y="14444"/>
                      <a:pt x="0" y="9305"/>
                    </a:cubicBezTo>
                    <a:cubicBezTo>
                      <a:pt x="0" y="4165"/>
                      <a:pt x="4171" y="0"/>
                      <a:pt x="9318" y="0"/>
                    </a:cubicBezTo>
                    <a:lnTo>
                      <a:pt x="162544" y="0"/>
                    </a:lnTo>
                    <a:cubicBezTo>
                      <a:pt x="167691" y="0"/>
                      <a:pt x="171843" y="4165"/>
                      <a:pt x="171843" y="9305"/>
                    </a:cubicBezTo>
                    <a:cubicBezTo>
                      <a:pt x="171843" y="14444"/>
                      <a:pt x="167691" y="18610"/>
                      <a:pt x="162544" y="18610"/>
                    </a:cubicBezTo>
                    <a:close/>
                  </a:path>
                </a:pathLst>
              </a:custGeom>
              <a:solidFill>
                <a:srgbClr val="3194D2"/>
              </a:solidFill>
              <a:ln w="191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597" name="Group 2596">
                <a:extLst>
                  <a:ext uri="{FF2B5EF4-FFF2-40B4-BE49-F238E27FC236}">
                    <a16:creationId xmlns:a16="http://schemas.microsoft.com/office/drawing/2014/main" id="{ABA27F97-0D4C-9575-EFD1-999D11494C1E}"/>
                  </a:ext>
                </a:extLst>
              </p:cNvPr>
              <p:cNvGrpSpPr/>
              <p:nvPr/>
            </p:nvGrpSpPr>
            <p:grpSpPr>
              <a:xfrm>
                <a:off x="4173572" y="2546098"/>
                <a:ext cx="237482" cy="431327"/>
                <a:chOff x="-3985737" y="1559383"/>
                <a:chExt cx="2721480" cy="4942871"/>
              </a:xfrm>
            </p:grpSpPr>
            <p:sp>
              <p:nvSpPr>
                <p:cNvPr id="2599" name="Freeform: Shape 2598">
                  <a:extLst>
                    <a:ext uri="{FF2B5EF4-FFF2-40B4-BE49-F238E27FC236}">
                      <a16:creationId xmlns:a16="http://schemas.microsoft.com/office/drawing/2014/main" id="{E3B2A8E8-C3E2-9C58-61EF-9DF1A9643A73}"/>
                    </a:ext>
                  </a:extLst>
                </p:cNvPr>
                <p:cNvSpPr/>
                <p:nvPr/>
              </p:nvSpPr>
              <p:spPr>
                <a:xfrm>
                  <a:off x="-3938112" y="3326834"/>
                  <a:ext cx="1388935" cy="1926147"/>
                </a:xfrm>
                <a:custGeom>
                  <a:avLst/>
                  <a:gdLst>
                    <a:gd name="connsiteX0" fmla="*/ 10338 w 1388935"/>
                    <a:gd name="connsiteY0" fmla="*/ 65696 h 1926147"/>
                    <a:gd name="connsiteX1" fmla="*/ 2023 w 1388935"/>
                    <a:gd name="connsiteY1" fmla="*/ 92528 h 1926147"/>
                    <a:gd name="connsiteX2" fmla="*/ 501638 w 1388935"/>
                    <a:gd name="connsiteY2" fmla="*/ 1060716 h 1926147"/>
                    <a:gd name="connsiteX3" fmla="*/ 1362679 w 1388935"/>
                    <a:gd name="connsiteY3" fmla="*/ 1923091 h 1926147"/>
                    <a:gd name="connsiteX4" fmla="*/ 1018788 w 1388935"/>
                    <a:gd name="connsiteY4" fmla="*/ 949188 h 1926147"/>
                    <a:gd name="connsiteX5" fmla="*/ 617852 w 1388935"/>
                    <a:gd name="connsiteY5" fmla="*/ 274151 h 1926147"/>
                    <a:gd name="connsiteX6" fmla="*/ 10338 w 1388935"/>
                    <a:gd name="connsiteY6" fmla="*/ 65696 h 19261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88935" h="1926147">
                      <a:moveTo>
                        <a:pt x="10338" y="65696"/>
                      </a:moveTo>
                      <a:cubicBezTo>
                        <a:pt x="670" y="70840"/>
                        <a:pt x="-3006" y="82794"/>
                        <a:pt x="2023" y="92528"/>
                      </a:cubicBezTo>
                      <a:lnTo>
                        <a:pt x="501638" y="1060716"/>
                      </a:lnTo>
                      <a:cubicBezTo>
                        <a:pt x="567113" y="1187589"/>
                        <a:pt x="1230939" y="1978145"/>
                        <a:pt x="1362679" y="1923091"/>
                      </a:cubicBezTo>
                      <a:cubicBezTo>
                        <a:pt x="1494286" y="1868084"/>
                        <a:pt x="1087530" y="1074460"/>
                        <a:pt x="1018788" y="949188"/>
                      </a:cubicBezTo>
                      <a:lnTo>
                        <a:pt x="617852" y="274151"/>
                      </a:lnTo>
                      <a:cubicBezTo>
                        <a:pt x="397368" y="-97048"/>
                        <a:pt x="149851" y="-8560"/>
                        <a:pt x="10338" y="65696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9525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00" name="Freeform: Shape 2599">
                  <a:extLst>
                    <a:ext uri="{FF2B5EF4-FFF2-40B4-BE49-F238E27FC236}">
                      <a16:creationId xmlns:a16="http://schemas.microsoft.com/office/drawing/2014/main" id="{8C276A95-3E6E-7D05-64C2-D61715EFED56}"/>
                    </a:ext>
                  </a:extLst>
                </p:cNvPr>
                <p:cNvSpPr/>
                <p:nvPr/>
              </p:nvSpPr>
              <p:spPr>
                <a:xfrm>
                  <a:off x="-3246104" y="1559383"/>
                  <a:ext cx="1981847" cy="3895172"/>
                </a:xfrm>
                <a:custGeom>
                  <a:avLst/>
                  <a:gdLst>
                    <a:gd name="connsiteX0" fmla="*/ 470379 w 1981847"/>
                    <a:gd name="connsiteY0" fmla="*/ 248253 h 3895172"/>
                    <a:gd name="connsiteX1" fmla="*/ 533663 w 1981847"/>
                    <a:gd name="connsiteY1" fmla="*/ 1329189 h 3895172"/>
                    <a:gd name="connsiteX2" fmla="*/ 1002236 w 1981847"/>
                    <a:gd name="connsiteY2" fmla="*/ 1454919 h 3895172"/>
                    <a:gd name="connsiteX3" fmla="*/ 1472000 w 1981847"/>
                    <a:gd name="connsiteY3" fmla="*/ 1502429 h 3895172"/>
                    <a:gd name="connsiteX4" fmla="*/ 1912360 w 1981847"/>
                    <a:gd name="connsiteY4" fmla="*/ 1658077 h 3895172"/>
                    <a:gd name="connsiteX5" fmla="*/ 1979892 w 1981847"/>
                    <a:gd name="connsiteY5" fmla="*/ 2745576 h 3895172"/>
                    <a:gd name="connsiteX6" fmla="*/ 1737481 w 1981847"/>
                    <a:gd name="connsiteY6" fmla="*/ 3617855 h 3895172"/>
                    <a:gd name="connsiteX7" fmla="*/ 463988 w 1981847"/>
                    <a:gd name="connsiteY7" fmla="*/ 3594444 h 3895172"/>
                    <a:gd name="connsiteX8" fmla="*/ 215957 w 1981847"/>
                    <a:gd name="connsiteY8" fmla="*/ 3100810 h 3895172"/>
                    <a:gd name="connsiteX9" fmla="*/ 1035 w 1981847"/>
                    <a:gd name="connsiteY9" fmla="*/ 274495 h 3895172"/>
                    <a:gd name="connsiteX10" fmla="*/ 470379 w 1981847"/>
                    <a:gd name="connsiteY10" fmla="*/ 248253 h 38951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1847" h="3895172">
                      <a:moveTo>
                        <a:pt x="470379" y="248253"/>
                      </a:moveTo>
                      <a:lnTo>
                        <a:pt x="533663" y="1329189"/>
                      </a:lnTo>
                      <a:cubicBezTo>
                        <a:pt x="646087" y="1143765"/>
                        <a:pt x="961803" y="1225795"/>
                        <a:pt x="1002236" y="1454919"/>
                      </a:cubicBezTo>
                      <a:cubicBezTo>
                        <a:pt x="1091352" y="1249074"/>
                        <a:pt x="1394809" y="1301852"/>
                        <a:pt x="1472000" y="1502429"/>
                      </a:cubicBezTo>
                      <a:cubicBezTo>
                        <a:pt x="1585338" y="1326198"/>
                        <a:pt x="1897615" y="1420638"/>
                        <a:pt x="1912360" y="1658077"/>
                      </a:cubicBezTo>
                      <a:lnTo>
                        <a:pt x="1979892" y="2745576"/>
                      </a:lnTo>
                      <a:cubicBezTo>
                        <a:pt x="1998866" y="3050918"/>
                        <a:pt x="1858067" y="3453968"/>
                        <a:pt x="1737481" y="3617855"/>
                      </a:cubicBezTo>
                      <a:cubicBezTo>
                        <a:pt x="1380026" y="4103630"/>
                        <a:pt x="655155" y="3855076"/>
                        <a:pt x="463988" y="3594444"/>
                      </a:cubicBezTo>
                      <a:cubicBezTo>
                        <a:pt x="314960" y="3391237"/>
                        <a:pt x="228358" y="3264097"/>
                        <a:pt x="215957" y="3100810"/>
                      </a:cubicBezTo>
                      <a:lnTo>
                        <a:pt x="1035" y="274495"/>
                      </a:lnTo>
                      <a:cubicBezTo>
                        <a:pt x="-28035" y="-108153"/>
                        <a:pt x="454977" y="-66853"/>
                        <a:pt x="470379" y="248253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9525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01" name="Freeform: Shape 2600">
                  <a:extLst>
                    <a:ext uri="{FF2B5EF4-FFF2-40B4-BE49-F238E27FC236}">
                      <a16:creationId xmlns:a16="http://schemas.microsoft.com/office/drawing/2014/main" id="{161ABD1B-9964-C0C9-6B02-164317C82113}"/>
                    </a:ext>
                  </a:extLst>
                </p:cNvPr>
                <p:cNvSpPr/>
                <p:nvPr/>
              </p:nvSpPr>
              <p:spPr>
                <a:xfrm>
                  <a:off x="-2776546" y="1791749"/>
                  <a:ext cx="1003334" cy="1270377"/>
                </a:xfrm>
                <a:custGeom>
                  <a:avLst/>
                  <a:gdLst>
                    <a:gd name="connsiteX0" fmla="*/ 1002442 w 1003334"/>
                    <a:gd name="connsiteY0" fmla="*/ 1270064 h 1270377"/>
                    <a:gd name="connsiteX1" fmla="*/ 1000127 w 1003334"/>
                    <a:gd name="connsiteY1" fmla="*/ 1264254 h 1270377"/>
                    <a:gd name="connsiteX2" fmla="*/ 1002442 w 1003334"/>
                    <a:gd name="connsiteY2" fmla="*/ 1270064 h 1270377"/>
                    <a:gd name="connsiteX3" fmla="*/ 1002709 w 1003334"/>
                    <a:gd name="connsiteY3" fmla="*/ 1269654 h 1270377"/>
                    <a:gd name="connsiteX4" fmla="*/ 1002842 w 1003334"/>
                    <a:gd name="connsiteY4" fmla="*/ 1269464 h 1270377"/>
                    <a:gd name="connsiteX5" fmla="*/ 1002709 w 1003334"/>
                    <a:gd name="connsiteY5" fmla="*/ 1269654 h 1270377"/>
                    <a:gd name="connsiteX6" fmla="*/ 1002995 w 1003334"/>
                    <a:gd name="connsiteY6" fmla="*/ 1269226 h 1270377"/>
                    <a:gd name="connsiteX7" fmla="*/ 1003109 w 1003334"/>
                    <a:gd name="connsiteY7" fmla="*/ 1269045 h 1270377"/>
                    <a:gd name="connsiteX8" fmla="*/ 1002995 w 1003334"/>
                    <a:gd name="connsiteY8" fmla="*/ 1269226 h 1270377"/>
                    <a:gd name="connsiteX9" fmla="*/ 1000032 w 1003334"/>
                    <a:gd name="connsiteY9" fmla="*/ 1264025 h 1270377"/>
                    <a:gd name="connsiteX10" fmla="*/ 999946 w 1003334"/>
                    <a:gd name="connsiteY10" fmla="*/ 1263816 h 1270377"/>
                    <a:gd name="connsiteX11" fmla="*/ 1000032 w 1003334"/>
                    <a:gd name="connsiteY11" fmla="*/ 1264025 h 1270377"/>
                    <a:gd name="connsiteX12" fmla="*/ 532602 w 1003334"/>
                    <a:gd name="connsiteY12" fmla="*/ 1222086 h 1270377"/>
                    <a:gd name="connsiteX13" fmla="*/ 532564 w 1003334"/>
                    <a:gd name="connsiteY13" fmla="*/ 1221877 h 1270377"/>
                    <a:gd name="connsiteX14" fmla="*/ 532517 w 1003334"/>
                    <a:gd name="connsiteY14" fmla="*/ 1221182 h 1270377"/>
                    <a:gd name="connsiteX15" fmla="*/ 532602 w 1003334"/>
                    <a:gd name="connsiteY15" fmla="*/ 1222086 h 1270377"/>
                    <a:gd name="connsiteX16" fmla="*/ 543470 w 1003334"/>
                    <a:gd name="connsiteY16" fmla="*/ 1200684 h 1270377"/>
                    <a:gd name="connsiteX17" fmla="*/ 566445 w 1003334"/>
                    <a:gd name="connsiteY17" fmla="*/ 1167194 h 1270377"/>
                    <a:gd name="connsiteX18" fmla="*/ 543470 w 1003334"/>
                    <a:gd name="connsiteY18" fmla="*/ 1200684 h 1270377"/>
                    <a:gd name="connsiteX19" fmla="*/ 64106 w 1003334"/>
                    <a:gd name="connsiteY19" fmla="*/ 1096823 h 1270377"/>
                    <a:gd name="connsiteX20" fmla="*/ 821 w 1003334"/>
                    <a:gd name="connsiteY20" fmla="*/ 15888 h 1270377"/>
                    <a:gd name="connsiteX21" fmla="*/ -226 w 1003334"/>
                    <a:gd name="connsiteY21" fmla="*/ 1439 h 1270377"/>
                    <a:gd name="connsiteX22" fmla="*/ 383 w 1003334"/>
                    <a:gd name="connsiteY22" fmla="*/ -314 h 1270377"/>
                    <a:gd name="connsiteX23" fmla="*/ 81698 w 1003334"/>
                    <a:gd name="connsiteY23" fmla="*/ 1071906 h 1270377"/>
                    <a:gd name="connsiteX24" fmla="*/ 64106 w 1003334"/>
                    <a:gd name="connsiteY24" fmla="*/ 1096823 h 12703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003334" h="1270377">
                      <a:moveTo>
                        <a:pt x="1002442" y="1270064"/>
                      </a:moveTo>
                      <a:cubicBezTo>
                        <a:pt x="1001699" y="1268121"/>
                        <a:pt x="1000918" y="1266178"/>
                        <a:pt x="1000127" y="1264254"/>
                      </a:cubicBezTo>
                      <a:cubicBezTo>
                        <a:pt x="1000918" y="1266178"/>
                        <a:pt x="1001689" y="1268111"/>
                        <a:pt x="1002442" y="1270064"/>
                      </a:cubicBezTo>
                      <a:close/>
                      <a:moveTo>
                        <a:pt x="1002709" y="1269654"/>
                      </a:moveTo>
                      <a:cubicBezTo>
                        <a:pt x="1002756" y="1269588"/>
                        <a:pt x="1002794" y="1269521"/>
                        <a:pt x="1002842" y="1269464"/>
                      </a:cubicBezTo>
                      <a:cubicBezTo>
                        <a:pt x="1002794" y="1269521"/>
                        <a:pt x="1002756" y="1269588"/>
                        <a:pt x="1002709" y="1269654"/>
                      </a:cubicBezTo>
                      <a:close/>
                      <a:moveTo>
                        <a:pt x="1002995" y="1269226"/>
                      </a:moveTo>
                      <a:cubicBezTo>
                        <a:pt x="1003033" y="1269159"/>
                        <a:pt x="1003071" y="1269102"/>
                        <a:pt x="1003109" y="1269045"/>
                      </a:cubicBezTo>
                      <a:cubicBezTo>
                        <a:pt x="1003061" y="1269112"/>
                        <a:pt x="1003033" y="1269159"/>
                        <a:pt x="1002995" y="1269226"/>
                      </a:cubicBezTo>
                      <a:close/>
                      <a:moveTo>
                        <a:pt x="1000032" y="1264025"/>
                      </a:moveTo>
                      <a:cubicBezTo>
                        <a:pt x="1000003" y="1263958"/>
                        <a:pt x="999975" y="1263882"/>
                        <a:pt x="999946" y="1263816"/>
                      </a:cubicBezTo>
                      <a:cubicBezTo>
                        <a:pt x="999975" y="1263882"/>
                        <a:pt x="1000003" y="1263949"/>
                        <a:pt x="1000032" y="1264025"/>
                      </a:cubicBezTo>
                      <a:close/>
                      <a:moveTo>
                        <a:pt x="532602" y="1222086"/>
                      </a:moveTo>
                      <a:cubicBezTo>
                        <a:pt x="532583" y="1222020"/>
                        <a:pt x="532574" y="1221943"/>
                        <a:pt x="532564" y="1221877"/>
                      </a:cubicBezTo>
                      <a:cubicBezTo>
                        <a:pt x="532526" y="1221420"/>
                        <a:pt x="532517" y="1221182"/>
                        <a:pt x="532517" y="1221182"/>
                      </a:cubicBezTo>
                      <a:cubicBezTo>
                        <a:pt x="532517" y="1221182"/>
                        <a:pt x="532545" y="1221487"/>
                        <a:pt x="532602" y="1222086"/>
                      </a:cubicBezTo>
                      <a:close/>
                      <a:moveTo>
                        <a:pt x="543470" y="1200684"/>
                      </a:moveTo>
                      <a:cubicBezTo>
                        <a:pt x="549881" y="1188959"/>
                        <a:pt x="557948" y="1176214"/>
                        <a:pt x="566445" y="1167194"/>
                      </a:cubicBezTo>
                      <a:cubicBezTo>
                        <a:pt x="558005" y="1177290"/>
                        <a:pt x="550319" y="1188425"/>
                        <a:pt x="543470" y="1200684"/>
                      </a:cubicBezTo>
                      <a:close/>
                      <a:moveTo>
                        <a:pt x="64106" y="1096823"/>
                      </a:moveTo>
                      <a:lnTo>
                        <a:pt x="821" y="15888"/>
                      </a:lnTo>
                      <a:cubicBezTo>
                        <a:pt x="583" y="11002"/>
                        <a:pt x="231" y="6191"/>
                        <a:pt x="-226" y="1439"/>
                      </a:cubicBezTo>
                      <a:cubicBezTo>
                        <a:pt x="-36" y="734"/>
                        <a:pt x="174" y="153"/>
                        <a:pt x="383" y="-314"/>
                      </a:cubicBezTo>
                      <a:cubicBezTo>
                        <a:pt x="19309" y="41996"/>
                        <a:pt x="58381" y="601285"/>
                        <a:pt x="81698" y="1071906"/>
                      </a:cubicBezTo>
                      <a:cubicBezTo>
                        <a:pt x="75402" y="1079593"/>
                        <a:pt x="69516" y="1087908"/>
                        <a:pt x="64106" y="1096823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9525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02" name="Freeform: Shape 2601">
                  <a:extLst>
                    <a:ext uri="{FF2B5EF4-FFF2-40B4-BE49-F238E27FC236}">
                      <a16:creationId xmlns:a16="http://schemas.microsoft.com/office/drawing/2014/main" id="{720C54BA-BC19-C759-A657-D8BF54649A1A}"/>
                    </a:ext>
                  </a:extLst>
                </p:cNvPr>
                <p:cNvSpPr/>
                <p:nvPr/>
              </p:nvSpPr>
              <p:spPr>
                <a:xfrm>
                  <a:off x="-2779468" y="1793501"/>
                  <a:ext cx="1045357" cy="1675685"/>
                </a:xfrm>
                <a:custGeom>
                  <a:avLst/>
                  <a:gdLst>
                    <a:gd name="connsiteX0" fmla="*/ 570024 w 1045357"/>
                    <a:gd name="connsiteY0" fmla="*/ 1675372 h 1675685"/>
                    <a:gd name="connsiteX1" fmla="*/ 535486 w 1045357"/>
                    <a:gd name="connsiteY1" fmla="*/ 1220124 h 1675685"/>
                    <a:gd name="connsiteX2" fmla="*/ 535525 w 1045357"/>
                    <a:gd name="connsiteY2" fmla="*/ 1220334 h 1675685"/>
                    <a:gd name="connsiteX3" fmla="*/ 535572 w 1045357"/>
                    <a:gd name="connsiteY3" fmla="*/ 1220953 h 1675685"/>
                    <a:gd name="connsiteX4" fmla="*/ 546392 w 1045357"/>
                    <a:gd name="connsiteY4" fmla="*/ 1198931 h 1675685"/>
                    <a:gd name="connsiteX5" fmla="*/ 569367 w 1045357"/>
                    <a:gd name="connsiteY5" fmla="*/ 1165441 h 1675685"/>
                    <a:gd name="connsiteX6" fmla="*/ 570243 w 1045357"/>
                    <a:gd name="connsiteY6" fmla="*/ 1164527 h 1675685"/>
                    <a:gd name="connsiteX7" fmla="*/ 570024 w 1045357"/>
                    <a:gd name="connsiteY7" fmla="*/ 1675372 h 1675685"/>
                    <a:gd name="connsiteX8" fmla="*/ 102966 w 1045357"/>
                    <a:gd name="connsiteY8" fmla="*/ 1658046 h 1675685"/>
                    <a:gd name="connsiteX9" fmla="*/ 2696 w 1045357"/>
                    <a:gd name="connsiteY9" fmla="*/ -314 h 1675685"/>
                    <a:gd name="connsiteX10" fmla="*/ 3744 w 1045357"/>
                    <a:gd name="connsiteY10" fmla="*/ 14135 h 1675685"/>
                    <a:gd name="connsiteX11" fmla="*/ 67028 w 1045357"/>
                    <a:gd name="connsiteY11" fmla="*/ 1095071 h 1675685"/>
                    <a:gd name="connsiteX12" fmla="*/ 84620 w 1045357"/>
                    <a:gd name="connsiteY12" fmla="*/ 1070153 h 1675685"/>
                    <a:gd name="connsiteX13" fmla="*/ 102966 w 1045357"/>
                    <a:gd name="connsiteY13" fmla="*/ 1658046 h 1675685"/>
                    <a:gd name="connsiteX14" fmla="*/ 1045131 w 1045357"/>
                    <a:gd name="connsiteY14" fmla="*/ 1648073 h 1675685"/>
                    <a:gd name="connsiteX15" fmla="*/ 980056 w 1045357"/>
                    <a:gd name="connsiteY15" fmla="*/ 1218981 h 1675685"/>
                    <a:gd name="connsiteX16" fmla="*/ 1002869 w 1045357"/>
                    <a:gd name="connsiteY16" fmla="*/ 1262063 h 1675685"/>
                    <a:gd name="connsiteX17" fmla="*/ 1002954 w 1045357"/>
                    <a:gd name="connsiteY17" fmla="*/ 1262272 h 1675685"/>
                    <a:gd name="connsiteX18" fmla="*/ 1003049 w 1045357"/>
                    <a:gd name="connsiteY18" fmla="*/ 1262501 h 1675685"/>
                    <a:gd name="connsiteX19" fmla="*/ 1005364 w 1045357"/>
                    <a:gd name="connsiteY19" fmla="*/ 1268311 h 1675685"/>
                    <a:gd name="connsiteX20" fmla="*/ 1005631 w 1045357"/>
                    <a:gd name="connsiteY20" fmla="*/ 1267902 h 1675685"/>
                    <a:gd name="connsiteX21" fmla="*/ 1005764 w 1045357"/>
                    <a:gd name="connsiteY21" fmla="*/ 1267711 h 1675685"/>
                    <a:gd name="connsiteX22" fmla="*/ 1005917 w 1045357"/>
                    <a:gd name="connsiteY22" fmla="*/ 1267473 h 1675685"/>
                    <a:gd name="connsiteX23" fmla="*/ 1006031 w 1045357"/>
                    <a:gd name="connsiteY23" fmla="*/ 1267292 h 1675685"/>
                    <a:gd name="connsiteX24" fmla="*/ 1027043 w 1045357"/>
                    <a:gd name="connsiteY24" fmla="*/ 1240365 h 1675685"/>
                    <a:gd name="connsiteX25" fmla="*/ 1045131 w 1045357"/>
                    <a:gd name="connsiteY25" fmla="*/ 1648073 h 16756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1045357" h="1675685">
                      <a:moveTo>
                        <a:pt x="570024" y="1675372"/>
                      </a:moveTo>
                      <a:cubicBezTo>
                        <a:pt x="570024" y="1675372"/>
                        <a:pt x="536849" y="1239841"/>
                        <a:pt x="535486" y="1220124"/>
                      </a:cubicBezTo>
                      <a:cubicBezTo>
                        <a:pt x="535496" y="1220191"/>
                        <a:pt x="535505" y="1220267"/>
                        <a:pt x="535525" y="1220334"/>
                      </a:cubicBezTo>
                      <a:cubicBezTo>
                        <a:pt x="535534" y="1220515"/>
                        <a:pt x="535553" y="1220724"/>
                        <a:pt x="535572" y="1220953"/>
                      </a:cubicBezTo>
                      <a:cubicBezTo>
                        <a:pt x="538010" y="1215324"/>
                        <a:pt x="541773" y="1207389"/>
                        <a:pt x="546392" y="1198931"/>
                      </a:cubicBezTo>
                      <a:cubicBezTo>
                        <a:pt x="553241" y="1186673"/>
                        <a:pt x="560928" y="1175538"/>
                        <a:pt x="569367" y="1165441"/>
                      </a:cubicBezTo>
                      <a:cubicBezTo>
                        <a:pt x="569662" y="1165136"/>
                        <a:pt x="569948" y="1164822"/>
                        <a:pt x="570243" y="1164527"/>
                      </a:cubicBezTo>
                      <a:cubicBezTo>
                        <a:pt x="582016" y="1376668"/>
                        <a:pt x="570024" y="1675372"/>
                        <a:pt x="570024" y="1675372"/>
                      </a:cubicBezTo>
                      <a:close/>
                      <a:moveTo>
                        <a:pt x="102966" y="1658046"/>
                      </a:moveTo>
                      <a:cubicBezTo>
                        <a:pt x="72495" y="1407538"/>
                        <a:pt x="-17497" y="72848"/>
                        <a:pt x="2696" y="-314"/>
                      </a:cubicBezTo>
                      <a:cubicBezTo>
                        <a:pt x="3153" y="4439"/>
                        <a:pt x="3506" y="9249"/>
                        <a:pt x="3744" y="14135"/>
                      </a:cubicBezTo>
                      <a:lnTo>
                        <a:pt x="67028" y="1095071"/>
                      </a:lnTo>
                      <a:cubicBezTo>
                        <a:pt x="72438" y="1086155"/>
                        <a:pt x="78324" y="1077840"/>
                        <a:pt x="84620" y="1070153"/>
                      </a:cubicBezTo>
                      <a:cubicBezTo>
                        <a:pt x="97146" y="1323052"/>
                        <a:pt x="105118" y="1550385"/>
                        <a:pt x="102966" y="1658046"/>
                      </a:cubicBezTo>
                      <a:close/>
                      <a:moveTo>
                        <a:pt x="1045131" y="1648073"/>
                      </a:moveTo>
                      <a:cubicBezTo>
                        <a:pt x="1045131" y="1648073"/>
                        <a:pt x="1007983" y="1412882"/>
                        <a:pt x="980056" y="1218981"/>
                      </a:cubicBezTo>
                      <a:cubicBezTo>
                        <a:pt x="988838" y="1232421"/>
                        <a:pt x="996525" y="1246785"/>
                        <a:pt x="1002869" y="1262063"/>
                      </a:cubicBezTo>
                      <a:cubicBezTo>
                        <a:pt x="1002897" y="1262130"/>
                        <a:pt x="1002926" y="1262206"/>
                        <a:pt x="1002954" y="1262272"/>
                      </a:cubicBezTo>
                      <a:cubicBezTo>
                        <a:pt x="1002983" y="1262349"/>
                        <a:pt x="1003021" y="1262425"/>
                        <a:pt x="1003049" y="1262501"/>
                      </a:cubicBezTo>
                      <a:cubicBezTo>
                        <a:pt x="1003840" y="1264425"/>
                        <a:pt x="1004621" y="1266368"/>
                        <a:pt x="1005364" y="1268311"/>
                      </a:cubicBezTo>
                      <a:cubicBezTo>
                        <a:pt x="1005460" y="1268178"/>
                        <a:pt x="1005545" y="1268045"/>
                        <a:pt x="1005631" y="1267902"/>
                      </a:cubicBezTo>
                      <a:cubicBezTo>
                        <a:pt x="1005678" y="1267835"/>
                        <a:pt x="1005716" y="1267769"/>
                        <a:pt x="1005764" y="1267711"/>
                      </a:cubicBezTo>
                      <a:cubicBezTo>
                        <a:pt x="1005812" y="1267626"/>
                        <a:pt x="1005859" y="1267549"/>
                        <a:pt x="1005917" y="1267473"/>
                      </a:cubicBezTo>
                      <a:cubicBezTo>
                        <a:pt x="1005955" y="1267406"/>
                        <a:pt x="1005983" y="1267359"/>
                        <a:pt x="1006031" y="1267292"/>
                      </a:cubicBezTo>
                      <a:cubicBezTo>
                        <a:pt x="1012432" y="1257463"/>
                        <a:pt x="1019490" y="1248518"/>
                        <a:pt x="1027043" y="1240365"/>
                      </a:cubicBezTo>
                      <a:cubicBezTo>
                        <a:pt x="1035997" y="1432122"/>
                        <a:pt x="1045131" y="1648073"/>
                        <a:pt x="1045131" y="1648073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9525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03" name="Freeform: Shape 2602">
                  <a:extLst>
                    <a:ext uri="{FF2B5EF4-FFF2-40B4-BE49-F238E27FC236}">
                      <a16:creationId xmlns:a16="http://schemas.microsoft.com/office/drawing/2014/main" id="{89C01E07-C201-93E5-EBBD-356EEC45F68D}"/>
                    </a:ext>
                  </a:extLst>
                </p:cNvPr>
                <p:cNvSpPr/>
                <p:nvPr/>
              </p:nvSpPr>
              <p:spPr>
                <a:xfrm>
                  <a:off x="-3196605" y="1618267"/>
                  <a:ext cx="355401" cy="290387"/>
                </a:xfrm>
                <a:custGeom>
                  <a:avLst/>
                  <a:gdLst>
                    <a:gd name="connsiteX0" fmla="*/ 353358 w 355401"/>
                    <a:gd name="connsiteY0" fmla="*/ 188131 h 290387"/>
                    <a:gd name="connsiteX1" fmla="*/ 353386 w 355401"/>
                    <a:gd name="connsiteY1" fmla="*/ 184179 h 290387"/>
                    <a:gd name="connsiteX2" fmla="*/ 242696 w 355401"/>
                    <a:gd name="connsiteY2" fmla="*/ 12595 h 290387"/>
                    <a:gd name="connsiteX3" fmla="*/ 49558 w 355401"/>
                    <a:gd name="connsiteY3" fmla="*/ 47371 h 290387"/>
                    <a:gd name="connsiteX4" fmla="*/ 761 w 355401"/>
                    <a:gd name="connsiteY4" fmla="*/ 184607 h 290387"/>
                    <a:gd name="connsiteX5" fmla="*/ 6562 w 355401"/>
                    <a:gd name="connsiteY5" fmla="*/ 252502 h 290387"/>
                    <a:gd name="connsiteX6" fmla="*/ 49882 w 355401"/>
                    <a:gd name="connsiteY6" fmla="*/ 290001 h 290387"/>
                    <a:gd name="connsiteX7" fmla="*/ 316515 w 355401"/>
                    <a:gd name="connsiteY7" fmla="*/ 274342 h 290387"/>
                    <a:gd name="connsiteX8" fmla="*/ 355139 w 355401"/>
                    <a:gd name="connsiteY8" fmla="*/ 231670 h 290387"/>
                    <a:gd name="connsiteX9" fmla="*/ 353358 w 355401"/>
                    <a:gd name="connsiteY9" fmla="*/ 188131 h 290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55401" h="290387">
                      <a:moveTo>
                        <a:pt x="353358" y="188131"/>
                      </a:moveTo>
                      <a:cubicBezTo>
                        <a:pt x="353301" y="186788"/>
                        <a:pt x="353310" y="185512"/>
                        <a:pt x="353386" y="184179"/>
                      </a:cubicBezTo>
                      <a:cubicBezTo>
                        <a:pt x="354291" y="168624"/>
                        <a:pt x="357101" y="52562"/>
                        <a:pt x="242696" y="12595"/>
                      </a:cubicBezTo>
                      <a:cubicBezTo>
                        <a:pt x="119957" y="-30277"/>
                        <a:pt x="49558" y="47371"/>
                        <a:pt x="49558" y="47371"/>
                      </a:cubicBezTo>
                      <a:cubicBezTo>
                        <a:pt x="49558" y="47371"/>
                        <a:pt x="-8430" y="76879"/>
                        <a:pt x="761" y="184607"/>
                      </a:cubicBezTo>
                      <a:lnTo>
                        <a:pt x="6562" y="252502"/>
                      </a:lnTo>
                      <a:cubicBezTo>
                        <a:pt x="8458" y="274676"/>
                        <a:pt x="27670" y="291306"/>
                        <a:pt x="49882" y="290001"/>
                      </a:cubicBezTo>
                      <a:lnTo>
                        <a:pt x="316515" y="274342"/>
                      </a:lnTo>
                      <a:cubicBezTo>
                        <a:pt x="338880" y="273037"/>
                        <a:pt x="356063" y="254045"/>
                        <a:pt x="355139" y="231670"/>
                      </a:cubicBezTo>
                      <a:lnTo>
                        <a:pt x="353358" y="18813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9525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04" name="Freeform: Shape 2603">
                  <a:extLst>
                    <a:ext uri="{FF2B5EF4-FFF2-40B4-BE49-F238E27FC236}">
                      <a16:creationId xmlns:a16="http://schemas.microsoft.com/office/drawing/2014/main" id="{E3832396-C936-4CD1-2E9A-219073F1463E}"/>
                    </a:ext>
                  </a:extLst>
                </p:cNvPr>
                <p:cNvSpPr/>
                <p:nvPr/>
              </p:nvSpPr>
              <p:spPr>
                <a:xfrm>
                  <a:off x="-3937758" y="3384364"/>
                  <a:ext cx="154551" cy="309060"/>
                </a:xfrm>
                <a:custGeom>
                  <a:avLst/>
                  <a:gdLst>
                    <a:gd name="connsiteX0" fmla="*/ -93 w 154551"/>
                    <a:gd name="connsiteY0" fmla="*/ 31207 h 309060"/>
                    <a:gd name="connsiteX1" fmla="*/ 142820 w 154551"/>
                    <a:gd name="connsiteY1" fmla="*/ 308747 h 309060"/>
                    <a:gd name="connsiteX2" fmla="*/ 139258 w 154551"/>
                    <a:gd name="connsiteY2" fmla="*/ 152470 h 309060"/>
                    <a:gd name="connsiteX3" fmla="*/ 61543 w 154551"/>
                    <a:gd name="connsiteY3" fmla="*/ 15586 h 309060"/>
                    <a:gd name="connsiteX4" fmla="*/ -226 w 154551"/>
                    <a:gd name="connsiteY4" fmla="*/ 21549 h 309060"/>
                    <a:gd name="connsiteX5" fmla="*/ -93 w 154551"/>
                    <a:gd name="connsiteY5" fmla="*/ 31207 h 309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4551" h="309060">
                      <a:moveTo>
                        <a:pt x="-93" y="31207"/>
                      </a:moveTo>
                      <a:lnTo>
                        <a:pt x="142820" y="308747"/>
                      </a:lnTo>
                      <a:cubicBezTo>
                        <a:pt x="142820" y="308747"/>
                        <a:pt x="170938" y="199866"/>
                        <a:pt x="139258" y="152470"/>
                      </a:cubicBezTo>
                      <a:lnTo>
                        <a:pt x="61543" y="15586"/>
                      </a:lnTo>
                      <a:cubicBezTo>
                        <a:pt x="47970" y="-8321"/>
                        <a:pt x="8822" y="-4407"/>
                        <a:pt x="-226" y="21549"/>
                      </a:cubicBezTo>
                      <a:lnTo>
                        <a:pt x="-93" y="31207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9525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05" name="Freeform: Shape 2604">
                  <a:extLst>
                    <a:ext uri="{FF2B5EF4-FFF2-40B4-BE49-F238E27FC236}">
                      <a16:creationId xmlns:a16="http://schemas.microsoft.com/office/drawing/2014/main" id="{738A5ACF-E7BE-B240-CA4A-9EC333D37317}"/>
                    </a:ext>
                  </a:extLst>
                </p:cNvPr>
                <p:cNvSpPr/>
                <p:nvPr/>
              </p:nvSpPr>
              <p:spPr>
                <a:xfrm>
                  <a:off x="-2846903" y="4862064"/>
                  <a:ext cx="1516214" cy="1640190"/>
                </a:xfrm>
                <a:custGeom>
                  <a:avLst/>
                  <a:gdLst>
                    <a:gd name="connsiteX0" fmla="*/ 708215 w 1461639"/>
                    <a:gd name="connsiteY0" fmla="*/ 1884340 h 1884654"/>
                    <a:gd name="connsiteX1" fmla="*/ 1461414 w 1461639"/>
                    <a:gd name="connsiteY1" fmla="*/ 1884340 h 1884654"/>
                    <a:gd name="connsiteX2" fmla="*/ 1314719 w 1461639"/>
                    <a:gd name="connsiteY2" fmla="*/ -314 h 1884654"/>
                    <a:gd name="connsiteX3" fmla="*/ -226 w 1461639"/>
                    <a:gd name="connsiteY3" fmla="*/ 215846 h 1884654"/>
                    <a:gd name="connsiteX4" fmla="*/ 95376 w 1461639"/>
                    <a:gd name="connsiteY4" fmla="*/ 1448858 h 1884654"/>
                    <a:gd name="connsiteX5" fmla="*/ 708215 w 1461639"/>
                    <a:gd name="connsiteY5" fmla="*/ 1884340 h 1884654"/>
                    <a:gd name="connsiteX0" fmla="*/ 708439 w 1461639"/>
                    <a:gd name="connsiteY0" fmla="*/ 1393470 h 1884654"/>
                    <a:gd name="connsiteX1" fmla="*/ 1461643 w 1461639"/>
                    <a:gd name="connsiteY1" fmla="*/ 1884649 h 1884654"/>
                    <a:gd name="connsiteX2" fmla="*/ 1314948 w 1461639"/>
                    <a:gd name="connsiteY2" fmla="*/ -5 h 1884654"/>
                    <a:gd name="connsiteX3" fmla="*/ 3 w 1461639"/>
                    <a:gd name="connsiteY3" fmla="*/ 216155 h 1884654"/>
                    <a:gd name="connsiteX4" fmla="*/ 95605 w 1461639"/>
                    <a:gd name="connsiteY4" fmla="*/ 1449167 h 1884654"/>
                    <a:gd name="connsiteX5" fmla="*/ 708439 w 1461639"/>
                    <a:gd name="connsiteY5" fmla="*/ 1393470 h 1884654"/>
                    <a:gd name="connsiteX0" fmla="*/ 708439 w 1488925"/>
                    <a:gd name="connsiteY0" fmla="*/ 1393470 h 1449164"/>
                    <a:gd name="connsiteX1" fmla="*/ 1488925 w 1488925"/>
                    <a:gd name="connsiteY1" fmla="*/ 1011429 h 1449164"/>
                    <a:gd name="connsiteX2" fmla="*/ 1314948 w 1488925"/>
                    <a:gd name="connsiteY2" fmla="*/ -5 h 1449164"/>
                    <a:gd name="connsiteX3" fmla="*/ 3 w 1488925"/>
                    <a:gd name="connsiteY3" fmla="*/ 216155 h 1449164"/>
                    <a:gd name="connsiteX4" fmla="*/ 95605 w 1488925"/>
                    <a:gd name="connsiteY4" fmla="*/ 1449167 h 1449164"/>
                    <a:gd name="connsiteX5" fmla="*/ 708439 w 1488925"/>
                    <a:gd name="connsiteY5" fmla="*/ 1393470 h 1449164"/>
                    <a:gd name="connsiteX0" fmla="*/ 708439 w 1488925"/>
                    <a:gd name="connsiteY0" fmla="*/ 1393470 h 1640185"/>
                    <a:gd name="connsiteX1" fmla="*/ 1488925 w 1488925"/>
                    <a:gd name="connsiteY1" fmla="*/ 1011429 h 1640185"/>
                    <a:gd name="connsiteX2" fmla="*/ 1314948 w 1488925"/>
                    <a:gd name="connsiteY2" fmla="*/ -5 h 1640185"/>
                    <a:gd name="connsiteX3" fmla="*/ 3 w 1488925"/>
                    <a:gd name="connsiteY3" fmla="*/ 216155 h 1640185"/>
                    <a:gd name="connsiteX4" fmla="*/ 177476 w 1488925"/>
                    <a:gd name="connsiteY4" fmla="*/ 1640185 h 1640185"/>
                    <a:gd name="connsiteX5" fmla="*/ 708439 w 1488925"/>
                    <a:gd name="connsiteY5" fmla="*/ 1393470 h 1640185"/>
                    <a:gd name="connsiteX0" fmla="*/ 708439 w 1516211"/>
                    <a:gd name="connsiteY0" fmla="*/ 1393470 h 1640185"/>
                    <a:gd name="connsiteX1" fmla="*/ 1516211 w 1516211"/>
                    <a:gd name="connsiteY1" fmla="*/ 1011429 h 1640185"/>
                    <a:gd name="connsiteX2" fmla="*/ 1314948 w 1516211"/>
                    <a:gd name="connsiteY2" fmla="*/ -5 h 1640185"/>
                    <a:gd name="connsiteX3" fmla="*/ 3 w 1516211"/>
                    <a:gd name="connsiteY3" fmla="*/ 216155 h 1640185"/>
                    <a:gd name="connsiteX4" fmla="*/ 177476 w 1516211"/>
                    <a:gd name="connsiteY4" fmla="*/ 1640185 h 1640185"/>
                    <a:gd name="connsiteX5" fmla="*/ 708439 w 1516211"/>
                    <a:gd name="connsiteY5" fmla="*/ 1393470 h 16401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16211" h="1640185">
                      <a:moveTo>
                        <a:pt x="708439" y="1393470"/>
                      </a:moveTo>
                      <a:lnTo>
                        <a:pt x="1516211" y="1011429"/>
                      </a:lnTo>
                      <a:lnTo>
                        <a:pt x="1314948" y="-5"/>
                      </a:lnTo>
                      <a:lnTo>
                        <a:pt x="3" y="216155"/>
                      </a:lnTo>
                      <a:lnTo>
                        <a:pt x="177476" y="1640185"/>
                      </a:lnTo>
                      <a:lnTo>
                        <a:pt x="708439" y="139347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9525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06" name="Freeform: Shape 2605">
                  <a:extLst>
                    <a:ext uri="{FF2B5EF4-FFF2-40B4-BE49-F238E27FC236}">
                      <a16:creationId xmlns:a16="http://schemas.microsoft.com/office/drawing/2014/main" id="{B6C01953-5FC7-5301-5F20-5305EBFD98E0}"/>
                    </a:ext>
                  </a:extLst>
                </p:cNvPr>
                <p:cNvSpPr/>
                <p:nvPr/>
              </p:nvSpPr>
              <p:spPr>
                <a:xfrm>
                  <a:off x="-3985737" y="3288734"/>
                  <a:ext cx="1388935" cy="1926147"/>
                </a:xfrm>
                <a:custGeom>
                  <a:avLst/>
                  <a:gdLst>
                    <a:gd name="connsiteX0" fmla="*/ 10338 w 1388935"/>
                    <a:gd name="connsiteY0" fmla="*/ 65696 h 1926147"/>
                    <a:gd name="connsiteX1" fmla="*/ 2023 w 1388935"/>
                    <a:gd name="connsiteY1" fmla="*/ 92528 h 1926147"/>
                    <a:gd name="connsiteX2" fmla="*/ 501638 w 1388935"/>
                    <a:gd name="connsiteY2" fmla="*/ 1060716 h 1926147"/>
                    <a:gd name="connsiteX3" fmla="*/ 1362679 w 1388935"/>
                    <a:gd name="connsiteY3" fmla="*/ 1923091 h 1926147"/>
                    <a:gd name="connsiteX4" fmla="*/ 1018788 w 1388935"/>
                    <a:gd name="connsiteY4" fmla="*/ 949188 h 1926147"/>
                    <a:gd name="connsiteX5" fmla="*/ 617852 w 1388935"/>
                    <a:gd name="connsiteY5" fmla="*/ 274151 h 1926147"/>
                    <a:gd name="connsiteX6" fmla="*/ 10338 w 1388935"/>
                    <a:gd name="connsiteY6" fmla="*/ 65696 h 19261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88935" h="1926147">
                      <a:moveTo>
                        <a:pt x="10338" y="65696"/>
                      </a:moveTo>
                      <a:cubicBezTo>
                        <a:pt x="670" y="70840"/>
                        <a:pt x="-3006" y="82794"/>
                        <a:pt x="2023" y="92528"/>
                      </a:cubicBezTo>
                      <a:lnTo>
                        <a:pt x="501638" y="1060716"/>
                      </a:lnTo>
                      <a:cubicBezTo>
                        <a:pt x="567113" y="1187589"/>
                        <a:pt x="1230939" y="1978145"/>
                        <a:pt x="1362679" y="1923091"/>
                      </a:cubicBezTo>
                      <a:cubicBezTo>
                        <a:pt x="1494286" y="1868084"/>
                        <a:pt x="1087530" y="1074460"/>
                        <a:pt x="1018788" y="949188"/>
                      </a:cubicBezTo>
                      <a:lnTo>
                        <a:pt x="617852" y="274151"/>
                      </a:lnTo>
                      <a:cubicBezTo>
                        <a:pt x="397368" y="-97048"/>
                        <a:pt x="149851" y="-8560"/>
                        <a:pt x="10338" y="65696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9525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07" name="Freeform: Shape 2606">
                  <a:extLst>
                    <a:ext uri="{FF2B5EF4-FFF2-40B4-BE49-F238E27FC236}">
                      <a16:creationId xmlns:a16="http://schemas.microsoft.com/office/drawing/2014/main" id="{9941B49A-6166-0015-8D26-E98A0B2EAD25}"/>
                    </a:ext>
                  </a:extLst>
                </p:cNvPr>
                <p:cNvSpPr/>
                <p:nvPr/>
              </p:nvSpPr>
              <p:spPr>
                <a:xfrm>
                  <a:off x="-3244230" y="1580167"/>
                  <a:ext cx="355401" cy="290387"/>
                </a:xfrm>
                <a:custGeom>
                  <a:avLst/>
                  <a:gdLst>
                    <a:gd name="connsiteX0" fmla="*/ 353358 w 355401"/>
                    <a:gd name="connsiteY0" fmla="*/ 188131 h 290387"/>
                    <a:gd name="connsiteX1" fmla="*/ 353386 w 355401"/>
                    <a:gd name="connsiteY1" fmla="*/ 184179 h 290387"/>
                    <a:gd name="connsiteX2" fmla="*/ 242696 w 355401"/>
                    <a:gd name="connsiteY2" fmla="*/ 12595 h 290387"/>
                    <a:gd name="connsiteX3" fmla="*/ 49558 w 355401"/>
                    <a:gd name="connsiteY3" fmla="*/ 47371 h 290387"/>
                    <a:gd name="connsiteX4" fmla="*/ 761 w 355401"/>
                    <a:gd name="connsiteY4" fmla="*/ 184607 h 290387"/>
                    <a:gd name="connsiteX5" fmla="*/ 6562 w 355401"/>
                    <a:gd name="connsiteY5" fmla="*/ 252502 h 290387"/>
                    <a:gd name="connsiteX6" fmla="*/ 49882 w 355401"/>
                    <a:gd name="connsiteY6" fmla="*/ 290001 h 290387"/>
                    <a:gd name="connsiteX7" fmla="*/ 316515 w 355401"/>
                    <a:gd name="connsiteY7" fmla="*/ 274342 h 290387"/>
                    <a:gd name="connsiteX8" fmla="*/ 355139 w 355401"/>
                    <a:gd name="connsiteY8" fmla="*/ 231670 h 290387"/>
                    <a:gd name="connsiteX9" fmla="*/ 353358 w 355401"/>
                    <a:gd name="connsiteY9" fmla="*/ 188131 h 290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55401" h="290387">
                      <a:moveTo>
                        <a:pt x="353358" y="188131"/>
                      </a:moveTo>
                      <a:cubicBezTo>
                        <a:pt x="353301" y="186788"/>
                        <a:pt x="353310" y="185512"/>
                        <a:pt x="353386" y="184179"/>
                      </a:cubicBezTo>
                      <a:cubicBezTo>
                        <a:pt x="354291" y="168624"/>
                        <a:pt x="357101" y="52562"/>
                        <a:pt x="242696" y="12595"/>
                      </a:cubicBezTo>
                      <a:cubicBezTo>
                        <a:pt x="119957" y="-30277"/>
                        <a:pt x="49558" y="47371"/>
                        <a:pt x="49558" y="47371"/>
                      </a:cubicBezTo>
                      <a:cubicBezTo>
                        <a:pt x="49558" y="47371"/>
                        <a:pt x="-8430" y="76879"/>
                        <a:pt x="761" y="184607"/>
                      </a:cubicBezTo>
                      <a:lnTo>
                        <a:pt x="6562" y="252502"/>
                      </a:lnTo>
                      <a:cubicBezTo>
                        <a:pt x="8458" y="274676"/>
                        <a:pt x="27670" y="291306"/>
                        <a:pt x="49882" y="290001"/>
                      </a:cubicBezTo>
                      <a:lnTo>
                        <a:pt x="316515" y="274342"/>
                      </a:lnTo>
                      <a:cubicBezTo>
                        <a:pt x="338880" y="273037"/>
                        <a:pt x="356063" y="254045"/>
                        <a:pt x="355139" y="231670"/>
                      </a:cubicBezTo>
                      <a:lnTo>
                        <a:pt x="353358" y="18813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9525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08" name="Freeform: Shape 2607">
                  <a:extLst>
                    <a:ext uri="{FF2B5EF4-FFF2-40B4-BE49-F238E27FC236}">
                      <a16:creationId xmlns:a16="http://schemas.microsoft.com/office/drawing/2014/main" id="{8461BAA9-36A8-5B41-E60B-5200C282F3B8}"/>
                    </a:ext>
                  </a:extLst>
                </p:cNvPr>
                <p:cNvSpPr/>
                <p:nvPr/>
              </p:nvSpPr>
              <p:spPr>
                <a:xfrm>
                  <a:off x="-3985383" y="3346264"/>
                  <a:ext cx="154551" cy="309060"/>
                </a:xfrm>
                <a:custGeom>
                  <a:avLst/>
                  <a:gdLst>
                    <a:gd name="connsiteX0" fmla="*/ -93 w 154551"/>
                    <a:gd name="connsiteY0" fmla="*/ 31207 h 309060"/>
                    <a:gd name="connsiteX1" fmla="*/ 142820 w 154551"/>
                    <a:gd name="connsiteY1" fmla="*/ 308747 h 309060"/>
                    <a:gd name="connsiteX2" fmla="*/ 139258 w 154551"/>
                    <a:gd name="connsiteY2" fmla="*/ 152470 h 309060"/>
                    <a:gd name="connsiteX3" fmla="*/ 61543 w 154551"/>
                    <a:gd name="connsiteY3" fmla="*/ 15586 h 309060"/>
                    <a:gd name="connsiteX4" fmla="*/ -226 w 154551"/>
                    <a:gd name="connsiteY4" fmla="*/ 21549 h 309060"/>
                    <a:gd name="connsiteX5" fmla="*/ -93 w 154551"/>
                    <a:gd name="connsiteY5" fmla="*/ 31207 h 309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4551" h="309060">
                      <a:moveTo>
                        <a:pt x="-93" y="31207"/>
                      </a:moveTo>
                      <a:lnTo>
                        <a:pt x="142820" y="308747"/>
                      </a:lnTo>
                      <a:cubicBezTo>
                        <a:pt x="142820" y="308747"/>
                        <a:pt x="170938" y="199866"/>
                        <a:pt x="139258" y="152470"/>
                      </a:cubicBezTo>
                      <a:lnTo>
                        <a:pt x="61543" y="15586"/>
                      </a:lnTo>
                      <a:cubicBezTo>
                        <a:pt x="47970" y="-8321"/>
                        <a:pt x="8822" y="-4407"/>
                        <a:pt x="-226" y="21549"/>
                      </a:cubicBezTo>
                      <a:lnTo>
                        <a:pt x="-93" y="31207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9525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277" name="TextBox 276">
            <a:extLst>
              <a:ext uri="{FF2B5EF4-FFF2-40B4-BE49-F238E27FC236}">
                <a16:creationId xmlns:a16="http://schemas.microsoft.com/office/drawing/2014/main" id="{5EA6BDB4-ABC3-8ED1-B75F-E478FE0E896B}"/>
              </a:ext>
            </a:extLst>
          </p:cNvPr>
          <p:cNvSpPr txBox="1">
            <a:spLocks/>
          </p:cNvSpPr>
          <p:nvPr/>
        </p:nvSpPr>
        <p:spPr>
          <a:xfrm>
            <a:off x="1921220" y="4393498"/>
            <a:ext cx="181660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1400" noProof="0" dirty="0"/>
              <a:t>Premium leisure increase</a:t>
            </a:r>
          </a:p>
        </p:txBody>
      </p:sp>
      <p:sp>
        <p:nvSpPr>
          <p:cNvPr id="279" name="IconEnclosure">
            <a:extLst>
              <a:ext uri="{FF2B5EF4-FFF2-40B4-BE49-F238E27FC236}">
                <a16:creationId xmlns:a16="http://schemas.microsoft.com/office/drawing/2014/main" id="{F8A1F2EE-0816-7543-EC7A-30CF32631CBE}"/>
              </a:ext>
            </a:extLst>
          </p:cNvPr>
          <p:cNvSpPr/>
          <p:nvPr/>
        </p:nvSpPr>
        <p:spPr>
          <a:xfrm>
            <a:off x="1542777" y="4393497"/>
            <a:ext cx="322073" cy="322073"/>
          </a:xfrm>
          <a:prstGeom prst="ellipse">
            <a:avLst/>
          </a:prstGeom>
          <a:solidFill>
            <a:schemeClr val="accent2"/>
          </a:solidFill>
          <a:ln w="12700" cap="sq" cmpd="sng" algn="ctr">
            <a:solidFill>
              <a:srgbClr val="061F79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clip" horzOverflow="clip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400" noProof="0" dirty="0">
                <a:solidFill>
                  <a:schemeClr val="tx1"/>
                </a:solidFill>
              </a:rPr>
              <a:t>A2</a:t>
            </a:r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E08A95F3-2556-31AD-0DD5-7F909C34655F}"/>
              </a:ext>
            </a:extLst>
          </p:cNvPr>
          <p:cNvSpPr txBox="1">
            <a:spLocks/>
          </p:cNvSpPr>
          <p:nvPr/>
        </p:nvSpPr>
        <p:spPr>
          <a:xfrm>
            <a:off x="1921220" y="5089371"/>
            <a:ext cx="181660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1400" noProof="0" dirty="0"/>
              <a:t>LCCs expanding</a:t>
            </a:r>
          </a:p>
        </p:txBody>
      </p:sp>
      <p:sp>
        <p:nvSpPr>
          <p:cNvPr id="291" name="IconEnclosure">
            <a:extLst>
              <a:ext uri="{FF2B5EF4-FFF2-40B4-BE49-F238E27FC236}">
                <a16:creationId xmlns:a16="http://schemas.microsoft.com/office/drawing/2014/main" id="{E9D0B904-6CF2-897C-3EDC-4E32124ED19F}"/>
              </a:ext>
            </a:extLst>
          </p:cNvPr>
          <p:cNvSpPr/>
          <p:nvPr/>
        </p:nvSpPr>
        <p:spPr>
          <a:xfrm>
            <a:off x="1542777" y="5089371"/>
            <a:ext cx="322073" cy="322073"/>
          </a:xfrm>
          <a:prstGeom prst="ellipse">
            <a:avLst/>
          </a:prstGeom>
          <a:solidFill>
            <a:schemeClr val="tx1"/>
          </a:solidFill>
          <a:ln w="12700" cap="sq" cmpd="sng" algn="ctr">
            <a:solidFill>
              <a:srgbClr val="061F79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clip" horzOverflow="clip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400" noProof="0" dirty="0">
                <a:solidFill>
                  <a:schemeClr val="bg1"/>
                </a:solidFill>
              </a:rPr>
              <a:t>A3</a:t>
            </a:r>
          </a:p>
        </p:txBody>
      </p: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49636E6F-AE6B-7299-C072-E2BB26FB2DF4}"/>
              </a:ext>
            </a:extLst>
          </p:cNvPr>
          <p:cNvCxnSpPr>
            <a:cxnSpLocks/>
          </p:cNvCxnSpPr>
          <p:nvPr/>
        </p:nvCxnSpPr>
        <p:spPr>
          <a:xfrm>
            <a:off x="1542776" y="4956878"/>
            <a:ext cx="2195045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SlideLogoText">
            <a:extLst>
              <a:ext uri="{FF2B5EF4-FFF2-40B4-BE49-F238E27FC236}">
                <a16:creationId xmlns:a16="http://schemas.microsoft.com/office/drawing/2014/main" id="{00729BB3-433C-B6C1-B7F9-B1286320E46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0" name="Slide Number">
            <a:extLst>
              <a:ext uri="{FF2B5EF4-FFF2-40B4-BE49-F238E27FC236}">
                <a16:creationId xmlns:a16="http://schemas.microsoft.com/office/drawing/2014/main" id="{51A41CA9-30AA-9022-F79B-35B7881B9E8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8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7B7CE8B-D681-9746-50A4-1C17C43392E6}"/>
              </a:ext>
            </a:extLst>
          </p:cNvPr>
          <p:cNvSpPr txBox="1">
            <a:spLocks/>
          </p:cNvSpPr>
          <p:nvPr/>
        </p:nvSpPr>
        <p:spPr>
          <a:xfrm>
            <a:off x="1921220" y="3818092"/>
            <a:ext cx="181660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1400" dirty="0"/>
              <a:t>Jet fuel cost pressure</a:t>
            </a:r>
            <a:endParaRPr lang="en-GB" sz="1400" noProof="0" dirty="0"/>
          </a:p>
        </p:txBody>
      </p:sp>
      <p:sp>
        <p:nvSpPr>
          <p:cNvPr id="4" name="IconEnclosure">
            <a:extLst>
              <a:ext uri="{FF2B5EF4-FFF2-40B4-BE49-F238E27FC236}">
                <a16:creationId xmlns:a16="http://schemas.microsoft.com/office/drawing/2014/main" id="{7789DA18-1381-5A66-EF62-FD47A735941D}"/>
              </a:ext>
            </a:extLst>
          </p:cNvPr>
          <p:cNvSpPr/>
          <p:nvPr/>
        </p:nvSpPr>
        <p:spPr>
          <a:xfrm>
            <a:off x="1542777" y="3818091"/>
            <a:ext cx="322073" cy="322073"/>
          </a:xfrm>
          <a:prstGeom prst="ellipse">
            <a:avLst/>
          </a:prstGeom>
          <a:solidFill>
            <a:schemeClr val="accent2"/>
          </a:solidFill>
          <a:ln w="12700" cap="sq" cmpd="sng" algn="ctr">
            <a:solidFill>
              <a:srgbClr val="061F79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clip" horzOverflow="clip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400" noProof="0" dirty="0">
                <a:solidFill>
                  <a:schemeClr val="tx1"/>
                </a:solidFill>
              </a:rPr>
              <a:t>A1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8FAD43-5CC5-02A4-1FBB-0822CB78CB5C}"/>
              </a:ext>
            </a:extLst>
          </p:cNvPr>
          <p:cNvCxnSpPr>
            <a:cxnSpLocks/>
          </p:cNvCxnSpPr>
          <p:nvPr/>
        </p:nvCxnSpPr>
        <p:spPr>
          <a:xfrm>
            <a:off x="1542776" y="4381472"/>
            <a:ext cx="2195045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7326732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78C24C-E4AE-9E47-40C2-3534F4D59B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7BE49EC2-92A9-D64F-7235-3FE5709E05C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6336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9" imgW="404" imgH="405" progId="TCLayout.ActiveDocument.1">
                  <p:embed/>
                </p:oleObj>
              </mc:Choice>
              <mc:Fallback>
                <p:oleObj name="think-cell Slide" r:id="rId59" imgW="404" imgH="405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7BE49EC2-92A9-D64F-7235-3FE5709E05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ACF37E33-BEB4-3F92-EEF2-0521D07A256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8311"/>
            <a:ext cx="11082528" cy="715581"/>
          </a:xfrm>
          <a:noFill/>
          <a:ln/>
        </p:spPr>
        <p:txBody>
          <a:bodyPr vert="horz" rIns="0">
            <a:spAutoFit/>
          </a:bodyPr>
          <a:lstStyle/>
          <a:p>
            <a:r>
              <a:rPr lang="en-US" dirty="0"/>
              <a:t>A1 | Current jet fuel prices will influence airline profitability and passenger demand, but these levels are not unheard of</a:t>
            </a:r>
          </a:p>
        </p:txBody>
      </p:sp>
      <p:sp>
        <p:nvSpPr>
          <p:cNvPr id="498" name="3. Subtitle">
            <a:extLst>
              <a:ext uri="{FF2B5EF4-FFF2-40B4-BE49-F238E27FC236}">
                <a16:creationId xmlns:a16="http://schemas.microsoft.com/office/drawing/2014/main" id="{0A5E87FF-020A-8240-1CDF-D04A21CC4EBC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03861"/>
            <a:ext cx="11082528" cy="246221"/>
          </a:xfrm>
          <a:noFill/>
          <a:ln/>
        </p:spPr>
        <p:txBody>
          <a:bodyPr/>
          <a:lstStyle/>
          <a:p>
            <a:r>
              <a:rPr lang="en-US" dirty="0"/>
              <a:t>Nominal and real</a:t>
            </a:r>
            <a:r>
              <a:rPr lang="en-US" baseline="30000" dirty="0"/>
              <a:t>1</a:t>
            </a:r>
            <a:r>
              <a:rPr lang="en-US" dirty="0"/>
              <a:t> jet fuel prices by month, Jul 1991 – Jun 2026 (until Jun 3</a:t>
            </a:r>
            <a:r>
              <a:rPr lang="en-US" baseline="30000" dirty="0"/>
              <a:t>rd</a:t>
            </a:r>
            <a:r>
              <a:rPr lang="en-US" dirty="0"/>
              <a:t>), USD/barrel</a:t>
            </a:r>
          </a:p>
        </p:txBody>
      </p:sp>
      <p:sp>
        <p:nvSpPr>
          <p:cNvPr id="31" name="5. Source">
            <a:extLst>
              <a:ext uri="{FF2B5EF4-FFF2-40B4-BE49-F238E27FC236}">
                <a16:creationId xmlns:a16="http://schemas.microsoft.com/office/drawing/2014/main" id="{E75F634F-6CE4-AD47-729B-3D513A1E87C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Source: Argus Media Group; BLS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9184B022-9AAA-C493-65C3-D4CEC9B559D5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104986966"/>
              </p:ext>
            </p:extLst>
          </p:nvPr>
        </p:nvGraphicFramePr>
        <p:xfrm>
          <a:off x="876300" y="1871663"/>
          <a:ext cx="10272713" cy="4079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1"/>
          </a:graphicData>
        </a:graphic>
      </p:graphicFrame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8F0DB52-3E19-3F35-ABC6-13BB796BF0E6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773113" y="5778500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  <a:defRPr/>
            </a:pPr>
            <a:fld id="{459618E5-8173-4CB1-B753-80FA16F524AE}" type="datetime'''''''''''''0'''''''''''''">
              <a:rPr lang="en-US" altLang="en-US" sz="1200" smtClean="0">
                <a:cs typeface="+mn-cs"/>
              </a:rPr>
              <a:pPr lvl="0" algn="r">
                <a:spcBef>
                  <a:spcPct val="0"/>
                </a:spcBef>
                <a:spcAft>
                  <a:spcPct val="0"/>
                </a:spcAft>
                <a:defRPr/>
              </a:pPr>
              <a:t>0</a:t>
            </a:fld>
            <a:endParaRPr kumimoji="0" lang="en-US" sz="1200" b="0" i="0" strike="noStrike" kern="1200" cap="none" spc="0" normalizeH="0" baseline="0" noProof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EE185C5F-1FA8-56F8-B4FD-3F31B42B558F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688976" y="5343525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  <a:defRPr/>
            </a:pPr>
            <a:fld id="{0DBD82F8-5D56-4279-94D4-9D3B86F0C066}" type="datetime'''''''''''3''''''''''''''''0'''''''''">
              <a:rPr lang="en-US" altLang="en-US" sz="1200" smtClean="0">
                <a:cs typeface="+mn-cs"/>
              </a:rPr>
              <a:pPr lvl="0" algn="r">
                <a:spcBef>
                  <a:spcPct val="0"/>
                </a:spcBef>
                <a:spcAft>
                  <a:spcPct val="0"/>
                </a:spcAft>
                <a:defRPr/>
              </a:pPr>
              <a:t>30</a:t>
            </a:fld>
            <a:endParaRPr kumimoji="0" lang="en-US" sz="1200" b="0" i="0" strike="noStrike" kern="1200" cap="none" spc="0" normalizeH="0" baseline="0" noProof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B80C11F-997E-2A13-067F-F8CADD67E2EE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688976" y="49085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  <a:defRPr/>
            </a:pPr>
            <a:fld id="{8BF43279-FEDD-4A82-8130-EDE51D32E3AF}" type="datetime'''6''''''''0'''''''''''''''''''">
              <a:rPr lang="en-US" altLang="en-US" sz="1200" smtClean="0">
                <a:cs typeface="+mn-cs"/>
              </a:rPr>
              <a:pPr lvl="0" algn="r">
                <a:spcBef>
                  <a:spcPct val="0"/>
                </a:spcBef>
                <a:spcAft>
                  <a:spcPct val="0"/>
                </a:spcAft>
                <a:defRPr/>
              </a:pPr>
              <a:t>60</a:t>
            </a:fld>
            <a:endParaRPr kumimoji="0" lang="en-US" sz="1200" b="0" i="0" strike="noStrike" kern="1200" cap="none" spc="0" normalizeH="0" baseline="0" noProof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5F2EBD01-4FA6-0526-A699-AEB9D9A30213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688976" y="4473575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  <a:defRPr/>
            </a:pPr>
            <a:fld id="{8D01C270-F661-4244-82F0-F94B07B9B27C}" type="datetime'''''''''''''''''''''''''''''''''''''''''''9''''''''0'">
              <a:rPr lang="en-US" altLang="en-US" sz="1200" smtClean="0">
                <a:cs typeface="+mn-cs"/>
              </a:rPr>
              <a:pPr lvl="0" algn="r">
                <a:spcBef>
                  <a:spcPct val="0"/>
                </a:spcBef>
                <a:spcAft>
                  <a:spcPct val="0"/>
                </a:spcAft>
                <a:defRPr/>
              </a:pPr>
              <a:t>90</a:t>
            </a:fld>
            <a:endParaRPr kumimoji="0" lang="en-US" sz="1200" b="0" i="0" strike="noStrike" kern="1200" cap="none" spc="0" normalizeH="0" baseline="0" noProof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59CF118-D70D-12BC-FD0E-0CFEC03FE0C8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604838" y="403860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  <a:defRPr/>
            </a:pPr>
            <a:fld id="{D2C5FF82-7EC7-4692-BA9B-237B1DB4F1F7}" type="datetime'''''''1''''''''''''''''''''''''2''''''''0'''">
              <a:rPr lang="en-US" altLang="en-US" sz="1200" smtClean="0">
                <a:cs typeface="+mn-cs"/>
              </a:rPr>
              <a:pPr lvl="0" algn="r">
                <a:spcBef>
                  <a:spcPct val="0"/>
                </a:spcBef>
                <a:spcAft>
                  <a:spcPct val="0"/>
                </a:spcAft>
                <a:defRPr/>
              </a:pPr>
              <a:t>120</a:t>
            </a:fld>
            <a:endParaRPr kumimoji="0" lang="en-US" sz="1200" b="0" i="0" strike="noStrike" kern="1200" cap="none" spc="0" normalizeH="0" baseline="0" noProof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0E60B702-139A-CBC9-5FD9-727620DCC291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604838" y="3603625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  <a:defRPr/>
            </a:pPr>
            <a:fld id="{0A04086E-8C7A-48B3-A252-58E768A82774}" type="datetime'1''''''''''''''''5''''''''0'">
              <a:rPr lang="en-US" altLang="en-US" sz="1200" smtClean="0">
                <a:cs typeface="+mn-cs"/>
              </a:rPr>
              <a:pPr lvl="0" algn="r">
                <a:spcBef>
                  <a:spcPct val="0"/>
                </a:spcBef>
                <a:spcAft>
                  <a:spcPct val="0"/>
                </a:spcAft>
                <a:defRPr/>
              </a:pPr>
              <a:t>150</a:t>
            </a:fld>
            <a:endParaRPr kumimoji="0" lang="en-US" sz="1200" b="0" i="0" strike="noStrike" kern="1200" cap="none" spc="0" normalizeH="0" baseline="0" noProof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E13FC947-5313-7348-42F7-18F5E71C7D33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604838" y="31686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  <a:defRPr/>
            </a:pPr>
            <a:fld id="{FC4428CF-D5FB-4059-AEDE-AAB56623BE5F}" type="datetime'''''''1''''''''''''''''''''''''''''8''''0'''''">
              <a:rPr lang="en-US" altLang="en-US" sz="1200" smtClean="0">
                <a:cs typeface="+mn-cs"/>
              </a:rPr>
              <a:pPr lvl="0" algn="r">
                <a:spcBef>
                  <a:spcPct val="0"/>
                </a:spcBef>
                <a:spcAft>
                  <a:spcPct val="0"/>
                </a:spcAft>
                <a:defRPr/>
              </a:pPr>
              <a:t>180</a:t>
            </a:fld>
            <a:endParaRPr kumimoji="0" lang="en-US" sz="1200" b="0" i="0" strike="noStrike" kern="1200" cap="none" spc="0" normalizeH="0" baseline="0" noProof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9D6335CD-7DC0-E384-0F42-4793CC8ACAF6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604838" y="2733675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  <a:defRPr/>
            </a:pPr>
            <a:fld id="{017875BF-73B0-46F4-A8DD-BEFB227305F7}" type="datetime'''''''''''''''''''2''''''''''''''1''''''''''''''''''0'''">
              <a:rPr lang="en-US" altLang="en-US" sz="1200" smtClean="0">
                <a:cs typeface="+mn-cs"/>
              </a:rPr>
              <a:pPr lvl="0" algn="r">
                <a:spcBef>
                  <a:spcPct val="0"/>
                </a:spcBef>
                <a:spcAft>
                  <a:spcPct val="0"/>
                </a:spcAft>
                <a:defRPr/>
              </a:pPr>
              <a:t>210</a:t>
            </a:fld>
            <a:endParaRPr kumimoji="0" lang="en-US" sz="1200" b="0" i="0" strike="noStrike" kern="1200" cap="none" spc="0" normalizeH="0" baseline="0" noProof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FE788E7-190E-4F42-D3AF-FB66EF7D6317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604838" y="229870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  <a:defRPr/>
            </a:pPr>
            <a:fld id="{A958401D-6762-4EA5-AF26-6A8E95339AEC}" type="datetime'''2''''''4''''''''''''''''''''0'''''''''''''''">
              <a:rPr lang="en-US" altLang="en-US" sz="1200" smtClean="0">
                <a:cs typeface="+mn-cs"/>
              </a:rPr>
              <a:pPr lvl="0" algn="r">
                <a:spcBef>
                  <a:spcPct val="0"/>
                </a:spcBef>
                <a:spcAft>
                  <a:spcPct val="0"/>
                </a:spcAft>
                <a:defRPr/>
              </a:pPr>
              <a:t>240</a:t>
            </a:fld>
            <a:endParaRPr kumimoji="0" lang="en-US" sz="1200" b="0" i="0" strike="noStrike" kern="1200" cap="none" spc="0" normalizeH="0" baseline="0" noProof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F67A52B9-5963-597A-8597-3F30DF89565D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604838" y="1863725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  <a:defRPr/>
            </a:pPr>
            <a:fld id="{7A805B5C-2F97-429E-89AD-D276F7CF98A0}" type="datetime'2''''''''''''''7''''''''''''''''''''''''''0'''''">
              <a:rPr lang="en-US" altLang="en-US" sz="1200" smtClean="0">
                <a:cs typeface="+mn-cs"/>
              </a:rPr>
              <a:pPr lvl="0" algn="r">
                <a:spcBef>
                  <a:spcPct val="0"/>
                </a:spcBef>
                <a:spcAft>
                  <a:spcPct val="0"/>
                </a:spcAft>
                <a:defRPr/>
              </a:pPr>
              <a:t>270</a:t>
            </a:fld>
            <a:endParaRPr kumimoji="0" lang="en-US" sz="1200" b="0" i="0" strike="noStrike" kern="1200" cap="none" spc="0" normalizeH="0" baseline="0" noProof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05B0BD8-E876-DA26-74DF-E21AD5B7F4D5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958850" y="2968625"/>
            <a:ext cx="1010761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09" name="Text Placeholder 2">
            <a:extLst>
              <a:ext uri="{FF2B5EF4-FFF2-40B4-BE49-F238E27FC236}">
                <a16:creationId xmlns:a16="http://schemas.microsoft.com/office/drawing/2014/main" id="{CB599B18-2DA5-54CA-6C71-4C540BF96AC8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1592263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A34800A-A315-4AB4-9E14-517821B93A7C}" type="datetime'''''''''''''''''''''''''''''''''''''9''''4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94</a:t>
            </a:fld>
            <a:endParaRPr lang="en-US" sz="1200">
              <a:cs typeface="+mn-cs"/>
            </a:endParaRPr>
          </a:p>
        </p:txBody>
      </p:sp>
      <p:sp>
        <p:nvSpPr>
          <p:cNvPr id="521" name="Text Placeholder 2">
            <a:extLst>
              <a:ext uri="{FF2B5EF4-FFF2-40B4-BE49-F238E27FC236}">
                <a16:creationId xmlns:a16="http://schemas.microsoft.com/office/drawing/2014/main" id="{AE3AF7A4-224E-F4CA-07DE-A5FB8EDA5D9A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1881188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C78B39B-B35A-4DF6-9888-85F6B5CA0382}" type="datetime'''''9''''''''''''5''''''''''''''''''''''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95</a:t>
            </a:fld>
            <a:endParaRPr lang="en-US" sz="1200">
              <a:cs typeface="+mn-cs"/>
            </a:endParaRPr>
          </a:p>
        </p:txBody>
      </p:sp>
      <p:sp>
        <p:nvSpPr>
          <p:cNvPr id="533" name="Text Placeholder 2">
            <a:extLst>
              <a:ext uri="{FF2B5EF4-FFF2-40B4-BE49-F238E27FC236}">
                <a16:creationId xmlns:a16="http://schemas.microsoft.com/office/drawing/2014/main" id="{4637426C-ADC5-6486-F52C-5D255BD046B5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2171700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0B3C7AA-9B57-4DF4-9103-8C9CCD2E9A98}" type="datetime'''''''''''''''''''''9''''''''''''''''''''''''''6''''''''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96</a:t>
            </a:fld>
            <a:endParaRPr lang="en-US" sz="1200">
              <a:cs typeface="+mn-cs"/>
            </a:endParaRPr>
          </a:p>
        </p:txBody>
      </p:sp>
      <p:sp>
        <p:nvSpPr>
          <p:cNvPr id="545" name="Text Placeholder 2">
            <a:extLst>
              <a:ext uri="{FF2B5EF4-FFF2-40B4-BE49-F238E27FC236}">
                <a16:creationId xmlns:a16="http://schemas.microsoft.com/office/drawing/2014/main" id="{2C0A1C05-B86D-4C82-0962-266990D4A2A9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460625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4877B2A-8390-49B0-B406-59FEFF94DBD6}" type="datetime'''9''''''''''''''''7''''''''''''''''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97</a:t>
            </a:fld>
            <a:endParaRPr lang="en-US" sz="1200">
              <a:cs typeface="+mn-cs"/>
            </a:endParaRPr>
          </a:p>
        </p:txBody>
      </p:sp>
      <p:sp>
        <p:nvSpPr>
          <p:cNvPr id="557" name="Text Placeholder 2">
            <a:extLst>
              <a:ext uri="{FF2B5EF4-FFF2-40B4-BE49-F238E27FC236}">
                <a16:creationId xmlns:a16="http://schemas.microsoft.com/office/drawing/2014/main" id="{3DAE6A49-F752-5C09-8314-EFF5B1D99336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2749550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5CD81FD-328E-456F-B1E8-1946A16F9F94}" type="datetime'98''''''''''''''''''''''''''''''''''''''''''''''''''''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98</a:t>
            </a:fld>
            <a:endParaRPr lang="en-US" sz="1200">
              <a:cs typeface="+mn-cs"/>
            </a:endParaRPr>
          </a:p>
        </p:txBody>
      </p:sp>
      <p:sp>
        <p:nvSpPr>
          <p:cNvPr id="569" name="Text Placeholder 2">
            <a:extLst>
              <a:ext uri="{FF2B5EF4-FFF2-40B4-BE49-F238E27FC236}">
                <a16:creationId xmlns:a16="http://schemas.microsoft.com/office/drawing/2014/main" id="{75E130D6-0CA4-CBE4-3C83-1472E8FB3426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3040063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31B6472-D0DF-422C-B372-089A30620730}" type="datetime'''''''''''''''''''''''''''''''''''''''''''''''''''''''9''9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99</a:t>
            </a:fld>
            <a:endParaRPr lang="en-US" sz="1200">
              <a:cs typeface="+mn-cs"/>
            </a:endParaRPr>
          </a:p>
        </p:txBody>
      </p:sp>
      <p:sp>
        <p:nvSpPr>
          <p:cNvPr id="581" name="Text Placeholder 2">
            <a:extLst>
              <a:ext uri="{FF2B5EF4-FFF2-40B4-BE49-F238E27FC236}">
                <a16:creationId xmlns:a16="http://schemas.microsoft.com/office/drawing/2014/main" id="{1CCAA2EA-E5E2-F11A-1165-301305439089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3244850" y="591978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63AF937-ADA4-42FC-81FE-E8F0FBB1F9F1}" type="datetime'''''''''''20''''''0''''''''0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00</a:t>
            </a:fld>
            <a:endParaRPr lang="en-US" sz="1200">
              <a:cs typeface="+mn-cs"/>
            </a:endParaRPr>
          </a:p>
        </p:txBody>
      </p:sp>
      <p:sp>
        <p:nvSpPr>
          <p:cNvPr id="593" name="Text Placeholder 2">
            <a:extLst>
              <a:ext uri="{FF2B5EF4-FFF2-40B4-BE49-F238E27FC236}">
                <a16:creationId xmlns:a16="http://schemas.microsoft.com/office/drawing/2014/main" id="{8FE7A93C-C066-B288-3C54-25D702E34A5D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3617913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CC67F9A-60DD-4F6C-85DA-3C4DDC64C81F}" type="datetime'''''''''''''''''0''''''''''1''''''''''''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1</a:t>
            </a:fld>
            <a:endParaRPr lang="en-US" sz="1200">
              <a:cs typeface="+mn-cs"/>
            </a:endParaRPr>
          </a:p>
        </p:txBody>
      </p:sp>
      <p:sp>
        <p:nvSpPr>
          <p:cNvPr id="605" name="Text Placeholder 2">
            <a:extLst>
              <a:ext uri="{FF2B5EF4-FFF2-40B4-BE49-F238E27FC236}">
                <a16:creationId xmlns:a16="http://schemas.microsoft.com/office/drawing/2014/main" id="{98588E96-6A37-C980-B1BF-36E2F8C04762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3908425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059F384-975C-4DF1-BFBE-8BFDC503A637}" type="datetime'''''''''0''''''''''''''''''''2''''''''''''''''''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2</a:t>
            </a:fld>
            <a:endParaRPr lang="en-US" sz="1200">
              <a:cs typeface="+mn-cs"/>
            </a:endParaRPr>
          </a:p>
        </p:txBody>
      </p:sp>
      <p:sp>
        <p:nvSpPr>
          <p:cNvPr id="617" name="Text Placeholder 2">
            <a:extLst>
              <a:ext uri="{FF2B5EF4-FFF2-40B4-BE49-F238E27FC236}">
                <a16:creationId xmlns:a16="http://schemas.microsoft.com/office/drawing/2014/main" id="{BFDF02FF-7F31-9826-69D5-E7BFDBAC0832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4197350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B5B6572-8F00-48DF-86BA-E854AE90697C}" type="datetime'''0''''''''''''''''3''''''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3</a:t>
            </a:fld>
            <a:endParaRPr lang="en-US" sz="1200">
              <a:cs typeface="+mn-cs"/>
            </a:endParaRPr>
          </a:p>
        </p:txBody>
      </p:sp>
      <p:sp>
        <p:nvSpPr>
          <p:cNvPr id="629" name="Text Placeholder 2">
            <a:extLst>
              <a:ext uri="{FF2B5EF4-FFF2-40B4-BE49-F238E27FC236}">
                <a16:creationId xmlns:a16="http://schemas.microsoft.com/office/drawing/2014/main" id="{AFEBD58F-9B02-11C6-19D0-ED5EAE42743A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486275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354C657-A840-49BF-A0E9-4ADF411DBA1B}" type="datetime'''''''''''0''''''''''''''''''4''''''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4</a:t>
            </a:fld>
            <a:endParaRPr lang="en-US" sz="1200">
              <a:cs typeface="+mn-cs"/>
            </a:endParaRPr>
          </a:p>
        </p:txBody>
      </p:sp>
      <p:sp>
        <p:nvSpPr>
          <p:cNvPr id="641" name="Text Placeholder 2">
            <a:extLst>
              <a:ext uri="{FF2B5EF4-FFF2-40B4-BE49-F238E27FC236}">
                <a16:creationId xmlns:a16="http://schemas.microsoft.com/office/drawing/2014/main" id="{A68436E8-C306-50B8-0922-40FB47E49288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776788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EB128FE-0D9B-4483-8F2E-2FC4A008DDFF}" type="datetime'''''''''''''''''''''''05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5</a:t>
            </a:fld>
            <a:endParaRPr lang="en-US" sz="1200">
              <a:cs typeface="+mn-cs"/>
            </a:endParaRPr>
          </a:p>
        </p:txBody>
      </p:sp>
      <p:sp>
        <p:nvSpPr>
          <p:cNvPr id="653" name="Text Placeholder 2">
            <a:extLst>
              <a:ext uri="{FF2B5EF4-FFF2-40B4-BE49-F238E27FC236}">
                <a16:creationId xmlns:a16="http://schemas.microsoft.com/office/drawing/2014/main" id="{28AFA912-EBCE-9366-67DA-EE887E8603CD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5065713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4B86AEC-8F18-49CA-903E-9EE280D7E24F}" type="datetime'''''''''''0''''''''''''''''''''''''''''''''''''''''''''''6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6</a:t>
            </a:fld>
            <a:endParaRPr lang="en-US" sz="1200">
              <a:cs typeface="+mn-cs"/>
            </a:endParaRPr>
          </a:p>
        </p:txBody>
      </p:sp>
      <p:sp>
        <p:nvSpPr>
          <p:cNvPr id="665" name="Text Placeholder 2">
            <a:extLst>
              <a:ext uri="{FF2B5EF4-FFF2-40B4-BE49-F238E27FC236}">
                <a16:creationId xmlns:a16="http://schemas.microsoft.com/office/drawing/2014/main" id="{F1B6AF0C-7C0B-5F7E-D8BD-61D1E66A3F57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354638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D3CD054-1E3C-4513-A01C-5C181982A815}" type="datetime'''''''''''''''''''''''''''''''''''''''''0''7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7</a:t>
            </a:fld>
            <a:endParaRPr lang="en-US" sz="1200">
              <a:cs typeface="+mn-cs"/>
            </a:endParaRPr>
          </a:p>
        </p:txBody>
      </p:sp>
      <p:sp>
        <p:nvSpPr>
          <p:cNvPr id="677" name="Text Placeholder 2">
            <a:extLst>
              <a:ext uri="{FF2B5EF4-FFF2-40B4-BE49-F238E27FC236}">
                <a16:creationId xmlns:a16="http://schemas.microsoft.com/office/drawing/2014/main" id="{1A8EF211-9F7D-BD15-E765-871922CD511E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645150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E4E2DF0-8495-4AE0-94BE-7E8A467D66A6}" type="datetime'''''''''''''''0''''''''''''''''''8''''''''''''''''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8</a:t>
            </a:fld>
            <a:endParaRPr lang="en-US" sz="1200">
              <a:cs typeface="+mn-cs"/>
            </a:endParaRPr>
          </a:p>
        </p:txBody>
      </p:sp>
      <p:sp>
        <p:nvSpPr>
          <p:cNvPr id="689" name="Text Placeholder 2">
            <a:extLst>
              <a:ext uri="{FF2B5EF4-FFF2-40B4-BE49-F238E27FC236}">
                <a16:creationId xmlns:a16="http://schemas.microsoft.com/office/drawing/2014/main" id="{F6DAA941-C096-3571-6573-BEE44619B7CE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5934075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4040E34-DAC4-4DEA-8226-8F04EBA458D2}" type="datetime'''''''''''''0''''''''''''''''''''''''''''''''''9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9</a:t>
            </a:fld>
            <a:endParaRPr lang="en-US" sz="1200">
              <a:cs typeface="+mn-cs"/>
            </a:endParaRPr>
          </a:p>
        </p:txBody>
      </p:sp>
      <p:sp>
        <p:nvSpPr>
          <p:cNvPr id="701" name="Text Placeholder 2">
            <a:extLst>
              <a:ext uri="{FF2B5EF4-FFF2-40B4-BE49-F238E27FC236}">
                <a16:creationId xmlns:a16="http://schemas.microsoft.com/office/drawing/2014/main" id="{5A2F51C2-45CC-6E7A-A1B4-A9849ED821BF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6223000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0B08D8B-F75A-40F7-BAE9-69065E3ABCE0}" type="datetime'''1''0''''''''''''''''''''''''''''''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200">
              <a:cs typeface="+mn-cs"/>
            </a:endParaRPr>
          </a:p>
        </p:txBody>
      </p:sp>
      <p:sp>
        <p:nvSpPr>
          <p:cNvPr id="713" name="Text Placeholder 2">
            <a:extLst>
              <a:ext uri="{FF2B5EF4-FFF2-40B4-BE49-F238E27FC236}">
                <a16:creationId xmlns:a16="http://schemas.microsoft.com/office/drawing/2014/main" id="{D23A3BD4-EE05-D40C-C2EB-DDBBD6B68BFE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6519863" y="5919788"/>
            <a:ext cx="169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2E62540-8B8D-4387-A16B-F9055CA0935E}" type="datetime'''''''''''''1''''''''''''''''1''''''''''''''''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US" sz="1200">
              <a:cs typeface="+mn-cs"/>
            </a:endParaRPr>
          </a:p>
        </p:txBody>
      </p:sp>
      <p:sp>
        <p:nvSpPr>
          <p:cNvPr id="725" name="Text Placeholder 2">
            <a:extLst>
              <a:ext uri="{FF2B5EF4-FFF2-40B4-BE49-F238E27FC236}">
                <a16:creationId xmlns:a16="http://schemas.microsoft.com/office/drawing/2014/main" id="{ADCF6DDB-0D09-8161-4123-1437CD8C7D8E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6802438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07CC54-1661-4B57-8629-0A3C2D983D6F}" type="datetime'''1''''''''''''''2''''''''''''''''''''''''''''''''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US" sz="1200">
              <a:cs typeface="+mn-cs"/>
            </a:endParaRPr>
          </a:p>
        </p:txBody>
      </p:sp>
      <p:sp>
        <p:nvSpPr>
          <p:cNvPr id="737" name="Text Placeholder 2">
            <a:extLst>
              <a:ext uri="{FF2B5EF4-FFF2-40B4-BE49-F238E27FC236}">
                <a16:creationId xmlns:a16="http://schemas.microsoft.com/office/drawing/2014/main" id="{1AC50506-3891-9F4A-00E3-1B1F8FA774D1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7091363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28722C4-BE48-4881-857F-6578D2FD011C}" type="datetime'''1''''''''''''''''''''''''''''''''''''''''''''''3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US" sz="1200">
              <a:cs typeface="+mn-cs"/>
            </a:endParaRPr>
          </a:p>
        </p:txBody>
      </p:sp>
      <p:sp>
        <p:nvSpPr>
          <p:cNvPr id="749" name="Text Placeholder 2">
            <a:extLst>
              <a:ext uri="{FF2B5EF4-FFF2-40B4-BE49-F238E27FC236}">
                <a16:creationId xmlns:a16="http://schemas.microsoft.com/office/drawing/2014/main" id="{4CA132A4-2160-B49A-2FBF-543D0223ACE0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7381875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558015E-FF19-4D69-912C-EFFFC08C1EF7}" type="datetime'''''''14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US" sz="1200">
              <a:cs typeface="+mn-cs"/>
            </a:endParaRPr>
          </a:p>
        </p:txBody>
      </p:sp>
      <p:sp>
        <p:nvSpPr>
          <p:cNvPr id="761" name="Text Placeholder 2">
            <a:extLst>
              <a:ext uri="{FF2B5EF4-FFF2-40B4-BE49-F238E27FC236}">
                <a16:creationId xmlns:a16="http://schemas.microsoft.com/office/drawing/2014/main" id="{05FCDA37-8470-9D14-81D2-E366E83A813C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7670800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DE77B0A-35DE-4F96-98F8-D7016EE06624}" type="datetime'''''''''''''''1''''''''''5''''''''''''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US" sz="1200">
              <a:cs typeface="+mn-cs"/>
            </a:endParaRPr>
          </a:p>
        </p:txBody>
      </p:sp>
      <p:sp>
        <p:nvSpPr>
          <p:cNvPr id="773" name="Text Placeholder 2">
            <a:extLst>
              <a:ext uri="{FF2B5EF4-FFF2-40B4-BE49-F238E27FC236}">
                <a16:creationId xmlns:a16="http://schemas.microsoft.com/office/drawing/2014/main" id="{1DB2EA24-927E-159E-FBA5-DF11F43C0046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7961313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043100D-2669-4F58-A710-A9445A6F5148}" type="datetime'''''''''1''''''''''''6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US" sz="1200">
              <a:cs typeface="+mn-cs"/>
            </a:endParaRPr>
          </a:p>
        </p:txBody>
      </p:sp>
      <p:sp>
        <p:nvSpPr>
          <p:cNvPr id="478" name="Text Placeholder 2">
            <a:extLst>
              <a:ext uri="{FF2B5EF4-FFF2-40B4-BE49-F238E27FC236}">
                <a16:creationId xmlns:a16="http://schemas.microsoft.com/office/drawing/2014/main" id="{919C1DB0-D13E-D356-C533-0692D50146CF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784225" y="591978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6065EF6-1997-4B0C-8798-897E227A810F}" type="datetime'''''''''1''''''''''''''''''''9''9''1''''''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991</a:t>
            </a:fld>
            <a:endParaRPr lang="en-US" sz="1200">
              <a:cs typeface="+mn-cs"/>
            </a:endParaRPr>
          </a:p>
        </p:txBody>
      </p:sp>
      <p:sp>
        <p:nvSpPr>
          <p:cNvPr id="797" name="Text Placeholder 2">
            <a:extLst>
              <a:ext uri="{FF2B5EF4-FFF2-40B4-BE49-F238E27FC236}">
                <a16:creationId xmlns:a16="http://schemas.microsoft.com/office/drawing/2014/main" id="{B150D98D-E6C5-655B-4196-2D959B386F2B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8539163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FB1393F-A58C-493D-9933-25F2F8DC3BA8}" type="datetime'1''''''''''8''''''''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en-US" sz="1200">
              <a:cs typeface="+mn-cs"/>
            </a:endParaRPr>
          </a:p>
        </p:txBody>
      </p:sp>
      <p:sp>
        <p:nvSpPr>
          <p:cNvPr id="809" name="Text Placeholder 2">
            <a:extLst>
              <a:ext uri="{FF2B5EF4-FFF2-40B4-BE49-F238E27FC236}">
                <a16:creationId xmlns:a16="http://schemas.microsoft.com/office/drawing/2014/main" id="{8140DEC1-5EF7-C71A-E0B4-43821690AAAE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8829675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E6F83C5-A272-4372-A440-92E0355CE653}" type="datetime'''''''''''''''''''''''1''''''''''''''''''''''''''''''''9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en-US" sz="1200">
              <a:cs typeface="+mn-cs"/>
            </a:endParaRPr>
          </a:p>
        </p:txBody>
      </p:sp>
      <p:sp>
        <p:nvSpPr>
          <p:cNvPr id="821" name="Text Placeholder 2">
            <a:extLst>
              <a:ext uri="{FF2B5EF4-FFF2-40B4-BE49-F238E27FC236}">
                <a16:creationId xmlns:a16="http://schemas.microsoft.com/office/drawing/2014/main" id="{8CD1C6D3-BCC9-B64B-1357-14CB5EACE421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9118600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34704D0-5151-41AD-9D0A-109ACB6C5D1B}" type="datetime'''''''''''''''''''''''''''''''''''''''''2''0''''''''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sz="1200">
              <a:cs typeface="+mn-cs"/>
            </a:endParaRPr>
          </a:p>
        </p:txBody>
      </p:sp>
      <p:sp>
        <p:nvSpPr>
          <p:cNvPr id="833" name="Text Placeholder 2">
            <a:extLst>
              <a:ext uri="{FF2B5EF4-FFF2-40B4-BE49-F238E27FC236}">
                <a16:creationId xmlns:a16="http://schemas.microsoft.com/office/drawing/2014/main" id="{DC2EDB36-1E75-1D84-7E52-3A6297852BBF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9407525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6F4716C-C37B-46DB-93EF-BBA928198C8E}" type="datetime'''''''''''''''''''''''''''''''''''''''''''''2''1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en-US" sz="1200">
              <a:cs typeface="+mn-cs"/>
            </a:endParaRPr>
          </a:p>
        </p:txBody>
      </p:sp>
      <p:sp>
        <p:nvSpPr>
          <p:cNvPr id="845" name="Text Placeholder 2">
            <a:extLst>
              <a:ext uri="{FF2B5EF4-FFF2-40B4-BE49-F238E27FC236}">
                <a16:creationId xmlns:a16="http://schemas.microsoft.com/office/drawing/2014/main" id="{A0499F02-B4B8-7F2A-DDF3-12E186346597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9698038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AAC029F-D348-46D5-BA79-F15560CF0363}" type="datetime'''''''2''''''''''''''''''''''''''''2''''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en-US" sz="1200">
              <a:cs typeface="+mn-cs"/>
            </a:endParaRPr>
          </a:p>
        </p:txBody>
      </p:sp>
      <p:sp>
        <p:nvSpPr>
          <p:cNvPr id="785" name="Text Placeholder 2">
            <a:extLst>
              <a:ext uri="{FF2B5EF4-FFF2-40B4-BE49-F238E27FC236}">
                <a16:creationId xmlns:a16="http://schemas.microsoft.com/office/drawing/2014/main" id="{C0076CE3-3E7F-F562-C4CC-9448A1FEBEF5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8250238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51C5C47-E344-47E1-A2DA-3C6A32935CEB}" type="datetime'''''''''1''''''''''7''''''''''''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US" sz="1200">
              <a:cs typeface="+mn-cs"/>
            </a:endParaRPr>
          </a:p>
        </p:txBody>
      </p:sp>
      <p:sp>
        <p:nvSpPr>
          <p:cNvPr id="869" name="Text Placeholder 2">
            <a:extLst>
              <a:ext uri="{FF2B5EF4-FFF2-40B4-BE49-F238E27FC236}">
                <a16:creationId xmlns:a16="http://schemas.microsoft.com/office/drawing/2014/main" id="{DA54799C-AC8A-DE07-9FF8-B623AE1A7165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10275888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F009FC2-17ED-4B40-9D01-78BD127704D9}" type="datetime'''''''''2''''''''''''4''''''''''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en-US" sz="1200">
              <a:cs typeface="+mn-cs"/>
            </a:endParaRPr>
          </a:p>
        </p:txBody>
      </p:sp>
      <p:sp>
        <p:nvSpPr>
          <p:cNvPr id="881" name="Text Placeholder 2">
            <a:extLst>
              <a:ext uri="{FF2B5EF4-FFF2-40B4-BE49-F238E27FC236}">
                <a16:creationId xmlns:a16="http://schemas.microsoft.com/office/drawing/2014/main" id="{F78F0118-7109-31CD-7A4D-91F5B17CA398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10566400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58BB391-14E6-4A17-88C0-2E5921A29EB1}" type="datetime'''2''''''''''''''''''''''5''''''''''''''''''''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en-US" sz="1200">
              <a:cs typeface="+mn-cs"/>
            </a:endParaRPr>
          </a:p>
        </p:txBody>
      </p:sp>
      <p:sp>
        <p:nvSpPr>
          <p:cNvPr id="893" name="Text Placeholder 2">
            <a:extLst>
              <a:ext uri="{FF2B5EF4-FFF2-40B4-BE49-F238E27FC236}">
                <a16:creationId xmlns:a16="http://schemas.microsoft.com/office/drawing/2014/main" id="{F07861C1-923B-AA6E-6A7C-D631BD51992C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10855325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7A0B523-37DD-4509-8034-76F55659712A}" type="datetime'''''''''''''2''''''''''''''''''''''6''''''''''''''''''''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en-US" sz="1200"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7F26C67A-AE40-1097-AF4A-423AB1C7EEA4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1296650" y="28765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fld id="{D4FDF36C-CD81-44B9-A267-F86C710B6B1A}" type="datetime'''''''''''2''''''''''''''''''''00'''''''''''''''''''''''''''">
              <a:rPr lang="en-US" altLang="en-US" sz="1200" smtClean="0">
                <a:solidFill>
                  <a:srgbClr val="000000"/>
                </a:solidFill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  <a:defRPr/>
              </a:pPr>
              <a:t>200</a:t>
            </a:fld>
            <a:endParaRPr kumimoji="0" lang="en-US" sz="12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496" name="Text Placeholder 2">
            <a:extLst>
              <a:ext uri="{FF2B5EF4-FFF2-40B4-BE49-F238E27FC236}">
                <a16:creationId xmlns:a16="http://schemas.microsoft.com/office/drawing/2014/main" id="{038F0CE0-46E3-99E7-DDF6-1C98675CAAB1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1303339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89A6F20-BA5D-44A1-A9E2-2CB536C102AA}" type="datetime'''''''''''''''''''''''''''''''''''''''''''9''3''''''''''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93</a:t>
            </a:fld>
            <a:endParaRPr lang="en-US" sz="1200">
              <a:cs typeface="+mn-cs"/>
            </a:endParaRPr>
          </a:p>
        </p:txBody>
      </p:sp>
      <p:sp>
        <p:nvSpPr>
          <p:cNvPr id="857" name="Text Placeholder 2">
            <a:extLst>
              <a:ext uri="{FF2B5EF4-FFF2-40B4-BE49-F238E27FC236}">
                <a16:creationId xmlns:a16="http://schemas.microsoft.com/office/drawing/2014/main" id="{7F2F4C5B-B72D-6F4D-D8A2-3580BA7E2692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9986963" y="5919788"/>
            <a:ext cx="18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73C1813-A7E9-4FF8-8D65-4A78A9CAC4C5}" type="datetime'''''''''''''''2''''''''''''''''''''''3'''''''">
              <a:rPr lang="en-US" altLang="en-US" sz="12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en-US" sz="1200">
              <a:cs typeface="+mn-cs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1D6BE2DF-DDE7-D544-90BB-BBA9AE24B653}"/>
              </a:ext>
            </a:extLst>
          </p:cNvPr>
          <p:cNvSpPr>
            <a:spLocks/>
          </p:cNvSpPr>
          <p:nvPr/>
        </p:nvSpPr>
        <p:spPr>
          <a:xfrm>
            <a:off x="7499433" y="1602474"/>
            <a:ext cx="2160382" cy="1092200"/>
          </a:xfrm>
          <a:prstGeom prst="roundRect">
            <a:avLst/>
          </a:prstGeom>
          <a:solidFill>
            <a:schemeClr val="tx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1 and 2012 saw high jet fuel pricing – yet industry operating profitability that year was +3.1% and +2.6% respectively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9067E83-8851-0C86-2AFA-4FD0814C5767}"/>
              </a:ext>
            </a:extLst>
          </p:cNvPr>
          <p:cNvCxnSpPr>
            <a:cxnSpLocks/>
            <a:stCxn id="47" idx="1"/>
          </p:cNvCxnSpPr>
          <p:nvPr/>
        </p:nvCxnSpPr>
        <p:spPr>
          <a:xfrm flipH="1">
            <a:off x="7156704" y="2148574"/>
            <a:ext cx="342729" cy="612089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5C29E539-4153-005D-96E7-DDCCB4457DDB}"/>
              </a:ext>
            </a:extLst>
          </p:cNvPr>
          <p:cNvSpPr>
            <a:spLocks/>
          </p:cNvSpPr>
          <p:nvPr/>
        </p:nvSpPr>
        <p:spPr>
          <a:xfrm>
            <a:off x="2565468" y="1602474"/>
            <a:ext cx="1867217" cy="1092200"/>
          </a:xfrm>
          <a:prstGeom prst="roundRect">
            <a:avLst/>
          </a:prstGeom>
          <a:solidFill>
            <a:schemeClr val="tx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ne 2008 saw strong energy demand, constrained supply, geopolitical risks, and a weak USD 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3A117ED-5CA0-EB5A-B381-9A0CBCFBC742}"/>
              </a:ext>
            </a:extLst>
          </p:cNvPr>
          <p:cNvCxnSpPr>
            <a:cxnSpLocks/>
            <a:stCxn id="17" idx="3"/>
          </p:cNvCxnSpPr>
          <p:nvPr/>
        </p:nvCxnSpPr>
        <p:spPr>
          <a:xfrm>
            <a:off x="4432685" y="2148574"/>
            <a:ext cx="1114263" cy="612089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163C756-FE78-C576-8191-95EA079DD958}"/>
              </a:ext>
            </a:extLst>
          </p:cNvPr>
          <p:cNvCxnSpPr/>
          <p:nvPr>
            <p:custDataLst>
              <p:tags r:id="rId53"/>
            </p:custDataLst>
          </p:nvPr>
        </p:nvCxnSpPr>
        <p:spPr bwMode="gray">
          <a:xfrm>
            <a:off x="9753600" y="1196975"/>
            <a:ext cx="195263" cy="0"/>
          </a:xfrm>
          <a:prstGeom prst="line">
            <a:avLst/>
          </a:prstGeom>
          <a:ln w="254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9" name="Straight Connector 458">
            <a:extLst>
              <a:ext uri="{FF2B5EF4-FFF2-40B4-BE49-F238E27FC236}">
                <a16:creationId xmlns:a16="http://schemas.microsoft.com/office/drawing/2014/main" id="{3FBD09A7-E7DA-2659-1750-E8DE7B42AB63}"/>
              </a:ext>
            </a:extLst>
          </p:cNvPr>
          <p:cNvCxnSpPr/>
          <p:nvPr>
            <p:custDataLst>
              <p:tags r:id="rId54"/>
            </p:custDataLst>
          </p:nvPr>
        </p:nvCxnSpPr>
        <p:spPr bwMode="gray">
          <a:xfrm>
            <a:off x="9753600" y="1492250"/>
            <a:ext cx="195263" cy="0"/>
          </a:xfrm>
          <a:prstGeom prst="line">
            <a:avLst/>
          </a:prstGeom>
          <a:ln w="25400" cap="rnd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076E583-1B3A-1CB5-EA4D-83B435B27ED9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10012363" y="1084263"/>
            <a:ext cx="18954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96670E6-D325-4184-9602-D98A41730875}" type="datetime'''N''''omi''n''al'' ''je''''''t ''''''''fuel ''''p''r''i''ce'">
              <a:rPr lang="en-US" altLang="en-US" smtClean="0">
                <a:cs typeface="+mn-cs"/>
              </a:rPr>
              <a:pPr/>
              <a:t>Nominal jet fuel price</a:t>
            </a:fld>
            <a:endParaRPr lang="en-US">
              <a:cs typeface="+mn-cs"/>
            </a:endParaRPr>
          </a:p>
        </p:txBody>
      </p:sp>
      <p:sp>
        <p:nvSpPr>
          <p:cNvPr id="456" name="Text Placeholder 2">
            <a:extLst>
              <a:ext uri="{FF2B5EF4-FFF2-40B4-BE49-F238E27FC236}">
                <a16:creationId xmlns:a16="http://schemas.microsoft.com/office/drawing/2014/main" id="{95EE6516-3977-C707-82EA-FC32735B3876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10012363" y="1379538"/>
            <a:ext cx="15684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FF987AE-EB6F-4233-A4BD-53DEB9004A54}" type="datetime'''Re''a''''l ''''''je''''t'''''' ''fu''e''l p''''r''ic''e'''''">
              <a:rPr lang="en-US" altLang="en-US" smtClean="0">
                <a:cs typeface="+mn-cs"/>
              </a:rPr>
              <a:pPr/>
              <a:t>Real jet fuel price</a:t>
            </a:fld>
            <a:endParaRPr lang="en-US">
              <a:cs typeface="+mn-cs"/>
            </a:endParaRPr>
          </a:p>
        </p:txBody>
      </p:sp>
      <p:sp>
        <p:nvSpPr>
          <p:cNvPr id="22" name="4. Footnote">
            <a:extLst>
              <a:ext uri="{FF2B5EF4-FFF2-40B4-BE49-F238E27FC236}">
                <a16:creationId xmlns:a16="http://schemas.microsoft.com/office/drawing/2014/main" id="{95C1E13E-2909-C371-052A-F53887F2D80F}"/>
              </a:ext>
            </a:extLst>
          </p:cNvPr>
          <p:cNvSpPr txBox="1"/>
          <p:nvPr>
            <p:custDataLst>
              <p:tags r:id="rId5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1.	February 2026 price levels</a:t>
            </a:r>
          </a:p>
        </p:txBody>
      </p:sp>
    </p:spTree>
    <p:extLst>
      <p:ext uri="{BB962C8B-B14F-4D97-AF65-F5344CB8AC3E}">
        <p14:creationId xmlns:p14="http://schemas.microsoft.com/office/powerpoint/2010/main" val="19023996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VI" val="true"/>
  <p:tag name="LINKEDPICTURESLINKREMOVED" val="True"/>
  <p:tag name="THINKCELLPRESENTATIONDONOTDELETE" val="&lt;?xml version=&quot;1.0&quot; encoding=&quot;UTF-16&quot; standalone=&quot;yes&quot;?&gt;&lt;root reqver=&quot;32687&quot;&gt;&lt;version val=&quot;38685&quot;/&gt;&lt;CPresentation id=&quot;1&quot;&gt;&lt;m_precDefaultOrdinal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CKGROUNDCOLOR" val="me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OOKUP" val="20251004115139988256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LIBID" val="L4d0deddf-b862-4636-92fe-69a56b0bf0e0.1.bJ0qFQ=="/>
  <p:tag name="SLIDELOOKUP" val="2025100411514295138302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OOKUP" val="2025082010390856221474821173-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8O2gEICGi8jUw0KB.WB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2M5vhXeD1yZbz9rG1cY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iHAUIf60wl37pPRCL1X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QSvaHIq2vCYbqS64Kwq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ys32jc1_7jm76Y1hGRG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NxdGyckyySAEnUR6hvq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hu1XrYrpVLzycKr0qVJ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azm46SkZvR.KVBBvsj4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lr_5yImY4tVFvPjmgr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COTGao7UuC0DbnlvfD7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T0wd9KrKjsQ1GEzF898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5GegJ_mqgR81hIdlkD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sE2padN8QabFa.m0R0L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iPLadtbTqqn0IvY12Ui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WWfJ7aKcXE3S90OZgi0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y2C4DHmqiAnRa0mx0qq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cImrGlgHnboToN1yS_2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uSqT6ytjjb_auNT.YWV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HtPrFnfiP96k6IkSx5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z5BmpTH_G9HfASXC50O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C75zuDn2b_FxLR2xooJ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0ZiTT7PrMs6_FUKLMKa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U9KnNFV6S19wNwryTCz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mP8NoH0TsQNE3uER96N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tKRtVgGENG59HORMBva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5__335FkxkepVdzPcWY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gdUox0MXc0NDC55pw5q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FQKxCJeoCkXrkGAuPwp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ZPMBi6pwwOFLSfh1mHs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g5kQB.aM3pbLAo_8c8o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vxQpwenqANbiBkuKbqA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OOKUP" val="2025082608254584221474732106-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uzFlXkEZtE_.moyIrBm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Vm2CRSD5gYhP70ZtIm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6wushadG7fSKZO09Vrt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1vx3ZizCgs6PBIDbA_L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3Bc48p_DYB1ttfgPv27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_mWODpCSmP6Lap8LYRl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KTPIz5d9_.L5I44WBpl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I.TCSo2aSxhAVJ.UsST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9oc7Wa5F6oOvD.YnpOg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2ygczESAL_f.BTm3IUT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QTVnh9U9rEEral22LEE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FmZpvw8pZYQ_A7EH4fX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CKGROUNDCOLOR" val="med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dvlQx4T16Z82lfUsPpP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KpHl_ClDqyAelMwYs0d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BqfXYPKdfs6XP2PWt4.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XEGSH4e3a6Egoz_EZ_K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RgLvSqRk8dZFffsV00w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3e97TVy97vCsLP0LxPn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O01mp.zgEORpSBP_1LE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GP9jm1jXS42v2GTlWke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L1fekbTFxu9QjXHr.aI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VwzjybjI.xRbpPwC1H9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pn8KkSjrWOsHor72IqQ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joEZqhVr6njNVtgn3Q0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Eyngx561RtPmK6NCDHw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awBntCjh6N00KWHl0Iw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5doNcceKAfnwx.sfeoqh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U726DRdoK2gGSvEt4.V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8qZFUJmnXJaBc2GjcJ0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vSHcIU_AR85IQ0WWK0l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L5Nv_M0vfu_m.PfRr7b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cVwkB_a5odrATs1B_VD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FJW.KP3Yos9MPnc7uCC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s7HoiOCDxkUTnXBxMKT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clLkFIav0xjYoCNkl2R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.v6weV_dYthl.wBTaq_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YHyaPcMJ9ztQGuHJ5i4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rxFgPoID09rH_7vj4JF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wIrjSDwCegN4tGeU4pa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6B1WTFL5xlHh8HU0ZUJ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Jp2axL022muJBbN.N8C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U.FHKs4EW9L57zcreQ6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zMDXe.eiw75wV5Qi91u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jZfgnNNbEO0eW8By2bD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9Scg.N58WpmiR1wyLwO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d7UkArns4sVbQr5.fMC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72r5ttE7.pNm3APF.CP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Tq1INaRqrJxpEyTjS36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0HBX13iZdHyQA99YwX_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c2QRsyIVVYMLhiqada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_3JM7o06xm4GLET0V.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D4WUSBRiDP9O4D3a53O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heK_52Zh6Gzj3klzfrD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8H3Ew_m8vu4CxPbM6Ob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AGYatU_XyV3473M.Czi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QTC9PSBbZzucXAr0__Q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p5yxPV_if6ZuC.eoiFS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owfq6h1v33a.SDl59a1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.qTYMoXC26FQPCvvh18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Nu24ECqTTfM6IfDXsDp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vMe5t0YYEWrdAyVXIQA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L9ROvvDETmfvwPT5PWi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wuQZmrlGjmTm5iTAwBJ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R0yVXveNVpxpc3O5oNK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Fk0.zgS1B_OogD225LN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OOKUP" val="2025082010390856221474821173-tru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R_TTph__afzKz_lqS0C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vCj595HCZ47xbo9h24.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BEzgFFqHU45vTxifXwb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3NOeNxVFBQphvY.dXqv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hLPfi99UfIuSnmcJjeO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B89H4dWoNfInwMR6lXo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MxKEYoTIFSm1_67rXxb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a.lIOSypFYbUnDBm03k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uInpfXVhyDg.VfcCG8c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y4.5ji125xfdBKZOU4O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.FY62.iML1lBm0KRvZm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BAhbK6705YKTwK4cQa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6hA4MXbOMiV2.wdMvUa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0Qj8EWX0cTf0cU3iC5e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nA8g43DT5RUH_bdpSD7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bwgJvjjK8mqJeG77H33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smyFiNTsg8GGqI_5J3B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EajNBcvPM6jsAVsr7.1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_m_6AMF9cGPlBoXhbJq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GN_EXyYmi.6sYhx5WXR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Q7NY6fdpRNJb3RmM4Br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MvDJpexPTp6KoASCU_d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LvISDoXg.zfm7dtLqYh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lLAcs2Tqtons0ULGLvL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L160nbbVqLHLIsTbQUy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vXNnBzRcjjJ6ZxG1RVk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Lcd0aIc6WPoRLaSxMvv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VL3XippMhkt5XF5NqRv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B8.DTTieIf09fDAmX.C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rwkLBWBHew8jps0DBbb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rkhjhI7I4dfbzL_DXI3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74BrjVwlYH1BQSeqceq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.KwN3QoHUMk_e7Op_4v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w7do04elw5j8PElwR6_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jqIG2CC_lmSNxhY74Nj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bAyZ_iJhT2wNE6CdYlX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ims54dP6ZP_1QUvGpSH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_OwrRXWaRp.r4tcEFAU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OOKUP" val="20250916160623687214748212315-tru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SHAPENAME" val="5. Sourc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HeGZW9JzwfJF_ua5XZR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1bezvWngmLyacrSFH._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rjr_MMb2.4.7dtanGqq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AzM9W6c8wSJiWA3lHZJ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yWH.DisguThuSqfCkCw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miCRcKYXVXhJKHYJOz9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eq0ex0AG04zwinnAFZj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c0GiAeMUFHpFh3c_OWn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3Q0YEZ1U6ZVhNm5saLS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iuc7snkiLxKPaOQwt1F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2mgivv.gdFyFovl15.8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ED3MVqq0yQM1Bn6lQvZ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ext.sSSfwbu.YH_sL.G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oKhTacbUDYVfbA7iqGt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YCP3EEkF5uDeiCgyf20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3xwMT_y93LbE2GkNfO8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U7EwTpPlyxBvK0Kbqak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32HfzxZy5aVd81xu.Pc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jN.7f6B1V3pZoiMsb7y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s2wK0Fqqrh7Q7V123rk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Y1uW38Y8EvpprlVySN1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pna7s9DOBlOeXTFIxjD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Sh4_JSjgVLlc3n35mEp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taTLT4aEZCnRr.aLru7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1dJF5dQHjNGyiLqoiRG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Gi3x3G.D_ZuWmKW7koT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q_d7sfmi_8SweMA9fxL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LePm4RseZ6qrVPAqE.j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Oy1FppQSM0owGS7uv61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7H466Or1B6f8ufYw7SV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rwsKgRZ.DFHog9NpRHr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48CtpUa0lZaKZEerQ8L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AzZozU2r1IIE3cxwJgk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DIV_ytG_8k4__O_45zb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LyrI2yH.gc0Oe2yp6U2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CEFLMDxWyL1ARL8F8p6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nkCDp7E5yA4hHB0H3mD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lMrdeU3Ug6DnHHgiMAr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eD0ceiJbwtyb_Oieh6t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lr4477gvN94VC8wWjaP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7ohNS5DpdT33ZS17H9u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iB2vUVqm.Uh25U9JVhI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MLtKUXMNG4TNIeYTnH0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OrVWPBekXHnWiD98ZMP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ZJe8nCAMNaRXLTE9TLp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t1pbfF735V9NPRerwu6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KlnyHugogHffxhWCvsx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TUEta0LaOxm_cY1C0MG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NcVRXlijexIuTEOfwaI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yr.mZ4jhGeKo9J.IC.M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qRD7NkMDncQXLO_Q01I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UIq3.chMPjo_WZfIKP3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T4a_AqZ.dMvCkp50qE2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hJtHFVJFVhOEOIamt6J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uFisgSd_mydSpgbiskG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Cp8izpE.sROFInR_UiZ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sQNYK4l.FwWl5bgrok2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oN1RM99XEqQ.lxpjobK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OOKUP" val="202510291018439162147483336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OJ.B.hrslh4WHoltQke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Mpf7YjlsvyO6O19ZQkU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mHTm33RJVgPQTHT_OxM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hGsM6XIUmoFstGac0TS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336HBAwi5oGleo6R2PP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0aRH5x.jbvVmZmiFtUf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pCcPQE0NPayrOBJU8Hs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vqa4AD3yT5adfDeDP6o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wC5G1eQBWgz6WKOWiiE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zNXN_6Zix9Ir2I.kNL5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RSwUgYMz7fn2LJHnZIk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6oOoTf40kyr7V35g.f1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DapS8_mhlolGmAJZnb3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fA2SkkjYbUO5MMBg_2Y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UzYqAIwY78ZMD2i.5KP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WS_b4BiC73aKfmvC9JQ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w4aVEi5ose27TDczlKc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xswGrFeQJZCC2wvWflS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GlJFX0zw0RRE0MmS2Xv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idt.1ToynYaXZuDV8MZ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eNTS92Ghr_G9Y.nICWz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cyt4uJ4bNhiVTLyUM9H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pnfGPgNHcwBrU2Gheeo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a3vLa_elzdsdltv7ZX0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n.ZN_HrpXcrZP4c0FF9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9PvPSdETs2sjOYZ2tWv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okBjfHg9EiuWDRdDXzg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TMj4ub2H.RrSTG3RN87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eNhJnXp3kchuGASQMaG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smb3f8b1m98iNZzldrI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kC1p28MLdtlS9gpt0t4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mbruTNC_8l5yCUfZ8NR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Sa4.WjVV3RLNH8B7Anl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aton6sT8aZPAtIQTFwW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5naA2iowBHqo767b_Hj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gG8NmJLK.N2xtVnWkqn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8NRFHC4DsykVfnvnYVv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ydR5nFD37Syb.bgW14h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gbxHQSJZgQAjSA3uYcI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bmBtMy6dDSNjKSWbO7S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PJn.QUg5O09NGSfOq2R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YNgCsjh.9roXgETpCuH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9ilvNaS4uQwl8SdWWxu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u9sm934k1at.PTPti8V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h.8wS_FXE6xqjLqPm2G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VzJhw4SIo279n4AToeX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4KxDAsT1SuQus3LP0so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krd1bZl72pP7aFxqhxZ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.hCbjKGT9VQQiMk2Sa7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6UjDJno5_ap7Lf1jfN5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4kzT8URUIHK60nyeWFv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csxZ6lb8yWNgtwC7JI_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B.AcFLPzcP5XhKyTxZh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zHON8MfDlu2gzJP9Rrz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tlgq.QSTkffIbh9fUtv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64pyNbqwRhFczUdA95k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1qErO_39IVR2kGbyOkh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Xj6xqkoIlPaBb3hk0z3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o0UuEvuP3m0V.i5q3G6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asXvkvIe7xnVxHbsF7a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0AGbQlHE3KgmW6T82uG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yvTHy2Peuqav7TFKY0B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KZcOSO3TU9KfTFKLBYv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uJIw6UDV2orNBb1VmPM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MpLstH.tqKlNUfefKPp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8tA.Ifeyovng4n6B1po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Q7Fw5G.9Nxw0lcR_opPQ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MxZFdJoAPd7u5fV7QEbQ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Obu7gouLHwCX8lPJ0hO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o.MKxxM9O.QIKzlTaA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hPy8y8PbPU7ZQA8DdaZ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VxLeh2Pk98iLpHLxPjp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6feG1ivhTNwBw952opF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nO7EQkyVTEqfy.XC5f9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VEzDcZMFOE3nraBYP68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QgjR3L_vqupbNTIxqSnA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noszRNuDrP8pjoVgV09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K0SIA8PJ89iHAt_xPpm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u7RgkADIfLvs5EbWyk5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gs0w0yfQzHW8VOHYqmW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LcPlc5slfdsnuMzi9eK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23jEhTU9BXO7U3BdyCw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pGy6cLkUP884L1z17tI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WNHtlPP.Ll5X51h5EhI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V0IdnGalaD6LYyYKmyQg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RW2nLQMWM6U3WgouJG.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X4y85w2bUltILzRo30Lg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6lZIW3L3TjivtAJCDCY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Zcv7t5GfZV3Cw8dFN2q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C0LX4WADWRo09rgYSfC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gpHj.UOX9.RUcOXT_Vng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Krlf6.g6jLEwHdd3iLw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zx5ekc4yemTdZzzCiP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v7QYrEIlEmXhLHEaCCSw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HsBYnm2cBSHaBe3TtJk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7.KHzkF.uPeflSRBCP5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N7C7fHXujZJEwEtDNn2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hqsgjX3N0bIFnTeGEde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ZqydWZrbDs3Beqp1lJ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bAI00OBNN_vPyjtBJ0eQ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opxFB3o2vNxgn5RKYQn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ZQwibGP1rhW1Hd7LAiCw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LtCxkJWHA3ZWo59zHFhA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3iqmEVR4GABUTYyZEG3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r36x5Rjz4.FeYkGr5BI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ye0Q4kHKuQEOaEDk96z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1JTR3Gdm0eH1Nss9I9W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akB7GPxfyxDQXM9HaOA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0CkdGVF27JSYxlomCqI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hL8IU_2kmxm8b8pN1gD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5Dg2qnX12G0EecSgyMG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razzBS06TK6Pv2LEgEi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S94t7KbK7JSI5SwTCit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JwNcRL1EWWLjjZnJa65w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7I0vrvGnao6clwqmLGS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yMayBrgn7OgB0.jomTg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VlWF1OQ83ykTETokoce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yooQHT_.F1f3MIeWxjt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Dk.glp4IEw6CW5EBcPQ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kI5K__h5seoYcQwULq5w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4ZUxXvxJPrRfFSvm8NM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qNfPQ6gXaZfMMqG12lv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MBn1A4A42DXAwSGg1xZ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nle.kYcFimCigIb3nr2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GVTjMtAPwdwxPgtUXPJ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7PTF8pUJCNbmllyqCUlw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QRf7yxS64.O.0YiHVxm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hCwo9x2nofPZjMZ4VI5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mV_aPOGyFaoCXPuVdZHQ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kzlKj6cfXh4gbNSpyZYw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RgCR8duVGQmHpotd9Iw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ktc0xkgSPct7z6UDR3X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CDB17vLfyrF20PI_Jbpw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REe2d6CdnNuTHC2BhX9g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9cymG7L9WMpDKfc50GU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ITACtvYK2iRGRpSozS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OOKUP" val="2025111917131254927318-tru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FzklFV8AjAff9F2RzY7w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E9BlQtd3uK6Wctqalll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56UmeZZKt1K_Ng6zfxqg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lr3lOVje_dqMNo2c_mO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FNWRacS6XnyW5m5ok7qA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Ghyr3KTBp42ujeD2VXu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5lmrouzqmgCtoults0IVw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X.qNKobncqGOH.gsdEDA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F9QRDaXRO90D5RJGzqG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KQWRL9VStHPsN6qkrjp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54Q61KS1_zHEuy1.JLkw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.KPZWs1jcqh511Q7pZMw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paAXL2a4juH_uSt4nFM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DxU9CLOR9h0h1caoYPdw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XiK2DPdbCvaZ1BwVGDIQ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0Nv.KD10IVUNy63A_TEw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eparatorDefault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LIBID" val="Lf87a1331-5677-481f-bf65-57897580d3d1.1.KrB1qg=="/>
  <p:tag name="SLIDELOOKUP" val="20251118194714729214748333524-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dLXTkzjEwQtrLspTDf5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EPzMhHy5Lnnw3UnkFLMw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74X0dIkHduNfaZBuvjf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N3sHTnv72a6A3hqvQL4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HTiJ_YS4EXHixNOv5E5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WJ1LZPrOdp0Plurgg7u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1RQvIti1XqXIw4w.C2foQ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gpIJqKQFzrdhfvY1RKKg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FRCYhgnkBvXbOZMoReYw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eXd2I.xAoIqP7az0_kw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RSbK_wqQmkbbK1oTeZ5A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IxIGwu8bSSmyVbUOrr9Q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KEBqvnLrbGf7_eBJyfR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rxAWgCiFXM.ubN_vSSn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TNSdUXW3ql5LyYRUtBG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0"/>
  <p:tag name="2LEVEL" val="10"/>
  <p:tag name="3LEVEL" val="5"/>
  <p:tag name="4LEVEL" val="2.5"/>
  <p:tag name="5LEVEL" val="1.25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OOKUP" val="202508211811242623255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7"/>
  <p:tag name="2LEVEL" val="3.5"/>
  <p:tag name="3LEVEL" val="1.75"/>
  <p:tag name="4LEVEL" val="0.88"/>
  <p:tag name="5LEVEL" val="0.44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7"/>
  <p:tag name="2LEVEL" val="3.5"/>
  <p:tag name="3LEVEL" val="1.75"/>
  <p:tag name="4LEVEL" val="0.88"/>
  <p:tag name="5LEVEL" val="0.44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7"/>
  <p:tag name="2LEVEL" val="3.5"/>
  <p:tag name="3LEVEL" val="1.75"/>
  <p:tag name="4LEVEL" val="0.88"/>
  <p:tag name="5LEVEL" val="0.44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7"/>
  <p:tag name="2LEVEL" val="3.5"/>
  <p:tag name="3LEVEL" val="1.75"/>
  <p:tag name="4LEVEL" val="0.88"/>
  <p:tag name="5LEVEL" val="0.44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7"/>
  <p:tag name="2LEVEL" val="3.5"/>
  <p:tag name="3LEVEL" val="1.75"/>
  <p:tag name="4LEVEL" val="0.88"/>
  <p:tag name="5LEVEL" val="0.44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OOKUP" val="202511191333352832584-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MKCr0J0V47X7Jwm3lkow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sMVZ5UtOYSNoKz9H1_p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ZSpgkxCh39sdgD8HaIIA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XoBdGltrf1ZuU5KvBCd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GVuXRrH5lgpy7pjFIZmw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nS_is6fPQzyxC9huTRug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tPzmXl8gp7lRoc0tOsOg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m9cNPcngI5kthhN.VEI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YRVIDNZt2BzT7lZtbtHg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lClFwC.klBcEszauAhf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_3YmeFOjMJo8VtcB9y7g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gXOY8X7iEUUt01pLxqew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RprZEUKkH4jyMsgUda8w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KctdminzwWnK070WUeyQ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Vcvs417QPJsaB9WiY.wQ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G80s_yC3ZsNKmklZX9qQ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9QbtYy30WDdsmGy2bEw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bPR53Sqw_k0U.bQLZDow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OOKUP" val="2025081816292855121474822238-true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7090379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7090379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7090379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QhYUmWMekwB6UoaCmPG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ContentSeparatorDefault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ContentSeparatorDefault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ContentSeparatorDefault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ContentSeparatorDefault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LIBID" val="L4d0deddf-b862-4636-92fe-69a56b0bf0e0.1.bJ0qFQ=="/>
  <p:tag name="SLIDELOOKUP" val="2025100411514295138302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2"/>
  <p:tag name="2LEVEL" val="6"/>
  <p:tag name="3LEVEL" val="3"/>
  <p:tag name="4LEVEL" val="1.5"/>
  <p:tag name="5LEVEL" val="0.75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heme/theme1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Cyan 200">
      <a:srgbClr val="99E6FF"/>
    </a:custClr>
    <a:custClr name="Cyan 300">
      <a:srgbClr val="6ECBF7"/>
    </a:custClr>
    <a:custClr name="Cyan 500">
      <a:srgbClr val="00A9F4"/>
    </a:custClr>
    <a:custClr name="Cyan 700">
      <a:srgbClr val="0679C3"/>
    </a:custClr>
    <a:custClr name="Cyan 900">
      <a:srgbClr val="084D91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Cyan 700">
      <a:srgbClr val="0679C3"/>
    </a:custClr>
    <a:custClr name="Cyan 300">
      <a:srgbClr val="6ECBF7"/>
    </a:custClr>
    <a:custClr name="Gray 10%">
      <a:srgbClr val="E6E6E6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900">
      <a:srgbClr val="108980"/>
    </a:custClr>
    <a:custClr name="Marine Green 600">
      <a:srgbClr val="10CBBC"/>
    </a:custClr>
    <a:custClr name="Sand Neutral 300">
      <a:srgbClr val="E6D7BC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Electric Blue 900">
      <a:srgbClr val="061F79"/>
    </a:custClr>
    <a:custClr name="Marine Green 500">
      <a:srgbClr val="0BDACB"/>
    </a:custClr>
    <a:custClr name="Amber Yellow 500">
      <a:srgbClr val="FFA800"/>
    </a:custClr>
    <a:custClr name="Crimson Red 500">
      <a:srgbClr val="E33B3B"/>
    </a:custClr>
    <a:custClr name="Deep Blue 700">
      <a:srgbClr val="103559"/>
    </a:custClr>
    <a:custClr name="Deep Blue 600">
      <a:srgbClr val="1B456E"/>
    </a:custClr>
    <a:custClr name="Deep Blue 500">
      <a:srgbClr val="2B5580"/>
    </a:custClr>
    <a:custClr name="Deep Blue 300">
      <a:srgbClr val="5380AC"/>
    </a:custClr>
    <a:custClr name="Deep Blue 200">
      <a:srgbClr val="82A6C9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71102F81-DA1B-4373-A821-C3918CE188D6}" vid="{AC179618-6A7A-43A7-9E69-F85B85F2136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  <wetp:taskpane dockstate="right" visibility="0" width="525" row="0">
    <wetp:webextensionref xmlns:r="http://schemas.openxmlformats.org/officeDocument/2006/relationships" r:id="rId3"/>
  </wetp:taskpane>
</wetp:taskpanes>
</file>

<file path=ppt/webextensions/webextension1.xml><?xml version="1.0" encoding="utf-8"?>
<we:webextension xmlns:we="http://schemas.microsoft.com/office/webextensions/webextension/2010/11" id="{5321CD06-B5B9-2B41-9E27-E9F89FA9D2CC}">
  <we:reference id="186f9e69-8c0a-4e87-b19c-647c4ba34c10" version="16.25.1.2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114233B0-B89B-8340-BBFD-2DC185856AF3}">
  <we:reference id="e74ca2a7-5e50-4ebf-bfa5-bb75c7950374" version="4.0.0.0" store="EXCatalog" storeType="EXCatalog"/>
  <we:alternateReferences/>
  <we:properties>
    <we:property name="srChargeCodeData" value="{&quot;selectedSupportOption&quot;:&quot;CLIENT&quot;,&quot;language&quot;:&quot;English&quot;,&quot;chargeCode&quot;:{&quot;activityCode&quot;:&quot;CE&quot;,&quot;anchorTag&quot;:&quot;&quot;,&quot;announcements&quot;:{&quot;createdAt&quot;:null,&quot;id&quot;:4,&quot;link&quot;:&quot;https://vgm.intranet.mckinsey.com/capacity-home&quot;,&quot;linkText&quot;:&quot;Learn more&quot;,&quot;longDescription&quot;:&quot;Alert: VG&amp;Media closed Dec 25 &amp; Jan 1. Tokens unavailable, standard delivery only Dec 23-Jan 3&quot;,&quot;shortDescription&quot;:&quot;Due to Values Day, plan for a 40% token reduction week of June 7; No Token delivery option only June 11-14; no submissions June 12.&quot;,&quot;showOnAddin&quot;:1,&quot;source&quot;:&quot;cs-web-addin&quot;,&quot;updatedAt&quot;:{},&quot;webAddinAnnouncementText&quot;:{&quot;body&quot;:&quot;Due to Values Day, plan for a 40% token reduction week of June 7; No Token delivery option only June 11-14; no submissions June 12.&quot;,&quot;heading&quot;:&quot;VG&amp;Media Service Alert&quot;,&quot;primaryAction&quot;:{&quot;label&quot;:&quot;Learn more&quot;,&quot;url&quot;:&quot;https://vgm.intranet.mckinsey.com/capacity-home&quot;},&quot;secondaryAction&quot;:{&quot;label&quot;:&quot;&quot;,&quot;url&quot;:&quot;&quot;},&quot;style&quot;:&quot;warning&quot;}},&quot;chargeCode&quot;:&quot;valid&quot;,&quot;chargeCodeRegistered&quot;:false,&quot;coreServicesLimit&quot;:15,&quot;critical&quot;:0,&quot;description&quot;:&quot;&quot;,&quot;eligibleForPlus&quot;:false,&quot;enableFPS&quot;:&quot;true&quot;,&quot;featureFlag&quot;:{&quot;blockRequestsEnabled&quot;:false,&quot;overnightDeliveryEnabled&quot;:false,&quot;searchOfferingEnabled&quot;:false},&quot;formType&quot;:&quot;&quot;,&quot;inScope&quot;:true,&quot;isBoxDisabled&quot;:false,&quot;isCTEEnabled&quot;:false,&quot;lane&quot;:&quot;Global&quot;,&quot;maxStartTime&quot;:480,&quot;message&quot;:&quot;&quot;,&quot;outSourced&quot;:true,&quot;platform&quot;:&quot;GW&quot;,&quot;projectType&quot;:&quot;Client&quot;,&quot;showInternal&quot;:false,&quot;subLane&quot;:&quot;&quot;,&quot;userRegistered&quot;:false,&quot;code&quot;:&quot;5154SF01&quot;,&quot;updatedAt&quot;:&quot;2026-06-10T07:56:28.578Z&quot;}}"/>
  </we:properties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A0B1D0A8-CA57-BD43-B291-091F4B9CD546}">
  <we:reference id="7888317b-a425-4590-9747-4c188fd7be2e" version="2.30.1.0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F458274194F8E4B9329DA50A017966C" ma:contentTypeVersion="13" ma:contentTypeDescription="Create a new document." ma:contentTypeScope="" ma:versionID="79bc1be465e235d93ed8619e62c951ed">
  <xsd:schema xmlns:xsd="http://www.w3.org/2001/XMLSchema" xmlns:xs="http://www.w3.org/2001/XMLSchema" xmlns:p="http://schemas.microsoft.com/office/2006/metadata/properties" xmlns:ns2="ed4df8d6-78e8-413d-96d0-3a92d4e6a032" xmlns:ns3="d06399e8-b413-4a99-882e-28ccf00e76f7" targetNamespace="http://schemas.microsoft.com/office/2006/metadata/properties" ma:root="true" ma:fieldsID="14bdf378c9784f4dbbb7d8c4c1617f84" ns2:_="" ns3:_="">
    <xsd:import namespace="ed4df8d6-78e8-413d-96d0-3a92d4e6a032"/>
    <xsd:import namespace="d06399e8-b413-4a99-882e-28ccf00e76f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2:MediaServiceBillingMetadata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4df8d6-78e8-413d-96d0-3a92d4e6a0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cdeec554-ca27-48f5-98a4-0a69c1ab374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19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6399e8-b413-4a99-882e-28ccf00e76f7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b4efa36-96ff-4be2-b582-ab33d301a6aa}" ma:internalName="TaxCatchAll" ma:showField="CatchAllData" ma:web="d06399e8-b413-4a99-882e-28ccf00e76f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06399e8-b413-4a99-882e-28ccf00e76f7" xsi:nil="true"/>
    <lcf76f155ced4ddcb4097134ff3c332f xmlns="ed4df8d6-78e8-413d-96d0-3a92d4e6a032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BC35B123-45F0-4FBB-9109-55BBC89B85D1}"/>
</file>

<file path=customXml/itemProps2.xml><?xml version="1.0" encoding="utf-8"?>
<ds:datastoreItem xmlns:ds="http://schemas.openxmlformats.org/officeDocument/2006/customXml" ds:itemID="{96780887-7464-407F-B52C-F04EE570303A}"/>
</file>

<file path=customXml/itemProps3.xml><?xml version="1.0" encoding="utf-8"?>
<ds:datastoreItem xmlns:ds="http://schemas.openxmlformats.org/officeDocument/2006/customXml" ds:itemID="{4BC1DD9E-C329-4991-B305-DD3D0F61C349}"/>
</file>

<file path=docMetadata/LabelInfo.xml><?xml version="1.0" encoding="utf-8"?>
<clbl:labelList xmlns:clbl="http://schemas.microsoft.com/office/2020/mipLabelMetadata">
  <clbl:label id="{cc8936bc-9382-4fff-87cb-6f55999549e7}" enabled="0" method="" siteId="{cc8936bc-9382-4fff-87cb-6f55999549e7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4102</TotalTime>
  <Words>1774</Words>
  <Application>Microsoft Office PowerPoint</Application>
  <PresentationFormat>Widescreen</PresentationFormat>
  <Paragraphs>489</Paragraphs>
  <Slides>20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Aptos</vt:lpstr>
      <vt:lpstr>Arial</vt:lpstr>
      <vt:lpstr>Georgia</vt:lpstr>
      <vt:lpstr>Segoe UI</vt:lpstr>
      <vt:lpstr>Wingdings</vt:lpstr>
      <vt:lpstr>Contrast</vt:lpstr>
      <vt:lpstr>think-cell Slide</vt:lpstr>
      <vt:lpstr>Global Economics Intelligence  by McKinsey</vt:lpstr>
      <vt:lpstr> 3 topics for today</vt:lpstr>
      <vt:lpstr>In 2024 airports created economic losses</vt:lpstr>
      <vt:lpstr>Airlines continued to show negative economic profit in 2025</vt:lpstr>
      <vt:lpstr>From 2012 to 2019, airports delivered positive average  Economic Profit</vt:lpstr>
      <vt:lpstr>Europe airports back to positive value creation but not at 2019 levels</vt:lpstr>
      <vt:lpstr>Non-aeronautical revenues vital to airports' profitability but flatlining</vt:lpstr>
      <vt:lpstr>Key trends are redefining the aviation landscape</vt:lpstr>
      <vt:lpstr>A1 | Current jet fuel prices will influence airline profitability and passenger demand, but these levels are not unheard of</vt:lpstr>
      <vt:lpstr>A1 | Compared to other disruptions, the current Gulf crisis affects a larger share of global energy vs. any other crisis in the last century</vt:lpstr>
      <vt:lpstr>A1 | Europe is most exposed to supply disruption given large demand, import dependence, and large Middle East-linked supply exposure</vt:lpstr>
      <vt:lpstr>A2 | Airlines have steadily increased premium capacity over the years, driven by premium leisure growth</vt:lpstr>
      <vt:lpstr>B1 | Post-COVID consumer behaviour shifts driving declines in non-aeronautical revenues</vt:lpstr>
      <vt:lpstr>B3 | Automation and digitization opportunity</vt:lpstr>
      <vt:lpstr>B4 | We typically see AI &amp; digital driving at least 15-30% EBITDA uplift for airports</vt:lpstr>
      <vt:lpstr>B4 | Airports are beginning to pilot and scale Agentic AI </vt:lpstr>
      <vt:lpstr>C1 | Many European airports are advancing expansion plans</vt:lpstr>
      <vt:lpstr>C1 | European airports pursue growth amid complex expansion challenges</vt:lpstr>
      <vt:lpstr>Opportunities for airport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tavros Xanthopoulos</dc:creator>
  <cp:lastModifiedBy>Diana Juhanson</cp:lastModifiedBy>
  <cp:revision>13</cp:revision>
  <dcterms:created xsi:type="dcterms:W3CDTF">2025-09-29T15:49:52Z</dcterms:created>
  <dcterms:modified xsi:type="dcterms:W3CDTF">2026-06-22T06:50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3303d7c-e5a3-4cc8-90eb-69bfd7570ac4_Enabled">
    <vt:lpwstr>true</vt:lpwstr>
  </property>
  <property fmtid="{D5CDD505-2E9C-101B-9397-08002B2CF9AE}" pid="3" name="MSIP_Label_83303d7c-e5a3-4cc8-90eb-69bfd7570ac4_SetDate">
    <vt:lpwstr>2025-11-27T07:24:33Z</vt:lpwstr>
  </property>
  <property fmtid="{D5CDD505-2E9C-101B-9397-08002B2CF9AE}" pid="4" name="MSIP_Label_83303d7c-e5a3-4cc8-90eb-69bfd7570ac4_Method">
    <vt:lpwstr>Standard</vt:lpwstr>
  </property>
  <property fmtid="{D5CDD505-2E9C-101B-9397-08002B2CF9AE}" pid="5" name="MSIP_Label_83303d7c-e5a3-4cc8-90eb-69bfd7570ac4_Name">
    <vt:lpwstr>Client Confidential Information-SLV1</vt:lpwstr>
  </property>
  <property fmtid="{D5CDD505-2E9C-101B-9397-08002B2CF9AE}" pid="6" name="MSIP_Label_83303d7c-e5a3-4cc8-90eb-69bfd7570ac4_SiteId">
    <vt:lpwstr>cc8936bc-9382-4fff-87cb-6f55999549e7</vt:lpwstr>
  </property>
  <property fmtid="{D5CDD505-2E9C-101B-9397-08002B2CF9AE}" pid="7" name="MSIP_Label_83303d7c-e5a3-4cc8-90eb-69bfd7570ac4_ActionId">
    <vt:lpwstr>3f2fdde8-1934-42c5-9398-1e8425e5049e</vt:lpwstr>
  </property>
  <property fmtid="{D5CDD505-2E9C-101B-9397-08002B2CF9AE}" pid="8" name="MSIP_Label_83303d7c-e5a3-4cc8-90eb-69bfd7570ac4_ContentBits">
    <vt:lpwstr>0</vt:lpwstr>
  </property>
  <property fmtid="{D5CDD505-2E9C-101B-9397-08002B2CF9AE}" pid="9" name="MSIP_Label_83303d7c-e5a3-4cc8-90eb-69bfd7570ac4_Tag">
    <vt:lpwstr>10, 3, 0, 1</vt:lpwstr>
  </property>
  <property fmtid="{D5CDD505-2E9C-101B-9397-08002B2CF9AE}" pid="10" name="ContentTypeId">
    <vt:lpwstr>0x0101004F458274194F8E4B9329DA50A017966C</vt:lpwstr>
  </property>
</Properties>
</file>